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7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5.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4" r:id="rId5"/>
    <p:sldMasterId id="2147483685" r:id="rId6"/>
    <p:sldMasterId id="2147483701" r:id="rId7"/>
    <p:sldMasterId id="2147483703" r:id="rId8"/>
    <p:sldMasterId id="2147483760" r:id="rId9"/>
    <p:sldMasterId id="2147483773" r:id="rId10"/>
    <p:sldMasterId id="2147483775" r:id="rId11"/>
  </p:sldMasterIdLst>
  <p:notesMasterIdLst>
    <p:notesMasterId r:id="rId45"/>
  </p:notesMasterIdLst>
  <p:sldIdLst>
    <p:sldId id="2147477900" r:id="rId12"/>
    <p:sldId id="2147478132" r:id="rId13"/>
    <p:sldId id="2147478128" r:id="rId14"/>
    <p:sldId id="2147477904" r:id="rId15"/>
    <p:sldId id="2147374511" r:id="rId16"/>
    <p:sldId id="2147477891" r:id="rId17"/>
    <p:sldId id="2147477905" r:id="rId18"/>
    <p:sldId id="2147477906" r:id="rId19"/>
    <p:sldId id="2147477937" r:id="rId20"/>
    <p:sldId id="2147477907" r:id="rId21"/>
    <p:sldId id="2147477934" r:id="rId22"/>
    <p:sldId id="2147477935" r:id="rId23"/>
    <p:sldId id="2147477908" r:id="rId24"/>
    <p:sldId id="2147477909" r:id="rId25"/>
    <p:sldId id="2147478129" r:id="rId26"/>
    <p:sldId id="2147477910" r:id="rId27"/>
    <p:sldId id="2147477911" r:id="rId28"/>
    <p:sldId id="2147477912" r:id="rId29"/>
    <p:sldId id="2147477913" r:id="rId30"/>
    <p:sldId id="2147477914" r:id="rId31"/>
    <p:sldId id="2147477936" r:id="rId32"/>
    <p:sldId id="2147477917" r:id="rId33"/>
    <p:sldId id="2147477918" r:id="rId34"/>
    <p:sldId id="2147477919" r:id="rId35"/>
    <p:sldId id="2147477939" r:id="rId36"/>
    <p:sldId id="2147477940" r:id="rId37"/>
    <p:sldId id="2147477938" r:id="rId38"/>
    <p:sldId id="2147477920" r:id="rId39"/>
    <p:sldId id="2147477921" r:id="rId40"/>
    <p:sldId id="2147477922" r:id="rId41"/>
    <p:sldId id="2147477923" r:id="rId42"/>
    <p:sldId id="2147477924" r:id="rId43"/>
    <p:sldId id="2147477925" r:id="rId44"/>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59FAE5-7949-481A-85E0-C7279CD751B0}">
          <p14:sldIdLst>
            <p14:sldId id="2147477900"/>
            <p14:sldId id="2147478132"/>
            <p14:sldId id="2147478128"/>
            <p14:sldId id="2147477904"/>
            <p14:sldId id="2147374511"/>
            <p14:sldId id="2147477891"/>
            <p14:sldId id="2147477905"/>
            <p14:sldId id="2147477906"/>
            <p14:sldId id="2147477937"/>
            <p14:sldId id="2147477907"/>
            <p14:sldId id="2147477934"/>
            <p14:sldId id="2147477935"/>
            <p14:sldId id="2147477908"/>
            <p14:sldId id="2147477909"/>
            <p14:sldId id="2147478129"/>
            <p14:sldId id="2147477910"/>
            <p14:sldId id="2147477911"/>
            <p14:sldId id="2147477912"/>
            <p14:sldId id="2147477913"/>
            <p14:sldId id="2147477914"/>
            <p14:sldId id="2147477936"/>
            <p14:sldId id="2147477917"/>
            <p14:sldId id="2147477918"/>
            <p14:sldId id="2147477919"/>
            <p14:sldId id="2147477939"/>
            <p14:sldId id="2147477940"/>
            <p14:sldId id="2147477938"/>
            <p14:sldId id="2147477920"/>
            <p14:sldId id="2147477921"/>
            <p14:sldId id="2147477922"/>
            <p14:sldId id="2147477923"/>
            <p14:sldId id="2147477924"/>
            <p14:sldId id="214747792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7DDE25-9CD1-543D-F052-A63E81B1835C}" name="Myerson, Sandra" initials="MS" userId="S::slmyerson@ecgmc.com::7f9defe4-3f54-4f7f-b80d-9fa9144c56be" providerId="AD"/>
  <p188:author id="{69C9ED77-B65B-FD5C-182D-E9E8F76C31E7}" name="Cook, Sue D." initials="CSD" userId="S::SDCook@ecgmc.com::aa9a29dd-7075-411f-b7b2-98fd61a80592" providerId="AD"/>
  <p188:author id="{7682D782-AC44-562D-4CBD-4E2F2F85F9D2}" name="Yoppolo, Jessyca" initials="YJ" userId="S::jjyoppolo@ecgmc.com::15cc347a-565f-488d-9f13-d90e7591bf32" providerId="AD"/>
  <p188:author id="{BB1E1C85-B793-2D53-08E4-B9F6FF1CCC17}" name="Shin, John" initials="JS" userId="Shin, John" providerId="None"/>
  <p188:author id="{1081A885-514C-E9AF-1F25-7DF4D2C0E3FE}" name="Lazarov, Michelle D." initials="LMD" userId="S::mlazarov@ecgmc.com::2d17c2c8-775b-4a1a-aae3-de4d053cb93e" providerId="AD"/>
  <p188:author id="{15F87FAA-65CA-4295-292C-1389692B77F7}" name="Trent, Sarah J." initials="TSJ" userId="S::SJTrent@ecgmc.com::915da9ad-f9e5-4699-b0af-899e434610d6" providerId="AD"/>
  <p188:author id="{F9755DAD-1DA0-D865-DB90-A34499CA1921}" name="Worobec, Emily" initials="WE" userId="S::erworobec@ecgmc.com::d25ab245-ad95-42bd-8854-1706eba3de0f" providerId="AD"/>
  <p188:author id="{9DE1F5FF-1D43-CDF7-4511-B144A16B0250}" name="Nora Lewis" initials="NL" userId="Nora Lewi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EFB"/>
    <a:srgbClr val="0091E1"/>
    <a:srgbClr val="000064"/>
    <a:srgbClr val="F1F7FD"/>
    <a:srgbClr val="FF00FF"/>
    <a:srgbClr val="000026"/>
    <a:srgbClr val="DC0096"/>
    <a:srgbClr val="A2A2A2"/>
    <a:srgbClr val="7E797C"/>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433861-C4DA-40EE-A52B-26146287ADEB}" v="41" dt="2024-08-21T14:27:51.069"/>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93690" autoAdjust="0"/>
  </p:normalViewPr>
  <p:slideViewPr>
    <p:cSldViewPr snapToGrid="0">
      <p:cViewPr varScale="1">
        <p:scale>
          <a:sx n="107" d="100"/>
          <a:sy n="107" d="100"/>
        </p:scale>
        <p:origin x="66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E1688-62CC-449C-B167-00DE7F41E053}" type="datetimeFigureOut">
              <a:rPr lang="en-US" smtClean="0"/>
              <a:t>10/30/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D7FEA2-4296-4783-9753-5B462C92FE16}" type="slidenum">
              <a:rPr lang="en-US" smtClean="0"/>
              <a:t>‹#›</a:t>
            </a:fld>
            <a:endParaRPr lang="en-US" dirty="0"/>
          </a:p>
        </p:txBody>
      </p:sp>
    </p:spTree>
    <p:extLst>
      <p:ext uri="{BB962C8B-B14F-4D97-AF65-F5344CB8AC3E}">
        <p14:creationId xmlns:p14="http://schemas.microsoft.com/office/powerpoint/2010/main" val="2744365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55519708-EDCB-446C-B7ED-89BD5F132105}"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133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spcBef>
                <a:spcPts val="300"/>
              </a:spcBef>
              <a:spcAft>
                <a:spcPts val="300"/>
              </a:spcAft>
            </a:pPr>
            <a:r>
              <a:rPr lang="en-US" sz="1800" b="1"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Near Time of Admiss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spcBef>
                <a:spcPts val="300"/>
              </a:spcBef>
              <a:spcAft>
                <a:spcPts val="300"/>
              </a:spcAft>
            </a:pPr>
            <a:r>
              <a:rPr lang="en-US" sz="1800" b="1"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troduction, I am a [ROLE] who is part of the intensive care unit team caring for Mr. Whit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i, I’m [</a:t>
            </a:r>
            <a:r>
              <a:rPr lang="en-US" sz="1800" b="1" kern="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am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n you share how you’re related to him? [CONFIRM RELATIONSHIP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m his child.</a:t>
            </a:r>
          </a:p>
          <a:p>
            <a:pPr marL="0" marR="0">
              <a:spcBef>
                <a:spcPts val="300"/>
              </a:spcBef>
              <a:spcAft>
                <a:spcPts val="3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ice to meet you. Our team wants to make sure we can keep you updated on everything that is going on with your dad’s care. We will provide daily updates, and we also like to sit down for a longer discussion within the first few days after admission to make sure we can share more information and learn more about your dad [INTRODUCE THE MEETING].</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kay, that sounds good.</a:t>
            </a:r>
          </a:p>
          <a:p>
            <a:pPr marL="0" marR="0">
              <a:spcBef>
                <a:spcPts val="300"/>
              </a:spcBef>
              <a:spcAft>
                <a:spcPts val="3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ince your dad can’t make his own decisions right now, we want to make sure we know who the right person is to make decisions on his behalf [ASK ABOUT SURROGAT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t would be me. I help him with all his medical car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m glad you’ve been able to help give him so much support [RESPEC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nk you. I’ve tried.</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d your dad ever complete an Advance Directive or Durable Power of Attorney for Healthcare document [ASK ABOUT DPOA]?</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o, he didn’t, but I am his only child, so it’s m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s your dad married [CONFIRM NEXT OF KI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o, he and my mom got divorced a long time ago, and he never remarried.</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want to support you and include you as a partner in your dad’s care [SUPPO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 appreciate that</a:t>
            </a: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p>
          <a:p>
            <a:pPr marL="0" marR="0">
              <a:spcBef>
                <a:spcPts val="300"/>
              </a:spcBef>
              <a:spcAft>
                <a:spcPts val="3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s there anyone else whom you would want to be included in discussions about your dad’s health [ASK WHO SHOULD BE PRESENT FOR MEETING]?</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o. My spouse is supporting me, but I wouldn’t want him to be part of discussions. I’ll keep him updated.</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re you available tomorrow afternoon for a meeting?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es—2 p.m. would be best.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kay, we will plan on th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200"/>
              </a:spcAft>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Who to Include in Meeting:</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Patient (if they have capacity or are able to share wishes and want to be included); surrogate decision maker (if DPOA or guardian, ensure paperwork is verified; if next-of-kin, ensure appropriate—per policy, the hierarchy is legal spouse, </a:t>
            </a:r>
            <a:r>
              <a:rPr lang="en-US" sz="1800" b="1" i="1" kern="100" dirty="0">
                <a:effectLst/>
                <a:latin typeface="Calibri" panose="020F0502020204030204" pitchFamily="34" charset="0"/>
                <a:ea typeface="Calibri" panose="020F0502020204030204" pitchFamily="34" charset="0"/>
                <a:cs typeface="Times New Roman" panose="02020603050405020304" pitchFamily="18" charset="0"/>
              </a:rPr>
              <a:t>all</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dult children, both parents, </a:t>
            </a:r>
            <a:r>
              <a:rPr lang="en-US" sz="1800" b="1" i="1" kern="100" dirty="0">
                <a:effectLst/>
                <a:latin typeface="Calibri" panose="020F0502020204030204" pitchFamily="34" charset="0"/>
                <a:ea typeface="Calibri" panose="020F0502020204030204" pitchFamily="34" charset="0"/>
                <a:cs typeface="Times New Roman" panose="02020603050405020304" pitchFamily="18" charset="0"/>
              </a:rPr>
              <a:t>all</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dult siblings); ICU provider—APP, fellow, resident, and/or attending (ideally resident would not be alone); and ICU RN if possible.</a:t>
            </a:r>
          </a:p>
          <a:p>
            <a:pPr marL="0" marR="0">
              <a:lnSpc>
                <a:spcPct val="107000"/>
              </a:lnSpc>
              <a:spcBef>
                <a:spcPts val="0"/>
              </a:spcBef>
              <a:spcAft>
                <a:spcPts val="12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200"/>
              </a:spcAft>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Meeting Setting:</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f patient lacks capacity, suggest meeting in a separate room if the family is okay with it. If the patient is included in the meeting, bring extra chairs into the room so everyone can be seated.</a:t>
            </a:r>
          </a:p>
          <a:p>
            <a:endParaRPr lang="en-US" dirty="0"/>
          </a:p>
        </p:txBody>
      </p:sp>
      <p:sp>
        <p:nvSpPr>
          <p:cNvPr id="4" name="Slide Number Placeholder 3"/>
          <p:cNvSpPr>
            <a:spLocks noGrp="1"/>
          </p:cNvSpPr>
          <p:nvPr>
            <p:ph type="sldNum" sz="quarter" idx="5"/>
          </p:nvPr>
        </p:nvSpPr>
        <p:spPr/>
        <p:txBody>
          <a:bodyPr/>
          <a:lstStyle/>
          <a:p>
            <a:fld id="{70D7FEA2-4296-4783-9753-5B462C92FE16}" type="slidenum">
              <a:rPr lang="en-US" smtClean="0"/>
              <a:t>5</a:t>
            </a:fld>
            <a:endParaRPr lang="en-US" dirty="0"/>
          </a:p>
        </p:txBody>
      </p:sp>
    </p:spTree>
    <p:extLst>
      <p:ext uri="{BB962C8B-B14F-4D97-AF65-F5344CB8AC3E}">
        <p14:creationId xmlns:p14="http://schemas.microsoft.com/office/powerpoint/2010/main" val="97624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nk you for meeting today. We’ll start with introductions. I’m [NAME AND ROL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rPr>
              <a:t>I’m [name], John’s child.</a:t>
            </a:r>
          </a:p>
          <a:p>
            <a:pPr marL="0" marR="0">
              <a:spcBef>
                <a:spcPts val="300"/>
              </a:spcBef>
              <a:spcAft>
                <a:spcPts val="300"/>
              </a:spcAft>
            </a:pPr>
            <a:endParaRPr lang="en-US" sz="1800" b="1" kern="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0" i="1" kern="100"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Introductions [ALL CLINICAL TEAM AND FAMILY INTRODUCE THEMSELVES]</a:t>
            </a:r>
          </a:p>
          <a:p>
            <a:pPr marL="0" marR="0">
              <a:spcBef>
                <a:spcPts val="300"/>
              </a:spcBef>
              <a:spcAft>
                <a:spcPts val="3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want to update you on how John’s doing and learn more about him as a person so that we can make sure we’re giving him the best care possible. What else would you like to make sure we address today [AGENDA SETTING]?</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t’s it, I think.</a:t>
            </a: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endPar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 make sure we share information that’s most helpful to you, can you tell us what your understanding is so far about what’s going on with your Dad’s health [FIRST ASK]?</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s been dealing with this cancer for two years, now and it has spread from his lungs to his liver. But he was doing well with the chemo and feeling okay until a few days ago. Then he got sick really quickly. I know that he has a really bad infection in his blood.</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ou’re exactly right about the infection causing him to get sick quickly [RESPECT]. Can I share my understanding of what’s going on and what may be ahead with his health [PERMISS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Yes, of cours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infection that your dad has is so serious that it has affected other organs in his body like his lungs and kidney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So, what can you do to treat him?</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re doing everything we can to treat the infection with antibiotics and support him with the breathing machine and all the other ICU care that he needs. We hope that he will recover . . . </a:t>
            </a:r>
            <a:r>
              <a:rPr lang="en-US" sz="1800" b="1" i="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d</a:t>
            </a: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we also worry that because of the cancer, he is at higher risk of dying from this infection [TELL USING HOPE </a:t>
            </a:r>
            <a:r>
              <a:rPr lang="en-US" sz="1800" b="1" i="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D</a:t>
            </a: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WORRY FORM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has been doing well with cancer treatments. This doesn’t make sense [EMOTION].</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t sounds like it is a huge shock to see him get so sick so fast [NAM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t is. We just went out to dinner last week for my son’s birthday [DE-ESCALATE].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 can only imagine how hard this is [UNDERSTAN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has so much to live for. Thank you for all that you’re doing for him [FURTHER DE-ESCALATE].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ou’re welcome. What questions do you have so far?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 don’t have any other questions right now.</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 that we can take better care of your dad, would it be okay if we talk about him as a person [PERMISS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kay.</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is important to him when he isn’t in the hospital [MAP]?</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lives for his grandkids, my son and daughter. He tries to get to as many of their games and recitals as he can.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y are lucky kids. What else is important [MAP]?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lives alone and is always fixing something up around his house. He has been fighting me on getting more help for the yardwork.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unds like he is hardworking and independent [ALIG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es, always.</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has he shared about his biggest worries related to his health [MAP]?</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s always worried about being a burden to me. He hates when I miss work to come to an appointment with him.</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has given him strength as he faced this cancer [MAP]?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y kids, of course, they make him pictures and say he gives the best hugs. Also his faith. He’s been a member of the same church for over 30 years, so everyone is praying for him.</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m glad he has a faith community to support him.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eah, Me too. They’ve been so helpful.</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ave you and your dad ever talked about how much he would be willing to go through for the possibility of gaining more time in a situation like this where he was really sick [MAP]?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 know he would want to live. He wants more time with us. But he also wouldn’t want to be a vegetabl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n you tell me more about what you mean when you say that [EXPLOR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wouldn’t want to be stuck in a bed if he wasn’t going to get better and have everyone just hovering around. </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nk for sharing so much about your dad [RESPECT]. It sounds like family, faith, and independence are important to him, and he would want to receive all treatments possible if there was a reasonable chance he could get back to the life that he loves, spending time with famil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Yes, that sounds right.</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t also sounds like perhaps he wouldn’t want to be stuck on life support machines long term if he wasn’t getting better.</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o, he would never want that.</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nk you for sharing more about your dad. It helps us to take better care of him [RESPEC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is so important to m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ould it be okay to talk about a plan to best meet your dad’s priorities going forwar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f course.</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can continue the antibiotics and supportive treatments to try to help him recover rom this infection. As soon as it is safe, we will have our physical therapy team start working with him so that we can help preserve his strength. We can also have our one of our chaplains check in to offer suppor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 would appreciate that.</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will keep you updated as to how he is doing and hopefully will see signs of recovery like coming off the ventilator and improvement in how his kidneys are working. We will also let you know if things are not getting better or are getting worse, and we will work with you to make decisions that are in line with your dad’s wish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m counting on him to get better. I don’t think it’s his time yet.</a:t>
            </a:r>
          </a:p>
          <a:p>
            <a:pPr marL="0" marR="0">
              <a:spcBef>
                <a:spcPts val="300"/>
              </a:spcBef>
              <a:spcAft>
                <a:spcPts val="300"/>
              </a:spcAft>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will do everything we can to help him [SUPPO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300"/>
              </a:spcBef>
              <a:spcAft>
                <a:spcPts val="300"/>
              </a:spcAft>
            </a:pPr>
            <a:r>
              <a:rPr lang="en-US"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ank you.</a:t>
            </a: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0D7FEA2-4296-4783-9753-5B462C92FE16}" type="slidenum">
              <a:rPr lang="en-US" smtClean="0"/>
              <a:t>9</a:t>
            </a:fld>
            <a:endParaRPr lang="en-US" dirty="0"/>
          </a:p>
        </p:txBody>
      </p:sp>
    </p:spTree>
    <p:extLst>
      <p:ext uri="{BB962C8B-B14F-4D97-AF65-F5344CB8AC3E}">
        <p14:creationId xmlns:p14="http://schemas.microsoft.com/office/powerpoint/2010/main" val="3201418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Ask each learner to share one specific new communication skill that they will commit to using in their next family meeting. </a:t>
            </a:r>
          </a:p>
          <a:p>
            <a:r>
              <a:rPr lang="en-US" sz="1800" dirty="0">
                <a:effectLst/>
                <a:latin typeface="Calibri" panose="020F0502020204030204" pitchFamily="34" charset="0"/>
                <a:ea typeface="Calibri" panose="020F0502020204030204" pitchFamily="34" charset="0"/>
              </a:rPr>
              <a:t>Call on people and make sure everyone shares one specific skill.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D7FEA2-4296-4783-9753-5B462C92FE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727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 name="Shape 1048"/>
          <p:cNvSpPr>
            <a:spLocks noGrp="1" noRot="1" noChangeAspect="1"/>
          </p:cNvSpPr>
          <p:nvPr>
            <p:ph type="sldImg"/>
          </p:nvPr>
        </p:nvSpPr>
        <p:spPr>
          <a:prstGeom prst="rect">
            <a:avLst/>
          </a:prstGeom>
        </p:spPr>
        <p:txBody>
          <a:bodyPr/>
          <a:lstStyle/>
          <a:p>
            <a:endParaRPr/>
          </a:p>
        </p:txBody>
      </p:sp>
      <p:sp>
        <p:nvSpPr>
          <p:cNvPr id="1049" name="Shape 1049"/>
          <p:cNvSpPr>
            <a:spLocks noGrp="1"/>
          </p:cNvSpPr>
          <p:nvPr>
            <p:ph type="body" sz="quarter" idx="1"/>
          </p:nvPr>
        </p:nvSpPr>
        <p:spPr>
          <a:prstGeom prst="rect">
            <a:avLst/>
          </a:prstGeom>
        </p:spPr>
        <p:txBody>
          <a:bodyPr/>
          <a:lstStyle/>
          <a:p>
            <a:r>
              <a:t>Share that learners can download VitalTalk Tips App for additional resources for ongoing support.</a:t>
            </a:r>
          </a:p>
        </p:txBody>
      </p:sp>
    </p:spTree>
    <p:extLst>
      <p:ext uri="{BB962C8B-B14F-4D97-AF65-F5344CB8AC3E}">
        <p14:creationId xmlns:p14="http://schemas.microsoft.com/office/powerpoint/2010/main" val="2088214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2 - Healthy Fami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B6DC4-F443-4398-B024-61934E953F1A}"/>
              </a:ext>
            </a:extLst>
          </p:cNvPr>
          <p:cNvGraphicFramePr>
            <a:graphicFrameLocks noChangeAspect="1"/>
          </p:cNvGraphicFramePr>
          <p:nvPr userDrawn="1">
            <p:custDataLst>
              <p:tags r:id="rId1"/>
            </p:custDataLst>
            <p:extLst>
              <p:ext uri="{D42A27DB-BD31-4B8C-83A1-F6EECF244321}">
                <p14:modId xmlns:p14="http://schemas.microsoft.com/office/powerpoint/2010/main" val="153550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2BB6DC4-F443-4398-B024-61934E95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ED6E2347-EEF7-434B-B045-D49C56A1486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62"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CE303BEB-AEF3-4ECF-A589-D95CE1A1525F}"/>
              </a:ext>
            </a:extLst>
          </p:cNvPr>
          <p:cNvSpPr/>
          <p:nvPr userDrawn="1"/>
        </p:nvSpPr>
        <p:spPr>
          <a:xfrm>
            <a:off x="-1" y="0"/>
            <a:ext cx="7267576" cy="1410789"/>
          </a:xfrm>
          <a:prstGeom prst="rect">
            <a:avLst/>
          </a:prstGeom>
          <a:gradFill flip="none" rotWithShape="1">
            <a:gsLst>
              <a:gs pos="0">
                <a:schemeClr val="bg1">
                  <a:lumMod val="50000"/>
                  <a:shade val="30000"/>
                  <a:satMod val="115000"/>
                  <a:alpha val="54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D8D8">
                  <a:lumMod val="40000"/>
                  <a:lumOff val="60000"/>
                </a:srgbClr>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1F838AD-A49F-469D-A5A0-9BF7CB17DD1B}"/>
              </a:ext>
            </a:extLst>
          </p:cNvPr>
          <p:cNvSpPr/>
          <p:nvPr userDrawn="1"/>
        </p:nvSpPr>
        <p:spPr>
          <a:xfrm>
            <a:off x="7279042" y="0"/>
            <a:ext cx="491295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789FF9EF-B1EA-4E45-87E6-40CEFE5565DE}"/>
              </a:ext>
            </a:extLst>
          </p:cNvPr>
          <p:cNvSpPr/>
          <p:nvPr userDrawn="1"/>
        </p:nvSpPr>
        <p:spPr>
          <a:xfrm>
            <a:off x="7279042" y="2847703"/>
            <a:ext cx="4913335" cy="2190642"/>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Content Placeholder 5">
            <a:extLst>
              <a:ext uri="{FF2B5EF4-FFF2-40B4-BE49-F238E27FC236}">
                <a16:creationId xmlns:a16="http://schemas.microsoft.com/office/drawing/2014/main" id="{75198B83-C8A4-42DA-B9B5-E85FA6A5D9B5}"/>
              </a:ext>
            </a:extLst>
          </p:cNvPr>
          <p:cNvSpPr>
            <a:spLocks noGrp="1"/>
          </p:cNvSpPr>
          <p:nvPr>
            <p:ph sz="quarter" idx="16" hasCustomPrompt="1"/>
          </p:nvPr>
        </p:nvSpPr>
        <p:spPr>
          <a:xfrm>
            <a:off x="9090660" y="689039"/>
            <a:ext cx="2834640" cy="1645920"/>
          </a:xfrm>
        </p:spPr>
        <p:txBody>
          <a:bodyPr anchor="ctr"/>
          <a:lstStyle>
            <a:lvl1pPr marL="0" indent="0" algn="ctr">
              <a:buFontTx/>
              <a:buNone/>
              <a:defRPr sz="1800" i="1"/>
            </a:lvl1pPr>
          </a:lstStyle>
          <a:p>
            <a:pPr lvl="0"/>
            <a:r>
              <a:rPr lang="en-US"/>
              <a:t>Client logo goes here </a:t>
            </a:r>
            <a:br>
              <a:rPr lang="en-US"/>
            </a:br>
            <a:r>
              <a:rPr lang="en-US"/>
              <a:t>(click on Picture icon)</a:t>
            </a:r>
          </a:p>
        </p:txBody>
      </p:sp>
      <p:sp>
        <p:nvSpPr>
          <p:cNvPr id="14" name="Subtitle 2">
            <a:extLst>
              <a:ext uri="{FF2B5EF4-FFF2-40B4-BE49-F238E27FC236}">
                <a16:creationId xmlns:a16="http://schemas.microsoft.com/office/drawing/2014/main" id="{1CC80F1F-A61B-4FA4-BFDC-34C5900A86D0}"/>
              </a:ext>
            </a:extLst>
          </p:cNvPr>
          <p:cNvSpPr>
            <a:spLocks noGrp="1"/>
          </p:cNvSpPr>
          <p:nvPr>
            <p:ph type="subTitle" idx="1" hasCustomPrompt="1"/>
          </p:nvPr>
        </p:nvSpPr>
        <p:spPr>
          <a:xfrm>
            <a:off x="7296912" y="3944141"/>
            <a:ext cx="4632766" cy="428948"/>
          </a:xfrm>
          <a:prstGeom prst="rect">
            <a:avLst/>
          </a:prstGeom>
        </p:spPr>
        <p:txBody>
          <a:bodyPr lIns="0" tIns="0">
            <a:noAutofit/>
          </a:bodyPr>
          <a:lstStyle>
            <a:lvl1pPr marL="0" indent="0" algn="r">
              <a:lnSpc>
                <a:spcPct val="900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6" name="Text Placeholder 15">
            <a:extLst>
              <a:ext uri="{FF2B5EF4-FFF2-40B4-BE49-F238E27FC236}">
                <a16:creationId xmlns:a16="http://schemas.microsoft.com/office/drawing/2014/main" id="{D6AB4503-F23F-444E-A8F6-CE96FC3129D8}"/>
              </a:ext>
            </a:extLst>
          </p:cNvPr>
          <p:cNvSpPr>
            <a:spLocks noGrp="1"/>
          </p:cNvSpPr>
          <p:nvPr>
            <p:ph type="body" sz="quarter" idx="14" hasCustomPrompt="1"/>
          </p:nvPr>
        </p:nvSpPr>
        <p:spPr>
          <a:xfrm>
            <a:off x="9232456" y="4683358"/>
            <a:ext cx="2702375" cy="225271"/>
          </a:xfrm>
          <a:prstGeom prst="rect">
            <a:avLst/>
          </a:prstGeom>
        </p:spPr>
        <p:txBody>
          <a:bodyPr lIns="0" anchor="ctr" anchorCtr="0">
            <a:noAutofit/>
          </a:bodyPr>
          <a:lstStyle>
            <a:lvl1pPr marL="0" indent="0" algn="r">
              <a:buFontTx/>
              <a:buNone/>
              <a:defRPr sz="12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a:t>
            </a:r>
          </a:p>
        </p:txBody>
      </p:sp>
      <p:sp>
        <p:nvSpPr>
          <p:cNvPr id="17" name="Text Placeholder 2">
            <a:extLst>
              <a:ext uri="{FF2B5EF4-FFF2-40B4-BE49-F238E27FC236}">
                <a16:creationId xmlns:a16="http://schemas.microsoft.com/office/drawing/2014/main" id="{7AE3858F-DCA3-4CCB-AB61-A4A60579F42B}"/>
              </a:ext>
            </a:extLst>
          </p:cNvPr>
          <p:cNvSpPr>
            <a:spLocks noGrp="1"/>
          </p:cNvSpPr>
          <p:nvPr>
            <p:ph type="body" sz="quarter" idx="15" hasCustomPrompt="1"/>
          </p:nvPr>
        </p:nvSpPr>
        <p:spPr>
          <a:xfrm>
            <a:off x="7296912" y="3081528"/>
            <a:ext cx="4628388" cy="832104"/>
          </a:xfrm>
        </p:spPr>
        <p:txBody>
          <a:bodyPr lIns="0" anchor="b">
            <a:noAutofit/>
          </a:bodyPr>
          <a:lstStyle>
            <a:lvl1pPr marL="0" indent="0" algn="r">
              <a:spcBef>
                <a:spcPts val="0"/>
              </a:spcBef>
              <a:buFontTx/>
              <a:buNone/>
              <a:defRPr sz="2800" spc="50" baseline="0">
                <a:solidFill>
                  <a:schemeClr val="bg1"/>
                </a:solidFill>
                <a:latin typeface="+mj-lt"/>
              </a:defRPr>
            </a:lvl1pPr>
          </a:lstStyle>
          <a:p>
            <a:pPr lvl="0"/>
            <a:r>
              <a:rPr lang="en-US"/>
              <a:t>Presentation Title</a:t>
            </a:r>
          </a:p>
        </p:txBody>
      </p:sp>
      <p:sp>
        <p:nvSpPr>
          <p:cNvPr id="3" name="Rectangle 2">
            <a:extLst>
              <a:ext uri="{FF2B5EF4-FFF2-40B4-BE49-F238E27FC236}">
                <a16:creationId xmlns:a16="http://schemas.microsoft.com/office/drawing/2014/main" id="{D6A0B274-223B-56EE-EB4E-1ECC3CBF2D24}"/>
              </a:ext>
            </a:extLst>
          </p:cNvPr>
          <p:cNvSpPr/>
          <p:nvPr userDrawn="1"/>
        </p:nvSpPr>
        <p:spPr>
          <a:xfrm>
            <a:off x="7267575" y="5038344"/>
            <a:ext cx="4924425" cy="18196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9D06F003-972C-BAD6-E527-EBBA75B07A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78240" y="5760720"/>
            <a:ext cx="1937270" cy="630936"/>
          </a:xfrm>
          <a:prstGeom prst="rect">
            <a:avLst/>
          </a:prstGeom>
        </p:spPr>
      </p:pic>
      <p:sp>
        <p:nvSpPr>
          <p:cNvPr id="5" name="TextBox 4">
            <a:extLst>
              <a:ext uri="{FF2B5EF4-FFF2-40B4-BE49-F238E27FC236}">
                <a16:creationId xmlns:a16="http://schemas.microsoft.com/office/drawing/2014/main" id="{E61FBE94-2AC8-E289-37BD-35FB3E622F65}"/>
              </a:ext>
            </a:extLst>
          </p:cNvPr>
          <p:cNvSpPr txBox="1"/>
          <p:nvPr userDrawn="1"/>
        </p:nvSpPr>
        <p:spPr>
          <a:xfrm>
            <a:off x="0" y="0"/>
            <a:ext cx="6096000" cy="646331"/>
          </a:xfrm>
          <a:prstGeom prst="rect">
            <a:avLst/>
          </a:prstGeom>
          <a:noFill/>
        </p:spPr>
        <p:txBody>
          <a:bodyPr wrap="square">
            <a:spAutoFit/>
          </a:bodyPr>
          <a:lstStyle/>
          <a:p>
            <a:r>
              <a:rPr lang="en-US" sz="1800" dirty="0">
                <a:solidFill>
                  <a:schemeClr val="bg1"/>
                </a:solidFill>
              </a:rPr>
              <a:t>CONFIDENTIAL</a:t>
            </a:r>
          </a:p>
          <a:p>
            <a:r>
              <a:rPr lang="en-US" sz="1800" dirty="0">
                <a:solidFill>
                  <a:schemeClr val="bg1"/>
                </a:solidFill>
              </a:rPr>
              <a:t>FOR DISCUSSION PURPOSES</a:t>
            </a:r>
          </a:p>
        </p:txBody>
      </p:sp>
    </p:spTree>
    <p:extLst>
      <p:ext uri="{BB962C8B-B14F-4D97-AF65-F5344CB8AC3E}">
        <p14:creationId xmlns:p14="http://schemas.microsoft.com/office/powerpoint/2010/main" val="2843787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estions and Discussion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4" name="Group 3">
            <a:extLst>
              <a:ext uri="{FF2B5EF4-FFF2-40B4-BE49-F238E27FC236}">
                <a16:creationId xmlns:a16="http://schemas.microsoft.com/office/drawing/2014/main" id="{8DBA9C78-4DF7-4D75-9842-39ED1A36FD0C}"/>
              </a:ext>
            </a:extLst>
          </p:cNvPr>
          <p:cNvGrpSpPr/>
          <p:nvPr userDrawn="1"/>
        </p:nvGrpSpPr>
        <p:grpSpPr>
          <a:xfrm>
            <a:off x="1849031" y="1164270"/>
            <a:ext cx="8493938" cy="3323552"/>
            <a:chOff x="1915268" y="1164270"/>
            <a:chExt cx="8493938" cy="3323552"/>
          </a:xfrm>
        </p:grpSpPr>
        <p:sp>
          <p:nvSpPr>
            <p:cNvPr id="6" name="Oval Callout 24">
              <a:extLst>
                <a:ext uri="{FF2B5EF4-FFF2-40B4-BE49-F238E27FC236}">
                  <a16:creationId xmlns:a16="http://schemas.microsoft.com/office/drawing/2014/main" id="{0B9D9E15-5F54-483E-856F-9777C7BBB0FF}"/>
                </a:ext>
              </a:extLst>
            </p:cNvPr>
            <p:cNvSpPr/>
            <p:nvPr/>
          </p:nvSpPr>
          <p:spPr bwMode="auto">
            <a:xfrm>
              <a:off x="2286001" y="2647298"/>
              <a:ext cx="2433711" cy="1350499"/>
            </a:xfrm>
            <a:prstGeom prst="wedgeEllipseCallout">
              <a:avLst>
                <a:gd name="adj1" fmla="val -60717"/>
                <a:gd name="adj2" fmla="val 52083"/>
              </a:avLst>
            </a:prstGeom>
            <a:solidFill>
              <a:schemeClr val="bg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7" name="Oval Callout 25">
              <a:extLst>
                <a:ext uri="{FF2B5EF4-FFF2-40B4-BE49-F238E27FC236}">
                  <a16:creationId xmlns:a16="http://schemas.microsoft.com/office/drawing/2014/main" id="{1D01254F-672A-4034-8EE1-2FCF3AB3065D}"/>
                </a:ext>
              </a:extLst>
            </p:cNvPr>
            <p:cNvSpPr/>
            <p:nvPr/>
          </p:nvSpPr>
          <p:spPr bwMode="auto">
            <a:xfrm>
              <a:off x="4395329" y="2921621"/>
              <a:ext cx="2433711" cy="1566201"/>
            </a:xfrm>
            <a:prstGeom prst="wedgeEllipseCallout">
              <a:avLst>
                <a:gd name="adj1" fmla="val 36971"/>
                <a:gd name="adj2" fmla="val 67708"/>
              </a:avLst>
            </a:prstGeom>
            <a:solidFill>
              <a:schemeClr val="accent6"/>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8" name="Oval Callout 26">
              <a:extLst>
                <a:ext uri="{FF2B5EF4-FFF2-40B4-BE49-F238E27FC236}">
                  <a16:creationId xmlns:a16="http://schemas.microsoft.com/office/drawing/2014/main" id="{A63660D0-913F-431B-AA6C-7816E98E713E}"/>
                </a:ext>
              </a:extLst>
            </p:cNvPr>
            <p:cNvSpPr/>
            <p:nvPr/>
          </p:nvSpPr>
          <p:spPr bwMode="auto">
            <a:xfrm>
              <a:off x="3863101" y="3498248"/>
              <a:ext cx="1064455" cy="980049"/>
            </a:xfrm>
            <a:prstGeom prst="wedgeEllipseCallout">
              <a:avLst>
                <a:gd name="adj1" fmla="val 36971"/>
                <a:gd name="adj2" fmla="val 67708"/>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9" name="Oval Callout 27">
              <a:extLst>
                <a:ext uri="{FF2B5EF4-FFF2-40B4-BE49-F238E27FC236}">
                  <a16:creationId xmlns:a16="http://schemas.microsoft.com/office/drawing/2014/main" id="{659341B6-A649-4CB7-94E1-2BD8F5D5FE3E}"/>
                </a:ext>
              </a:extLst>
            </p:cNvPr>
            <p:cNvSpPr/>
            <p:nvPr/>
          </p:nvSpPr>
          <p:spPr bwMode="auto">
            <a:xfrm>
              <a:off x="6172201" y="2456225"/>
              <a:ext cx="1752600" cy="1541572"/>
            </a:xfrm>
            <a:prstGeom prst="wedgeEllipseCallout">
              <a:avLst/>
            </a:prstGeom>
            <a:solidFill>
              <a:schemeClr val="accent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0" name="Oval Callout 28">
              <a:extLst>
                <a:ext uri="{FF2B5EF4-FFF2-40B4-BE49-F238E27FC236}">
                  <a16:creationId xmlns:a16="http://schemas.microsoft.com/office/drawing/2014/main" id="{3BEEF42C-B849-4993-A6C1-9C270E8B6E73}"/>
                </a:ext>
              </a:extLst>
            </p:cNvPr>
            <p:cNvSpPr/>
            <p:nvPr/>
          </p:nvSpPr>
          <p:spPr bwMode="auto">
            <a:xfrm>
              <a:off x="7432975" y="2551761"/>
              <a:ext cx="2433711" cy="1350499"/>
            </a:xfrm>
            <a:prstGeom prst="wedgeEllipseCallout">
              <a:avLst>
                <a:gd name="adj1" fmla="val -25457"/>
                <a:gd name="adj2" fmla="val 68750"/>
              </a:avLst>
            </a:prstGeom>
            <a:solidFill>
              <a:schemeClr val="accent3"/>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1" name="Oval Callout 29">
              <a:extLst>
                <a:ext uri="{FF2B5EF4-FFF2-40B4-BE49-F238E27FC236}">
                  <a16:creationId xmlns:a16="http://schemas.microsoft.com/office/drawing/2014/main" id="{22639245-E1AF-4A3B-8B4E-ED62120F4709}"/>
                </a:ext>
              </a:extLst>
            </p:cNvPr>
            <p:cNvSpPr/>
            <p:nvPr/>
          </p:nvSpPr>
          <p:spPr bwMode="auto">
            <a:xfrm>
              <a:off x="8802231" y="3435088"/>
              <a:ext cx="1064455" cy="980049"/>
            </a:xfrm>
            <a:prstGeom prst="wedgeEllipseCallout">
              <a:avLst>
                <a:gd name="adj1" fmla="val -26465"/>
                <a:gd name="adj2" fmla="val 72015"/>
              </a:avLst>
            </a:prstGeom>
            <a:solidFill>
              <a:schemeClr val="accent4">
                <a:lumMod val="75000"/>
              </a:schemeClr>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grpSp>
          <p:nvGrpSpPr>
            <p:cNvPr id="12" name="Group 11">
              <a:extLst>
                <a:ext uri="{FF2B5EF4-FFF2-40B4-BE49-F238E27FC236}">
                  <a16:creationId xmlns:a16="http://schemas.microsoft.com/office/drawing/2014/main" id="{8E4E1F7B-2861-43A2-A887-5A6359BC461C}"/>
                </a:ext>
              </a:extLst>
            </p:cNvPr>
            <p:cNvGrpSpPr/>
            <p:nvPr/>
          </p:nvGrpSpPr>
          <p:grpSpPr>
            <a:xfrm>
              <a:off x="1915268" y="1164270"/>
              <a:ext cx="8493938" cy="1446550"/>
              <a:chOff x="391268" y="997890"/>
              <a:chExt cx="8493938" cy="1446550"/>
            </a:xfrm>
          </p:grpSpPr>
          <p:sp>
            <p:nvSpPr>
              <p:cNvPr id="13" name="Title 1">
                <a:extLst>
                  <a:ext uri="{FF2B5EF4-FFF2-40B4-BE49-F238E27FC236}">
                    <a16:creationId xmlns:a16="http://schemas.microsoft.com/office/drawing/2014/main" id="{0296A2FF-607B-4A83-88E7-16CE0E42A4E2}"/>
                  </a:ext>
                </a:extLst>
              </p:cNvPr>
              <p:cNvSpPr txBox="1">
                <a:spLocks/>
              </p:cNvSpPr>
              <p:nvPr/>
            </p:nvSpPr>
            <p:spPr>
              <a:xfrm>
                <a:off x="391268" y="1518699"/>
                <a:ext cx="3925515" cy="769441"/>
              </a:xfrm>
              <a:prstGeom prst="rect">
                <a:avLst/>
              </a:prstGeom>
            </p:spPr>
            <p:txBody>
              <a:bodyPr vert="horz" lIns="91440" tIns="45720" rIns="91440" bIns="45720" rtlCol="0" anchor="ctr">
                <a:spAutoFit/>
              </a:bodyPr>
              <a:lstStyle>
                <a:lvl1pPr algn="ctr" defTabSz="914400" rtl="0" eaLnBrk="1" latinLnBrk="0" hangingPunct="1">
                  <a:spcBef>
                    <a:spcPct val="0"/>
                  </a:spcBef>
                  <a:buNone/>
                  <a:defRPr sz="3200" b="1" kern="1200" baseline="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Questions</a:t>
                </a:r>
              </a:p>
            </p:txBody>
          </p:sp>
          <p:sp>
            <p:nvSpPr>
              <p:cNvPr id="14" name="TextBox 13">
                <a:extLst>
                  <a:ext uri="{FF2B5EF4-FFF2-40B4-BE49-F238E27FC236}">
                    <a16:creationId xmlns:a16="http://schemas.microsoft.com/office/drawing/2014/main" id="{E6C7106F-E585-486F-AAF1-1F91F9686DCF}"/>
                  </a:ext>
                </a:extLst>
              </p:cNvPr>
              <p:cNvSpPr txBox="1"/>
              <p:nvPr/>
            </p:nvSpPr>
            <p:spPr>
              <a:xfrm>
                <a:off x="3657600" y="997890"/>
                <a:ext cx="14478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0091E1"/>
                    </a:solidFill>
                    <a:effectLst/>
                    <a:uLnTx/>
                    <a:uFillTx/>
                    <a:latin typeface="Rockwell" panose="02060603020205020403" pitchFamily="18" charset="0"/>
                    <a:ea typeface="+mn-ea"/>
                    <a:cs typeface="Arial" panose="020B0604020202020204" pitchFamily="34" charset="0"/>
                  </a:rPr>
                  <a:t>&amp;</a:t>
                </a:r>
              </a:p>
            </p:txBody>
          </p:sp>
          <p:sp>
            <p:nvSpPr>
              <p:cNvPr id="15" name="Title 1">
                <a:extLst>
                  <a:ext uri="{FF2B5EF4-FFF2-40B4-BE49-F238E27FC236}">
                    <a16:creationId xmlns:a16="http://schemas.microsoft.com/office/drawing/2014/main" id="{F0FBBBAE-CE0B-4B52-BC8E-9129F4055A8F}"/>
                  </a:ext>
                </a:extLst>
              </p:cNvPr>
              <p:cNvSpPr txBox="1">
                <a:spLocks/>
              </p:cNvSpPr>
              <p:nvPr/>
            </p:nvSpPr>
            <p:spPr>
              <a:xfrm>
                <a:off x="4215440" y="1530795"/>
                <a:ext cx="4669766" cy="769441"/>
              </a:xfrm>
              <a:prstGeom prst="rect">
                <a:avLst/>
              </a:prstGeom>
            </p:spPr>
            <p:txBody>
              <a:bodyPr vert="horz" wrap="square" lIns="91440" tIns="45720" rIns="91440" bIns="45720" rtlCol="0" anchor="ctr">
                <a:spAutoFit/>
              </a:bodyPr>
              <a:lstStyle>
                <a:lvl1pPr algn="ctr" defTabSz="914400" rtl="0" eaLnBrk="1" latinLnBrk="0" hangingPunct="1">
                  <a:spcBef>
                    <a:spcPct val="0"/>
                  </a:spcBef>
                  <a:buNone/>
                  <a:defRPr sz="3200" b="1" kern="120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Discussion</a:t>
                </a:r>
              </a:p>
            </p:txBody>
          </p:sp>
        </p:grpSp>
      </p:grpSp>
      <p:sp>
        <p:nvSpPr>
          <p:cNvPr id="16" name="Text Placeholder 15">
            <a:extLst>
              <a:ext uri="{FF2B5EF4-FFF2-40B4-BE49-F238E27FC236}">
                <a16:creationId xmlns:a16="http://schemas.microsoft.com/office/drawing/2014/main" id="{15567D59-4386-4DB3-9DFF-C9E181FCB29E}"/>
              </a:ext>
            </a:extLst>
          </p:cNvPr>
          <p:cNvSpPr>
            <a:spLocks noGrp="1"/>
          </p:cNvSpPr>
          <p:nvPr>
            <p:ph type="body" sz="quarter" idx="11" hasCustomPrompt="1"/>
          </p:nvPr>
        </p:nvSpPr>
        <p:spPr>
          <a:xfrm>
            <a:off x="2863618" y="4800600"/>
            <a:ext cx="3014662" cy="457200"/>
          </a:xfrm>
        </p:spPr>
        <p:txBody>
          <a:bodyPr/>
          <a:lstStyle>
            <a:lvl1pPr marL="0" indent="0" algn="ctr">
              <a:buFontTx/>
              <a:buNone/>
              <a:defRPr b="1"/>
            </a:lvl1pPr>
          </a:lstStyle>
          <a:p>
            <a:pPr lvl="0"/>
            <a:r>
              <a:rPr lang="en-US"/>
              <a:t>Name</a:t>
            </a:r>
          </a:p>
          <a:p>
            <a:pPr lvl="0"/>
            <a:endParaRPr lang="en-US"/>
          </a:p>
        </p:txBody>
      </p:sp>
      <p:sp>
        <p:nvSpPr>
          <p:cNvPr id="18" name="Text Placeholder 15">
            <a:extLst>
              <a:ext uri="{FF2B5EF4-FFF2-40B4-BE49-F238E27FC236}">
                <a16:creationId xmlns:a16="http://schemas.microsoft.com/office/drawing/2014/main" id="{1D0056BF-8338-45CD-B076-376EEDBD46F3}"/>
              </a:ext>
            </a:extLst>
          </p:cNvPr>
          <p:cNvSpPr>
            <a:spLocks noGrp="1"/>
          </p:cNvSpPr>
          <p:nvPr>
            <p:ph type="body" sz="quarter" idx="12" hasCustomPrompt="1"/>
          </p:nvPr>
        </p:nvSpPr>
        <p:spPr>
          <a:xfrm>
            <a:off x="2863618"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22" name="Text Placeholder 15">
            <a:extLst>
              <a:ext uri="{FF2B5EF4-FFF2-40B4-BE49-F238E27FC236}">
                <a16:creationId xmlns:a16="http://schemas.microsoft.com/office/drawing/2014/main" id="{F0586C2F-544F-4BF1-A61B-F8013D680B73}"/>
              </a:ext>
            </a:extLst>
          </p:cNvPr>
          <p:cNvSpPr>
            <a:spLocks noGrp="1"/>
          </p:cNvSpPr>
          <p:nvPr>
            <p:ph type="body" sz="quarter" idx="13" hasCustomPrompt="1"/>
          </p:nvPr>
        </p:nvSpPr>
        <p:spPr>
          <a:xfrm>
            <a:off x="6313720" y="4800600"/>
            <a:ext cx="3014662" cy="457200"/>
          </a:xfrm>
        </p:spPr>
        <p:txBody>
          <a:bodyPr/>
          <a:lstStyle>
            <a:lvl1pPr marL="0" indent="0" algn="ctr">
              <a:buFontTx/>
              <a:buNone/>
              <a:defRPr b="1"/>
            </a:lvl1pPr>
          </a:lstStyle>
          <a:p>
            <a:pPr lvl="0"/>
            <a:r>
              <a:rPr lang="en-US"/>
              <a:t>Name</a:t>
            </a:r>
          </a:p>
          <a:p>
            <a:pPr lvl="0"/>
            <a:endParaRPr lang="en-US"/>
          </a:p>
        </p:txBody>
      </p:sp>
      <p:sp>
        <p:nvSpPr>
          <p:cNvPr id="23" name="Text Placeholder 15">
            <a:extLst>
              <a:ext uri="{FF2B5EF4-FFF2-40B4-BE49-F238E27FC236}">
                <a16:creationId xmlns:a16="http://schemas.microsoft.com/office/drawing/2014/main" id="{AB0A737E-927A-4B0D-9099-B124AAF93530}"/>
              </a:ext>
            </a:extLst>
          </p:cNvPr>
          <p:cNvSpPr>
            <a:spLocks noGrp="1"/>
          </p:cNvSpPr>
          <p:nvPr>
            <p:ph type="body" sz="quarter" idx="14" hasCustomPrompt="1"/>
          </p:nvPr>
        </p:nvSpPr>
        <p:spPr>
          <a:xfrm>
            <a:off x="6313720"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3" name="Footer Placeholder 1">
            <a:extLst>
              <a:ext uri="{FF2B5EF4-FFF2-40B4-BE49-F238E27FC236}">
                <a16:creationId xmlns:a16="http://schemas.microsoft.com/office/drawing/2014/main" id="{0A306CEA-3184-F441-C591-06FC02087DC3}"/>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32782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89320"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3"/>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89320"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a:t>1190.004\678346(pptx)-E2 5-11-24</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92638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grpSp>
        <p:nvGrpSpPr>
          <p:cNvPr id="526" name="Group 525"/>
          <p:cNvGrpSpPr/>
          <p:nvPr/>
        </p:nvGrpSpPr>
        <p:grpSpPr>
          <a:xfrm>
            <a:off x="0" y="420256"/>
            <a:ext cx="12188952" cy="3795497"/>
            <a:chOff x="0" y="420256"/>
            <a:chExt cx="12188952" cy="3795497"/>
          </a:xfrm>
        </p:grpSpPr>
        <p:cxnSp>
          <p:nvCxnSpPr>
            <p:cNvPr id="527" name="Straight Connector 526"/>
            <p:cNvCxnSpPr/>
            <p:nvPr/>
          </p:nvCxnSpPr>
          <p:spPr>
            <a:xfrm>
              <a:off x="0" y="4215753"/>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0" y="379403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a:off x="0" y="337231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p:cNvCxnSpPr/>
            <p:nvPr/>
          </p:nvCxnSpPr>
          <p:spPr>
            <a:xfrm>
              <a:off x="0" y="295058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p:nvPr/>
          </p:nvCxnSpPr>
          <p:spPr>
            <a:xfrm>
              <a:off x="0" y="252886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p:nvPr/>
          </p:nvCxnSpPr>
          <p:spPr>
            <a:xfrm>
              <a:off x="0" y="2107144"/>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p:cNvCxnSpPr/>
            <p:nvPr/>
          </p:nvCxnSpPr>
          <p:spPr>
            <a:xfrm>
              <a:off x="0" y="168542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p:cNvCxnSpPr/>
            <p:nvPr/>
          </p:nvCxnSpPr>
          <p:spPr>
            <a:xfrm>
              <a:off x="0" y="126370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p:nvPr/>
          </p:nvCxnSpPr>
          <p:spPr>
            <a:xfrm>
              <a:off x="0" y="84197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p:cNvCxnSpPr/>
            <p:nvPr/>
          </p:nvCxnSpPr>
          <p:spPr>
            <a:xfrm>
              <a:off x="0" y="42025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37" name="Rectangle 379"/>
          <p:cNvSpPr/>
          <p:nvPr/>
        </p:nvSpPr>
        <p:spPr>
          <a:xfrm rot="18900000" flipV="1">
            <a:off x="9445819" y="-965459"/>
            <a:ext cx="13717" cy="6493220"/>
          </a:xfrm>
          <a:custGeom>
            <a:avLst/>
            <a:gdLst/>
            <a:ahLst/>
            <a:cxnLst/>
            <a:rect l="l" t="t" r="r" b="b"/>
            <a:pathLst>
              <a:path w="13717" h="6493220">
                <a:moveTo>
                  <a:pt x="1" y="6493220"/>
                </a:moveTo>
                <a:lnTo>
                  <a:pt x="13717"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8" name="Rectangle 56"/>
          <p:cNvSpPr/>
          <p:nvPr/>
        </p:nvSpPr>
        <p:spPr>
          <a:xfrm>
            <a:off x="0" y="0"/>
            <a:ext cx="11816540" cy="4572004"/>
          </a:xfrm>
          <a:custGeom>
            <a:avLst/>
            <a:gdLst/>
            <a:ahLst/>
            <a:cxnLst/>
            <a:rect l="l" t="t" r="r" b="b"/>
            <a:pathLst>
              <a:path w="11816540" h="4572004">
                <a:moveTo>
                  <a:pt x="11802824" y="4"/>
                </a:moveTo>
                <a:lnTo>
                  <a:pt x="11816540" y="4"/>
                </a:lnTo>
                <a:lnTo>
                  <a:pt x="11816540" y="4572004"/>
                </a:lnTo>
                <a:lnTo>
                  <a:pt x="11802824" y="4572004"/>
                </a:lnTo>
                <a:close/>
                <a:moveTo>
                  <a:pt x="5901406" y="4"/>
                </a:moveTo>
                <a:lnTo>
                  <a:pt x="5915122" y="4"/>
                </a:lnTo>
                <a:lnTo>
                  <a:pt x="5915122" y="4572004"/>
                </a:lnTo>
                <a:lnTo>
                  <a:pt x="5901406" y="4572004"/>
                </a:lnTo>
                <a:close/>
                <a:moveTo>
                  <a:pt x="10959754" y="3"/>
                </a:moveTo>
                <a:lnTo>
                  <a:pt x="10973470" y="3"/>
                </a:lnTo>
                <a:lnTo>
                  <a:pt x="10973470" y="4572003"/>
                </a:lnTo>
                <a:lnTo>
                  <a:pt x="10959754" y="4572003"/>
                </a:lnTo>
                <a:close/>
                <a:moveTo>
                  <a:pt x="5058348" y="3"/>
                </a:moveTo>
                <a:lnTo>
                  <a:pt x="5072064" y="3"/>
                </a:lnTo>
                <a:lnTo>
                  <a:pt x="5072064" y="4572003"/>
                </a:lnTo>
                <a:lnTo>
                  <a:pt x="5058348" y="4572003"/>
                </a:lnTo>
                <a:close/>
                <a:moveTo>
                  <a:pt x="11381283" y="2"/>
                </a:moveTo>
                <a:lnTo>
                  <a:pt x="11394999" y="2"/>
                </a:lnTo>
                <a:lnTo>
                  <a:pt x="11394999" y="4572002"/>
                </a:lnTo>
                <a:lnTo>
                  <a:pt x="11381283" y="4572002"/>
                </a:lnTo>
                <a:close/>
                <a:moveTo>
                  <a:pt x="10538225" y="2"/>
                </a:moveTo>
                <a:lnTo>
                  <a:pt x="10551941" y="2"/>
                </a:lnTo>
                <a:lnTo>
                  <a:pt x="10551941" y="4572002"/>
                </a:lnTo>
                <a:lnTo>
                  <a:pt x="10538225" y="4572002"/>
                </a:lnTo>
                <a:close/>
                <a:moveTo>
                  <a:pt x="10116696" y="2"/>
                </a:moveTo>
                <a:lnTo>
                  <a:pt x="10130412" y="2"/>
                </a:lnTo>
                <a:lnTo>
                  <a:pt x="10130412" y="4572002"/>
                </a:lnTo>
                <a:lnTo>
                  <a:pt x="10116696" y="4572002"/>
                </a:lnTo>
                <a:close/>
                <a:moveTo>
                  <a:pt x="6322935" y="2"/>
                </a:moveTo>
                <a:lnTo>
                  <a:pt x="6336651" y="2"/>
                </a:lnTo>
                <a:lnTo>
                  <a:pt x="6336651" y="4572002"/>
                </a:lnTo>
                <a:lnTo>
                  <a:pt x="6322935" y="4572002"/>
                </a:lnTo>
                <a:close/>
                <a:moveTo>
                  <a:pt x="5479877" y="2"/>
                </a:moveTo>
                <a:lnTo>
                  <a:pt x="5493593" y="2"/>
                </a:lnTo>
                <a:lnTo>
                  <a:pt x="5493593" y="4572002"/>
                </a:lnTo>
                <a:lnTo>
                  <a:pt x="5479877" y="4572002"/>
                </a:lnTo>
                <a:close/>
                <a:moveTo>
                  <a:pt x="4636819" y="2"/>
                </a:moveTo>
                <a:lnTo>
                  <a:pt x="4650535" y="2"/>
                </a:lnTo>
                <a:lnTo>
                  <a:pt x="4650535" y="4572002"/>
                </a:lnTo>
                <a:lnTo>
                  <a:pt x="4636819" y="4572002"/>
                </a:lnTo>
                <a:close/>
                <a:moveTo>
                  <a:pt x="4215290" y="2"/>
                </a:moveTo>
                <a:lnTo>
                  <a:pt x="4229006" y="2"/>
                </a:lnTo>
                <a:lnTo>
                  <a:pt x="4229006" y="4572002"/>
                </a:lnTo>
                <a:lnTo>
                  <a:pt x="4215290" y="4572002"/>
                </a:lnTo>
                <a:close/>
                <a:moveTo>
                  <a:pt x="421529" y="2"/>
                </a:moveTo>
                <a:lnTo>
                  <a:pt x="435245" y="2"/>
                </a:lnTo>
                <a:lnTo>
                  <a:pt x="435245" y="4572002"/>
                </a:lnTo>
                <a:lnTo>
                  <a:pt x="421529" y="4572002"/>
                </a:lnTo>
                <a:close/>
                <a:moveTo>
                  <a:pt x="0" y="2"/>
                </a:moveTo>
                <a:lnTo>
                  <a:pt x="13716" y="2"/>
                </a:lnTo>
                <a:lnTo>
                  <a:pt x="13716" y="4572002"/>
                </a:lnTo>
                <a:lnTo>
                  <a:pt x="0" y="4572002"/>
                </a:lnTo>
                <a:close/>
                <a:moveTo>
                  <a:pt x="9273638" y="1"/>
                </a:moveTo>
                <a:lnTo>
                  <a:pt x="9287354" y="1"/>
                </a:lnTo>
                <a:lnTo>
                  <a:pt x="9287354" y="4572001"/>
                </a:lnTo>
                <a:lnTo>
                  <a:pt x="9273638" y="4572001"/>
                </a:lnTo>
                <a:close/>
                <a:moveTo>
                  <a:pt x="3372232" y="1"/>
                </a:moveTo>
                <a:lnTo>
                  <a:pt x="3385948" y="1"/>
                </a:lnTo>
                <a:lnTo>
                  <a:pt x="3385948" y="4572001"/>
                </a:lnTo>
                <a:lnTo>
                  <a:pt x="3372232" y="4572001"/>
                </a:lnTo>
                <a:close/>
                <a:moveTo>
                  <a:pt x="9695167" y="0"/>
                </a:moveTo>
                <a:lnTo>
                  <a:pt x="9708883" y="0"/>
                </a:lnTo>
                <a:lnTo>
                  <a:pt x="9708883" y="4572000"/>
                </a:lnTo>
                <a:lnTo>
                  <a:pt x="9695167" y="4572000"/>
                </a:lnTo>
                <a:close/>
                <a:moveTo>
                  <a:pt x="8852109" y="0"/>
                </a:moveTo>
                <a:lnTo>
                  <a:pt x="8865825" y="0"/>
                </a:lnTo>
                <a:lnTo>
                  <a:pt x="8865825" y="4572000"/>
                </a:lnTo>
                <a:lnTo>
                  <a:pt x="8852109" y="4572000"/>
                </a:lnTo>
                <a:close/>
                <a:moveTo>
                  <a:pt x="8430580" y="0"/>
                </a:moveTo>
                <a:lnTo>
                  <a:pt x="8444296" y="0"/>
                </a:lnTo>
                <a:lnTo>
                  <a:pt x="8444296" y="4572000"/>
                </a:lnTo>
                <a:lnTo>
                  <a:pt x="8430580" y="4572000"/>
                </a:lnTo>
                <a:close/>
                <a:moveTo>
                  <a:pt x="8009051" y="0"/>
                </a:moveTo>
                <a:lnTo>
                  <a:pt x="8022767" y="0"/>
                </a:lnTo>
                <a:lnTo>
                  <a:pt x="8022767" y="4572000"/>
                </a:lnTo>
                <a:lnTo>
                  <a:pt x="8009051" y="4572000"/>
                </a:lnTo>
                <a:close/>
                <a:moveTo>
                  <a:pt x="7587522" y="0"/>
                </a:moveTo>
                <a:lnTo>
                  <a:pt x="7601238" y="0"/>
                </a:lnTo>
                <a:lnTo>
                  <a:pt x="7601238" y="4572000"/>
                </a:lnTo>
                <a:lnTo>
                  <a:pt x="7587522" y="4572000"/>
                </a:lnTo>
                <a:close/>
                <a:moveTo>
                  <a:pt x="7165993" y="0"/>
                </a:moveTo>
                <a:lnTo>
                  <a:pt x="7179709" y="0"/>
                </a:lnTo>
                <a:lnTo>
                  <a:pt x="7179709" y="4572000"/>
                </a:lnTo>
                <a:lnTo>
                  <a:pt x="7165993" y="4572000"/>
                </a:lnTo>
                <a:close/>
                <a:moveTo>
                  <a:pt x="6744464" y="0"/>
                </a:moveTo>
                <a:lnTo>
                  <a:pt x="6758180" y="0"/>
                </a:lnTo>
                <a:lnTo>
                  <a:pt x="6758180" y="4572000"/>
                </a:lnTo>
                <a:lnTo>
                  <a:pt x="6744464" y="4572000"/>
                </a:lnTo>
                <a:close/>
                <a:moveTo>
                  <a:pt x="3793761" y="0"/>
                </a:moveTo>
                <a:lnTo>
                  <a:pt x="3807477" y="0"/>
                </a:lnTo>
                <a:lnTo>
                  <a:pt x="3807477" y="4572000"/>
                </a:lnTo>
                <a:lnTo>
                  <a:pt x="3793761" y="4572000"/>
                </a:lnTo>
                <a:close/>
                <a:moveTo>
                  <a:pt x="2950703" y="0"/>
                </a:moveTo>
                <a:lnTo>
                  <a:pt x="2964419" y="0"/>
                </a:lnTo>
                <a:lnTo>
                  <a:pt x="2964419" y="4572000"/>
                </a:lnTo>
                <a:lnTo>
                  <a:pt x="2950703" y="4572000"/>
                </a:lnTo>
                <a:close/>
                <a:moveTo>
                  <a:pt x="2529174" y="0"/>
                </a:moveTo>
                <a:lnTo>
                  <a:pt x="2542890" y="0"/>
                </a:lnTo>
                <a:lnTo>
                  <a:pt x="2542890" y="4572000"/>
                </a:lnTo>
                <a:lnTo>
                  <a:pt x="2529174" y="4572000"/>
                </a:lnTo>
                <a:close/>
                <a:moveTo>
                  <a:pt x="2107645" y="0"/>
                </a:moveTo>
                <a:lnTo>
                  <a:pt x="2121361" y="0"/>
                </a:lnTo>
                <a:lnTo>
                  <a:pt x="2121361" y="4572000"/>
                </a:lnTo>
                <a:lnTo>
                  <a:pt x="2107645" y="4572000"/>
                </a:lnTo>
                <a:close/>
                <a:moveTo>
                  <a:pt x="1686116" y="0"/>
                </a:moveTo>
                <a:lnTo>
                  <a:pt x="1699832" y="0"/>
                </a:lnTo>
                <a:lnTo>
                  <a:pt x="1699832" y="4572000"/>
                </a:lnTo>
                <a:lnTo>
                  <a:pt x="1686116" y="4572000"/>
                </a:lnTo>
                <a:close/>
                <a:moveTo>
                  <a:pt x="1264587" y="0"/>
                </a:moveTo>
                <a:lnTo>
                  <a:pt x="1278303" y="0"/>
                </a:lnTo>
                <a:lnTo>
                  <a:pt x="1278303" y="4572000"/>
                </a:lnTo>
                <a:lnTo>
                  <a:pt x="1264587" y="4572000"/>
                </a:lnTo>
                <a:close/>
                <a:moveTo>
                  <a:pt x="843058" y="0"/>
                </a:moveTo>
                <a:lnTo>
                  <a:pt x="856774" y="0"/>
                </a:lnTo>
                <a:lnTo>
                  <a:pt x="856774" y="4572000"/>
                </a:lnTo>
                <a:lnTo>
                  <a:pt x="843058" y="457200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9" name="Rectangle 87"/>
          <p:cNvSpPr/>
          <p:nvPr/>
        </p:nvSpPr>
        <p:spPr>
          <a:xfrm rot="2700000">
            <a:off x="2311242" y="-967047"/>
            <a:ext cx="13716" cy="6570294"/>
          </a:xfrm>
          <a:custGeom>
            <a:avLst/>
            <a:gdLst/>
            <a:ahLst/>
            <a:cxnLst/>
            <a:rect l="l" t="t" r="r" b="b"/>
            <a:pathLst>
              <a:path w="13716" h="6570294">
                <a:moveTo>
                  <a:pt x="0" y="6556578"/>
                </a:moveTo>
                <a:lnTo>
                  <a:pt x="13716" y="6570294"/>
                </a:lnTo>
                <a:lnTo>
                  <a:pt x="13716" y="6570294"/>
                </a:lnTo>
                <a:lnTo>
                  <a:pt x="0" y="6556578"/>
                </a:lnTo>
                <a:close/>
                <a:moveTo>
                  <a:pt x="0" y="13716"/>
                </a:moveTo>
                <a:lnTo>
                  <a:pt x="13716" y="0"/>
                </a:lnTo>
                <a:lnTo>
                  <a:pt x="13716" y="6465786"/>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0" name="Rectangle 88"/>
          <p:cNvSpPr/>
          <p:nvPr/>
        </p:nvSpPr>
        <p:spPr>
          <a:xfrm rot="2700000">
            <a:off x="3186527" y="-953751"/>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1" name="Rectangle 89"/>
          <p:cNvSpPr/>
          <p:nvPr/>
        </p:nvSpPr>
        <p:spPr>
          <a:xfrm rot="2700000">
            <a:off x="4029713" y="-953750"/>
            <a:ext cx="13716" cy="6479503"/>
          </a:xfrm>
          <a:custGeom>
            <a:avLst/>
            <a:gdLst/>
            <a:ahLst/>
            <a:cxnLst/>
            <a:rect l="l" t="t" r="r" b="b"/>
            <a:pathLst>
              <a:path w="13716" h="6479503">
                <a:moveTo>
                  <a:pt x="0" y="13716"/>
                </a:moveTo>
                <a:lnTo>
                  <a:pt x="13716" y="0"/>
                </a:lnTo>
                <a:lnTo>
                  <a:pt x="13716" y="6465787"/>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2" name="Rectangle 90"/>
          <p:cNvSpPr/>
          <p:nvPr/>
        </p:nvSpPr>
        <p:spPr>
          <a:xfrm rot="2700000">
            <a:off x="4872899" y="-953750"/>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3" name="Rectangle 91"/>
          <p:cNvSpPr/>
          <p:nvPr/>
        </p:nvSpPr>
        <p:spPr>
          <a:xfrm rot="2700000">
            <a:off x="5716086" y="-953749"/>
            <a:ext cx="13716" cy="6479501"/>
          </a:xfrm>
          <a:custGeom>
            <a:avLst/>
            <a:gdLst/>
            <a:ahLst/>
            <a:cxnLst/>
            <a:rect l="l" t="t" r="r" b="b"/>
            <a:pathLst>
              <a:path w="13716" h="6479501">
                <a:moveTo>
                  <a:pt x="0" y="13716"/>
                </a:moveTo>
                <a:lnTo>
                  <a:pt x="13716" y="0"/>
                </a:lnTo>
                <a:lnTo>
                  <a:pt x="13716" y="6465785"/>
                </a:lnTo>
                <a:lnTo>
                  <a:pt x="0" y="647950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4" name="Rectangle 92"/>
          <p:cNvSpPr/>
          <p:nvPr/>
        </p:nvSpPr>
        <p:spPr>
          <a:xfrm rot="2700000">
            <a:off x="6559272"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5" name="Rectangle 93"/>
          <p:cNvSpPr/>
          <p:nvPr/>
        </p:nvSpPr>
        <p:spPr>
          <a:xfrm rot="2700000">
            <a:off x="7402457" y="-944051"/>
            <a:ext cx="13717" cy="6479502"/>
          </a:xfrm>
          <a:custGeom>
            <a:avLst/>
            <a:gdLst/>
            <a:ahLst/>
            <a:cxnLst/>
            <a:rect l="l" t="t" r="r" b="b"/>
            <a:pathLst>
              <a:path w="13717" h="6479502">
                <a:moveTo>
                  <a:pt x="0" y="13716"/>
                </a:moveTo>
                <a:lnTo>
                  <a:pt x="13717" y="0"/>
                </a:lnTo>
                <a:lnTo>
                  <a:pt x="13716" y="6465787"/>
                </a:lnTo>
                <a:lnTo>
                  <a:pt x="1"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6" name="Rectangle 94"/>
          <p:cNvSpPr/>
          <p:nvPr/>
        </p:nvSpPr>
        <p:spPr>
          <a:xfrm rot="2700000">
            <a:off x="8245644"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7" name="Rectangle 95"/>
          <p:cNvSpPr/>
          <p:nvPr/>
        </p:nvSpPr>
        <p:spPr>
          <a:xfrm rot="2700000">
            <a:off x="9088831" y="-953750"/>
            <a:ext cx="13717" cy="6479503"/>
          </a:xfrm>
          <a:custGeom>
            <a:avLst/>
            <a:gdLst/>
            <a:ahLst/>
            <a:cxnLst/>
            <a:rect l="l" t="t" r="r" b="b"/>
            <a:pathLst>
              <a:path w="13717" h="6479503">
                <a:moveTo>
                  <a:pt x="13717" y="0"/>
                </a:moveTo>
                <a:lnTo>
                  <a:pt x="13716" y="6465787"/>
                </a:lnTo>
                <a:lnTo>
                  <a:pt x="0" y="6479503"/>
                </a:lnTo>
                <a:lnTo>
                  <a:pt x="1" y="1371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8" name="Rectangle 96"/>
          <p:cNvSpPr/>
          <p:nvPr/>
        </p:nvSpPr>
        <p:spPr>
          <a:xfrm rot="2700000">
            <a:off x="9912896" y="-907596"/>
            <a:ext cx="13716" cy="6425429"/>
          </a:xfrm>
          <a:custGeom>
            <a:avLst/>
            <a:gdLst/>
            <a:ahLst/>
            <a:cxnLst/>
            <a:rect l="l" t="t" r="r" b="b"/>
            <a:pathLst>
              <a:path w="13716" h="6425429">
                <a:moveTo>
                  <a:pt x="0" y="0"/>
                </a:moveTo>
                <a:lnTo>
                  <a:pt x="13716" y="13717"/>
                </a:lnTo>
                <a:lnTo>
                  <a:pt x="13716" y="6411713"/>
                </a:lnTo>
                <a:lnTo>
                  <a:pt x="0" y="642542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9" name="Rectangle 97"/>
          <p:cNvSpPr/>
          <p:nvPr/>
        </p:nvSpPr>
        <p:spPr>
          <a:xfrm rot="2700000">
            <a:off x="10334491" y="110221"/>
            <a:ext cx="13717" cy="5232981"/>
          </a:xfrm>
          <a:custGeom>
            <a:avLst/>
            <a:gdLst/>
            <a:ahLst/>
            <a:cxnLst/>
            <a:rect l="l" t="t" r="r" b="b"/>
            <a:pathLst>
              <a:path w="13717" h="5232981">
                <a:moveTo>
                  <a:pt x="0" y="0"/>
                </a:moveTo>
                <a:lnTo>
                  <a:pt x="13717" y="13716"/>
                </a:lnTo>
                <a:lnTo>
                  <a:pt x="13717" y="5219264"/>
                </a:lnTo>
                <a:lnTo>
                  <a:pt x="1" y="523298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0" name="Rectangle 98"/>
          <p:cNvSpPr/>
          <p:nvPr/>
        </p:nvSpPr>
        <p:spPr>
          <a:xfrm rot="2700000">
            <a:off x="10756084" y="1128037"/>
            <a:ext cx="13716" cy="4040537"/>
          </a:xfrm>
          <a:custGeom>
            <a:avLst/>
            <a:gdLst/>
            <a:ahLst/>
            <a:cxnLst/>
            <a:rect l="l" t="t" r="r" b="b"/>
            <a:pathLst>
              <a:path w="13716" h="4040537">
                <a:moveTo>
                  <a:pt x="0" y="0"/>
                </a:moveTo>
                <a:lnTo>
                  <a:pt x="13716" y="13716"/>
                </a:lnTo>
                <a:lnTo>
                  <a:pt x="13715" y="4026822"/>
                </a:lnTo>
                <a:lnTo>
                  <a:pt x="1" y="404053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1" name="Rectangle 99"/>
          <p:cNvSpPr/>
          <p:nvPr/>
        </p:nvSpPr>
        <p:spPr>
          <a:xfrm rot="2700000">
            <a:off x="11177678" y="2145853"/>
            <a:ext cx="13716" cy="2848091"/>
          </a:xfrm>
          <a:custGeom>
            <a:avLst/>
            <a:gdLst/>
            <a:ahLst/>
            <a:cxnLst/>
            <a:rect l="l" t="t" r="r" b="b"/>
            <a:pathLst>
              <a:path w="13716" h="2848091">
                <a:moveTo>
                  <a:pt x="0" y="0"/>
                </a:moveTo>
                <a:lnTo>
                  <a:pt x="13716" y="13716"/>
                </a:lnTo>
                <a:lnTo>
                  <a:pt x="13715" y="2834375"/>
                </a:lnTo>
                <a:lnTo>
                  <a:pt x="0" y="284809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2" name="Rectangle 100"/>
          <p:cNvSpPr/>
          <p:nvPr/>
        </p:nvSpPr>
        <p:spPr>
          <a:xfrm rot="2700000">
            <a:off x="11599272" y="3163669"/>
            <a:ext cx="13715" cy="1655644"/>
          </a:xfrm>
          <a:custGeom>
            <a:avLst/>
            <a:gdLst/>
            <a:ahLst/>
            <a:cxnLst/>
            <a:rect l="l" t="t" r="r" b="b"/>
            <a:pathLst>
              <a:path w="13715" h="1655644">
                <a:moveTo>
                  <a:pt x="0" y="0"/>
                </a:moveTo>
                <a:lnTo>
                  <a:pt x="13715" y="13716"/>
                </a:lnTo>
                <a:lnTo>
                  <a:pt x="13715" y="1641929"/>
                </a:lnTo>
                <a:lnTo>
                  <a:pt x="0" y="165564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3" name="Rectangle 101"/>
          <p:cNvSpPr/>
          <p:nvPr/>
        </p:nvSpPr>
        <p:spPr>
          <a:xfrm rot="2700000">
            <a:off x="12020868" y="4181493"/>
            <a:ext cx="13715" cy="463189"/>
          </a:xfrm>
          <a:custGeom>
            <a:avLst/>
            <a:gdLst/>
            <a:ahLst/>
            <a:cxnLst/>
            <a:rect l="l" t="t" r="r" b="b"/>
            <a:pathLst>
              <a:path w="13715" h="463189">
                <a:moveTo>
                  <a:pt x="1" y="0"/>
                </a:moveTo>
                <a:lnTo>
                  <a:pt x="13715" y="13716"/>
                </a:lnTo>
                <a:lnTo>
                  <a:pt x="13715" y="449474"/>
                </a:lnTo>
                <a:lnTo>
                  <a:pt x="0" y="46318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4" name="Rectangle 102"/>
          <p:cNvSpPr/>
          <p:nvPr/>
        </p:nvSpPr>
        <p:spPr>
          <a:xfrm rot="2700000">
            <a:off x="203277" y="-93899"/>
            <a:ext cx="13716" cy="608068"/>
          </a:xfrm>
          <a:custGeom>
            <a:avLst/>
            <a:gdLst/>
            <a:ahLst/>
            <a:cxnLst/>
            <a:rect l="l" t="t" r="r" b="b"/>
            <a:pathLst>
              <a:path w="13716" h="608068">
                <a:moveTo>
                  <a:pt x="0" y="13716"/>
                </a:moveTo>
                <a:lnTo>
                  <a:pt x="13716" y="0"/>
                </a:lnTo>
                <a:lnTo>
                  <a:pt x="13716" y="608068"/>
                </a:lnTo>
                <a:lnTo>
                  <a:pt x="0" y="59435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5" name="Rectangle 103"/>
          <p:cNvSpPr/>
          <p:nvPr/>
        </p:nvSpPr>
        <p:spPr>
          <a:xfrm rot="2700000">
            <a:off x="624870" y="-268529"/>
            <a:ext cx="13716" cy="1800514"/>
          </a:xfrm>
          <a:custGeom>
            <a:avLst/>
            <a:gdLst/>
            <a:ahLst/>
            <a:cxnLst/>
            <a:rect l="l" t="t" r="r" b="b"/>
            <a:pathLst>
              <a:path w="13716" h="1800514">
                <a:moveTo>
                  <a:pt x="0" y="13716"/>
                </a:moveTo>
                <a:lnTo>
                  <a:pt x="13716" y="0"/>
                </a:lnTo>
                <a:lnTo>
                  <a:pt x="13716" y="1800514"/>
                </a:lnTo>
                <a:lnTo>
                  <a:pt x="0" y="17867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6" name="Rectangle 104"/>
          <p:cNvSpPr/>
          <p:nvPr/>
        </p:nvSpPr>
        <p:spPr>
          <a:xfrm rot="2700000">
            <a:off x="1046463" y="-443158"/>
            <a:ext cx="13716" cy="2992958"/>
          </a:xfrm>
          <a:custGeom>
            <a:avLst/>
            <a:gdLst/>
            <a:ahLst/>
            <a:cxnLst/>
            <a:rect l="l" t="t" r="r" b="b"/>
            <a:pathLst>
              <a:path w="13716" h="2992958">
                <a:moveTo>
                  <a:pt x="0" y="13716"/>
                </a:moveTo>
                <a:lnTo>
                  <a:pt x="13716" y="0"/>
                </a:lnTo>
                <a:lnTo>
                  <a:pt x="13716" y="2992958"/>
                </a:lnTo>
                <a:lnTo>
                  <a:pt x="0" y="297924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7" name="Rectangle 105"/>
          <p:cNvSpPr/>
          <p:nvPr/>
        </p:nvSpPr>
        <p:spPr>
          <a:xfrm rot="2700000">
            <a:off x="1468056" y="-617788"/>
            <a:ext cx="13716" cy="4185404"/>
          </a:xfrm>
          <a:custGeom>
            <a:avLst/>
            <a:gdLst/>
            <a:ahLst/>
            <a:cxnLst/>
            <a:rect l="l" t="t" r="r" b="b"/>
            <a:pathLst>
              <a:path w="13716" h="4185404">
                <a:moveTo>
                  <a:pt x="0" y="13716"/>
                </a:moveTo>
                <a:lnTo>
                  <a:pt x="13716" y="0"/>
                </a:lnTo>
                <a:lnTo>
                  <a:pt x="13716" y="4185404"/>
                </a:lnTo>
                <a:lnTo>
                  <a:pt x="0" y="417168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8" name="Rectangle 106"/>
          <p:cNvSpPr/>
          <p:nvPr/>
        </p:nvSpPr>
        <p:spPr>
          <a:xfrm rot="2700000">
            <a:off x="1889649" y="-792416"/>
            <a:ext cx="13716" cy="5377849"/>
          </a:xfrm>
          <a:custGeom>
            <a:avLst/>
            <a:gdLst/>
            <a:ahLst/>
            <a:cxnLst/>
            <a:rect l="l" t="t" r="r" b="b"/>
            <a:pathLst>
              <a:path w="13716" h="5377849">
                <a:moveTo>
                  <a:pt x="0" y="13716"/>
                </a:moveTo>
                <a:lnTo>
                  <a:pt x="13716" y="0"/>
                </a:lnTo>
                <a:lnTo>
                  <a:pt x="13716" y="5377849"/>
                </a:lnTo>
                <a:lnTo>
                  <a:pt x="0" y="536413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9" name="Rectangle 148"/>
          <p:cNvSpPr/>
          <p:nvPr/>
        </p:nvSpPr>
        <p:spPr>
          <a:xfrm rot="18900000" flipV="1">
            <a:off x="2070569" y="-450209"/>
            <a:ext cx="13716" cy="5889566"/>
          </a:xfrm>
          <a:custGeom>
            <a:avLst/>
            <a:gdLst/>
            <a:ahLst/>
            <a:cxnLst/>
            <a:rect l="l" t="t" r="r" b="b"/>
            <a:pathLst>
              <a:path w="13716" h="5889566">
                <a:moveTo>
                  <a:pt x="13716" y="5889566"/>
                </a:moveTo>
                <a:lnTo>
                  <a:pt x="13716" y="0"/>
                </a:lnTo>
                <a:lnTo>
                  <a:pt x="0" y="13716"/>
                </a:lnTo>
                <a:lnTo>
                  <a:pt x="0" y="587585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0" name="Rectangle 323"/>
          <p:cNvSpPr/>
          <p:nvPr/>
        </p:nvSpPr>
        <p:spPr>
          <a:xfrm rot="18900000" flipV="1">
            <a:off x="1648976" y="567610"/>
            <a:ext cx="13716" cy="4697119"/>
          </a:xfrm>
          <a:custGeom>
            <a:avLst/>
            <a:gdLst/>
            <a:ahLst/>
            <a:cxnLst/>
            <a:rect l="l" t="t" r="r" b="b"/>
            <a:pathLst>
              <a:path w="13716" h="4697119">
                <a:moveTo>
                  <a:pt x="13716" y="4697119"/>
                </a:moveTo>
                <a:lnTo>
                  <a:pt x="13716" y="0"/>
                </a:lnTo>
                <a:lnTo>
                  <a:pt x="0" y="13716"/>
                </a:lnTo>
                <a:lnTo>
                  <a:pt x="0" y="46834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1" name="Rectangle 324"/>
          <p:cNvSpPr/>
          <p:nvPr/>
        </p:nvSpPr>
        <p:spPr>
          <a:xfrm rot="18900000" flipV="1">
            <a:off x="1227383" y="1585424"/>
            <a:ext cx="13716" cy="3504674"/>
          </a:xfrm>
          <a:custGeom>
            <a:avLst/>
            <a:gdLst/>
            <a:ahLst/>
            <a:cxnLst/>
            <a:rect l="l" t="t" r="r" b="b"/>
            <a:pathLst>
              <a:path w="13716" h="3504674">
                <a:moveTo>
                  <a:pt x="13716" y="3504674"/>
                </a:moveTo>
                <a:lnTo>
                  <a:pt x="13716" y="0"/>
                </a:lnTo>
                <a:lnTo>
                  <a:pt x="0" y="13716"/>
                </a:lnTo>
                <a:lnTo>
                  <a:pt x="0" y="349095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2" name="Rectangle 325"/>
          <p:cNvSpPr/>
          <p:nvPr/>
        </p:nvSpPr>
        <p:spPr>
          <a:xfrm rot="18900000" flipV="1">
            <a:off x="805790" y="2603242"/>
            <a:ext cx="13716" cy="2312226"/>
          </a:xfrm>
          <a:custGeom>
            <a:avLst/>
            <a:gdLst/>
            <a:ahLst/>
            <a:cxnLst/>
            <a:rect l="l" t="t" r="r" b="b"/>
            <a:pathLst>
              <a:path w="13716" h="2312226">
                <a:moveTo>
                  <a:pt x="13716" y="2312226"/>
                </a:moveTo>
                <a:lnTo>
                  <a:pt x="13716" y="0"/>
                </a:lnTo>
                <a:lnTo>
                  <a:pt x="0" y="13716"/>
                </a:lnTo>
                <a:lnTo>
                  <a:pt x="0" y="229851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3" name="Rectangle 326"/>
          <p:cNvSpPr/>
          <p:nvPr/>
        </p:nvSpPr>
        <p:spPr>
          <a:xfrm rot="18900000" flipV="1">
            <a:off x="384198" y="3621057"/>
            <a:ext cx="13716" cy="1119782"/>
          </a:xfrm>
          <a:custGeom>
            <a:avLst/>
            <a:gdLst/>
            <a:ahLst/>
            <a:cxnLst/>
            <a:rect l="l" t="t" r="r" b="b"/>
            <a:pathLst>
              <a:path w="13716" h="1119782">
                <a:moveTo>
                  <a:pt x="13716" y="1119782"/>
                </a:moveTo>
                <a:lnTo>
                  <a:pt x="13716" y="0"/>
                </a:lnTo>
                <a:lnTo>
                  <a:pt x="0" y="13716"/>
                </a:lnTo>
                <a:lnTo>
                  <a:pt x="0" y="110606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4" name="Rectangle 371"/>
          <p:cNvSpPr/>
          <p:nvPr/>
        </p:nvSpPr>
        <p:spPr>
          <a:xfrm rot="18900000" flipV="1">
            <a:off x="2705180" y="-953749"/>
            <a:ext cx="13716" cy="6479500"/>
          </a:xfrm>
          <a:custGeom>
            <a:avLst/>
            <a:gdLst/>
            <a:ahLst/>
            <a:cxnLst/>
            <a:rect l="l" t="t" r="r" b="b"/>
            <a:pathLst>
              <a:path w="13716" h="6479500">
                <a:moveTo>
                  <a:pt x="0" y="6479500"/>
                </a:moveTo>
                <a:lnTo>
                  <a:pt x="13716" y="646578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5" name="Rectangle 373"/>
          <p:cNvSpPr/>
          <p:nvPr/>
        </p:nvSpPr>
        <p:spPr>
          <a:xfrm rot="18900000" flipV="1">
            <a:off x="4391552" y="-953749"/>
            <a:ext cx="13716" cy="6479500"/>
          </a:xfrm>
          <a:custGeom>
            <a:avLst/>
            <a:gdLst/>
            <a:ahLst/>
            <a:cxnLst/>
            <a:rect l="l" t="t" r="r" b="b"/>
            <a:pathLst>
              <a:path w="13716" h="6479500">
                <a:moveTo>
                  <a:pt x="0" y="6479500"/>
                </a:moveTo>
                <a:lnTo>
                  <a:pt x="13716" y="6465784"/>
                </a:lnTo>
                <a:lnTo>
                  <a:pt x="13716" y="0"/>
                </a:lnTo>
                <a:lnTo>
                  <a:pt x="0" y="137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6" name="Rectangle 375"/>
          <p:cNvSpPr/>
          <p:nvPr/>
        </p:nvSpPr>
        <p:spPr>
          <a:xfrm rot="18900000" flipV="1">
            <a:off x="6077925" y="-953749"/>
            <a:ext cx="13716" cy="6479501"/>
          </a:xfrm>
          <a:custGeom>
            <a:avLst/>
            <a:gdLst/>
            <a:ahLst/>
            <a:cxnLst/>
            <a:rect l="l" t="t" r="r" b="b"/>
            <a:pathLst>
              <a:path w="13716" h="6479501">
                <a:moveTo>
                  <a:pt x="0" y="6479501"/>
                </a:moveTo>
                <a:lnTo>
                  <a:pt x="13716" y="6465785"/>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7" name="Rectangle 376"/>
          <p:cNvSpPr/>
          <p:nvPr/>
        </p:nvSpPr>
        <p:spPr>
          <a:xfrm rot="18900000" flipV="1">
            <a:off x="6916261" y="-965458"/>
            <a:ext cx="13716" cy="6493219"/>
          </a:xfrm>
          <a:custGeom>
            <a:avLst/>
            <a:gdLst/>
            <a:ahLst/>
            <a:cxnLst/>
            <a:rect l="l" t="t" r="r" b="b"/>
            <a:pathLst>
              <a:path w="13716" h="6493219">
                <a:moveTo>
                  <a:pt x="13716" y="6479504"/>
                </a:moveTo>
                <a:lnTo>
                  <a:pt x="13716" y="0"/>
                </a:lnTo>
                <a:lnTo>
                  <a:pt x="0" y="13717"/>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8" name="Rectangle 377"/>
          <p:cNvSpPr/>
          <p:nvPr/>
        </p:nvSpPr>
        <p:spPr>
          <a:xfrm rot="18900000" flipV="1">
            <a:off x="7759447" y="-965458"/>
            <a:ext cx="13717" cy="6493219"/>
          </a:xfrm>
          <a:custGeom>
            <a:avLst/>
            <a:gdLst/>
            <a:ahLst/>
            <a:cxnLst/>
            <a:rect l="l" t="t" r="r" b="b"/>
            <a:pathLst>
              <a:path w="13717" h="6493219">
                <a:moveTo>
                  <a:pt x="0" y="6493219"/>
                </a:moveTo>
                <a:lnTo>
                  <a:pt x="13716" y="6479502"/>
                </a:lnTo>
                <a:lnTo>
                  <a:pt x="13717"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9" name="Rectangle 378"/>
          <p:cNvSpPr/>
          <p:nvPr/>
        </p:nvSpPr>
        <p:spPr>
          <a:xfrm rot="18900000" flipV="1">
            <a:off x="8602633" y="-965458"/>
            <a:ext cx="13716" cy="6493219"/>
          </a:xfrm>
          <a:custGeom>
            <a:avLst/>
            <a:gdLst/>
            <a:ahLst/>
            <a:cxnLst/>
            <a:rect l="l" t="t" r="r" b="b"/>
            <a:pathLst>
              <a:path w="13716" h="6493219">
                <a:moveTo>
                  <a:pt x="13716" y="6479504"/>
                </a:moveTo>
                <a:lnTo>
                  <a:pt x="13716" y="0"/>
                </a:lnTo>
                <a:lnTo>
                  <a:pt x="0" y="13716"/>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0" name="Rectangle 138"/>
          <p:cNvSpPr/>
          <p:nvPr/>
        </p:nvSpPr>
        <p:spPr>
          <a:xfrm rot="18900000" flipV="1">
            <a:off x="10088968" y="-882602"/>
            <a:ext cx="13716" cy="5927431"/>
          </a:xfrm>
          <a:custGeom>
            <a:avLst/>
            <a:gdLst/>
            <a:ahLst/>
            <a:cxnLst/>
            <a:rect l="l" t="t" r="r" b="b"/>
            <a:pathLst>
              <a:path w="13716" h="5927431">
                <a:moveTo>
                  <a:pt x="0" y="5927431"/>
                </a:moveTo>
                <a:lnTo>
                  <a:pt x="13715" y="5913716"/>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1" name="Rectangle 139"/>
          <p:cNvSpPr/>
          <p:nvPr/>
        </p:nvSpPr>
        <p:spPr>
          <a:xfrm rot="18900000" flipV="1">
            <a:off x="10510562" y="-707971"/>
            <a:ext cx="13716" cy="4734985"/>
          </a:xfrm>
          <a:custGeom>
            <a:avLst/>
            <a:gdLst/>
            <a:ahLst/>
            <a:cxnLst/>
            <a:rect l="l" t="t" r="r" b="b"/>
            <a:pathLst>
              <a:path w="13716" h="4734985">
                <a:moveTo>
                  <a:pt x="0" y="4734985"/>
                </a:moveTo>
                <a:lnTo>
                  <a:pt x="13715" y="4721270"/>
                </a:lnTo>
                <a:lnTo>
                  <a:pt x="13716" y="13715"/>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2" name="Rectangle 140"/>
          <p:cNvSpPr/>
          <p:nvPr/>
        </p:nvSpPr>
        <p:spPr>
          <a:xfrm rot="18900000" flipV="1">
            <a:off x="10932155" y="-533342"/>
            <a:ext cx="13716" cy="3542540"/>
          </a:xfrm>
          <a:custGeom>
            <a:avLst/>
            <a:gdLst/>
            <a:ahLst/>
            <a:cxnLst/>
            <a:rect l="l" t="t" r="r" b="b"/>
            <a:pathLst>
              <a:path w="13716" h="3542540">
                <a:moveTo>
                  <a:pt x="0" y="3542540"/>
                </a:moveTo>
                <a:lnTo>
                  <a:pt x="13715" y="3528825"/>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3" name="Rectangle 141"/>
          <p:cNvSpPr/>
          <p:nvPr/>
        </p:nvSpPr>
        <p:spPr>
          <a:xfrm rot="18900000" flipV="1">
            <a:off x="11353748" y="-358712"/>
            <a:ext cx="13716" cy="2350095"/>
          </a:xfrm>
          <a:custGeom>
            <a:avLst/>
            <a:gdLst/>
            <a:ahLst/>
            <a:cxnLst/>
            <a:rect l="l" t="t" r="r" b="b"/>
            <a:pathLst>
              <a:path w="13716" h="2350095">
                <a:moveTo>
                  <a:pt x="0" y="2350095"/>
                </a:moveTo>
                <a:lnTo>
                  <a:pt x="13715" y="2336380"/>
                </a:lnTo>
                <a:lnTo>
                  <a:pt x="13716" y="1371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4" name="Rectangle 142"/>
          <p:cNvSpPr/>
          <p:nvPr/>
        </p:nvSpPr>
        <p:spPr>
          <a:xfrm rot="18900000" flipV="1">
            <a:off x="11775341" y="-184083"/>
            <a:ext cx="13716" cy="1157650"/>
          </a:xfrm>
          <a:custGeom>
            <a:avLst/>
            <a:gdLst/>
            <a:ahLst/>
            <a:cxnLst/>
            <a:rect l="l" t="t" r="r" b="b"/>
            <a:pathLst>
              <a:path w="13716" h="1157650">
                <a:moveTo>
                  <a:pt x="0" y="1157650"/>
                </a:moveTo>
                <a:lnTo>
                  <a:pt x="13716" y="1143934"/>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5" name="Rectangle 372"/>
          <p:cNvSpPr/>
          <p:nvPr/>
        </p:nvSpPr>
        <p:spPr>
          <a:xfrm rot="18900000" flipV="1">
            <a:off x="3543517" y="-965458"/>
            <a:ext cx="13716" cy="6493219"/>
          </a:xfrm>
          <a:custGeom>
            <a:avLst/>
            <a:gdLst/>
            <a:ahLst/>
            <a:cxnLst/>
            <a:rect l="l" t="t" r="r" b="b"/>
            <a:pathLst>
              <a:path w="13716" h="6493219">
                <a:moveTo>
                  <a:pt x="0" y="6493219"/>
                </a:moveTo>
                <a:lnTo>
                  <a:pt x="13716" y="6479503"/>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6" name="Rectangle 374"/>
          <p:cNvSpPr/>
          <p:nvPr/>
        </p:nvSpPr>
        <p:spPr>
          <a:xfrm rot="18900000" flipV="1">
            <a:off x="5229889" y="-965458"/>
            <a:ext cx="13716" cy="6493220"/>
          </a:xfrm>
          <a:custGeom>
            <a:avLst/>
            <a:gdLst/>
            <a:ahLst/>
            <a:cxnLst/>
            <a:rect l="l" t="t" r="r" b="b"/>
            <a:pathLst>
              <a:path w="13716" h="6493220">
                <a:moveTo>
                  <a:pt x="0" y="6493220"/>
                </a:moveTo>
                <a:lnTo>
                  <a:pt x="13716"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7" name="Teardrop 3"/>
          <p:cNvSpPr/>
          <p:nvPr/>
        </p:nvSpPr>
        <p:spPr>
          <a:xfrm rot="5400000" flipH="1" flipV="1">
            <a:off x="64427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8" name="Teardrop 3"/>
          <p:cNvSpPr/>
          <p:nvPr/>
        </p:nvSpPr>
        <p:spPr>
          <a:xfrm rot="5400000" flipH="1" flipV="1">
            <a:off x="-148774" y="258315"/>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1"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6" y="223846"/>
                </a:cubicBezTo>
                <a:lnTo>
                  <a:pt x="221347" y="232509"/>
                </a:lnTo>
                <a:cubicBezTo>
                  <a:pt x="224389"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0"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1" y="93753"/>
                </a:cubicBezTo>
                <a:cubicBezTo>
                  <a:pt x="100880" y="69151"/>
                  <a:pt x="130228" y="53433"/>
                  <a:pt x="163247" y="53433"/>
                </a:cubicBezTo>
                <a:cubicBezTo>
                  <a:pt x="186137" y="53872"/>
                  <a:pt x="201262" y="50984"/>
                  <a:pt x="211354"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8"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1"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9" name="Teardrop 3"/>
          <p:cNvSpPr/>
          <p:nvPr/>
        </p:nvSpPr>
        <p:spPr>
          <a:xfrm rot="5400000" flipH="1" flipV="1">
            <a:off x="13875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0" name="Teardrop 3"/>
          <p:cNvSpPr/>
          <p:nvPr/>
        </p:nvSpPr>
        <p:spPr>
          <a:xfrm rot="5400000" flipH="1" flipV="1">
            <a:off x="22300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1" name="Teardrop 3"/>
          <p:cNvSpPr/>
          <p:nvPr/>
        </p:nvSpPr>
        <p:spPr>
          <a:xfrm rot="5400000" flipH="1" flipV="1">
            <a:off x="30726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2" name="Teardrop 3"/>
          <p:cNvSpPr/>
          <p:nvPr/>
        </p:nvSpPr>
        <p:spPr>
          <a:xfrm rot="5400000" flipH="1" flipV="1">
            <a:off x="39151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3" name="Teardrop 3"/>
          <p:cNvSpPr/>
          <p:nvPr/>
        </p:nvSpPr>
        <p:spPr>
          <a:xfrm rot="5400000" flipH="1" flipV="1">
            <a:off x="47576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4" name="Teardrop 3"/>
          <p:cNvSpPr/>
          <p:nvPr/>
        </p:nvSpPr>
        <p:spPr>
          <a:xfrm rot="5400000" flipH="1" flipV="1">
            <a:off x="56002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5" name="Teardrop 3"/>
          <p:cNvSpPr/>
          <p:nvPr/>
        </p:nvSpPr>
        <p:spPr>
          <a:xfrm rot="5400000" flipH="1" flipV="1">
            <a:off x="81278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6" name="Teardrop 3"/>
          <p:cNvSpPr/>
          <p:nvPr/>
        </p:nvSpPr>
        <p:spPr>
          <a:xfrm rot="5400000" flipH="1" flipV="1">
            <a:off x="72853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7" name="Teardrop 3"/>
          <p:cNvSpPr/>
          <p:nvPr/>
        </p:nvSpPr>
        <p:spPr>
          <a:xfrm rot="5400000" flipH="1" flipV="1">
            <a:off x="98129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8" name="Teardrop 3"/>
          <p:cNvSpPr/>
          <p:nvPr/>
        </p:nvSpPr>
        <p:spPr>
          <a:xfrm rot="5400000" flipH="1" flipV="1">
            <a:off x="89703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9" name="Teardrop 3"/>
          <p:cNvSpPr/>
          <p:nvPr/>
        </p:nvSpPr>
        <p:spPr>
          <a:xfrm rot="5400000" flipH="1" flipV="1">
            <a:off x="11498011"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0" name="Teardrop 3"/>
          <p:cNvSpPr/>
          <p:nvPr/>
        </p:nvSpPr>
        <p:spPr>
          <a:xfrm rot="5400000" flipH="1" flipV="1">
            <a:off x="106554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1" name="Teardrop 3"/>
          <p:cNvSpPr/>
          <p:nvPr/>
        </p:nvSpPr>
        <p:spPr>
          <a:xfrm rot="5400000" flipH="1" flipV="1">
            <a:off x="5449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2" name="Oval 591"/>
          <p:cNvSpPr/>
          <p:nvPr/>
        </p:nvSpPr>
        <p:spPr>
          <a:xfrm>
            <a:off x="66645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3" name="Oval 167"/>
          <p:cNvSpPr/>
          <p:nvPr/>
        </p:nvSpPr>
        <p:spPr>
          <a:xfrm>
            <a:off x="0" y="331699"/>
            <a:ext cx="93942" cy="4240302"/>
          </a:xfrm>
          <a:custGeom>
            <a:avLst/>
            <a:gdLst/>
            <a:ahLst/>
            <a:cxnLst/>
            <a:rect l="l" t="t" r="r" b="b"/>
            <a:pathLst>
              <a:path w="93942" h="4240302">
                <a:moveTo>
                  <a:pt x="9066" y="4229620"/>
                </a:moveTo>
                <a:cubicBezTo>
                  <a:pt x="23324" y="4229620"/>
                  <a:pt x="36761" y="4233136"/>
                  <a:pt x="48054" y="4240302"/>
                </a:cubicBezTo>
                <a:lnTo>
                  <a:pt x="0" y="4240302"/>
                </a:lnTo>
                <a:lnTo>
                  <a:pt x="0" y="4231451"/>
                </a:lnTo>
                <a:cubicBezTo>
                  <a:pt x="2881" y="4229788"/>
                  <a:pt x="5954" y="4229620"/>
                  <a:pt x="9066" y="4229620"/>
                </a:cubicBezTo>
                <a:close/>
                <a:moveTo>
                  <a:pt x="9066" y="3380947"/>
                </a:moveTo>
                <a:cubicBezTo>
                  <a:pt x="55942" y="3380947"/>
                  <a:pt x="93942" y="3418947"/>
                  <a:pt x="93942" y="3465822"/>
                </a:cubicBezTo>
                <a:cubicBezTo>
                  <a:pt x="93942" y="3512697"/>
                  <a:pt x="55942" y="3550697"/>
                  <a:pt x="9066" y="3550697"/>
                </a:cubicBezTo>
                <a:lnTo>
                  <a:pt x="0" y="3548867"/>
                </a:lnTo>
                <a:lnTo>
                  <a:pt x="0" y="3382777"/>
                </a:lnTo>
                <a:cubicBezTo>
                  <a:pt x="2881" y="3381115"/>
                  <a:pt x="5954" y="3380947"/>
                  <a:pt x="9066" y="3380947"/>
                </a:cubicBezTo>
                <a:close/>
                <a:moveTo>
                  <a:pt x="9066" y="2536768"/>
                </a:moveTo>
                <a:cubicBezTo>
                  <a:pt x="55942" y="2536768"/>
                  <a:pt x="93942" y="2574768"/>
                  <a:pt x="93942" y="2621643"/>
                </a:cubicBezTo>
                <a:cubicBezTo>
                  <a:pt x="93942" y="2668518"/>
                  <a:pt x="55942" y="2706518"/>
                  <a:pt x="9066" y="2706518"/>
                </a:cubicBezTo>
                <a:lnTo>
                  <a:pt x="0" y="2704688"/>
                </a:lnTo>
                <a:lnTo>
                  <a:pt x="0" y="2538598"/>
                </a:lnTo>
                <a:cubicBezTo>
                  <a:pt x="2881" y="2536936"/>
                  <a:pt x="5954" y="2536768"/>
                  <a:pt x="9066" y="2536768"/>
                </a:cubicBezTo>
                <a:close/>
                <a:moveTo>
                  <a:pt x="9066" y="1688095"/>
                </a:moveTo>
                <a:cubicBezTo>
                  <a:pt x="55942" y="1688095"/>
                  <a:pt x="93942" y="1726095"/>
                  <a:pt x="93942" y="1772970"/>
                </a:cubicBezTo>
                <a:cubicBezTo>
                  <a:pt x="93942" y="1819845"/>
                  <a:pt x="55942" y="1857845"/>
                  <a:pt x="9066" y="1857845"/>
                </a:cubicBezTo>
                <a:lnTo>
                  <a:pt x="0" y="1856015"/>
                </a:lnTo>
                <a:lnTo>
                  <a:pt x="0" y="1689925"/>
                </a:lnTo>
                <a:cubicBezTo>
                  <a:pt x="2881" y="1688263"/>
                  <a:pt x="5954" y="1688095"/>
                  <a:pt x="9066" y="1688095"/>
                </a:cubicBezTo>
                <a:close/>
                <a:moveTo>
                  <a:pt x="9066" y="845498"/>
                </a:moveTo>
                <a:cubicBezTo>
                  <a:pt x="55942" y="845498"/>
                  <a:pt x="93942" y="883498"/>
                  <a:pt x="93942" y="930373"/>
                </a:cubicBezTo>
                <a:cubicBezTo>
                  <a:pt x="93942" y="977248"/>
                  <a:pt x="55942" y="1015248"/>
                  <a:pt x="9066" y="1015248"/>
                </a:cubicBezTo>
                <a:lnTo>
                  <a:pt x="0" y="1013418"/>
                </a:lnTo>
                <a:lnTo>
                  <a:pt x="0" y="847328"/>
                </a:lnTo>
                <a:cubicBezTo>
                  <a:pt x="2881" y="845666"/>
                  <a:pt x="5954" y="845498"/>
                  <a:pt x="9066" y="845498"/>
                </a:cubicBezTo>
                <a:close/>
                <a:moveTo>
                  <a:pt x="9066" y="0"/>
                </a:moveTo>
                <a:cubicBezTo>
                  <a:pt x="55942" y="0"/>
                  <a:pt x="93942" y="38000"/>
                  <a:pt x="93942" y="84875"/>
                </a:cubicBezTo>
                <a:cubicBezTo>
                  <a:pt x="93942" y="131750"/>
                  <a:pt x="55942" y="169750"/>
                  <a:pt x="9066" y="169750"/>
                </a:cubicBezTo>
                <a:lnTo>
                  <a:pt x="0" y="167920"/>
                </a:lnTo>
                <a:lnTo>
                  <a:pt x="0" y="1830"/>
                </a:lnTo>
                <a:cubicBezTo>
                  <a:pt x="2881" y="167"/>
                  <a:pt x="5954" y="0"/>
                  <a:pt x="90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4" name="Oval 593"/>
          <p:cNvSpPr/>
          <p:nvPr/>
        </p:nvSpPr>
        <p:spPr>
          <a:xfrm>
            <a:off x="7667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5" name="Oval 594"/>
          <p:cNvSpPr/>
          <p:nvPr/>
        </p:nvSpPr>
        <p:spPr>
          <a:xfrm>
            <a:off x="16092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6" name="Oval 595"/>
          <p:cNvSpPr/>
          <p:nvPr/>
        </p:nvSpPr>
        <p:spPr>
          <a:xfrm>
            <a:off x="24518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7" name="Oval 596"/>
          <p:cNvSpPr/>
          <p:nvPr/>
        </p:nvSpPr>
        <p:spPr>
          <a:xfrm>
            <a:off x="32943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8" name="Oval 597"/>
          <p:cNvSpPr/>
          <p:nvPr/>
        </p:nvSpPr>
        <p:spPr>
          <a:xfrm>
            <a:off x="41368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9" name="Oval 598"/>
          <p:cNvSpPr/>
          <p:nvPr/>
        </p:nvSpPr>
        <p:spPr>
          <a:xfrm>
            <a:off x="49794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0" name="Oval 599"/>
          <p:cNvSpPr/>
          <p:nvPr/>
        </p:nvSpPr>
        <p:spPr>
          <a:xfrm>
            <a:off x="58219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1" name="Oval 600"/>
          <p:cNvSpPr/>
          <p:nvPr/>
        </p:nvSpPr>
        <p:spPr>
          <a:xfrm>
            <a:off x="83495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2" name="Oval 601"/>
          <p:cNvSpPr/>
          <p:nvPr/>
        </p:nvSpPr>
        <p:spPr>
          <a:xfrm>
            <a:off x="75070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3" name="Oval 602"/>
          <p:cNvSpPr/>
          <p:nvPr/>
        </p:nvSpPr>
        <p:spPr>
          <a:xfrm>
            <a:off x="100346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4" name="Oval 603"/>
          <p:cNvSpPr/>
          <p:nvPr/>
        </p:nvSpPr>
        <p:spPr>
          <a:xfrm>
            <a:off x="91921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5" name="Oval 604"/>
          <p:cNvSpPr/>
          <p:nvPr/>
        </p:nvSpPr>
        <p:spPr>
          <a:xfrm>
            <a:off x="11719750"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6" name="Oval 605"/>
          <p:cNvSpPr/>
          <p:nvPr/>
        </p:nvSpPr>
        <p:spPr>
          <a:xfrm>
            <a:off x="108772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7" name="Teardrop 3"/>
          <p:cNvSpPr/>
          <p:nvPr/>
        </p:nvSpPr>
        <p:spPr>
          <a:xfrm rot="5400000" flipH="1" flipV="1">
            <a:off x="60211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8" name="Teardrop 3"/>
          <p:cNvSpPr/>
          <p:nvPr/>
        </p:nvSpPr>
        <p:spPr>
          <a:xfrm rot="5400000" flipH="1" flipV="1">
            <a:off x="9659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9" name="Teardrop 3"/>
          <p:cNvSpPr/>
          <p:nvPr/>
        </p:nvSpPr>
        <p:spPr>
          <a:xfrm rot="5400000" flipH="1" flipV="1">
            <a:off x="18084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0" name="Teardrop 3"/>
          <p:cNvSpPr/>
          <p:nvPr/>
        </p:nvSpPr>
        <p:spPr>
          <a:xfrm rot="5400000" flipH="1" flipV="1">
            <a:off x="26510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1" name="Teardrop 3"/>
          <p:cNvSpPr/>
          <p:nvPr/>
        </p:nvSpPr>
        <p:spPr>
          <a:xfrm rot="5400000" flipH="1" flipV="1">
            <a:off x="34935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2" name="Teardrop 3"/>
          <p:cNvSpPr/>
          <p:nvPr/>
        </p:nvSpPr>
        <p:spPr>
          <a:xfrm rot="5400000" flipH="1" flipV="1">
            <a:off x="43361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3" name="Teardrop 3"/>
          <p:cNvSpPr/>
          <p:nvPr/>
        </p:nvSpPr>
        <p:spPr>
          <a:xfrm rot="5400000" flipH="1" flipV="1">
            <a:off x="51786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4" name="Teardrop 3"/>
          <p:cNvSpPr/>
          <p:nvPr/>
        </p:nvSpPr>
        <p:spPr>
          <a:xfrm rot="5400000" flipH="1" flipV="1">
            <a:off x="77062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5" name="Teardrop 3"/>
          <p:cNvSpPr/>
          <p:nvPr/>
        </p:nvSpPr>
        <p:spPr>
          <a:xfrm rot="5400000" flipH="1" flipV="1">
            <a:off x="68637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6" name="Teardrop 3"/>
          <p:cNvSpPr/>
          <p:nvPr/>
        </p:nvSpPr>
        <p:spPr>
          <a:xfrm rot="5400000" flipH="1" flipV="1">
            <a:off x="93913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7" name="Teardrop 3"/>
          <p:cNvSpPr/>
          <p:nvPr/>
        </p:nvSpPr>
        <p:spPr>
          <a:xfrm rot="5400000" flipH="1" flipV="1">
            <a:off x="85488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8" name="Teardrop 3"/>
          <p:cNvSpPr/>
          <p:nvPr/>
        </p:nvSpPr>
        <p:spPr>
          <a:xfrm rot="5400000" flipH="1" flipV="1">
            <a:off x="11076421"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9" name="Teardrop 3"/>
          <p:cNvSpPr/>
          <p:nvPr/>
        </p:nvSpPr>
        <p:spPr>
          <a:xfrm rot="5400000" flipH="1" flipV="1">
            <a:off x="102338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0" name="Teardrop 3"/>
          <p:cNvSpPr/>
          <p:nvPr/>
        </p:nvSpPr>
        <p:spPr>
          <a:xfrm rot="5400000" flipH="1" flipV="1">
            <a:off x="1234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1" name="Teardrop 3"/>
          <p:cNvSpPr/>
          <p:nvPr/>
        </p:nvSpPr>
        <p:spPr>
          <a:xfrm rot="5400000" flipH="1" flipV="1">
            <a:off x="11760003" y="685578"/>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69"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2" name="Oval 621"/>
          <p:cNvSpPr/>
          <p:nvPr/>
        </p:nvSpPr>
        <p:spPr>
          <a:xfrm>
            <a:off x="70866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3" name="Oval 622"/>
          <p:cNvSpPr/>
          <p:nvPr/>
        </p:nvSpPr>
        <p:spPr>
          <a:xfrm>
            <a:off x="3463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4" name="Oval 623"/>
          <p:cNvSpPr/>
          <p:nvPr/>
        </p:nvSpPr>
        <p:spPr>
          <a:xfrm>
            <a:off x="11888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5" name="Oval 624"/>
          <p:cNvSpPr/>
          <p:nvPr/>
        </p:nvSpPr>
        <p:spPr>
          <a:xfrm>
            <a:off x="20314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6" name="Oval 625"/>
          <p:cNvSpPr/>
          <p:nvPr/>
        </p:nvSpPr>
        <p:spPr>
          <a:xfrm>
            <a:off x="28739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7" name="Oval 626"/>
          <p:cNvSpPr/>
          <p:nvPr/>
        </p:nvSpPr>
        <p:spPr>
          <a:xfrm>
            <a:off x="37164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8" name="Oval 627"/>
          <p:cNvSpPr/>
          <p:nvPr/>
        </p:nvSpPr>
        <p:spPr>
          <a:xfrm>
            <a:off x="45590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9" name="Oval 628"/>
          <p:cNvSpPr/>
          <p:nvPr/>
        </p:nvSpPr>
        <p:spPr>
          <a:xfrm>
            <a:off x="54015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0" name="Oval 629"/>
          <p:cNvSpPr/>
          <p:nvPr/>
        </p:nvSpPr>
        <p:spPr>
          <a:xfrm>
            <a:off x="62441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1" name="Oval 630"/>
          <p:cNvSpPr/>
          <p:nvPr/>
        </p:nvSpPr>
        <p:spPr>
          <a:xfrm>
            <a:off x="87717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2" name="Oval 631"/>
          <p:cNvSpPr/>
          <p:nvPr/>
        </p:nvSpPr>
        <p:spPr>
          <a:xfrm>
            <a:off x="79291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3" name="Oval 632"/>
          <p:cNvSpPr/>
          <p:nvPr/>
        </p:nvSpPr>
        <p:spPr>
          <a:xfrm>
            <a:off x="104568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4" name="Oval 633"/>
          <p:cNvSpPr/>
          <p:nvPr/>
        </p:nvSpPr>
        <p:spPr>
          <a:xfrm>
            <a:off x="96142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5" name="Oval 860"/>
          <p:cNvSpPr/>
          <p:nvPr/>
        </p:nvSpPr>
        <p:spPr>
          <a:xfrm>
            <a:off x="12141892" y="758852"/>
            <a:ext cx="50109" cy="3538433"/>
          </a:xfrm>
          <a:custGeom>
            <a:avLst/>
            <a:gdLst/>
            <a:ahLst/>
            <a:cxnLst/>
            <a:rect l="l" t="t" r="r" b="b"/>
            <a:pathLst>
              <a:path w="50109" h="3538433">
                <a:moveTo>
                  <a:pt x="50109" y="3384355"/>
                </a:moveTo>
                <a:lnTo>
                  <a:pt x="50109" y="3538433"/>
                </a:lnTo>
                <a:cubicBezTo>
                  <a:pt x="20497" y="3525461"/>
                  <a:pt x="0" y="3495821"/>
                  <a:pt x="0" y="3461394"/>
                </a:cubicBezTo>
                <a:cubicBezTo>
                  <a:pt x="0" y="3426967"/>
                  <a:pt x="20497" y="3397327"/>
                  <a:pt x="50109" y="3384355"/>
                </a:cubicBezTo>
                <a:close/>
                <a:moveTo>
                  <a:pt x="50109" y="2538350"/>
                </a:moveTo>
                <a:lnTo>
                  <a:pt x="50109" y="2692428"/>
                </a:lnTo>
                <a:cubicBezTo>
                  <a:pt x="20497" y="2679456"/>
                  <a:pt x="0" y="2649816"/>
                  <a:pt x="0" y="2615389"/>
                </a:cubicBezTo>
                <a:cubicBezTo>
                  <a:pt x="0" y="2580962"/>
                  <a:pt x="20497" y="2551322"/>
                  <a:pt x="50109" y="2538350"/>
                </a:cubicBezTo>
                <a:close/>
                <a:moveTo>
                  <a:pt x="50109" y="1688095"/>
                </a:moveTo>
                <a:lnTo>
                  <a:pt x="50109" y="1842173"/>
                </a:lnTo>
                <a:cubicBezTo>
                  <a:pt x="20497" y="1829201"/>
                  <a:pt x="0" y="1799561"/>
                  <a:pt x="0" y="1765134"/>
                </a:cubicBezTo>
                <a:cubicBezTo>
                  <a:pt x="0" y="1730707"/>
                  <a:pt x="20497" y="1701067"/>
                  <a:pt x="50109" y="1688095"/>
                </a:cubicBezTo>
                <a:close/>
                <a:moveTo>
                  <a:pt x="50109" y="845498"/>
                </a:moveTo>
                <a:lnTo>
                  <a:pt x="50109" y="999576"/>
                </a:lnTo>
                <a:cubicBezTo>
                  <a:pt x="20497" y="986604"/>
                  <a:pt x="0" y="956964"/>
                  <a:pt x="0" y="922537"/>
                </a:cubicBezTo>
                <a:cubicBezTo>
                  <a:pt x="0" y="888110"/>
                  <a:pt x="20497" y="858470"/>
                  <a:pt x="50109" y="845498"/>
                </a:cubicBezTo>
                <a:close/>
                <a:moveTo>
                  <a:pt x="50109" y="0"/>
                </a:moveTo>
                <a:lnTo>
                  <a:pt x="50109" y="154078"/>
                </a:lnTo>
                <a:cubicBezTo>
                  <a:pt x="20497" y="141106"/>
                  <a:pt x="0" y="111466"/>
                  <a:pt x="0" y="77039"/>
                </a:cubicBezTo>
                <a:cubicBezTo>
                  <a:pt x="0" y="42612"/>
                  <a:pt x="20497" y="12972"/>
                  <a:pt x="501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6" name="Oval 635"/>
          <p:cNvSpPr/>
          <p:nvPr/>
        </p:nvSpPr>
        <p:spPr>
          <a:xfrm>
            <a:off x="112993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7" name="Teardrop 3"/>
          <p:cNvSpPr/>
          <p:nvPr/>
        </p:nvSpPr>
        <p:spPr>
          <a:xfrm rot="5400000" flipH="1" flipV="1">
            <a:off x="617401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8" name="Teardrop 3"/>
          <p:cNvSpPr/>
          <p:nvPr/>
        </p:nvSpPr>
        <p:spPr>
          <a:xfrm rot="5400000" flipH="1" flipV="1">
            <a:off x="11187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699"/>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8"/>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9" name="Teardrop 3"/>
          <p:cNvSpPr/>
          <p:nvPr/>
        </p:nvSpPr>
        <p:spPr>
          <a:xfrm rot="5400000" flipH="1" flipV="1">
            <a:off x="19613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0" name="Teardrop 3"/>
          <p:cNvSpPr/>
          <p:nvPr/>
        </p:nvSpPr>
        <p:spPr>
          <a:xfrm rot="5400000" flipH="1" flipV="1">
            <a:off x="280385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1" name="Teardrop 3"/>
          <p:cNvSpPr/>
          <p:nvPr/>
        </p:nvSpPr>
        <p:spPr>
          <a:xfrm rot="5400000" flipH="1" flipV="1">
            <a:off x="364639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2" name="Teardrop 3"/>
          <p:cNvSpPr/>
          <p:nvPr/>
        </p:nvSpPr>
        <p:spPr>
          <a:xfrm rot="5400000" flipH="1" flipV="1">
            <a:off x="448893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3" name="Teardrop 3"/>
          <p:cNvSpPr/>
          <p:nvPr/>
        </p:nvSpPr>
        <p:spPr>
          <a:xfrm rot="5400000" flipH="1" flipV="1">
            <a:off x="533147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4" name="Teardrop 3"/>
          <p:cNvSpPr/>
          <p:nvPr/>
        </p:nvSpPr>
        <p:spPr>
          <a:xfrm rot="5400000" flipH="1" flipV="1">
            <a:off x="785909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5" name="Teardrop 3"/>
          <p:cNvSpPr/>
          <p:nvPr/>
        </p:nvSpPr>
        <p:spPr>
          <a:xfrm rot="5400000" flipH="1" flipV="1">
            <a:off x="701655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6" name="Teardrop 3"/>
          <p:cNvSpPr/>
          <p:nvPr/>
        </p:nvSpPr>
        <p:spPr>
          <a:xfrm rot="5400000" flipH="1" flipV="1">
            <a:off x="95441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7" name="Teardrop 3"/>
          <p:cNvSpPr/>
          <p:nvPr/>
        </p:nvSpPr>
        <p:spPr>
          <a:xfrm rot="5400000" flipH="1" flipV="1">
            <a:off x="87016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8" name="Teardrop 3"/>
          <p:cNvSpPr/>
          <p:nvPr/>
        </p:nvSpPr>
        <p:spPr>
          <a:xfrm rot="5400000" flipH="1" flipV="1">
            <a:off x="11229252"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9" name="Teardrop 3"/>
          <p:cNvSpPr/>
          <p:nvPr/>
        </p:nvSpPr>
        <p:spPr>
          <a:xfrm rot="5400000" flipH="1" flipV="1">
            <a:off x="103867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0" name="Teardrop 3"/>
          <p:cNvSpPr/>
          <p:nvPr/>
        </p:nvSpPr>
        <p:spPr>
          <a:xfrm rot="5400000" flipH="1" flipV="1">
            <a:off x="2762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8"/>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2"/>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1" name="Teardrop 3"/>
          <p:cNvSpPr/>
          <p:nvPr/>
        </p:nvSpPr>
        <p:spPr>
          <a:xfrm rot="5400000" flipH="1" flipV="1">
            <a:off x="11908617" y="4923"/>
            <a:ext cx="298552" cy="268215"/>
          </a:xfrm>
          <a:custGeom>
            <a:avLst/>
            <a:gdLst/>
            <a:ahLst/>
            <a:cxnLst/>
            <a:rect l="l" t="t" r="r" b="b"/>
            <a:pathLst>
              <a:path w="298552"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298552" y="138"/>
                </a:moveTo>
                <a:lnTo>
                  <a:pt x="298552" y="11636"/>
                </a:lnTo>
                <a:cubicBezTo>
                  <a:pt x="298344" y="11511"/>
                  <a:pt x="298133" y="11506"/>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4" y="189232"/>
                  <a:pt x="256525" y="205210"/>
                  <a:pt x="272877" y="215167"/>
                </a:cubicBezTo>
                <a:lnTo>
                  <a:pt x="298552" y="215277"/>
                </a:lnTo>
                <a:lnTo>
                  <a:pt x="298552" y="221928"/>
                </a:lnTo>
                <a:cubicBezTo>
                  <a:pt x="276711" y="221632"/>
                  <a:pt x="254816" y="229876"/>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0"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cubicBezTo>
                  <a:pt x="99420" y="72140"/>
                  <a:pt x="124170" y="61435"/>
                  <a:pt x="151420" y="61435"/>
                </a:cubicBezTo>
                <a:cubicBezTo>
                  <a:pt x="170023" y="61435"/>
                  <a:pt x="187461" y="66424"/>
                  <a:pt x="202250" y="75515"/>
                </a:cubicBezTo>
                <a:cubicBezTo>
                  <a:pt x="206323" y="58635"/>
                  <a:pt x="215129" y="42758"/>
                  <a:pt x="228297" y="29591"/>
                </a:cubicBezTo>
                <a:cubicBezTo>
                  <a:pt x="247566" y="10322"/>
                  <a:pt x="272636" y="391"/>
                  <a:pt x="29789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2" name="Oval 881"/>
          <p:cNvSpPr/>
          <p:nvPr/>
        </p:nvSpPr>
        <p:spPr>
          <a:xfrm>
            <a:off x="34633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3" name="Oval 882"/>
          <p:cNvSpPr/>
          <p:nvPr/>
        </p:nvSpPr>
        <p:spPr>
          <a:xfrm>
            <a:off x="118887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4" name="Oval 883"/>
          <p:cNvSpPr/>
          <p:nvPr/>
        </p:nvSpPr>
        <p:spPr>
          <a:xfrm>
            <a:off x="2031413" y="-10245"/>
            <a:ext cx="10160587" cy="84875"/>
          </a:xfrm>
          <a:custGeom>
            <a:avLst/>
            <a:gdLst/>
            <a:ahLst/>
            <a:cxnLst/>
            <a:rect l="l" t="t" r="r" b="b"/>
            <a:pathLst>
              <a:path w="10160587" h="84875">
                <a:moveTo>
                  <a:pt x="10110479" y="0"/>
                </a:moveTo>
                <a:lnTo>
                  <a:pt x="10160587" y="0"/>
                </a:lnTo>
                <a:lnTo>
                  <a:pt x="10160587" y="77038"/>
                </a:lnTo>
                <a:cubicBezTo>
                  <a:pt x="10130976" y="64066"/>
                  <a:pt x="10110479" y="34427"/>
                  <a:pt x="10110479" y="0"/>
                </a:cubicBezTo>
                <a:close/>
                <a:moveTo>
                  <a:pt x="9267940" y="0"/>
                </a:moveTo>
                <a:lnTo>
                  <a:pt x="9437692" y="0"/>
                </a:lnTo>
                <a:cubicBezTo>
                  <a:pt x="9437692" y="46875"/>
                  <a:pt x="9399692" y="84875"/>
                  <a:pt x="9352816" y="84875"/>
                </a:cubicBezTo>
                <a:cubicBezTo>
                  <a:pt x="9305940" y="84875"/>
                  <a:pt x="9267940" y="46875"/>
                  <a:pt x="9267940" y="0"/>
                </a:cubicBezTo>
                <a:close/>
                <a:moveTo>
                  <a:pt x="8425400" y="0"/>
                </a:moveTo>
                <a:lnTo>
                  <a:pt x="8595152" y="0"/>
                </a:lnTo>
                <a:cubicBezTo>
                  <a:pt x="8595152" y="46875"/>
                  <a:pt x="8557152" y="84875"/>
                  <a:pt x="8510276" y="84875"/>
                </a:cubicBezTo>
                <a:cubicBezTo>
                  <a:pt x="8463400" y="84875"/>
                  <a:pt x="8425400" y="46875"/>
                  <a:pt x="8425400" y="0"/>
                </a:cubicBezTo>
                <a:close/>
                <a:moveTo>
                  <a:pt x="7582860" y="0"/>
                </a:moveTo>
                <a:lnTo>
                  <a:pt x="7752612" y="0"/>
                </a:lnTo>
                <a:cubicBezTo>
                  <a:pt x="7752612" y="46875"/>
                  <a:pt x="7714612" y="84875"/>
                  <a:pt x="7667736" y="84875"/>
                </a:cubicBezTo>
                <a:cubicBezTo>
                  <a:pt x="7620860" y="84875"/>
                  <a:pt x="7582860" y="46875"/>
                  <a:pt x="7582860" y="0"/>
                </a:cubicBezTo>
                <a:close/>
                <a:moveTo>
                  <a:pt x="6740320" y="0"/>
                </a:moveTo>
                <a:lnTo>
                  <a:pt x="6910072" y="0"/>
                </a:lnTo>
                <a:cubicBezTo>
                  <a:pt x="6910072" y="46875"/>
                  <a:pt x="6872072" y="84875"/>
                  <a:pt x="6825196" y="84875"/>
                </a:cubicBezTo>
                <a:cubicBezTo>
                  <a:pt x="6778320" y="84875"/>
                  <a:pt x="6740320" y="46875"/>
                  <a:pt x="6740320" y="0"/>
                </a:cubicBezTo>
                <a:close/>
                <a:moveTo>
                  <a:pt x="5897780" y="0"/>
                </a:moveTo>
                <a:lnTo>
                  <a:pt x="6067532" y="0"/>
                </a:lnTo>
                <a:cubicBezTo>
                  <a:pt x="6067532" y="46875"/>
                  <a:pt x="6029532" y="84875"/>
                  <a:pt x="5982656" y="84875"/>
                </a:cubicBezTo>
                <a:cubicBezTo>
                  <a:pt x="5935780" y="84875"/>
                  <a:pt x="5897780" y="46875"/>
                  <a:pt x="5897780" y="0"/>
                </a:cubicBezTo>
                <a:close/>
                <a:moveTo>
                  <a:pt x="5055240" y="0"/>
                </a:moveTo>
                <a:lnTo>
                  <a:pt x="5224992" y="0"/>
                </a:lnTo>
                <a:cubicBezTo>
                  <a:pt x="5224992" y="46875"/>
                  <a:pt x="5186992" y="84875"/>
                  <a:pt x="5140116" y="84875"/>
                </a:cubicBezTo>
                <a:cubicBezTo>
                  <a:pt x="5093240" y="84875"/>
                  <a:pt x="5055240" y="46875"/>
                  <a:pt x="5055240" y="0"/>
                </a:cubicBezTo>
                <a:close/>
                <a:moveTo>
                  <a:pt x="4212700" y="0"/>
                </a:moveTo>
                <a:lnTo>
                  <a:pt x="4382452" y="0"/>
                </a:lnTo>
                <a:cubicBezTo>
                  <a:pt x="4382452" y="46875"/>
                  <a:pt x="4344452" y="84875"/>
                  <a:pt x="4297576" y="84875"/>
                </a:cubicBezTo>
                <a:cubicBezTo>
                  <a:pt x="4250700" y="84875"/>
                  <a:pt x="4212700" y="46875"/>
                  <a:pt x="4212700" y="0"/>
                </a:cubicBezTo>
                <a:close/>
                <a:moveTo>
                  <a:pt x="3370160" y="0"/>
                </a:moveTo>
                <a:lnTo>
                  <a:pt x="3539912" y="0"/>
                </a:lnTo>
                <a:cubicBezTo>
                  <a:pt x="3539912" y="46875"/>
                  <a:pt x="3501912" y="84875"/>
                  <a:pt x="3455036" y="84875"/>
                </a:cubicBezTo>
                <a:cubicBezTo>
                  <a:pt x="3408160" y="84875"/>
                  <a:pt x="3370160" y="46875"/>
                  <a:pt x="3370160" y="0"/>
                </a:cubicBezTo>
                <a:close/>
                <a:moveTo>
                  <a:pt x="2527620" y="0"/>
                </a:moveTo>
                <a:lnTo>
                  <a:pt x="2697372" y="0"/>
                </a:lnTo>
                <a:cubicBezTo>
                  <a:pt x="2697372" y="46875"/>
                  <a:pt x="2659372" y="84875"/>
                  <a:pt x="2612496" y="84875"/>
                </a:cubicBezTo>
                <a:cubicBezTo>
                  <a:pt x="2565620" y="84875"/>
                  <a:pt x="2527620" y="46875"/>
                  <a:pt x="2527620" y="0"/>
                </a:cubicBezTo>
                <a:close/>
                <a:moveTo>
                  <a:pt x="1685080" y="0"/>
                </a:moveTo>
                <a:lnTo>
                  <a:pt x="1854832" y="0"/>
                </a:lnTo>
                <a:cubicBezTo>
                  <a:pt x="1854832" y="46875"/>
                  <a:pt x="1816832" y="84875"/>
                  <a:pt x="1769956" y="84875"/>
                </a:cubicBezTo>
                <a:cubicBezTo>
                  <a:pt x="1723080" y="84875"/>
                  <a:pt x="1685080" y="46875"/>
                  <a:pt x="1685080" y="0"/>
                </a:cubicBezTo>
                <a:close/>
                <a:moveTo>
                  <a:pt x="842540" y="0"/>
                </a:moveTo>
                <a:lnTo>
                  <a:pt x="1012292" y="0"/>
                </a:lnTo>
                <a:cubicBezTo>
                  <a:pt x="1012292" y="46875"/>
                  <a:pt x="974292" y="84875"/>
                  <a:pt x="927416" y="84875"/>
                </a:cubicBezTo>
                <a:cubicBezTo>
                  <a:pt x="880540" y="84875"/>
                  <a:pt x="842540" y="46875"/>
                  <a:pt x="842540" y="0"/>
                </a:cubicBezTo>
                <a:close/>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5" name="Teardrop 3"/>
          <p:cNvSpPr/>
          <p:nvPr/>
        </p:nvSpPr>
        <p:spPr>
          <a:xfrm rot="5400000" flipH="1" flipV="1">
            <a:off x="64427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6" name="Teardrop 3"/>
          <p:cNvSpPr/>
          <p:nvPr/>
        </p:nvSpPr>
        <p:spPr>
          <a:xfrm rot="5400000" flipH="1" flipV="1">
            <a:off x="-148774" y="110381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7" name="Teardrop 3"/>
          <p:cNvSpPr/>
          <p:nvPr/>
        </p:nvSpPr>
        <p:spPr>
          <a:xfrm rot="5400000" flipH="1" flipV="1">
            <a:off x="13875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8" name="Teardrop 3"/>
          <p:cNvSpPr/>
          <p:nvPr/>
        </p:nvSpPr>
        <p:spPr>
          <a:xfrm rot="5400000" flipH="1" flipV="1">
            <a:off x="22300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9" name="Teardrop 3"/>
          <p:cNvSpPr/>
          <p:nvPr/>
        </p:nvSpPr>
        <p:spPr>
          <a:xfrm rot="5400000" flipH="1" flipV="1">
            <a:off x="30726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0" name="Teardrop 3"/>
          <p:cNvSpPr/>
          <p:nvPr/>
        </p:nvSpPr>
        <p:spPr>
          <a:xfrm rot="5400000" flipH="1" flipV="1">
            <a:off x="39151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1" name="Teardrop 3"/>
          <p:cNvSpPr/>
          <p:nvPr/>
        </p:nvSpPr>
        <p:spPr>
          <a:xfrm rot="5400000" flipH="1" flipV="1">
            <a:off x="47576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2" name="Teardrop 3"/>
          <p:cNvSpPr/>
          <p:nvPr/>
        </p:nvSpPr>
        <p:spPr>
          <a:xfrm rot="5400000" flipH="1" flipV="1">
            <a:off x="56002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3" name="Teardrop 3"/>
          <p:cNvSpPr/>
          <p:nvPr/>
        </p:nvSpPr>
        <p:spPr>
          <a:xfrm rot="5400000" flipH="1" flipV="1">
            <a:off x="81278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4" name="Teardrop 3"/>
          <p:cNvSpPr/>
          <p:nvPr/>
        </p:nvSpPr>
        <p:spPr>
          <a:xfrm rot="5400000" flipH="1" flipV="1">
            <a:off x="72853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5" name="Teardrop 3"/>
          <p:cNvSpPr/>
          <p:nvPr/>
        </p:nvSpPr>
        <p:spPr>
          <a:xfrm rot="5400000" flipH="1" flipV="1">
            <a:off x="98129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6" name="Teardrop 3"/>
          <p:cNvSpPr/>
          <p:nvPr/>
        </p:nvSpPr>
        <p:spPr>
          <a:xfrm rot="5400000" flipH="1" flipV="1">
            <a:off x="89703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7" name="Teardrop 3"/>
          <p:cNvSpPr/>
          <p:nvPr/>
        </p:nvSpPr>
        <p:spPr>
          <a:xfrm rot="5400000" flipH="1" flipV="1">
            <a:off x="11498011"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8" name="Teardrop 3"/>
          <p:cNvSpPr/>
          <p:nvPr/>
        </p:nvSpPr>
        <p:spPr>
          <a:xfrm rot="5400000" flipH="1" flipV="1">
            <a:off x="106554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9" name="Teardrop 3"/>
          <p:cNvSpPr/>
          <p:nvPr/>
        </p:nvSpPr>
        <p:spPr>
          <a:xfrm rot="5400000" flipH="1" flipV="1">
            <a:off x="5449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0" name="Oval 669"/>
          <p:cNvSpPr/>
          <p:nvPr/>
        </p:nvSpPr>
        <p:spPr>
          <a:xfrm>
            <a:off x="66645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1" name="Oval 670"/>
          <p:cNvSpPr/>
          <p:nvPr/>
        </p:nvSpPr>
        <p:spPr>
          <a:xfrm>
            <a:off x="7667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2" name="Oval 671"/>
          <p:cNvSpPr/>
          <p:nvPr/>
        </p:nvSpPr>
        <p:spPr>
          <a:xfrm>
            <a:off x="16092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3" name="Oval 672"/>
          <p:cNvSpPr/>
          <p:nvPr/>
        </p:nvSpPr>
        <p:spPr>
          <a:xfrm>
            <a:off x="24518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4" name="Oval 673"/>
          <p:cNvSpPr/>
          <p:nvPr/>
        </p:nvSpPr>
        <p:spPr>
          <a:xfrm>
            <a:off x="32943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5" name="Oval 674"/>
          <p:cNvSpPr/>
          <p:nvPr/>
        </p:nvSpPr>
        <p:spPr>
          <a:xfrm>
            <a:off x="41368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6" name="Oval 675"/>
          <p:cNvSpPr/>
          <p:nvPr/>
        </p:nvSpPr>
        <p:spPr>
          <a:xfrm>
            <a:off x="49794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7" name="Oval 676"/>
          <p:cNvSpPr/>
          <p:nvPr/>
        </p:nvSpPr>
        <p:spPr>
          <a:xfrm>
            <a:off x="58219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8" name="Oval 677"/>
          <p:cNvSpPr/>
          <p:nvPr/>
        </p:nvSpPr>
        <p:spPr>
          <a:xfrm>
            <a:off x="83495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9" name="Oval 678"/>
          <p:cNvSpPr/>
          <p:nvPr/>
        </p:nvSpPr>
        <p:spPr>
          <a:xfrm>
            <a:off x="75070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0" name="Oval 679"/>
          <p:cNvSpPr/>
          <p:nvPr/>
        </p:nvSpPr>
        <p:spPr>
          <a:xfrm>
            <a:off x="100346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1" name="Oval 680"/>
          <p:cNvSpPr/>
          <p:nvPr/>
        </p:nvSpPr>
        <p:spPr>
          <a:xfrm>
            <a:off x="91921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2" name="Oval 681"/>
          <p:cNvSpPr/>
          <p:nvPr/>
        </p:nvSpPr>
        <p:spPr>
          <a:xfrm>
            <a:off x="11719750"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3" name="Oval 682"/>
          <p:cNvSpPr/>
          <p:nvPr/>
        </p:nvSpPr>
        <p:spPr>
          <a:xfrm>
            <a:off x="108772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4" name="Teardrop 3"/>
          <p:cNvSpPr/>
          <p:nvPr/>
        </p:nvSpPr>
        <p:spPr>
          <a:xfrm rot="5400000" flipH="1" flipV="1">
            <a:off x="60211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5" name="Teardrop 3"/>
          <p:cNvSpPr/>
          <p:nvPr/>
        </p:nvSpPr>
        <p:spPr>
          <a:xfrm rot="5400000" flipH="1" flipV="1">
            <a:off x="9659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6" name="Teardrop 3"/>
          <p:cNvSpPr/>
          <p:nvPr/>
        </p:nvSpPr>
        <p:spPr>
          <a:xfrm rot="5400000" flipH="1" flipV="1">
            <a:off x="18084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7" name="Teardrop 3"/>
          <p:cNvSpPr/>
          <p:nvPr/>
        </p:nvSpPr>
        <p:spPr>
          <a:xfrm rot="5400000" flipH="1" flipV="1">
            <a:off x="26510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8" name="Teardrop 3"/>
          <p:cNvSpPr/>
          <p:nvPr/>
        </p:nvSpPr>
        <p:spPr>
          <a:xfrm rot="5400000" flipH="1" flipV="1">
            <a:off x="34935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9" name="Teardrop 3"/>
          <p:cNvSpPr/>
          <p:nvPr/>
        </p:nvSpPr>
        <p:spPr>
          <a:xfrm rot="5400000" flipH="1" flipV="1">
            <a:off x="43361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0" name="Teardrop 3"/>
          <p:cNvSpPr/>
          <p:nvPr/>
        </p:nvSpPr>
        <p:spPr>
          <a:xfrm rot="5400000" flipH="1" flipV="1">
            <a:off x="51786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1" name="Teardrop 3"/>
          <p:cNvSpPr/>
          <p:nvPr/>
        </p:nvSpPr>
        <p:spPr>
          <a:xfrm rot="5400000" flipH="1" flipV="1">
            <a:off x="77062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2" name="Teardrop 3"/>
          <p:cNvSpPr/>
          <p:nvPr/>
        </p:nvSpPr>
        <p:spPr>
          <a:xfrm rot="5400000" flipH="1" flipV="1">
            <a:off x="68637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3" name="Teardrop 3"/>
          <p:cNvSpPr/>
          <p:nvPr/>
        </p:nvSpPr>
        <p:spPr>
          <a:xfrm rot="5400000" flipH="1" flipV="1">
            <a:off x="93913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4" name="Teardrop 3"/>
          <p:cNvSpPr/>
          <p:nvPr/>
        </p:nvSpPr>
        <p:spPr>
          <a:xfrm rot="5400000" flipH="1" flipV="1">
            <a:off x="85488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5" name="Teardrop 3"/>
          <p:cNvSpPr/>
          <p:nvPr/>
        </p:nvSpPr>
        <p:spPr>
          <a:xfrm rot="5400000" flipH="1" flipV="1">
            <a:off x="11076421"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6" name="Teardrop 3"/>
          <p:cNvSpPr/>
          <p:nvPr/>
        </p:nvSpPr>
        <p:spPr>
          <a:xfrm rot="5400000" flipH="1" flipV="1">
            <a:off x="102338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7" name="Teardrop 3"/>
          <p:cNvSpPr/>
          <p:nvPr/>
        </p:nvSpPr>
        <p:spPr>
          <a:xfrm rot="5400000" flipH="1" flipV="1">
            <a:off x="1234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8" name="Teardrop 3"/>
          <p:cNvSpPr/>
          <p:nvPr/>
        </p:nvSpPr>
        <p:spPr>
          <a:xfrm rot="5400000" flipH="1" flipV="1">
            <a:off x="11760002" y="1531078"/>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9" name="Oval 698"/>
          <p:cNvSpPr/>
          <p:nvPr/>
        </p:nvSpPr>
        <p:spPr>
          <a:xfrm>
            <a:off x="70866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0" name="Oval 699"/>
          <p:cNvSpPr/>
          <p:nvPr/>
        </p:nvSpPr>
        <p:spPr>
          <a:xfrm>
            <a:off x="3463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1" name="Oval 700"/>
          <p:cNvSpPr/>
          <p:nvPr/>
        </p:nvSpPr>
        <p:spPr>
          <a:xfrm>
            <a:off x="11888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2" name="Oval 701"/>
          <p:cNvSpPr/>
          <p:nvPr/>
        </p:nvSpPr>
        <p:spPr>
          <a:xfrm>
            <a:off x="20314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3" name="Oval 702"/>
          <p:cNvSpPr/>
          <p:nvPr/>
        </p:nvSpPr>
        <p:spPr>
          <a:xfrm>
            <a:off x="28739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4" name="Oval 703"/>
          <p:cNvSpPr/>
          <p:nvPr/>
        </p:nvSpPr>
        <p:spPr>
          <a:xfrm>
            <a:off x="37164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5" name="Oval 704"/>
          <p:cNvSpPr/>
          <p:nvPr/>
        </p:nvSpPr>
        <p:spPr>
          <a:xfrm>
            <a:off x="45590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6" name="Oval 705"/>
          <p:cNvSpPr/>
          <p:nvPr/>
        </p:nvSpPr>
        <p:spPr>
          <a:xfrm>
            <a:off x="54015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7" name="Oval 706"/>
          <p:cNvSpPr/>
          <p:nvPr/>
        </p:nvSpPr>
        <p:spPr>
          <a:xfrm>
            <a:off x="62441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8" name="Oval 707"/>
          <p:cNvSpPr/>
          <p:nvPr/>
        </p:nvSpPr>
        <p:spPr>
          <a:xfrm>
            <a:off x="87717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9" name="Oval 708"/>
          <p:cNvSpPr/>
          <p:nvPr/>
        </p:nvSpPr>
        <p:spPr>
          <a:xfrm>
            <a:off x="79291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0" name="Oval 709"/>
          <p:cNvSpPr/>
          <p:nvPr/>
        </p:nvSpPr>
        <p:spPr>
          <a:xfrm>
            <a:off x="104568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1" name="Oval 710"/>
          <p:cNvSpPr/>
          <p:nvPr/>
        </p:nvSpPr>
        <p:spPr>
          <a:xfrm>
            <a:off x="96142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2" name="Oval 711"/>
          <p:cNvSpPr/>
          <p:nvPr/>
        </p:nvSpPr>
        <p:spPr>
          <a:xfrm>
            <a:off x="112993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3" name="Teardrop 3"/>
          <p:cNvSpPr/>
          <p:nvPr/>
        </p:nvSpPr>
        <p:spPr>
          <a:xfrm rot="5400000" flipH="1" flipV="1">
            <a:off x="64427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4" name="Teardrop 3"/>
          <p:cNvSpPr/>
          <p:nvPr/>
        </p:nvSpPr>
        <p:spPr>
          <a:xfrm rot="5400000" flipH="1" flipV="1">
            <a:off x="-148774" y="1946410"/>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5" name="Teardrop 3"/>
          <p:cNvSpPr/>
          <p:nvPr/>
        </p:nvSpPr>
        <p:spPr>
          <a:xfrm rot="5400000" flipH="1" flipV="1">
            <a:off x="13875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6" name="Teardrop 3"/>
          <p:cNvSpPr/>
          <p:nvPr/>
        </p:nvSpPr>
        <p:spPr>
          <a:xfrm rot="5400000" flipH="1" flipV="1">
            <a:off x="22300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7" name="Teardrop 3"/>
          <p:cNvSpPr/>
          <p:nvPr/>
        </p:nvSpPr>
        <p:spPr>
          <a:xfrm rot="5400000" flipH="1" flipV="1">
            <a:off x="30726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8" name="Teardrop 3"/>
          <p:cNvSpPr/>
          <p:nvPr/>
        </p:nvSpPr>
        <p:spPr>
          <a:xfrm rot="5400000" flipH="1" flipV="1">
            <a:off x="39151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9" name="Teardrop 3"/>
          <p:cNvSpPr/>
          <p:nvPr/>
        </p:nvSpPr>
        <p:spPr>
          <a:xfrm rot="5400000" flipH="1" flipV="1">
            <a:off x="47576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0" name="Teardrop 3"/>
          <p:cNvSpPr/>
          <p:nvPr/>
        </p:nvSpPr>
        <p:spPr>
          <a:xfrm rot="5400000" flipH="1" flipV="1">
            <a:off x="56002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1" name="Teardrop 3"/>
          <p:cNvSpPr/>
          <p:nvPr/>
        </p:nvSpPr>
        <p:spPr>
          <a:xfrm rot="5400000" flipH="1" flipV="1">
            <a:off x="81278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2" name="Teardrop 3"/>
          <p:cNvSpPr/>
          <p:nvPr/>
        </p:nvSpPr>
        <p:spPr>
          <a:xfrm rot="5400000" flipH="1" flipV="1">
            <a:off x="72853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3" name="Teardrop 3"/>
          <p:cNvSpPr/>
          <p:nvPr/>
        </p:nvSpPr>
        <p:spPr>
          <a:xfrm rot="5400000" flipH="1" flipV="1">
            <a:off x="98129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4" name="Teardrop 3"/>
          <p:cNvSpPr/>
          <p:nvPr/>
        </p:nvSpPr>
        <p:spPr>
          <a:xfrm rot="5400000" flipH="1" flipV="1">
            <a:off x="89703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5" name="Teardrop 3"/>
          <p:cNvSpPr/>
          <p:nvPr/>
        </p:nvSpPr>
        <p:spPr>
          <a:xfrm rot="5400000" flipH="1" flipV="1">
            <a:off x="11498011"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6" name="Teardrop 3"/>
          <p:cNvSpPr/>
          <p:nvPr/>
        </p:nvSpPr>
        <p:spPr>
          <a:xfrm rot="5400000" flipH="1" flipV="1">
            <a:off x="106554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7" name="Teardrop 3"/>
          <p:cNvSpPr/>
          <p:nvPr/>
        </p:nvSpPr>
        <p:spPr>
          <a:xfrm rot="5400000" flipH="1" flipV="1">
            <a:off x="5449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8" name="Oval 727"/>
          <p:cNvSpPr/>
          <p:nvPr/>
        </p:nvSpPr>
        <p:spPr>
          <a:xfrm>
            <a:off x="66645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9" name="Oval 728"/>
          <p:cNvSpPr/>
          <p:nvPr/>
        </p:nvSpPr>
        <p:spPr>
          <a:xfrm>
            <a:off x="7667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0" name="Oval 729"/>
          <p:cNvSpPr/>
          <p:nvPr/>
        </p:nvSpPr>
        <p:spPr>
          <a:xfrm>
            <a:off x="16092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1" name="Oval 730"/>
          <p:cNvSpPr/>
          <p:nvPr/>
        </p:nvSpPr>
        <p:spPr>
          <a:xfrm>
            <a:off x="24518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2" name="Oval 731"/>
          <p:cNvSpPr/>
          <p:nvPr/>
        </p:nvSpPr>
        <p:spPr>
          <a:xfrm>
            <a:off x="32943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3" name="Oval 732"/>
          <p:cNvSpPr/>
          <p:nvPr/>
        </p:nvSpPr>
        <p:spPr>
          <a:xfrm>
            <a:off x="41368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4" name="Oval 733"/>
          <p:cNvSpPr/>
          <p:nvPr/>
        </p:nvSpPr>
        <p:spPr>
          <a:xfrm>
            <a:off x="49794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5" name="Oval 734"/>
          <p:cNvSpPr/>
          <p:nvPr/>
        </p:nvSpPr>
        <p:spPr>
          <a:xfrm>
            <a:off x="58219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6" name="Oval 735"/>
          <p:cNvSpPr/>
          <p:nvPr/>
        </p:nvSpPr>
        <p:spPr>
          <a:xfrm>
            <a:off x="83495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7" name="Oval 736"/>
          <p:cNvSpPr/>
          <p:nvPr/>
        </p:nvSpPr>
        <p:spPr>
          <a:xfrm>
            <a:off x="75070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8" name="Oval 737"/>
          <p:cNvSpPr/>
          <p:nvPr/>
        </p:nvSpPr>
        <p:spPr>
          <a:xfrm>
            <a:off x="100346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9" name="Oval 738"/>
          <p:cNvSpPr/>
          <p:nvPr/>
        </p:nvSpPr>
        <p:spPr>
          <a:xfrm>
            <a:off x="91921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0" name="Oval 739"/>
          <p:cNvSpPr/>
          <p:nvPr/>
        </p:nvSpPr>
        <p:spPr>
          <a:xfrm>
            <a:off x="11719750"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1" name="Oval 740"/>
          <p:cNvSpPr/>
          <p:nvPr/>
        </p:nvSpPr>
        <p:spPr>
          <a:xfrm>
            <a:off x="108772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2" name="Teardrop 3"/>
          <p:cNvSpPr/>
          <p:nvPr/>
        </p:nvSpPr>
        <p:spPr>
          <a:xfrm rot="5400000" flipH="1" flipV="1">
            <a:off x="60211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3" name="Teardrop 3"/>
          <p:cNvSpPr/>
          <p:nvPr/>
        </p:nvSpPr>
        <p:spPr>
          <a:xfrm rot="5400000" flipH="1" flipV="1">
            <a:off x="9659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4" name="Teardrop 3"/>
          <p:cNvSpPr/>
          <p:nvPr/>
        </p:nvSpPr>
        <p:spPr>
          <a:xfrm rot="5400000" flipH="1" flipV="1">
            <a:off x="18084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5" name="Teardrop 3"/>
          <p:cNvSpPr/>
          <p:nvPr/>
        </p:nvSpPr>
        <p:spPr>
          <a:xfrm rot="5400000" flipH="1" flipV="1">
            <a:off x="26510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6" name="Teardrop 3"/>
          <p:cNvSpPr/>
          <p:nvPr/>
        </p:nvSpPr>
        <p:spPr>
          <a:xfrm rot="5400000" flipH="1" flipV="1">
            <a:off x="34935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7" name="Teardrop 3"/>
          <p:cNvSpPr/>
          <p:nvPr/>
        </p:nvSpPr>
        <p:spPr>
          <a:xfrm rot="5400000" flipH="1" flipV="1">
            <a:off x="43361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8" name="Teardrop 3"/>
          <p:cNvSpPr/>
          <p:nvPr/>
        </p:nvSpPr>
        <p:spPr>
          <a:xfrm rot="5400000" flipH="1" flipV="1">
            <a:off x="51786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9" name="Teardrop 3"/>
          <p:cNvSpPr/>
          <p:nvPr/>
        </p:nvSpPr>
        <p:spPr>
          <a:xfrm rot="5400000" flipH="1" flipV="1">
            <a:off x="77062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0" name="Teardrop 3"/>
          <p:cNvSpPr/>
          <p:nvPr/>
        </p:nvSpPr>
        <p:spPr>
          <a:xfrm rot="5400000" flipH="1" flipV="1">
            <a:off x="68637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1" name="Teardrop 3"/>
          <p:cNvSpPr/>
          <p:nvPr/>
        </p:nvSpPr>
        <p:spPr>
          <a:xfrm rot="5400000" flipH="1" flipV="1">
            <a:off x="93913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2" name="Teardrop 3"/>
          <p:cNvSpPr/>
          <p:nvPr/>
        </p:nvSpPr>
        <p:spPr>
          <a:xfrm rot="5400000" flipH="1" flipV="1">
            <a:off x="85488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3" name="Teardrop 3"/>
          <p:cNvSpPr/>
          <p:nvPr/>
        </p:nvSpPr>
        <p:spPr>
          <a:xfrm rot="5400000" flipH="1" flipV="1">
            <a:off x="11076421"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4" name="Teardrop 3"/>
          <p:cNvSpPr/>
          <p:nvPr/>
        </p:nvSpPr>
        <p:spPr>
          <a:xfrm rot="5400000" flipH="1" flipV="1">
            <a:off x="102338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5" name="Teardrop 3"/>
          <p:cNvSpPr/>
          <p:nvPr/>
        </p:nvSpPr>
        <p:spPr>
          <a:xfrm rot="5400000" flipH="1" flipV="1">
            <a:off x="1234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6" name="Teardrop 3"/>
          <p:cNvSpPr/>
          <p:nvPr/>
        </p:nvSpPr>
        <p:spPr>
          <a:xfrm rot="5400000" flipH="1" flipV="1">
            <a:off x="11760003" y="2373673"/>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7" name="Oval 756"/>
          <p:cNvSpPr/>
          <p:nvPr/>
        </p:nvSpPr>
        <p:spPr>
          <a:xfrm>
            <a:off x="70866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8" name="Oval 757"/>
          <p:cNvSpPr/>
          <p:nvPr/>
        </p:nvSpPr>
        <p:spPr>
          <a:xfrm>
            <a:off x="3463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9" name="Oval 758"/>
          <p:cNvSpPr/>
          <p:nvPr/>
        </p:nvSpPr>
        <p:spPr>
          <a:xfrm>
            <a:off x="11888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0" name="Oval 759"/>
          <p:cNvSpPr/>
          <p:nvPr/>
        </p:nvSpPr>
        <p:spPr>
          <a:xfrm>
            <a:off x="20314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1" name="Oval 760"/>
          <p:cNvSpPr/>
          <p:nvPr/>
        </p:nvSpPr>
        <p:spPr>
          <a:xfrm>
            <a:off x="28739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2" name="Oval 761"/>
          <p:cNvSpPr/>
          <p:nvPr/>
        </p:nvSpPr>
        <p:spPr>
          <a:xfrm>
            <a:off x="37164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3" name="Oval 762"/>
          <p:cNvSpPr/>
          <p:nvPr/>
        </p:nvSpPr>
        <p:spPr>
          <a:xfrm>
            <a:off x="45590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4" name="Oval 763"/>
          <p:cNvSpPr/>
          <p:nvPr/>
        </p:nvSpPr>
        <p:spPr>
          <a:xfrm>
            <a:off x="54015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5" name="Oval 764"/>
          <p:cNvSpPr/>
          <p:nvPr/>
        </p:nvSpPr>
        <p:spPr>
          <a:xfrm>
            <a:off x="62441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6" name="Oval 765"/>
          <p:cNvSpPr/>
          <p:nvPr/>
        </p:nvSpPr>
        <p:spPr>
          <a:xfrm>
            <a:off x="87717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7" name="Oval 766"/>
          <p:cNvSpPr/>
          <p:nvPr/>
        </p:nvSpPr>
        <p:spPr>
          <a:xfrm>
            <a:off x="79291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8" name="Oval 767"/>
          <p:cNvSpPr/>
          <p:nvPr/>
        </p:nvSpPr>
        <p:spPr>
          <a:xfrm>
            <a:off x="104568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9" name="Oval 768"/>
          <p:cNvSpPr/>
          <p:nvPr/>
        </p:nvSpPr>
        <p:spPr>
          <a:xfrm>
            <a:off x="96142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0" name="Oval 769"/>
          <p:cNvSpPr/>
          <p:nvPr/>
        </p:nvSpPr>
        <p:spPr>
          <a:xfrm>
            <a:off x="112993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1" name="Teardrop 3"/>
          <p:cNvSpPr/>
          <p:nvPr/>
        </p:nvSpPr>
        <p:spPr>
          <a:xfrm rot="5400000" flipH="1" flipV="1">
            <a:off x="64427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2" name="Teardrop 3"/>
          <p:cNvSpPr/>
          <p:nvPr/>
        </p:nvSpPr>
        <p:spPr>
          <a:xfrm rot="5400000" flipH="1" flipV="1">
            <a:off x="-148774" y="279508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3" name="Teardrop 3"/>
          <p:cNvSpPr/>
          <p:nvPr/>
        </p:nvSpPr>
        <p:spPr>
          <a:xfrm rot="5400000" flipH="1" flipV="1">
            <a:off x="13875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4" name="Teardrop 3"/>
          <p:cNvSpPr/>
          <p:nvPr/>
        </p:nvSpPr>
        <p:spPr>
          <a:xfrm rot="5400000" flipH="1" flipV="1">
            <a:off x="22300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5" name="Teardrop 3"/>
          <p:cNvSpPr/>
          <p:nvPr/>
        </p:nvSpPr>
        <p:spPr>
          <a:xfrm rot="5400000" flipH="1" flipV="1">
            <a:off x="30726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6" name="Teardrop 3"/>
          <p:cNvSpPr/>
          <p:nvPr/>
        </p:nvSpPr>
        <p:spPr>
          <a:xfrm rot="5400000" flipH="1" flipV="1">
            <a:off x="39151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7" name="Teardrop 3"/>
          <p:cNvSpPr/>
          <p:nvPr/>
        </p:nvSpPr>
        <p:spPr>
          <a:xfrm rot="5400000" flipH="1" flipV="1">
            <a:off x="47576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8" name="Teardrop 3"/>
          <p:cNvSpPr/>
          <p:nvPr/>
        </p:nvSpPr>
        <p:spPr>
          <a:xfrm rot="5400000" flipH="1" flipV="1">
            <a:off x="56002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9" name="Teardrop 3"/>
          <p:cNvSpPr/>
          <p:nvPr/>
        </p:nvSpPr>
        <p:spPr>
          <a:xfrm rot="5400000" flipH="1" flipV="1">
            <a:off x="81278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0" name="Teardrop 3"/>
          <p:cNvSpPr/>
          <p:nvPr/>
        </p:nvSpPr>
        <p:spPr>
          <a:xfrm rot="5400000" flipH="1" flipV="1">
            <a:off x="72853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1" name="Teardrop 3"/>
          <p:cNvSpPr/>
          <p:nvPr/>
        </p:nvSpPr>
        <p:spPr>
          <a:xfrm rot="5400000" flipH="1" flipV="1">
            <a:off x="98129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2" name="Teardrop 3"/>
          <p:cNvSpPr/>
          <p:nvPr/>
        </p:nvSpPr>
        <p:spPr>
          <a:xfrm rot="5400000" flipH="1" flipV="1">
            <a:off x="89703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3" name="Teardrop 3"/>
          <p:cNvSpPr/>
          <p:nvPr/>
        </p:nvSpPr>
        <p:spPr>
          <a:xfrm rot="5400000" flipH="1" flipV="1">
            <a:off x="11498011"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4" name="Teardrop 3"/>
          <p:cNvSpPr/>
          <p:nvPr/>
        </p:nvSpPr>
        <p:spPr>
          <a:xfrm rot="5400000" flipH="1" flipV="1">
            <a:off x="106554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5" name="Teardrop 3"/>
          <p:cNvSpPr/>
          <p:nvPr/>
        </p:nvSpPr>
        <p:spPr>
          <a:xfrm rot="5400000" flipH="1" flipV="1">
            <a:off x="5449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6" name="Oval 785"/>
          <p:cNvSpPr/>
          <p:nvPr/>
        </p:nvSpPr>
        <p:spPr>
          <a:xfrm>
            <a:off x="66645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7" name="Oval 786"/>
          <p:cNvSpPr/>
          <p:nvPr/>
        </p:nvSpPr>
        <p:spPr>
          <a:xfrm>
            <a:off x="7667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8" name="Oval 787"/>
          <p:cNvSpPr/>
          <p:nvPr/>
        </p:nvSpPr>
        <p:spPr>
          <a:xfrm>
            <a:off x="16092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9" name="Oval 788"/>
          <p:cNvSpPr/>
          <p:nvPr/>
        </p:nvSpPr>
        <p:spPr>
          <a:xfrm>
            <a:off x="24518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0" name="Oval 789"/>
          <p:cNvSpPr/>
          <p:nvPr/>
        </p:nvSpPr>
        <p:spPr>
          <a:xfrm>
            <a:off x="32943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1" name="Oval 790"/>
          <p:cNvSpPr/>
          <p:nvPr/>
        </p:nvSpPr>
        <p:spPr>
          <a:xfrm>
            <a:off x="41368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2" name="Oval 791"/>
          <p:cNvSpPr/>
          <p:nvPr/>
        </p:nvSpPr>
        <p:spPr>
          <a:xfrm>
            <a:off x="49794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3" name="Oval 792"/>
          <p:cNvSpPr/>
          <p:nvPr/>
        </p:nvSpPr>
        <p:spPr>
          <a:xfrm>
            <a:off x="58219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4" name="Oval 793"/>
          <p:cNvSpPr/>
          <p:nvPr/>
        </p:nvSpPr>
        <p:spPr>
          <a:xfrm>
            <a:off x="83495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5" name="Oval 794"/>
          <p:cNvSpPr/>
          <p:nvPr/>
        </p:nvSpPr>
        <p:spPr>
          <a:xfrm>
            <a:off x="75070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6" name="Oval 795"/>
          <p:cNvSpPr/>
          <p:nvPr/>
        </p:nvSpPr>
        <p:spPr>
          <a:xfrm>
            <a:off x="100346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7" name="Oval 796"/>
          <p:cNvSpPr/>
          <p:nvPr/>
        </p:nvSpPr>
        <p:spPr>
          <a:xfrm>
            <a:off x="91921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8" name="Oval 797"/>
          <p:cNvSpPr/>
          <p:nvPr/>
        </p:nvSpPr>
        <p:spPr>
          <a:xfrm>
            <a:off x="11719750"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9" name="Oval 798"/>
          <p:cNvSpPr/>
          <p:nvPr/>
        </p:nvSpPr>
        <p:spPr>
          <a:xfrm>
            <a:off x="108772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0" name="Teardrop 3"/>
          <p:cNvSpPr/>
          <p:nvPr/>
        </p:nvSpPr>
        <p:spPr>
          <a:xfrm rot="5400000" flipH="1" flipV="1">
            <a:off x="60211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1" name="Teardrop 3"/>
          <p:cNvSpPr/>
          <p:nvPr/>
        </p:nvSpPr>
        <p:spPr>
          <a:xfrm rot="5400000" flipH="1" flipV="1">
            <a:off x="9659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2" name="Teardrop 3"/>
          <p:cNvSpPr/>
          <p:nvPr/>
        </p:nvSpPr>
        <p:spPr>
          <a:xfrm rot="5400000" flipH="1" flipV="1">
            <a:off x="18084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3" name="Teardrop 3"/>
          <p:cNvSpPr/>
          <p:nvPr/>
        </p:nvSpPr>
        <p:spPr>
          <a:xfrm rot="5400000" flipH="1" flipV="1">
            <a:off x="26510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4" name="Teardrop 3"/>
          <p:cNvSpPr/>
          <p:nvPr/>
        </p:nvSpPr>
        <p:spPr>
          <a:xfrm rot="5400000" flipH="1" flipV="1">
            <a:off x="34935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5" name="Teardrop 3"/>
          <p:cNvSpPr/>
          <p:nvPr/>
        </p:nvSpPr>
        <p:spPr>
          <a:xfrm rot="5400000" flipH="1" flipV="1">
            <a:off x="43361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6" name="Teardrop 3"/>
          <p:cNvSpPr/>
          <p:nvPr/>
        </p:nvSpPr>
        <p:spPr>
          <a:xfrm rot="5400000" flipH="1" flipV="1">
            <a:off x="51786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7" name="Teardrop 3"/>
          <p:cNvSpPr/>
          <p:nvPr/>
        </p:nvSpPr>
        <p:spPr>
          <a:xfrm rot="5400000" flipH="1" flipV="1">
            <a:off x="77062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8" name="Teardrop 3"/>
          <p:cNvSpPr/>
          <p:nvPr/>
        </p:nvSpPr>
        <p:spPr>
          <a:xfrm rot="5400000" flipH="1" flipV="1">
            <a:off x="68637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9" name="Teardrop 3"/>
          <p:cNvSpPr/>
          <p:nvPr/>
        </p:nvSpPr>
        <p:spPr>
          <a:xfrm rot="5400000" flipH="1" flipV="1">
            <a:off x="93913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0" name="Teardrop 3"/>
          <p:cNvSpPr/>
          <p:nvPr/>
        </p:nvSpPr>
        <p:spPr>
          <a:xfrm rot="5400000" flipH="1" flipV="1">
            <a:off x="85488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1" name="Teardrop 3"/>
          <p:cNvSpPr/>
          <p:nvPr/>
        </p:nvSpPr>
        <p:spPr>
          <a:xfrm rot="5400000" flipH="1" flipV="1">
            <a:off x="11076421"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2" name="Teardrop 3"/>
          <p:cNvSpPr/>
          <p:nvPr/>
        </p:nvSpPr>
        <p:spPr>
          <a:xfrm rot="5400000" flipH="1" flipV="1">
            <a:off x="102338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3" name="Teardrop 3"/>
          <p:cNvSpPr/>
          <p:nvPr/>
        </p:nvSpPr>
        <p:spPr>
          <a:xfrm rot="5400000" flipH="1" flipV="1">
            <a:off x="1234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4" name="Teardrop 3"/>
          <p:cNvSpPr/>
          <p:nvPr/>
        </p:nvSpPr>
        <p:spPr>
          <a:xfrm rot="5400000" flipH="1" flipV="1">
            <a:off x="11760002" y="3223930"/>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5" name="Oval 814"/>
          <p:cNvSpPr/>
          <p:nvPr/>
        </p:nvSpPr>
        <p:spPr>
          <a:xfrm>
            <a:off x="70866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6" name="Oval 815"/>
          <p:cNvSpPr/>
          <p:nvPr/>
        </p:nvSpPr>
        <p:spPr>
          <a:xfrm>
            <a:off x="3463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7" name="Oval 816"/>
          <p:cNvSpPr/>
          <p:nvPr/>
        </p:nvSpPr>
        <p:spPr>
          <a:xfrm>
            <a:off x="11888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8" name="Oval 817"/>
          <p:cNvSpPr/>
          <p:nvPr/>
        </p:nvSpPr>
        <p:spPr>
          <a:xfrm>
            <a:off x="20314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9" name="Oval 818"/>
          <p:cNvSpPr/>
          <p:nvPr/>
        </p:nvSpPr>
        <p:spPr>
          <a:xfrm>
            <a:off x="28739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0" name="Oval 819"/>
          <p:cNvSpPr/>
          <p:nvPr/>
        </p:nvSpPr>
        <p:spPr>
          <a:xfrm>
            <a:off x="37164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1" name="Oval 820"/>
          <p:cNvSpPr/>
          <p:nvPr/>
        </p:nvSpPr>
        <p:spPr>
          <a:xfrm>
            <a:off x="45590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2" name="Oval 821"/>
          <p:cNvSpPr/>
          <p:nvPr/>
        </p:nvSpPr>
        <p:spPr>
          <a:xfrm>
            <a:off x="54015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3" name="Oval 822"/>
          <p:cNvSpPr/>
          <p:nvPr/>
        </p:nvSpPr>
        <p:spPr>
          <a:xfrm>
            <a:off x="62441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4" name="Oval 823"/>
          <p:cNvSpPr/>
          <p:nvPr/>
        </p:nvSpPr>
        <p:spPr>
          <a:xfrm>
            <a:off x="87717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5" name="Oval 824"/>
          <p:cNvSpPr/>
          <p:nvPr/>
        </p:nvSpPr>
        <p:spPr>
          <a:xfrm>
            <a:off x="79291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6" name="Oval 825"/>
          <p:cNvSpPr/>
          <p:nvPr/>
        </p:nvSpPr>
        <p:spPr>
          <a:xfrm>
            <a:off x="104568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7" name="Oval 826"/>
          <p:cNvSpPr/>
          <p:nvPr/>
        </p:nvSpPr>
        <p:spPr>
          <a:xfrm>
            <a:off x="96142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8" name="Oval 827"/>
          <p:cNvSpPr/>
          <p:nvPr/>
        </p:nvSpPr>
        <p:spPr>
          <a:xfrm>
            <a:off x="112993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9" name="Teardrop 3"/>
          <p:cNvSpPr/>
          <p:nvPr/>
        </p:nvSpPr>
        <p:spPr>
          <a:xfrm rot="5400000" flipH="1" flipV="1">
            <a:off x="64427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0" name="Teardrop 3"/>
          <p:cNvSpPr/>
          <p:nvPr/>
        </p:nvSpPr>
        <p:spPr>
          <a:xfrm rot="5400000" flipH="1" flipV="1">
            <a:off x="-148774" y="3639262"/>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1" name="Teardrop 3"/>
          <p:cNvSpPr/>
          <p:nvPr/>
        </p:nvSpPr>
        <p:spPr>
          <a:xfrm rot="5400000" flipH="1" flipV="1">
            <a:off x="13875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2" name="Teardrop 3"/>
          <p:cNvSpPr/>
          <p:nvPr/>
        </p:nvSpPr>
        <p:spPr>
          <a:xfrm rot="5400000" flipH="1" flipV="1">
            <a:off x="22300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3" name="Teardrop 3"/>
          <p:cNvSpPr/>
          <p:nvPr/>
        </p:nvSpPr>
        <p:spPr>
          <a:xfrm rot="5400000" flipH="1" flipV="1">
            <a:off x="30726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4" name="Teardrop 3"/>
          <p:cNvSpPr/>
          <p:nvPr/>
        </p:nvSpPr>
        <p:spPr>
          <a:xfrm rot="5400000" flipH="1" flipV="1">
            <a:off x="39151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5" name="Teardrop 3"/>
          <p:cNvSpPr/>
          <p:nvPr/>
        </p:nvSpPr>
        <p:spPr>
          <a:xfrm rot="5400000" flipH="1" flipV="1">
            <a:off x="47576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6" name="Teardrop 3"/>
          <p:cNvSpPr/>
          <p:nvPr/>
        </p:nvSpPr>
        <p:spPr>
          <a:xfrm rot="5400000" flipH="1" flipV="1">
            <a:off x="56002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7" name="Teardrop 3"/>
          <p:cNvSpPr/>
          <p:nvPr/>
        </p:nvSpPr>
        <p:spPr>
          <a:xfrm rot="5400000" flipH="1" flipV="1">
            <a:off x="81278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8" name="Teardrop 3"/>
          <p:cNvSpPr/>
          <p:nvPr/>
        </p:nvSpPr>
        <p:spPr>
          <a:xfrm rot="5400000" flipH="1" flipV="1">
            <a:off x="72853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9" name="Teardrop 3"/>
          <p:cNvSpPr/>
          <p:nvPr/>
        </p:nvSpPr>
        <p:spPr>
          <a:xfrm rot="5400000" flipH="1" flipV="1">
            <a:off x="98129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0" name="Teardrop 3"/>
          <p:cNvSpPr/>
          <p:nvPr/>
        </p:nvSpPr>
        <p:spPr>
          <a:xfrm rot="5400000" flipH="1" flipV="1">
            <a:off x="89703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1" name="Teardrop 3"/>
          <p:cNvSpPr/>
          <p:nvPr/>
        </p:nvSpPr>
        <p:spPr>
          <a:xfrm rot="5400000" flipH="1" flipV="1">
            <a:off x="11498011"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2" name="Teardrop 3"/>
          <p:cNvSpPr/>
          <p:nvPr/>
        </p:nvSpPr>
        <p:spPr>
          <a:xfrm rot="5400000" flipH="1" flipV="1">
            <a:off x="106554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3" name="Teardrop 3"/>
          <p:cNvSpPr/>
          <p:nvPr/>
        </p:nvSpPr>
        <p:spPr>
          <a:xfrm rot="5400000" flipH="1" flipV="1">
            <a:off x="5449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4" name="Oval 843"/>
          <p:cNvSpPr/>
          <p:nvPr/>
        </p:nvSpPr>
        <p:spPr>
          <a:xfrm>
            <a:off x="66645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5" name="Oval 844"/>
          <p:cNvSpPr/>
          <p:nvPr/>
        </p:nvSpPr>
        <p:spPr>
          <a:xfrm>
            <a:off x="7667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6" name="Oval 845"/>
          <p:cNvSpPr/>
          <p:nvPr/>
        </p:nvSpPr>
        <p:spPr>
          <a:xfrm>
            <a:off x="16092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7" name="Oval 846"/>
          <p:cNvSpPr/>
          <p:nvPr/>
        </p:nvSpPr>
        <p:spPr>
          <a:xfrm>
            <a:off x="24518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8" name="Oval 847"/>
          <p:cNvSpPr/>
          <p:nvPr/>
        </p:nvSpPr>
        <p:spPr>
          <a:xfrm>
            <a:off x="32943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9" name="Oval 848"/>
          <p:cNvSpPr/>
          <p:nvPr/>
        </p:nvSpPr>
        <p:spPr>
          <a:xfrm>
            <a:off x="41368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0" name="Oval 849"/>
          <p:cNvSpPr/>
          <p:nvPr/>
        </p:nvSpPr>
        <p:spPr>
          <a:xfrm>
            <a:off x="49794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1" name="Oval 850"/>
          <p:cNvSpPr/>
          <p:nvPr/>
        </p:nvSpPr>
        <p:spPr>
          <a:xfrm>
            <a:off x="58219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2" name="Oval 851"/>
          <p:cNvSpPr/>
          <p:nvPr/>
        </p:nvSpPr>
        <p:spPr>
          <a:xfrm>
            <a:off x="83495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3" name="Oval 852"/>
          <p:cNvSpPr/>
          <p:nvPr/>
        </p:nvSpPr>
        <p:spPr>
          <a:xfrm>
            <a:off x="75070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4" name="Oval 853"/>
          <p:cNvSpPr/>
          <p:nvPr/>
        </p:nvSpPr>
        <p:spPr>
          <a:xfrm>
            <a:off x="100346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5" name="Oval 854"/>
          <p:cNvSpPr/>
          <p:nvPr/>
        </p:nvSpPr>
        <p:spPr>
          <a:xfrm>
            <a:off x="91921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6" name="Oval 855"/>
          <p:cNvSpPr/>
          <p:nvPr/>
        </p:nvSpPr>
        <p:spPr>
          <a:xfrm>
            <a:off x="11719750"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7" name="Oval 856"/>
          <p:cNvSpPr/>
          <p:nvPr/>
        </p:nvSpPr>
        <p:spPr>
          <a:xfrm>
            <a:off x="108772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8" name="Teardrop 3"/>
          <p:cNvSpPr/>
          <p:nvPr/>
        </p:nvSpPr>
        <p:spPr>
          <a:xfrm rot="5400000" flipH="1" flipV="1">
            <a:off x="60211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9" name="Teardrop 3"/>
          <p:cNvSpPr/>
          <p:nvPr/>
        </p:nvSpPr>
        <p:spPr>
          <a:xfrm rot="5400000" flipH="1" flipV="1">
            <a:off x="9659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0" name="Teardrop 3"/>
          <p:cNvSpPr/>
          <p:nvPr/>
        </p:nvSpPr>
        <p:spPr>
          <a:xfrm rot="5400000" flipH="1" flipV="1">
            <a:off x="18084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1" name="Teardrop 3"/>
          <p:cNvSpPr/>
          <p:nvPr/>
        </p:nvSpPr>
        <p:spPr>
          <a:xfrm rot="5400000" flipH="1" flipV="1">
            <a:off x="26510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2" name="Teardrop 3"/>
          <p:cNvSpPr/>
          <p:nvPr/>
        </p:nvSpPr>
        <p:spPr>
          <a:xfrm rot="5400000" flipH="1" flipV="1">
            <a:off x="34935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3" name="Teardrop 3"/>
          <p:cNvSpPr/>
          <p:nvPr/>
        </p:nvSpPr>
        <p:spPr>
          <a:xfrm rot="5400000" flipH="1" flipV="1">
            <a:off x="43361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4" name="Teardrop 3"/>
          <p:cNvSpPr/>
          <p:nvPr/>
        </p:nvSpPr>
        <p:spPr>
          <a:xfrm rot="5400000" flipH="1" flipV="1">
            <a:off x="51786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5" name="Teardrop 3"/>
          <p:cNvSpPr/>
          <p:nvPr/>
        </p:nvSpPr>
        <p:spPr>
          <a:xfrm rot="5400000" flipH="1" flipV="1">
            <a:off x="77062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6" name="Teardrop 3"/>
          <p:cNvSpPr/>
          <p:nvPr/>
        </p:nvSpPr>
        <p:spPr>
          <a:xfrm rot="5400000" flipH="1" flipV="1">
            <a:off x="68637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7" name="Teardrop 3"/>
          <p:cNvSpPr/>
          <p:nvPr/>
        </p:nvSpPr>
        <p:spPr>
          <a:xfrm rot="5400000" flipH="1" flipV="1">
            <a:off x="93913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8" name="Teardrop 3"/>
          <p:cNvSpPr/>
          <p:nvPr/>
        </p:nvSpPr>
        <p:spPr>
          <a:xfrm rot="5400000" flipH="1" flipV="1">
            <a:off x="85488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9" name="Teardrop 3"/>
          <p:cNvSpPr/>
          <p:nvPr/>
        </p:nvSpPr>
        <p:spPr>
          <a:xfrm rot="5400000" flipH="1" flipV="1">
            <a:off x="11076421"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0" name="Teardrop 3"/>
          <p:cNvSpPr/>
          <p:nvPr/>
        </p:nvSpPr>
        <p:spPr>
          <a:xfrm rot="5400000" flipH="1" flipV="1">
            <a:off x="102338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1" name="Teardrop 3"/>
          <p:cNvSpPr/>
          <p:nvPr/>
        </p:nvSpPr>
        <p:spPr>
          <a:xfrm rot="5400000" flipH="1" flipV="1">
            <a:off x="1234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2" name="Teardrop 3"/>
          <p:cNvSpPr/>
          <p:nvPr/>
        </p:nvSpPr>
        <p:spPr>
          <a:xfrm rot="5400000" flipH="1" flipV="1">
            <a:off x="11760002" y="4069935"/>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8" y="250112"/>
                  <a:pt x="155376" y="250112"/>
                </a:cubicBezTo>
                <a:cubicBezTo>
                  <a:pt x="174455" y="249746"/>
                  <a:pt x="198601" y="254980"/>
                  <a:pt x="211458" y="268141"/>
                </a:cubicBezTo>
                <a:cubicBezTo>
                  <a:pt x="215886"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7"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60" y="254779"/>
                  <a:pt x="246352" y="254786"/>
                </a:cubicBezTo>
                <a:cubicBezTo>
                  <a:pt x="246345"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9"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90" y="195895"/>
                  <a:pt x="53000" y="178457"/>
                  <a:pt x="53000" y="159854"/>
                </a:cubicBezTo>
                <a:cubicBezTo>
                  <a:pt x="53000" y="132604"/>
                  <a:pt x="63706" y="107854"/>
                  <a:pt x="81286" y="89721"/>
                </a:cubicBez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3" name="Oval 872"/>
          <p:cNvSpPr/>
          <p:nvPr/>
        </p:nvSpPr>
        <p:spPr>
          <a:xfrm>
            <a:off x="70866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4" name="Oval 873"/>
          <p:cNvSpPr/>
          <p:nvPr/>
        </p:nvSpPr>
        <p:spPr>
          <a:xfrm>
            <a:off x="3463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5" name="Oval 874"/>
          <p:cNvSpPr/>
          <p:nvPr/>
        </p:nvSpPr>
        <p:spPr>
          <a:xfrm>
            <a:off x="11888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6" name="Oval 875"/>
          <p:cNvSpPr/>
          <p:nvPr/>
        </p:nvSpPr>
        <p:spPr>
          <a:xfrm>
            <a:off x="20314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7" name="Oval 876"/>
          <p:cNvSpPr/>
          <p:nvPr/>
        </p:nvSpPr>
        <p:spPr>
          <a:xfrm>
            <a:off x="28739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8" name="Oval 877"/>
          <p:cNvSpPr/>
          <p:nvPr/>
        </p:nvSpPr>
        <p:spPr>
          <a:xfrm>
            <a:off x="37164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9" name="Oval 878"/>
          <p:cNvSpPr/>
          <p:nvPr/>
        </p:nvSpPr>
        <p:spPr>
          <a:xfrm>
            <a:off x="45590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0" name="Oval 879"/>
          <p:cNvSpPr/>
          <p:nvPr/>
        </p:nvSpPr>
        <p:spPr>
          <a:xfrm>
            <a:off x="54015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1" name="Oval 880"/>
          <p:cNvSpPr/>
          <p:nvPr/>
        </p:nvSpPr>
        <p:spPr>
          <a:xfrm>
            <a:off x="62441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2" name="Oval 881"/>
          <p:cNvSpPr/>
          <p:nvPr/>
        </p:nvSpPr>
        <p:spPr>
          <a:xfrm>
            <a:off x="87717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3" name="Oval 882"/>
          <p:cNvSpPr/>
          <p:nvPr/>
        </p:nvSpPr>
        <p:spPr>
          <a:xfrm>
            <a:off x="79291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4" name="Oval 883"/>
          <p:cNvSpPr/>
          <p:nvPr/>
        </p:nvSpPr>
        <p:spPr>
          <a:xfrm>
            <a:off x="104568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5" name="Oval 884"/>
          <p:cNvSpPr/>
          <p:nvPr/>
        </p:nvSpPr>
        <p:spPr>
          <a:xfrm>
            <a:off x="96142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6" name="Oval 885"/>
          <p:cNvSpPr/>
          <p:nvPr/>
        </p:nvSpPr>
        <p:spPr>
          <a:xfrm>
            <a:off x="112993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7" name="Teardrop 3"/>
          <p:cNvSpPr/>
          <p:nvPr/>
        </p:nvSpPr>
        <p:spPr>
          <a:xfrm rot="5400000" flipH="1" flipV="1">
            <a:off x="663614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8" name="Teardrop 3"/>
          <p:cNvSpPr/>
          <p:nvPr/>
        </p:nvSpPr>
        <p:spPr>
          <a:xfrm rot="5400000" flipH="1" flipV="1">
            <a:off x="22905" y="4316257"/>
            <a:ext cx="232840" cy="278649"/>
          </a:xfrm>
          <a:custGeom>
            <a:avLst/>
            <a:gdLst/>
            <a:ahLst/>
            <a:cxnLst/>
            <a:rect l="l" t="t" r="r" b="b"/>
            <a:pathLst>
              <a:path w="232840" h="278649">
                <a:moveTo>
                  <a:pt x="232840" y="8776"/>
                </a:moveTo>
                <a:cubicBezTo>
                  <a:pt x="232449" y="34030"/>
                  <a:pt x="222519" y="59101"/>
                  <a:pt x="203250" y="78369"/>
                </a:cubicBezTo>
                <a:cubicBezTo>
                  <a:pt x="190082" y="91537"/>
                  <a:pt x="174206" y="100343"/>
                  <a:pt x="157326" y="104416"/>
                </a:cubicBezTo>
                <a:cubicBezTo>
                  <a:pt x="166417" y="119205"/>
                  <a:pt x="171406" y="136643"/>
                  <a:pt x="171406" y="155247"/>
                </a:cubicBezTo>
                <a:cubicBezTo>
                  <a:pt x="171406" y="182497"/>
                  <a:pt x="160701" y="207247"/>
                  <a:pt x="143120" y="225380"/>
                </a:cubicBezTo>
                <a:cubicBezTo>
                  <a:pt x="124986" y="242961"/>
                  <a:pt x="100237" y="253667"/>
                  <a:pt x="72986" y="253667"/>
                </a:cubicBezTo>
                <a:cubicBezTo>
                  <a:pt x="54383" y="253667"/>
                  <a:pt x="36945" y="248677"/>
                  <a:pt x="22156" y="239586"/>
                </a:cubicBezTo>
                <a:lnTo>
                  <a:pt x="0" y="278649"/>
                </a:lnTo>
                <a:lnTo>
                  <a:pt x="0" y="260595"/>
                </a:lnTo>
                <a:cubicBezTo>
                  <a:pt x="5973" y="252057"/>
                  <a:pt x="9654" y="242433"/>
                  <a:pt x="11467" y="232488"/>
                </a:cubicBezTo>
                <a:lnTo>
                  <a:pt x="0" y="218900"/>
                </a:lnTo>
                <a:lnTo>
                  <a:pt x="0" y="201603"/>
                </a:lnTo>
                <a:cubicBezTo>
                  <a:pt x="14950" y="226291"/>
                  <a:pt x="42305" y="241857"/>
                  <a:pt x="73296" y="241857"/>
                </a:cubicBezTo>
                <a:cubicBezTo>
                  <a:pt x="97207" y="241857"/>
                  <a:pt x="118953" y="232592"/>
                  <a:pt x="134965" y="217271"/>
                </a:cubicBezTo>
                <a:lnTo>
                  <a:pt x="0" y="82306"/>
                </a:lnTo>
                <a:lnTo>
                  <a:pt x="0" y="82216"/>
                </a:lnTo>
                <a:lnTo>
                  <a:pt x="135010" y="217225"/>
                </a:lnTo>
                <a:cubicBezTo>
                  <a:pt x="150331" y="201213"/>
                  <a:pt x="159597" y="179467"/>
                  <a:pt x="159597" y="155556"/>
                </a:cubicBezTo>
                <a:cubicBezTo>
                  <a:pt x="159597" y="105538"/>
                  <a:pt x="119048" y="64989"/>
                  <a:pt x="69030" y="64989"/>
                </a:cubicBezTo>
                <a:cubicBezTo>
                  <a:pt x="49952" y="65355"/>
                  <a:pt x="25806" y="60121"/>
                  <a:pt x="12948" y="46961"/>
                </a:cubicBezTo>
                <a:lnTo>
                  <a:pt x="0" y="66032"/>
                </a:lnTo>
                <a:lnTo>
                  <a:pt x="0" y="46474"/>
                </a:lnTo>
                <a:cubicBezTo>
                  <a:pt x="9193" y="32573"/>
                  <a:pt x="11853" y="16060"/>
                  <a:pt x="9334" y="0"/>
                </a:cubicBezTo>
                <a:lnTo>
                  <a:pt x="17529" y="0"/>
                </a:lnTo>
                <a:cubicBezTo>
                  <a:pt x="21671" y="11094"/>
                  <a:pt x="20740" y="22668"/>
                  <a:pt x="17673" y="33790"/>
                </a:cubicBezTo>
                <a:cubicBezTo>
                  <a:pt x="27631" y="50142"/>
                  <a:pt x="43609" y="53932"/>
                  <a:pt x="69593" y="53433"/>
                </a:cubicBezTo>
                <a:cubicBezTo>
                  <a:pt x="102600" y="53434"/>
                  <a:pt x="131938" y="69140"/>
                  <a:pt x="150227" y="93727"/>
                </a:cubicBezTo>
                <a:cubicBezTo>
                  <a:pt x="166735" y="90718"/>
                  <a:pt x="182357" y="82561"/>
                  <a:pt x="195118" y="69800"/>
                </a:cubicBezTo>
                <a:cubicBezTo>
                  <a:pt x="212026" y="52893"/>
                  <a:pt x="220851" y="30964"/>
                  <a:pt x="221339" y="8808"/>
                </a:cubicBezTo>
                <a:lnTo>
                  <a:pt x="136174" y="8808"/>
                </a:lnTo>
                <a:lnTo>
                  <a:pt x="136173" y="8744"/>
                </a:lnTo>
                <a:lnTo>
                  <a:pt x="221340" y="8744"/>
                </a:lnTo>
                <a:lnTo>
                  <a:pt x="219467" y="0"/>
                </a:lnTo>
                <a:lnTo>
                  <a:pt x="231012" y="0"/>
                </a:lnTo>
                <a:cubicBezTo>
                  <a:pt x="232616" y="2826"/>
                  <a:pt x="232794" y="5800"/>
                  <a:pt x="232840"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9" name="Teardrop 3"/>
          <p:cNvSpPr/>
          <p:nvPr/>
        </p:nvSpPr>
        <p:spPr>
          <a:xfrm rot="5400000" flipH="1" flipV="1">
            <a:off x="15809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6"/>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5"/>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0" name="Teardrop 3"/>
          <p:cNvSpPr/>
          <p:nvPr/>
        </p:nvSpPr>
        <p:spPr>
          <a:xfrm rot="5400000" flipH="1" flipV="1">
            <a:off x="24234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1" name="Teardrop 3"/>
          <p:cNvSpPr/>
          <p:nvPr/>
        </p:nvSpPr>
        <p:spPr>
          <a:xfrm rot="5400000" flipH="1" flipV="1">
            <a:off x="326598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2" name="Teardrop 3"/>
          <p:cNvSpPr/>
          <p:nvPr/>
        </p:nvSpPr>
        <p:spPr>
          <a:xfrm rot="5400000" flipH="1" flipV="1">
            <a:off x="4108522" y="4185695"/>
            <a:ext cx="232840" cy="539773"/>
          </a:xfrm>
          <a:custGeom>
            <a:avLst/>
            <a:gdLst/>
            <a:ahLst/>
            <a:cxnLst/>
            <a:rect l="l" t="t" r="r" b="b"/>
            <a:pathLst>
              <a:path w="232840" h="539773">
                <a:moveTo>
                  <a:pt x="221340" y="269867"/>
                </a:moveTo>
                <a:cubicBezTo>
                  <a:pt x="220851" y="247712"/>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3" name="Teardrop 3"/>
          <p:cNvSpPr/>
          <p:nvPr/>
        </p:nvSpPr>
        <p:spPr>
          <a:xfrm rot="5400000" flipH="1" flipV="1">
            <a:off x="495106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4" name="Teardrop 3"/>
          <p:cNvSpPr/>
          <p:nvPr/>
        </p:nvSpPr>
        <p:spPr>
          <a:xfrm rot="5400000" flipH="1" flipV="1">
            <a:off x="579360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5" name="Teardrop 3"/>
          <p:cNvSpPr/>
          <p:nvPr/>
        </p:nvSpPr>
        <p:spPr>
          <a:xfrm rot="5400000" flipH="1" flipV="1">
            <a:off x="832122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6" name="Teardrop 3"/>
          <p:cNvSpPr/>
          <p:nvPr/>
        </p:nvSpPr>
        <p:spPr>
          <a:xfrm rot="5400000" flipH="1" flipV="1">
            <a:off x="747868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7" name="Teardrop 3"/>
          <p:cNvSpPr/>
          <p:nvPr/>
        </p:nvSpPr>
        <p:spPr>
          <a:xfrm rot="5400000" flipH="1" flipV="1">
            <a:off x="100063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8" name="Teardrop 3"/>
          <p:cNvSpPr/>
          <p:nvPr/>
        </p:nvSpPr>
        <p:spPr>
          <a:xfrm rot="5400000" flipH="1" flipV="1">
            <a:off x="916376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7"/>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9" name="Teardrop 3"/>
          <p:cNvSpPr/>
          <p:nvPr/>
        </p:nvSpPr>
        <p:spPr>
          <a:xfrm rot="5400000" flipH="1" flipV="1">
            <a:off x="11691380"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0" name="Teardrop 3"/>
          <p:cNvSpPr/>
          <p:nvPr/>
        </p:nvSpPr>
        <p:spPr>
          <a:xfrm rot="5400000" flipH="1" flipV="1">
            <a:off x="108488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1" name="Teardrop 3"/>
          <p:cNvSpPr/>
          <p:nvPr/>
        </p:nvSpPr>
        <p:spPr>
          <a:xfrm rot="5400000" flipH="1" flipV="1">
            <a:off x="733383"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2"/>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8"/>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2" name="Oval 1651"/>
          <p:cNvSpPr/>
          <p:nvPr/>
        </p:nvSpPr>
        <p:spPr>
          <a:xfrm>
            <a:off x="812619" y="4561319"/>
            <a:ext cx="11030995" cy="10682"/>
          </a:xfrm>
          <a:custGeom>
            <a:avLst/>
            <a:gdLst/>
            <a:ahLst/>
            <a:cxnLst/>
            <a:rect l="l" t="t" r="r" b="b"/>
            <a:pathLst>
              <a:path w="11030995" h="10682">
                <a:moveTo>
                  <a:pt x="10992007" y="0"/>
                </a:moveTo>
                <a:cubicBezTo>
                  <a:pt x="11006265" y="0"/>
                  <a:pt x="11019702" y="3516"/>
                  <a:pt x="11030995" y="10682"/>
                </a:cubicBezTo>
                <a:lnTo>
                  <a:pt x="10953019" y="10682"/>
                </a:lnTo>
                <a:cubicBezTo>
                  <a:pt x="10964312" y="3516"/>
                  <a:pt x="10977749" y="0"/>
                  <a:pt x="10992007" y="0"/>
                </a:cubicBezTo>
                <a:close/>
                <a:moveTo>
                  <a:pt x="10149468" y="0"/>
                </a:moveTo>
                <a:cubicBezTo>
                  <a:pt x="10163726" y="0"/>
                  <a:pt x="10177163" y="3516"/>
                  <a:pt x="10188456" y="10682"/>
                </a:cubicBezTo>
                <a:lnTo>
                  <a:pt x="10110480" y="10682"/>
                </a:lnTo>
                <a:cubicBezTo>
                  <a:pt x="10121773" y="3516"/>
                  <a:pt x="10135210" y="0"/>
                  <a:pt x="10149468" y="0"/>
                </a:cubicBezTo>
                <a:close/>
                <a:moveTo>
                  <a:pt x="9306928" y="0"/>
                </a:moveTo>
                <a:cubicBezTo>
                  <a:pt x="9321186" y="0"/>
                  <a:pt x="9334623" y="3516"/>
                  <a:pt x="9345916" y="10682"/>
                </a:cubicBezTo>
                <a:lnTo>
                  <a:pt x="9267940" y="10682"/>
                </a:lnTo>
                <a:cubicBezTo>
                  <a:pt x="9279233" y="3516"/>
                  <a:pt x="9292670" y="0"/>
                  <a:pt x="9306928" y="0"/>
                </a:cubicBezTo>
                <a:close/>
                <a:moveTo>
                  <a:pt x="8464388" y="0"/>
                </a:moveTo>
                <a:cubicBezTo>
                  <a:pt x="8478646" y="0"/>
                  <a:pt x="8492083" y="3516"/>
                  <a:pt x="8503376" y="10682"/>
                </a:cubicBezTo>
                <a:lnTo>
                  <a:pt x="8425400" y="10682"/>
                </a:lnTo>
                <a:cubicBezTo>
                  <a:pt x="8436693" y="3516"/>
                  <a:pt x="8450130" y="0"/>
                  <a:pt x="8464388" y="0"/>
                </a:cubicBezTo>
                <a:close/>
                <a:moveTo>
                  <a:pt x="7621848" y="0"/>
                </a:moveTo>
                <a:cubicBezTo>
                  <a:pt x="7636106" y="0"/>
                  <a:pt x="7649543" y="3516"/>
                  <a:pt x="7660836" y="10682"/>
                </a:cubicBezTo>
                <a:lnTo>
                  <a:pt x="7582860" y="10682"/>
                </a:lnTo>
                <a:cubicBezTo>
                  <a:pt x="7594153" y="3516"/>
                  <a:pt x="7607590" y="0"/>
                  <a:pt x="7621848" y="0"/>
                </a:cubicBezTo>
                <a:close/>
                <a:moveTo>
                  <a:pt x="6779308" y="0"/>
                </a:moveTo>
                <a:cubicBezTo>
                  <a:pt x="6793566" y="0"/>
                  <a:pt x="6807003" y="3516"/>
                  <a:pt x="6818296" y="10682"/>
                </a:cubicBezTo>
                <a:lnTo>
                  <a:pt x="6740320" y="10682"/>
                </a:lnTo>
                <a:cubicBezTo>
                  <a:pt x="6751613" y="3516"/>
                  <a:pt x="6765050" y="0"/>
                  <a:pt x="6779308" y="0"/>
                </a:cubicBezTo>
                <a:close/>
                <a:moveTo>
                  <a:pt x="5936768" y="0"/>
                </a:moveTo>
                <a:cubicBezTo>
                  <a:pt x="5951026" y="0"/>
                  <a:pt x="5964463" y="3516"/>
                  <a:pt x="5975757" y="10682"/>
                </a:cubicBezTo>
                <a:lnTo>
                  <a:pt x="5897780" y="10682"/>
                </a:lnTo>
                <a:cubicBezTo>
                  <a:pt x="5909073" y="3516"/>
                  <a:pt x="5922510" y="0"/>
                  <a:pt x="5936768" y="0"/>
                </a:cubicBezTo>
                <a:close/>
                <a:moveTo>
                  <a:pt x="5094228" y="0"/>
                </a:moveTo>
                <a:cubicBezTo>
                  <a:pt x="5108486" y="0"/>
                  <a:pt x="5121923" y="3516"/>
                  <a:pt x="5133217" y="10682"/>
                </a:cubicBezTo>
                <a:lnTo>
                  <a:pt x="5055240" y="10682"/>
                </a:lnTo>
                <a:cubicBezTo>
                  <a:pt x="5066533" y="3516"/>
                  <a:pt x="5079970" y="0"/>
                  <a:pt x="5094228" y="0"/>
                </a:cubicBezTo>
                <a:close/>
                <a:moveTo>
                  <a:pt x="4251688" y="0"/>
                </a:moveTo>
                <a:cubicBezTo>
                  <a:pt x="4265946" y="0"/>
                  <a:pt x="4279383" y="3516"/>
                  <a:pt x="4290676" y="10682"/>
                </a:cubicBezTo>
                <a:lnTo>
                  <a:pt x="4212700" y="10682"/>
                </a:lnTo>
                <a:cubicBezTo>
                  <a:pt x="4223993" y="3516"/>
                  <a:pt x="4237430" y="0"/>
                  <a:pt x="4251688" y="0"/>
                </a:cubicBezTo>
                <a:close/>
                <a:moveTo>
                  <a:pt x="3409148" y="0"/>
                </a:moveTo>
                <a:cubicBezTo>
                  <a:pt x="3423406" y="0"/>
                  <a:pt x="3436843" y="3516"/>
                  <a:pt x="3448136" y="10682"/>
                </a:cubicBezTo>
                <a:lnTo>
                  <a:pt x="3370160" y="10682"/>
                </a:lnTo>
                <a:cubicBezTo>
                  <a:pt x="3381453" y="3516"/>
                  <a:pt x="3394890" y="0"/>
                  <a:pt x="3409148" y="0"/>
                </a:cubicBezTo>
                <a:close/>
                <a:moveTo>
                  <a:pt x="2566608" y="0"/>
                </a:moveTo>
                <a:cubicBezTo>
                  <a:pt x="2580866" y="0"/>
                  <a:pt x="2594303" y="3516"/>
                  <a:pt x="2605596" y="10682"/>
                </a:cubicBezTo>
                <a:lnTo>
                  <a:pt x="2527620" y="10682"/>
                </a:lnTo>
                <a:cubicBezTo>
                  <a:pt x="2538913" y="3516"/>
                  <a:pt x="2552350" y="0"/>
                  <a:pt x="2566608" y="0"/>
                </a:cubicBezTo>
                <a:close/>
                <a:moveTo>
                  <a:pt x="1724068" y="0"/>
                </a:moveTo>
                <a:cubicBezTo>
                  <a:pt x="1738326" y="0"/>
                  <a:pt x="1751763" y="3516"/>
                  <a:pt x="1763056" y="10682"/>
                </a:cubicBezTo>
                <a:lnTo>
                  <a:pt x="1685080" y="10682"/>
                </a:lnTo>
                <a:cubicBezTo>
                  <a:pt x="1696373" y="3516"/>
                  <a:pt x="1709810" y="0"/>
                  <a:pt x="1724068" y="0"/>
                </a:cubicBezTo>
                <a:close/>
                <a:moveTo>
                  <a:pt x="881528" y="0"/>
                </a:moveTo>
                <a:cubicBezTo>
                  <a:pt x="895786" y="0"/>
                  <a:pt x="909223" y="3516"/>
                  <a:pt x="920516" y="10682"/>
                </a:cubicBezTo>
                <a:lnTo>
                  <a:pt x="842540" y="10682"/>
                </a:lnTo>
                <a:cubicBezTo>
                  <a:pt x="853833" y="3516"/>
                  <a:pt x="867270" y="0"/>
                  <a:pt x="881528" y="0"/>
                </a:cubicBezTo>
                <a:close/>
                <a:moveTo>
                  <a:pt x="38988" y="0"/>
                </a:moveTo>
                <a:cubicBezTo>
                  <a:pt x="53246" y="0"/>
                  <a:pt x="66683" y="3516"/>
                  <a:pt x="77976" y="10682"/>
                </a:cubicBezTo>
                <a:lnTo>
                  <a:pt x="0" y="10682"/>
                </a:lnTo>
                <a:cubicBezTo>
                  <a:pt x="11293" y="3516"/>
                  <a:pt x="24730" y="0"/>
                  <a:pt x="389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3" name="Oval 902"/>
          <p:cNvSpPr/>
          <p:nvPr/>
        </p:nvSpPr>
        <p:spPr>
          <a:xfrm>
            <a:off x="71204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4" name="Oval 903"/>
          <p:cNvSpPr/>
          <p:nvPr/>
        </p:nvSpPr>
        <p:spPr>
          <a:xfrm>
            <a:off x="3774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5" name="Oval 904"/>
          <p:cNvSpPr/>
          <p:nvPr/>
        </p:nvSpPr>
        <p:spPr>
          <a:xfrm>
            <a:off x="12203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6" name="Oval 905"/>
          <p:cNvSpPr/>
          <p:nvPr/>
        </p:nvSpPr>
        <p:spPr>
          <a:xfrm>
            <a:off x="20632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7" name="Oval 906"/>
          <p:cNvSpPr/>
          <p:nvPr/>
        </p:nvSpPr>
        <p:spPr>
          <a:xfrm>
            <a:off x="29060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8" name="Oval 907"/>
          <p:cNvSpPr/>
          <p:nvPr/>
        </p:nvSpPr>
        <p:spPr>
          <a:xfrm>
            <a:off x="37489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9" name="Oval 908"/>
          <p:cNvSpPr/>
          <p:nvPr/>
        </p:nvSpPr>
        <p:spPr>
          <a:xfrm>
            <a:off x="45918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0" name="Oval 909"/>
          <p:cNvSpPr/>
          <p:nvPr/>
        </p:nvSpPr>
        <p:spPr>
          <a:xfrm>
            <a:off x="54347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1" name="Oval 910"/>
          <p:cNvSpPr/>
          <p:nvPr/>
        </p:nvSpPr>
        <p:spPr>
          <a:xfrm>
            <a:off x="62776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2" name="Oval 911"/>
          <p:cNvSpPr/>
          <p:nvPr/>
        </p:nvSpPr>
        <p:spPr>
          <a:xfrm>
            <a:off x="88062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3" name="Oval 912"/>
          <p:cNvSpPr/>
          <p:nvPr/>
        </p:nvSpPr>
        <p:spPr>
          <a:xfrm>
            <a:off x="79633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4" name="Oval 913"/>
          <p:cNvSpPr/>
          <p:nvPr/>
        </p:nvSpPr>
        <p:spPr>
          <a:xfrm>
            <a:off x="104920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5" name="Oval 914"/>
          <p:cNvSpPr/>
          <p:nvPr/>
        </p:nvSpPr>
        <p:spPr>
          <a:xfrm>
            <a:off x="96491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6" name="Oval 915"/>
          <p:cNvSpPr/>
          <p:nvPr/>
        </p:nvSpPr>
        <p:spPr>
          <a:xfrm>
            <a:off x="113348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7" name="Oval 916"/>
          <p:cNvSpPr/>
          <p:nvPr/>
        </p:nvSpPr>
        <p:spPr>
          <a:xfrm>
            <a:off x="71204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8" name="Oval 917"/>
          <p:cNvSpPr/>
          <p:nvPr/>
        </p:nvSpPr>
        <p:spPr>
          <a:xfrm>
            <a:off x="3774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9" name="Oval 918"/>
          <p:cNvSpPr/>
          <p:nvPr/>
        </p:nvSpPr>
        <p:spPr>
          <a:xfrm>
            <a:off x="12203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0" name="Oval 919"/>
          <p:cNvSpPr/>
          <p:nvPr/>
        </p:nvSpPr>
        <p:spPr>
          <a:xfrm>
            <a:off x="20632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1" name="Oval 920"/>
          <p:cNvSpPr/>
          <p:nvPr/>
        </p:nvSpPr>
        <p:spPr>
          <a:xfrm>
            <a:off x="29060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2" name="Oval 921"/>
          <p:cNvSpPr/>
          <p:nvPr/>
        </p:nvSpPr>
        <p:spPr>
          <a:xfrm>
            <a:off x="37489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3" name="Oval 922"/>
          <p:cNvSpPr/>
          <p:nvPr/>
        </p:nvSpPr>
        <p:spPr>
          <a:xfrm>
            <a:off x="45918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4" name="Oval 923"/>
          <p:cNvSpPr/>
          <p:nvPr/>
        </p:nvSpPr>
        <p:spPr>
          <a:xfrm>
            <a:off x="54347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5" name="Oval 924"/>
          <p:cNvSpPr/>
          <p:nvPr/>
        </p:nvSpPr>
        <p:spPr>
          <a:xfrm>
            <a:off x="62776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6" name="Oval 925"/>
          <p:cNvSpPr/>
          <p:nvPr/>
        </p:nvSpPr>
        <p:spPr>
          <a:xfrm>
            <a:off x="88062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7" name="Oval 926"/>
          <p:cNvSpPr/>
          <p:nvPr/>
        </p:nvSpPr>
        <p:spPr>
          <a:xfrm>
            <a:off x="79633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8" name="Oval 927"/>
          <p:cNvSpPr/>
          <p:nvPr/>
        </p:nvSpPr>
        <p:spPr>
          <a:xfrm>
            <a:off x="104920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9" name="Oval 928"/>
          <p:cNvSpPr/>
          <p:nvPr/>
        </p:nvSpPr>
        <p:spPr>
          <a:xfrm>
            <a:off x="96491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0" name="Oval 929"/>
          <p:cNvSpPr/>
          <p:nvPr/>
        </p:nvSpPr>
        <p:spPr>
          <a:xfrm>
            <a:off x="113348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1" name="Oval 930"/>
          <p:cNvSpPr/>
          <p:nvPr/>
        </p:nvSpPr>
        <p:spPr>
          <a:xfrm>
            <a:off x="71204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2" name="Oval 931"/>
          <p:cNvSpPr/>
          <p:nvPr/>
        </p:nvSpPr>
        <p:spPr>
          <a:xfrm>
            <a:off x="3774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3" name="Oval 932"/>
          <p:cNvSpPr/>
          <p:nvPr/>
        </p:nvSpPr>
        <p:spPr>
          <a:xfrm>
            <a:off x="12203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4" name="Oval 933"/>
          <p:cNvSpPr/>
          <p:nvPr/>
        </p:nvSpPr>
        <p:spPr>
          <a:xfrm>
            <a:off x="20632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5" name="Oval 934"/>
          <p:cNvSpPr/>
          <p:nvPr/>
        </p:nvSpPr>
        <p:spPr>
          <a:xfrm>
            <a:off x="29060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6" name="Oval 935"/>
          <p:cNvSpPr/>
          <p:nvPr/>
        </p:nvSpPr>
        <p:spPr>
          <a:xfrm>
            <a:off x="37489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7" name="Oval 936"/>
          <p:cNvSpPr/>
          <p:nvPr/>
        </p:nvSpPr>
        <p:spPr>
          <a:xfrm>
            <a:off x="45918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8" name="Oval 937"/>
          <p:cNvSpPr/>
          <p:nvPr/>
        </p:nvSpPr>
        <p:spPr>
          <a:xfrm>
            <a:off x="54347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9" name="Oval 938"/>
          <p:cNvSpPr/>
          <p:nvPr/>
        </p:nvSpPr>
        <p:spPr>
          <a:xfrm>
            <a:off x="62776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0" name="Oval 939"/>
          <p:cNvSpPr/>
          <p:nvPr/>
        </p:nvSpPr>
        <p:spPr>
          <a:xfrm>
            <a:off x="88062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1" name="Oval 940"/>
          <p:cNvSpPr/>
          <p:nvPr/>
        </p:nvSpPr>
        <p:spPr>
          <a:xfrm>
            <a:off x="79633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2" name="Oval 941"/>
          <p:cNvSpPr/>
          <p:nvPr/>
        </p:nvSpPr>
        <p:spPr>
          <a:xfrm>
            <a:off x="104920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3" name="Oval 942"/>
          <p:cNvSpPr/>
          <p:nvPr/>
        </p:nvSpPr>
        <p:spPr>
          <a:xfrm>
            <a:off x="96491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4" name="Oval 943"/>
          <p:cNvSpPr/>
          <p:nvPr/>
        </p:nvSpPr>
        <p:spPr>
          <a:xfrm>
            <a:off x="113348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5" name="Oval 944"/>
          <p:cNvSpPr/>
          <p:nvPr/>
        </p:nvSpPr>
        <p:spPr>
          <a:xfrm>
            <a:off x="71204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6" name="Oval 945"/>
          <p:cNvSpPr/>
          <p:nvPr/>
        </p:nvSpPr>
        <p:spPr>
          <a:xfrm>
            <a:off x="3774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7" name="Oval 946"/>
          <p:cNvSpPr/>
          <p:nvPr/>
        </p:nvSpPr>
        <p:spPr>
          <a:xfrm>
            <a:off x="12203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8" name="Oval 947"/>
          <p:cNvSpPr/>
          <p:nvPr/>
        </p:nvSpPr>
        <p:spPr>
          <a:xfrm>
            <a:off x="20632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9" name="Oval 948"/>
          <p:cNvSpPr/>
          <p:nvPr/>
        </p:nvSpPr>
        <p:spPr>
          <a:xfrm>
            <a:off x="29060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0" name="Oval 949"/>
          <p:cNvSpPr/>
          <p:nvPr/>
        </p:nvSpPr>
        <p:spPr>
          <a:xfrm>
            <a:off x="37489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1" name="Oval 950"/>
          <p:cNvSpPr/>
          <p:nvPr/>
        </p:nvSpPr>
        <p:spPr>
          <a:xfrm>
            <a:off x="45918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2" name="Oval 951"/>
          <p:cNvSpPr/>
          <p:nvPr/>
        </p:nvSpPr>
        <p:spPr>
          <a:xfrm>
            <a:off x="54347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3" name="Oval 952"/>
          <p:cNvSpPr/>
          <p:nvPr/>
        </p:nvSpPr>
        <p:spPr>
          <a:xfrm>
            <a:off x="62776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4" name="Oval 953"/>
          <p:cNvSpPr/>
          <p:nvPr/>
        </p:nvSpPr>
        <p:spPr>
          <a:xfrm>
            <a:off x="88062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5" name="Oval 954"/>
          <p:cNvSpPr/>
          <p:nvPr/>
        </p:nvSpPr>
        <p:spPr>
          <a:xfrm>
            <a:off x="79633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6" name="Oval 955"/>
          <p:cNvSpPr/>
          <p:nvPr/>
        </p:nvSpPr>
        <p:spPr>
          <a:xfrm>
            <a:off x="104920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7" name="Oval 956"/>
          <p:cNvSpPr/>
          <p:nvPr/>
        </p:nvSpPr>
        <p:spPr>
          <a:xfrm>
            <a:off x="96491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8" name="Oval 957"/>
          <p:cNvSpPr/>
          <p:nvPr/>
        </p:nvSpPr>
        <p:spPr>
          <a:xfrm>
            <a:off x="113348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9" name="Oval 958"/>
          <p:cNvSpPr/>
          <p:nvPr/>
        </p:nvSpPr>
        <p:spPr>
          <a:xfrm>
            <a:off x="71204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0" name="Oval 959"/>
          <p:cNvSpPr/>
          <p:nvPr/>
        </p:nvSpPr>
        <p:spPr>
          <a:xfrm>
            <a:off x="3774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1" name="Oval 960"/>
          <p:cNvSpPr/>
          <p:nvPr/>
        </p:nvSpPr>
        <p:spPr>
          <a:xfrm>
            <a:off x="12203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2" name="Oval 961"/>
          <p:cNvSpPr/>
          <p:nvPr/>
        </p:nvSpPr>
        <p:spPr>
          <a:xfrm>
            <a:off x="20632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3" name="Oval 962"/>
          <p:cNvSpPr/>
          <p:nvPr/>
        </p:nvSpPr>
        <p:spPr>
          <a:xfrm>
            <a:off x="29060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4" name="Oval 963"/>
          <p:cNvSpPr/>
          <p:nvPr/>
        </p:nvSpPr>
        <p:spPr>
          <a:xfrm>
            <a:off x="37489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5" name="Oval 964"/>
          <p:cNvSpPr/>
          <p:nvPr/>
        </p:nvSpPr>
        <p:spPr>
          <a:xfrm>
            <a:off x="45918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6" name="Oval 965"/>
          <p:cNvSpPr/>
          <p:nvPr/>
        </p:nvSpPr>
        <p:spPr>
          <a:xfrm>
            <a:off x="54347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7" name="Oval 966"/>
          <p:cNvSpPr/>
          <p:nvPr/>
        </p:nvSpPr>
        <p:spPr>
          <a:xfrm>
            <a:off x="62776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8" name="Oval 967"/>
          <p:cNvSpPr/>
          <p:nvPr/>
        </p:nvSpPr>
        <p:spPr>
          <a:xfrm>
            <a:off x="88062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9" name="Oval 968"/>
          <p:cNvSpPr/>
          <p:nvPr/>
        </p:nvSpPr>
        <p:spPr>
          <a:xfrm>
            <a:off x="79633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0" name="Oval 969"/>
          <p:cNvSpPr/>
          <p:nvPr/>
        </p:nvSpPr>
        <p:spPr>
          <a:xfrm>
            <a:off x="104920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1" name="Oval 970"/>
          <p:cNvSpPr/>
          <p:nvPr/>
        </p:nvSpPr>
        <p:spPr>
          <a:xfrm>
            <a:off x="96491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2" name="Oval 971"/>
          <p:cNvSpPr/>
          <p:nvPr/>
        </p:nvSpPr>
        <p:spPr>
          <a:xfrm>
            <a:off x="113348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tIns="45720" rIns="91440" bIns="4572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1190.004\678346(pptx)-E2 5-11-24</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2" y="5264106"/>
            <a:ext cx="0" cy="9144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5124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Cover 2 - Healthy Fami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B6DC4-F443-4398-B024-61934E953F1A}"/>
              </a:ext>
            </a:extLst>
          </p:cNvPr>
          <p:cNvGraphicFramePr>
            <a:graphicFrameLocks noChangeAspect="1"/>
          </p:cNvGraphicFramePr>
          <p:nvPr userDrawn="1">
            <p:custDataLst>
              <p:tags r:id="rId1"/>
            </p:custDataLst>
            <p:extLst>
              <p:ext uri="{D42A27DB-BD31-4B8C-83A1-F6EECF244321}">
                <p14:modId xmlns:p14="http://schemas.microsoft.com/office/powerpoint/2010/main" val="153550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2BB6DC4-F443-4398-B024-61934E95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ED6E2347-EEF7-434B-B045-D49C56A1486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62"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CE303BEB-AEF3-4ECF-A589-D95CE1A1525F}"/>
              </a:ext>
            </a:extLst>
          </p:cNvPr>
          <p:cNvSpPr/>
          <p:nvPr userDrawn="1"/>
        </p:nvSpPr>
        <p:spPr>
          <a:xfrm>
            <a:off x="-1" y="0"/>
            <a:ext cx="7267576" cy="1410789"/>
          </a:xfrm>
          <a:prstGeom prst="rect">
            <a:avLst/>
          </a:prstGeom>
          <a:gradFill flip="none" rotWithShape="1">
            <a:gsLst>
              <a:gs pos="0">
                <a:schemeClr val="bg1">
                  <a:lumMod val="50000"/>
                  <a:shade val="30000"/>
                  <a:satMod val="115000"/>
                  <a:alpha val="54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D8D8">
                  <a:lumMod val="40000"/>
                  <a:lumOff val="60000"/>
                </a:srgbClr>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1F838AD-A49F-469D-A5A0-9BF7CB17DD1B}"/>
              </a:ext>
            </a:extLst>
          </p:cNvPr>
          <p:cNvSpPr/>
          <p:nvPr userDrawn="1"/>
        </p:nvSpPr>
        <p:spPr>
          <a:xfrm>
            <a:off x="7279042" y="0"/>
            <a:ext cx="491295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789FF9EF-B1EA-4E45-87E6-40CEFE5565DE}"/>
              </a:ext>
            </a:extLst>
          </p:cNvPr>
          <p:cNvSpPr/>
          <p:nvPr userDrawn="1"/>
        </p:nvSpPr>
        <p:spPr>
          <a:xfrm>
            <a:off x="7267574" y="2847703"/>
            <a:ext cx="4924803" cy="2190642"/>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Content Placeholder 5">
            <a:extLst>
              <a:ext uri="{FF2B5EF4-FFF2-40B4-BE49-F238E27FC236}">
                <a16:creationId xmlns:a16="http://schemas.microsoft.com/office/drawing/2014/main" id="{75198B83-C8A4-42DA-B9B5-E85FA6A5D9B5}"/>
              </a:ext>
            </a:extLst>
          </p:cNvPr>
          <p:cNvSpPr>
            <a:spLocks noGrp="1"/>
          </p:cNvSpPr>
          <p:nvPr>
            <p:ph sz="quarter" idx="16" hasCustomPrompt="1"/>
          </p:nvPr>
        </p:nvSpPr>
        <p:spPr>
          <a:xfrm>
            <a:off x="9090660" y="689039"/>
            <a:ext cx="2834640" cy="1645920"/>
          </a:xfrm>
        </p:spPr>
        <p:txBody>
          <a:bodyPr anchor="ctr"/>
          <a:lstStyle>
            <a:lvl1pPr marL="0" indent="0" algn="ctr">
              <a:buFontTx/>
              <a:buNone/>
              <a:defRPr sz="1800" i="1"/>
            </a:lvl1pPr>
          </a:lstStyle>
          <a:p>
            <a:pPr lvl="0"/>
            <a:r>
              <a:rPr lang="en-US"/>
              <a:t>Client logo goes here </a:t>
            </a:r>
            <a:br>
              <a:rPr lang="en-US"/>
            </a:br>
            <a:r>
              <a:rPr lang="en-US"/>
              <a:t>(click on Picture icon)</a:t>
            </a:r>
          </a:p>
        </p:txBody>
      </p:sp>
      <p:sp>
        <p:nvSpPr>
          <p:cNvPr id="14" name="Subtitle 2">
            <a:extLst>
              <a:ext uri="{FF2B5EF4-FFF2-40B4-BE49-F238E27FC236}">
                <a16:creationId xmlns:a16="http://schemas.microsoft.com/office/drawing/2014/main" id="{1CC80F1F-A61B-4FA4-BFDC-34C5900A86D0}"/>
              </a:ext>
            </a:extLst>
          </p:cNvPr>
          <p:cNvSpPr>
            <a:spLocks noGrp="1"/>
          </p:cNvSpPr>
          <p:nvPr>
            <p:ph type="subTitle" idx="1" hasCustomPrompt="1"/>
          </p:nvPr>
        </p:nvSpPr>
        <p:spPr>
          <a:xfrm>
            <a:off x="7296912" y="3944141"/>
            <a:ext cx="4632766" cy="428948"/>
          </a:xfrm>
          <a:prstGeom prst="rect">
            <a:avLst/>
          </a:prstGeom>
        </p:spPr>
        <p:txBody>
          <a:bodyPr lIns="0" tIns="0">
            <a:noAutofit/>
          </a:bodyPr>
          <a:lstStyle>
            <a:lvl1pPr marL="0" indent="0" algn="r">
              <a:lnSpc>
                <a:spcPct val="900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6" name="Text Placeholder 15">
            <a:extLst>
              <a:ext uri="{FF2B5EF4-FFF2-40B4-BE49-F238E27FC236}">
                <a16:creationId xmlns:a16="http://schemas.microsoft.com/office/drawing/2014/main" id="{D6AB4503-F23F-444E-A8F6-CE96FC3129D8}"/>
              </a:ext>
            </a:extLst>
          </p:cNvPr>
          <p:cNvSpPr>
            <a:spLocks noGrp="1"/>
          </p:cNvSpPr>
          <p:nvPr>
            <p:ph type="body" sz="quarter" idx="14" hasCustomPrompt="1"/>
          </p:nvPr>
        </p:nvSpPr>
        <p:spPr>
          <a:xfrm>
            <a:off x="9232456" y="4683358"/>
            <a:ext cx="2702375" cy="225271"/>
          </a:xfrm>
          <a:prstGeom prst="rect">
            <a:avLst/>
          </a:prstGeom>
        </p:spPr>
        <p:txBody>
          <a:bodyPr lIns="0" anchor="ctr" anchorCtr="0">
            <a:noAutofit/>
          </a:bodyPr>
          <a:lstStyle>
            <a:lvl1pPr marL="0" indent="0" algn="r">
              <a:buFontTx/>
              <a:buNone/>
              <a:defRPr sz="12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a:t>
            </a:r>
          </a:p>
        </p:txBody>
      </p:sp>
      <p:sp>
        <p:nvSpPr>
          <p:cNvPr id="17" name="Text Placeholder 2">
            <a:extLst>
              <a:ext uri="{FF2B5EF4-FFF2-40B4-BE49-F238E27FC236}">
                <a16:creationId xmlns:a16="http://schemas.microsoft.com/office/drawing/2014/main" id="{7AE3858F-DCA3-4CCB-AB61-A4A60579F42B}"/>
              </a:ext>
            </a:extLst>
          </p:cNvPr>
          <p:cNvSpPr>
            <a:spLocks noGrp="1"/>
          </p:cNvSpPr>
          <p:nvPr>
            <p:ph type="body" sz="quarter" idx="15" hasCustomPrompt="1"/>
          </p:nvPr>
        </p:nvSpPr>
        <p:spPr>
          <a:xfrm>
            <a:off x="7296912" y="3081528"/>
            <a:ext cx="4628388" cy="832104"/>
          </a:xfrm>
        </p:spPr>
        <p:txBody>
          <a:bodyPr lIns="0" anchor="b">
            <a:noAutofit/>
          </a:bodyPr>
          <a:lstStyle>
            <a:lvl1pPr marL="0" indent="0" algn="r">
              <a:spcBef>
                <a:spcPts val="0"/>
              </a:spcBef>
              <a:buFontTx/>
              <a:buNone/>
              <a:defRPr sz="2800" spc="50" baseline="0">
                <a:solidFill>
                  <a:schemeClr val="bg1"/>
                </a:solidFill>
                <a:latin typeface="+mj-lt"/>
              </a:defRPr>
            </a:lvl1pPr>
          </a:lstStyle>
          <a:p>
            <a:pPr lvl="0"/>
            <a:r>
              <a:rPr lang="en-US"/>
              <a:t>Presentation Title</a:t>
            </a:r>
          </a:p>
        </p:txBody>
      </p:sp>
      <p:sp>
        <p:nvSpPr>
          <p:cNvPr id="3" name="Rectangle 2">
            <a:extLst>
              <a:ext uri="{FF2B5EF4-FFF2-40B4-BE49-F238E27FC236}">
                <a16:creationId xmlns:a16="http://schemas.microsoft.com/office/drawing/2014/main" id="{D6A0B274-223B-56EE-EB4E-1ECC3CBF2D24}"/>
              </a:ext>
            </a:extLst>
          </p:cNvPr>
          <p:cNvSpPr/>
          <p:nvPr userDrawn="1"/>
        </p:nvSpPr>
        <p:spPr>
          <a:xfrm>
            <a:off x="7267575" y="5038344"/>
            <a:ext cx="4924425" cy="18196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9D06F003-972C-BAD6-E527-EBBA75B07A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78240" y="5760720"/>
            <a:ext cx="1937270" cy="630936"/>
          </a:xfrm>
          <a:prstGeom prst="rect">
            <a:avLst/>
          </a:prstGeom>
        </p:spPr>
      </p:pic>
      <p:sp>
        <p:nvSpPr>
          <p:cNvPr id="5" name="TextBox 4">
            <a:extLst>
              <a:ext uri="{FF2B5EF4-FFF2-40B4-BE49-F238E27FC236}">
                <a16:creationId xmlns:a16="http://schemas.microsoft.com/office/drawing/2014/main" id="{E61FBE94-2AC8-E289-37BD-35FB3E622F65}"/>
              </a:ext>
            </a:extLst>
          </p:cNvPr>
          <p:cNvSpPr txBox="1"/>
          <p:nvPr userDrawn="1"/>
        </p:nvSpPr>
        <p:spPr>
          <a:xfrm>
            <a:off x="0" y="0"/>
            <a:ext cx="6096000" cy="584775"/>
          </a:xfrm>
          <a:prstGeom prst="rect">
            <a:avLst/>
          </a:prstGeom>
          <a:noFill/>
        </p:spPr>
        <p:txBody>
          <a:bodyPr wrap="square">
            <a:spAutoFit/>
          </a:bodyPr>
          <a:lstStyle/>
          <a:p>
            <a:r>
              <a:rPr lang="en-US" sz="1600" dirty="0">
                <a:solidFill>
                  <a:schemeClr val="bg1"/>
                </a:solidFill>
              </a:rPr>
              <a:t>CONFIDENTIAL</a:t>
            </a:r>
          </a:p>
          <a:p>
            <a:r>
              <a:rPr lang="en-US" sz="1600" dirty="0">
                <a:solidFill>
                  <a:schemeClr val="bg1"/>
                </a:solidFill>
              </a:rPr>
              <a:t>FOR DISCUSSION PURPOSES</a:t>
            </a:r>
          </a:p>
        </p:txBody>
      </p:sp>
    </p:spTree>
    <p:extLst>
      <p:ext uri="{BB962C8B-B14F-4D97-AF65-F5344CB8AC3E}">
        <p14:creationId xmlns:p14="http://schemas.microsoft.com/office/powerpoint/2010/main" val="3084808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173162"/>
            <a:ext cx="11658600" cy="4889309"/>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1E3520C1-E3AC-E032-E463-471CF49AB2E5}"/>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5" name="Footer Placeholder 1">
            <a:extLst>
              <a:ext uri="{FF2B5EF4-FFF2-40B4-BE49-F238E27FC236}">
                <a16:creationId xmlns:a16="http://schemas.microsoft.com/office/drawing/2014/main" id="{42BC6923-58CC-8C26-3288-2D3F5A4F3CB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59878911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Dan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951630"/>
            <a:ext cx="11658600" cy="4110842"/>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2391073-8542-4C9F-B852-037CAE9FF851}"/>
              </a:ext>
            </a:extLst>
          </p:cNvPr>
          <p:cNvSpPr>
            <a:spLocks noGrp="1"/>
          </p:cNvSpPr>
          <p:nvPr>
            <p:ph type="body" sz="quarter" idx="10" hasCustomPrompt="1"/>
          </p:nvPr>
        </p:nvSpPr>
        <p:spPr>
          <a:xfrm>
            <a:off x="266700"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and Content on Home&gt;Layout</a:t>
            </a:r>
          </a:p>
        </p:txBody>
      </p:sp>
      <p:sp>
        <p:nvSpPr>
          <p:cNvPr id="2" name="Slide Number Placeholder 5">
            <a:extLst>
              <a:ext uri="{FF2B5EF4-FFF2-40B4-BE49-F238E27FC236}">
                <a16:creationId xmlns:a16="http://schemas.microsoft.com/office/drawing/2014/main" id="{8C499F0C-7F90-E2CA-DD5B-603CABD40C4F}"/>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7" name="Footer Placeholder 1">
            <a:extLst>
              <a:ext uri="{FF2B5EF4-FFF2-40B4-BE49-F238E27FC236}">
                <a16:creationId xmlns:a16="http://schemas.microsoft.com/office/drawing/2014/main" id="{579E816B-2932-EC3E-2DB5-79DF2CC8045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72666322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62763747-8423-0952-B04B-3487132B6BFD}"/>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7CEAEC4F-35C4-9DE1-2574-63ECFCEEE129}"/>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7279905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Dan bo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8E8E4F2-B07C-424D-B977-A5A215DC601B}"/>
              </a:ext>
            </a:extLst>
          </p:cNvPr>
          <p:cNvSpPr>
            <a:spLocks noGrp="1"/>
          </p:cNvSpPr>
          <p:nvPr>
            <p:ph type="body" sz="quarter" idx="11" hasCustomPrompt="1"/>
          </p:nvPr>
        </p:nvSpPr>
        <p:spPr>
          <a:xfrm>
            <a:off x="265176"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Only on Home&gt;Layout</a:t>
            </a:r>
          </a:p>
        </p:txBody>
      </p:sp>
      <p:sp>
        <p:nvSpPr>
          <p:cNvPr id="2" name="Footer Placeholder 1">
            <a:extLst>
              <a:ext uri="{FF2B5EF4-FFF2-40B4-BE49-F238E27FC236}">
                <a16:creationId xmlns:a16="http://schemas.microsoft.com/office/drawing/2014/main" id="{3A9C04C7-F8F2-150B-C869-EBD9E1151471}"/>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83367186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41723904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1">
            <a:extLst>
              <a:ext uri="{FF2B5EF4-FFF2-40B4-BE49-F238E27FC236}">
                <a16:creationId xmlns:a16="http://schemas.microsoft.com/office/drawing/2014/main" id="{6E061231-053B-1D7D-ADE4-D936E0CDC97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4131170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173162"/>
            <a:ext cx="11658600" cy="4889309"/>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1E3520C1-E3AC-E032-E463-471CF49AB2E5}"/>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5" name="Footer Placeholder 1">
            <a:extLst>
              <a:ext uri="{FF2B5EF4-FFF2-40B4-BE49-F238E27FC236}">
                <a16:creationId xmlns:a16="http://schemas.microsoft.com/office/drawing/2014/main" id="{42BC6923-58CC-8C26-3288-2D3F5A4F3CB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0466281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 Sub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Text Placeholder 9">
            <a:extLst>
              <a:ext uri="{FF2B5EF4-FFF2-40B4-BE49-F238E27FC236}">
                <a16:creationId xmlns:a16="http://schemas.microsoft.com/office/drawing/2014/main" id="{E10585AB-2D5B-4534-B35C-CF88BA566C4C}"/>
              </a:ext>
            </a:extLst>
          </p:cNvPr>
          <p:cNvSpPr>
            <a:spLocks noGrp="1"/>
          </p:cNvSpPr>
          <p:nvPr>
            <p:ph type="body" sz="quarter" idx="11" hasCustomPrompt="1"/>
          </p:nvPr>
        </p:nvSpPr>
        <p:spPr>
          <a:xfrm>
            <a:off x="274638" y="3035300"/>
            <a:ext cx="11658600" cy="1274763"/>
          </a:xfrm>
        </p:spPr>
        <p:txBody>
          <a:bodyPr>
            <a:normAutofit/>
          </a:bodyPr>
          <a:lstStyle>
            <a:lvl1pPr marL="0" indent="0">
              <a:buNone/>
              <a:defRPr sz="3200">
                <a:solidFill>
                  <a:schemeClr val="bg1"/>
                </a:solidFill>
                <a:latin typeface="+mj-lt"/>
              </a:defRPr>
            </a:lvl1pPr>
          </a:lstStyle>
          <a:p>
            <a:pPr lvl="0"/>
            <a:r>
              <a:rPr lang="en-US"/>
              <a:t>Subsection Title Goes Here</a:t>
            </a:r>
          </a:p>
        </p:txBody>
      </p:sp>
      <p:sp>
        <p:nvSpPr>
          <p:cNvPr id="4" name="Footer Placeholder 1">
            <a:extLst>
              <a:ext uri="{FF2B5EF4-FFF2-40B4-BE49-F238E27FC236}">
                <a16:creationId xmlns:a16="http://schemas.microsoft.com/office/drawing/2014/main" id="{14726D25-9A8E-EE51-D62B-C00F5FB0AFA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1097261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4" name="Text Placeholder 23">
            <a:extLst>
              <a:ext uri="{FF2B5EF4-FFF2-40B4-BE49-F238E27FC236}">
                <a16:creationId xmlns:a16="http://schemas.microsoft.com/office/drawing/2014/main" id="{7A1C55E9-25C9-406A-B47C-F099877A3480}"/>
              </a:ext>
            </a:extLst>
          </p:cNvPr>
          <p:cNvSpPr>
            <a:spLocks noGrp="1"/>
          </p:cNvSpPr>
          <p:nvPr>
            <p:ph type="body" sz="quarter" idx="11" hasCustomPrompt="1"/>
          </p:nvPr>
        </p:nvSpPr>
        <p:spPr>
          <a:xfrm>
            <a:off x="2986088" y="1173164"/>
            <a:ext cx="8939212" cy="4290658"/>
          </a:xfrm>
          <a:solidFill>
            <a:schemeClr val="accent3">
              <a:lumMod val="40000"/>
              <a:lumOff val="60000"/>
            </a:schemeClr>
          </a:solidFill>
        </p:spPr>
        <p:txBody>
          <a:bodyPr lIns="274320" tIns="91440" rIns="274320" bIns="91440" anchor="ctr" anchorCtr="0"/>
          <a:lstStyle>
            <a:lvl1pPr marL="274320" indent="-274320">
              <a:spcBef>
                <a:spcPts val="1800"/>
              </a:spcBef>
              <a:defRPr/>
            </a:lvl1pPr>
            <a:lvl2pPr marL="457200" indent="0">
              <a:buNone/>
              <a:defRPr/>
            </a:lvl2pPr>
          </a:lstStyle>
          <a:p>
            <a:pPr lvl="0"/>
            <a:r>
              <a:rPr lang="en-US"/>
              <a:t>Next Step One goes here</a:t>
            </a:r>
          </a:p>
          <a:p>
            <a:pPr lvl="0"/>
            <a:r>
              <a:rPr lang="en-US"/>
              <a:t>Next Step Two goes here</a:t>
            </a:r>
          </a:p>
          <a:p>
            <a:pPr lvl="0"/>
            <a:r>
              <a:rPr lang="en-US"/>
              <a:t>Next Step Three goes here</a:t>
            </a:r>
          </a:p>
        </p:txBody>
      </p:sp>
      <p:sp>
        <p:nvSpPr>
          <p:cNvPr id="43" name="Rectangle 42">
            <a:extLst>
              <a:ext uri="{FF2B5EF4-FFF2-40B4-BE49-F238E27FC236}">
                <a16:creationId xmlns:a16="http://schemas.microsoft.com/office/drawing/2014/main" id="{3B52B253-7D42-4E85-A8CD-4067AADE30DE}"/>
              </a:ext>
            </a:extLst>
          </p:cNvPr>
          <p:cNvSpPr/>
          <p:nvPr userDrawn="1"/>
        </p:nvSpPr>
        <p:spPr>
          <a:xfrm>
            <a:off x="266700" y="1173479"/>
            <a:ext cx="2720035" cy="4290659"/>
          </a:xfrm>
          <a:prstGeom prst="rect">
            <a:avLst/>
          </a:prstGeom>
          <a:solidFill>
            <a:schemeClr val="accent1"/>
          </a:solidFill>
          <a:ln>
            <a:noFill/>
          </a:ln>
          <a:effectLst>
            <a:outerShdw blurRad="1143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NEX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STEPS</a:t>
            </a:r>
          </a:p>
        </p:txBody>
      </p:sp>
      <p:sp>
        <p:nvSpPr>
          <p:cNvPr id="44" name="Arrow: Chevron 43">
            <a:extLst>
              <a:ext uri="{FF2B5EF4-FFF2-40B4-BE49-F238E27FC236}">
                <a16:creationId xmlns:a16="http://schemas.microsoft.com/office/drawing/2014/main" id="{9CE28639-56AB-4B7D-B323-4864EB1AB83F}"/>
              </a:ext>
            </a:extLst>
          </p:cNvPr>
          <p:cNvSpPr/>
          <p:nvPr userDrawn="1"/>
        </p:nvSpPr>
        <p:spPr>
          <a:xfrm>
            <a:off x="2037392"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Arrow: Chevron 44">
            <a:extLst>
              <a:ext uri="{FF2B5EF4-FFF2-40B4-BE49-F238E27FC236}">
                <a16:creationId xmlns:a16="http://schemas.microsoft.com/office/drawing/2014/main" id="{D3E12F6D-0F8F-4C19-A4ED-604BACED5DE5}"/>
              </a:ext>
            </a:extLst>
          </p:cNvPr>
          <p:cNvSpPr/>
          <p:nvPr userDrawn="1"/>
        </p:nvSpPr>
        <p:spPr>
          <a:xfrm>
            <a:off x="1554349"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Arrow: Chevron 45">
            <a:extLst>
              <a:ext uri="{FF2B5EF4-FFF2-40B4-BE49-F238E27FC236}">
                <a16:creationId xmlns:a16="http://schemas.microsoft.com/office/drawing/2014/main" id="{3D49C03D-6243-4E54-AF1D-66175C54DD28}"/>
              </a:ext>
            </a:extLst>
          </p:cNvPr>
          <p:cNvSpPr/>
          <p:nvPr userDrawn="1"/>
        </p:nvSpPr>
        <p:spPr>
          <a:xfrm>
            <a:off x="1071306"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Arrow: Chevron 46">
            <a:extLst>
              <a:ext uri="{FF2B5EF4-FFF2-40B4-BE49-F238E27FC236}">
                <a16:creationId xmlns:a16="http://schemas.microsoft.com/office/drawing/2014/main" id="{F1D32012-5B20-4721-910B-6BCF03A7318A}"/>
              </a:ext>
            </a:extLst>
          </p:cNvPr>
          <p:cNvSpPr/>
          <p:nvPr userDrawn="1"/>
        </p:nvSpPr>
        <p:spPr>
          <a:xfrm>
            <a:off x="588263"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Footer Placeholder 1">
            <a:extLst>
              <a:ext uri="{FF2B5EF4-FFF2-40B4-BE49-F238E27FC236}">
                <a16:creationId xmlns:a16="http://schemas.microsoft.com/office/drawing/2014/main" id="{F8C297A0-4453-5642-C15F-E6AAE7FC71B6}"/>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422704024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estions and Discussion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4" name="Group 3">
            <a:extLst>
              <a:ext uri="{FF2B5EF4-FFF2-40B4-BE49-F238E27FC236}">
                <a16:creationId xmlns:a16="http://schemas.microsoft.com/office/drawing/2014/main" id="{8DBA9C78-4DF7-4D75-9842-39ED1A36FD0C}"/>
              </a:ext>
            </a:extLst>
          </p:cNvPr>
          <p:cNvGrpSpPr/>
          <p:nvPr userDrawn="1"/>
        </p:nvGrpSpPr>
        <p:grpSpPr>
          <a:xfrm>
            <a:off x="1849031" y="1164270"/>
            <a:ext cx="8493938" cy="3323552"/>
            <a:chOff x="1915268" y="1164270"/>
            <a:chExt cx="8493938" cy="3323552"/>
          </a:xfrm>
        </p:grpSpPr>
        <p:sp>
          <p:nvSpPr>
            <p:cNvPr id="6" name="Oval Callout 24">
              <a:extLst>
                <a:ext uri="{FF2B5EF4-FFF2-40B4-BE49-F238E27FC236}">
                  <a16:creationId xmlns:a16="http://schemas.microsoft.com/office/drawing/2014/main" id="{0B9D9E15-5F54-483E-856F-9777C7BBB0FF}"/>
                </a:ext>
              </a:extLst>
            </p:cNvPr>
            <p:cNvSpPr/>
            <p:nvPr/>
          </p:nvSpPr>
          <p:spPr bwMode="auto">
            <a:xfrm>
              <a:off x="2286001" y="2647298"/>
              <a:ext cx="2433711" cy="1350499"/>
            </a:xfrm>
            <a:prstGeom prst="wedgeEllipseCallout">
              <a:avLst>
                <a:gd name="adj1" fmla="val -60717"/>
                <a:gd name="adj2" fmla="val 52083"/>
              </a:avLst>
            </a:prstGeom>
            <a:solidFill>
              <a:schemeClr val="bg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7" name="Oval Callout 25">
              <a:extLst>
                <a:ext uri="{FF2B5EF4-FFF2-40B4-BE49-F238E27FC236}">
                  <a16:creationId xmlns:a16="http://schemas.microsoft.com/office/drawing/2014/main" id="{1D01254F-672A-4034-8EE1-2FCF3AB3065D}"/>
                </a:ext>
              </a:extLst>
            </p:cNvPr>
            <p:cNvSpPr/>
            <p:nvPr/>
          </p:nvSpPr>
          <p:spPr bwMode="auto">
            <a:xfrm>
              <a:off x="4395329" y="2921621"/>
              <a:ext cx="2433711" cy="1566201"/>
            </a:xfrm>
            <a:prstGeom prst="wedgeEllipseCallout">
              <a:avLst>
                <a:gd name="adj1" fmla="val 36971"/>
                <a:gd name="adj2" fmla="val 67708"/>
              </a:avLst>
            </a:prstGeom>
            <a:solidFill>
              <a:schemeClr val="accent6"/>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8" name="Oval Callout 26">
              <a:extLst>
                <a:ext uri="{FF2B5EF4-FFF2-40B4-BE49-F238E27FC236}">
                  <a16:creationId xmlns:a16="http://schemas.microsoft.com/office/drawing/2014/main" id="{A63660D0-913F-431B-AA6C-7816E98E713E}"/>
                </a:ext>
              </a:extLst>
            </p:cNvPr>
            <p:cNvSpPr/>
            <p:nvPr/>
          </p:nvSpPr>
          <p:spPr bwMode="auto">
            <a:xfrm>
              <a:off x="3863101" y="3498248"/>
              <a:ext cx="1064455" cy="980049"/>
            </a:xfrm>
            <a:prstGeom prst="wedgeEllipseCallout">
              <a:avLst>
                <a:gd name="adj1" fmla="val 36971"/>
                <a:gd name="adj2" fmla="val 67708"/>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9" name="Oval Callout 27">
              <a:extLst>
                <a:ext uri="{FF2B5EF4-FFF2-40B4-BE49-F238E27FC236}">
                  <a16:creationId xmlns:a16="http://schemas.microsoft.com/office/drawing/2014/main" id="{659341B6-A649-4CB7-94E1-2BD8F5D5FE3E}"/>
                </a:ext>
              </a:extLst>
            </p:cNvPr>
            <p:cNvSpPr/>
            <p:nvPr/>
          </p:nvSpPr>
          <p:spPr bwMode="auto">
            <a:xfrm>
              <a:off x="6172201" y="2456225"/>
              <a:ext cx="1752600" cy="1541572"/>
            </a:xfrm>
            <a:prstGeom prst="wedgeEllipseCallout">
              <a:avLst/>
            </a:prstGeom>
            <a:solidFill>
              <a:schemeClr val="accent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0" name="Oval Callout 28">
              <a:extLst>
                <a:ext uri="{FF2B5EF4-FFF2-40B4-BE49-F238E27FC236}">
                  <a16:creationId xmlns:a16="http://schemas.microsoft.com/office/drawing/2014/main" id="{3BEEF42C-B849-4993-A6C1-9C270E8B6E73}"/>
                </a:ext>
              </a:extLst>
            </p:cNvPr>
            <p:cNvSpPr/>
            <p:nvPr/>
          </p:nvSpPr>
          <p:spPr bwMode="auto">
            <a:xfrm>
              <a:off x="7432975" y="2551761"/>
              <a:ext cx="2433711" cy="1350499"/>
            </a:xfrm>
            <a:prstGeom prst="wedgeEllipseCallout">
              <a:avLst>
                <a:gd name="adj1" fmla="val -25457"/>
                <a:gd name="adj2" fmla="val 68750"/>
              </a:avLst>
            </a:prstGeom>
            <a:solidFill>
              <a:schemeClr val="accent3"/>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1" name="Oval Callout 29">
              <a:extLst>
                <a:ext uri="{FF2B5EF4-FFF2-40B4-BE49-F238E27FC236}">
                  <a16:creationId xmlns:a16="http://schemas.microsoft.com/office/drawing/2014/main" id="{22639245-E1AF-4A3B-8B4E-ED62120F4709}"/>
                </a:ext>
              </a:extLst>
            </p:cNvPr>
            <p:cNvSpPr/>
            <p:nvPr/>
          </p:nvSpPr>
          <p:spPr bwMode="auto">
            <a:xfrm>
              <a:off x="8802231" y="3435088"/>
              <a:ext cx="1064455" cy="980049"/>
            </a:xfrm>
            <a:prstGeom prst="wedgeEllipseCallout">
              <a:avLst>
                <a:gd name="adj1" fmla="val -26465"/>
                <a:gd name="adj2" fmla="val 72015"/>
              </a:avLst>
            </a:prstGeom>
            <a:solidFill>
              <a:schemeClr val="accent4">
                <a:lumMod val="75000"/>
              </a:schemeClr>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grpSp>
          <p:nvGrpSpPr>
            <p:cNvPr id="12" name="Group 11">
              <a:extLst>
                <a:ext uri="{FF2B5EF4-FFF2-40B4-BE49-F238E27FC236}">
                  <a16:creationId xmlns:a16="http://schemas.microsoft.com/office/drawing/2014/main" id="{8E4E1F7B-2861-43A2-A887-5A6359BC461C}"/>
                </a:ext>
              </a:extLst>
            </p:cNvPr>
            <p:cNvGrpSpPr/>
            <p:nvPr/>
          </p:nvGrpSpPr>
          <p:grpSpPr>
            <a:xfrm>
              <a:off x="1915268" y="1164270"/>
              <a:ext cx="8493938" cy="1446550"/>
              <a:chOff x="391268" y="997890"/>
              <a:chExt cx="8493938" cy="1446550"/>
            </a:xfrm>
          </p:grpSpPr>
          <p:sp>
            <p:nvSpPr>
              <p:cNvPr id="13" name="Title 1">
                <a:extLst>
                  <a:ext uri="{FF2B5EF4-FFF2-40B4-BE49-F238E27FC236}">
                    <a16:creationId xmlns:a16="http://schemas.microsoft.com/office/drawing/2014/main" id="{0296A2FF-607B-4A83-88E7-16CE0E42A4E2}"/>
                  </a:ext>
                </a:extLst>
              </p:cNvPr>
              <p:cNvSpPr txBox="1">
                <a:spLocks/>
              </p:cNvSpPr>
              <p:nvPr/>
            </p:nvSpPr>
            <p:spPr>
              <a:xfrm>
                <a:off x="391268" y="1518699"/>
                <a:ext cx="3925515" cy="769441"/>
              </a:xfrm>
              <a:prstGeom prst="rect">
                <a:avLst/>
              </a:prstGeom>
            </p:spPr>
            <p:txBody>
              <a:bodyPr vert="horz" lIns="91440" tIns="45720" rIns="91440" bIns="45720" rtlCol="0" anchor="ctr">
                <a:spAutoFit/>
              </a:bodyPr>
              <a:lstStyle>
                <a:lvl1pPr algn="ctr" defTabSz="914400" rtl="0" eaLnBrk="1" latinLnBrk="0" hangingPunct="1">
                  <a:spcBef>
                    <a:spcPct val="0"/>
                  </a:spcBef>
                  <a:buNone/>
                  <a:defRPr sz="3200" b="1" kern="1200" baseline="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Questions</a:t>
                </a:r>
              </a:p>
            </p:txBody>
          </p:sp>
          <p:sp>
            <p:nvSpPr>
              <p:cNvPr id="14" name="TextBox 13">
                <a:extLst>
                  <a:ext uri="{FF2B5EF4-FFF2-40B4-BE49-F238E27FC236}">
                    <a16:creationId xmlns:a16="http://schemas.microsoft.com/office/drawing/2014/main" id="{E6C7106F-E585-486F-AAF1-1F91F9686DCF}"/>
                  </a:ext>
                </a:extLst>
              </p:cNvPr>
              <p:cNvSpPr txBox="1"/>
              <p:nvPr/>
            </p:nvSpPr>
            <p:spPr>
              <a:xfrm>
                <a:off x="3657600" y="997890"/>
                <a:ext cx="14478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0091E1"/>
                    </a:solidFill>
                    <a:effectLst/>
                    <a:uLnTx/>
                    <a:uFillTx/>
                    <a:latin typeface="Rockwell" panose="02060603020205020403" pitchFamily="18" charset="0"/>
                    <a:ea typeface="+mn-ea"/>
                    <a:cs typeface="Arial" panose="020B0604020202020204" pitchFamily="34" charset="0"/>
                  </a:rPr>
                  <a:t>&amp;</a:t>
                </a:r>
              </a:p>
            </p:txBody>
          </p:sp>
          <p:sp>
            <p:nvSpPr>
              <p:cNvPr id="15" name="Title 1">
                <a:extLst>
                  <a:ext uri="{FF2B5EF4-FFF2-40B4-BE49-F238E27FC236}">
                    <a16:creationId xmlns:a16="http://schemas.microsoft.com/office/drawing/2014/main" id="{F0FBBBAE-CE0B-4B52-BC8E-9129F4055A8F}"/>
                  </a:ext>
                </a:extLst>
              </p:cNvPr>
              <p:cNvSpPr txBox="1">
                <a:spLocks/>
              </p:cNvSpPr>
              <p:nvPr/>
            </p:nvSpPr>
            <p:spPr>
              <a:xfrm>
                <a:off x="4215440" y="1530795"/>
                <a:ext cx="4669766" cy="769441"/>
              </a:xfrm>
              <a:prstGeom prst="rect">
                <a:avLst/>
              </a:prstGeom>
            </p:spPr>
            <p:txBody>
              <a:bodyPr vert="horz" wrap="square" lIns="91440" tIns="45720" rIns="91440" bIns="45720" rtlCol="0" anchor="ctr">
                <a:spAutoFit/>
              </a:bodyPr>
              <a:lstStyle>
                <a:lvl1pPr algn="ctr" defTabSz="914400" rtl="0" eaLnBrk="1" latinLnBrk="0" hangingPunct="1">
                  <a:spcBef>
                    <a:spcPct val="0"/>
                  </a:spcBef>
                  <a:buNone/>
                  <a:defRPr sz="3200" b="1" kern="120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Discussion</a:t>
                </a:r>
              </a:p>
            </p:txBody>
          </p:sp>
        </p:grpSp>
      </p:grpSp>
      <p:sp>
        <p:nvSpPr>
          <p:cNvPr id="16" name="Text Placeholder 15">
            <a:extLst>
              <a:ext uri="{FF2B5EF4-FFF2-40B4-BE49-F238E27FC236}">
                <a16:creationId xmlns:a16="http://schemas.microsoft.com/office/drawing/2014/main" id="{15567D59-4386-4DB3-9DFF-C9E181FCB29E}"/>
              </a:ext>
            </a:extLst>
          </p:cNvPr>
          <p:cNvSpPr>
            <a:spLocks noGrp="1"/>
          </p:cNvSpPr>
          <p:nvPr>
            <p:ph type="body" sz="quarter" idx="11" hasCustomPrompt="1"/>
          </p:nvPr>
        </p:nvSpPr>
        <p:spPr>
          <a:xfrm>
            <a:off x="2863618" y="4800600"/>
            <a:ext cx="3014662" cy="457200"/>
          </a:xfrm>
        </p:spPr>
        <p:txBody>
          <a:bodyPr/>
          <a:lstStyle>
            <a:lvl1pPr marL="0" indent="0" algn="ctr">
              <a:buFontTx/>
              <a:buNone/>
              <a:defRPr b="1"/>
            </a:lvl1pPr>
          </a:lstStyle>
          <a:p>
            <a:pPr lvl="0"/>
            <a:r>
              <a:rPr lang="en-US"/>
              <a:t>Name</a:t>
            </a:r>
          </a:p>
          <a:p>
            <a:pPr lvl="0"/>
            <a:endParaRPr lang="en-US"/>
          </a:p>
        </p:txBody>
      </p:sp>
      <p:sp>
        <p:nvSpPr>
          <p:cNvPr id="18" name="Text Placeholder 15">
            <a:extLst>
              <a:ext uri="{FF2B5EF4-FFF2-40B4-BE49-F238E27FC236}">
                <a16:creationId xmlns:a16="http://schemas.microsoft.com/office/drawing/2014/main" id="{1D0056BF-8338-45CD-B076-376EEDBD46F3}"/>
              </a:ext>
            </a:extLst>
          </p:cNvPr>
          <p:cNvSpPr>
            <a:spLocks noGrp="1"/>
          </p:cNvSpPr>
          <p:nvPr>
            <p:ph type="body" sz="quarter" idx="12" hasCustomPrompt="1"/>
          </p:nvPr>
        </p:nvSpPr>
        <p:spPr>
          <a:xfrm>
            <a:off x="2863618"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22" name="Text Placeholder 15">
            <a:extLst>
              <a:ext uri="{FF2B5EF4-FFF2-40B4-BE49-F238E27FC236}">
                <a16:creationId xmlns:a16="http://schemas.microsoft.com/office/drawing/2014/main" id="{F0586C2F-544F-4BF1-A61B-F8013D680B73}"/>
              </a:ext>
            </a:extLst>
          </p:cNvPr>
          <p:cNvSpPr>
            <a:spLocks noGrp="1"/>
          </p:cNvSpPr>
          <p:nvPr>
            <p:ph type="body" sz="quarter" idx="13" hasCustomPrompt="1"/>
          </p:nvPr>
        </p:nvSpPr>
        <p:spPr>
          <a:xfrm>
            <a:off x="6313720" y="4800600"/>
            <a:ext cx="3014662" cy="457200"/>
          </a:xfrm>
        </p:spPr>
        <p:txBody>
          <a:bodyPr/>
          <a:lstStyle>
            <a:lvl1pPr marL="0" indent="0" algn="ctr">
              <a:buFontTx/>
              <a:buNone/>
              <a:defRPr b="1"/>
            </a:lvl1pPr>
          </a:lstStyle>
          <a:p>
            <a:pPr lvl="0"/>
            <a:r>
              <a:rPr lang="en-US"/>
              <a:t>Name</a:t>
            </a:r>
          </a:p>
          <a:p>
            <a:pPr lvl="0"/>
            <a:endParaRPr lang="en-US"/>
          </a:p>
        </p:txBody>
      </p:sp>
      <p:sp>
        <p:nvSpPr>
          <p:cNvPr id="23" name="Text Placeholder 15">
            <a:extLst>
              <a:ext uri="{FF2B5EF4-FFF2-40B4-BE49-F238E27FC236}">
                <a16:creationId xmlns:a16="http://schemas.microsoft.com/office/drawing/2014/main" id="{AB0A737E-927A-4B0D-9099-B124AAF93530}"/>
              </a:ext>
            </a:extLst>
          </p:cNvPr>
          <p:cNvSpPr>
            <a:spLocks noGrp="1"/>
          </p:cNvSpPr>
          <p:nvPr>
            <p:ph type="body" sz="quarter" idx="14" hasCustomPrompt="1"/>
          </p:nvPr>
        </p:nvSpPr>
        <p:spPr>
          <a:xfrm>
            <a:off x="6313720"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3" name="Footer Placeholder 1">
            <a:extLst>
              <a:ext uri="{FF2B5EF4-FFF2-40B4-BE49-F238E27FC236}">
                <a16:creationId xmlns:a16="http://schemas.microsoft.com/office/drawing/2014/main" id="{0A306CEA-3184-F441-C591-06FC02087DC3}"/>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57468931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over 2 - Healthy Fami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B6DC4-F443-4398-B024-61934E953F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2BB6DC4-F443-4398-B024-61934E95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ED6E2347-EEF7-434B-B045-D49C56A1486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62"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CE303BEB-AEF3-4ECF-A589-D95CE1A1525F}"/>
              </a:ext>
            </a:extLst>
          </p:cNvPr>
          <p:cNvSpPr/>
          <p:nvPr userDrawn="1"/>
        </p:nvSpPr>
        <p:spPr>
          <a:xfrm>
            <a:off x="-1" y="0"/>
            <a:ext cx="7267576" cy="1410789"/>
          </a:xfrm>
          <a:prstGeom prst="rect">
            <a:avLst/>
          </a:prstGeom>
          <a:gradFill flip="none" rotWithShape="1">
            <a:gsLst>
              <a:gs pos="0">
                <a:schemeClr val="bg1">
                  <a:lumMod val="50000"/>
                  <a:shade val="30000"/>
                  <a:satMod val="115000"/>
                  <a:alpha val="54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D8D8">
                  <a:lumMod val="40000"/>
                  <a:lumOff val="60000"/>
                </a:srgbClr>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1F838AD-A49F-469D-A5A0-9BF7CB17DD1B}"/>
              </a:ext>
            </a:extLst>
          </p:cNvPr>
          <p:cNvSpPr/>
          <p:nvPr userDrawn="1"/>
        </p:nvSpPr>
        <p:spPr>
          <a:xfrm>
            <a:off x="7279042" y="0"/>
            <a:ext cx="491295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789FF9EF-B1EA-4E45-87E6-40CEFE5565DE}"/>
              </a:ext>
            </a:extLst>
          </p:cNvPr>
          <p:cNvSpPr/>
          <p:nvPr userDrawn="1"/>
        </p:nvSpPr>
        <p:spPr>
          <a:xfrm>
            <a:off x="7279042" y="2847703"/>
            <a:ext cx="4913335" cy="2190642"/>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Content Placeholder 5">
            <a:extLst>
              <a:ext uri="{FF2B5EF4-FFF2-40B4-BE49-F238E27FC236}">
                <a16:creationId xmlns:a16="http://schemas.microsoft.com/office/drawing/2014/main" id="{75198B83-C8A4-42DA-B9B5-E85FA6A5D9B5}"/>
              </a:ext>
            </a:extLst>
          </p:cNvPr>
          <p:cNvSpPr>
            <a:spLocks noGrp="1"/>
          </p:cNvSpPr>
          <p:nvPr>
            <p:ph sz="quarter" idx="16" hasCustomPrompt="1"/>
          </p:nvPr>
        </p:nvSpPr>
        <p:spPr>
          <a:xfrm>
            <a:off x="9090660" y="689039"/>
            <a:ext cx="2834640" cy="1645920"/>
          </a:xfrm>
        </p:spPr>
        <p:txBody>
          <a:bodyPr anchor="ctr"/>
          <a:lstStyle>
            <a:lvl1pPr marL="0" indent="0" algn="ctr">
              <a:buFontTx/>
              <a:buNone/>
              <a:defRPr sz="1800" i="1"/>
            </a:lvl1pPr>
          </a:lstStyle>
          <a:p>
            <a:pPr lvl="0"/>
            <a:r>
              <a:rPr lang="en-US"/>
              <a:t>Client logo goes here </a:t>
            </a:r>
            <a:br>
              <a:rPr lang="en-US"/>
            </a:br>
            <a:r>
              <a:rPr lang="en-US"/>
              <a:t>(click on Picture icon)</a:t>
            </a:r>
          </a:p>
        </p:txBody>
      </p:sp>
      <p:sp>
        <p:nvSpPr>
          <p:cNvPr id="14" name="Subtitle 2">
            <a:extLst>
              <a:ext uri="{FF2B5EF4-FFF2-40B4-BE49-F238E27FC236}">
                <a16:creationId xmlns:a16="http://schemas.microsoft.com/office/drawing/2014/main" id="{1CC80F1F-A61B-4FA4-BFDC-34C5900A86D0}"/>
              </a:ext>
            </a:extLst>
          </p:cNvPr>
          <p:cNvSpPr>
            <a:spLocks noGrp="1"/>
          </p:cNvSpPr>
          <p:nvPr>
            <p:ph type="subTitle" idx="1" hasCustomPrompt="1"/>
          </p:nvPr>
        </p:nvSpPr>
        <p:spPr>
          <a:xfrm>
            <a:off x="7296912" y="3944141"/>
            <a:ext cx="4632766" cy="428948"/>
          </a:xfrm>
          <a:prstGeom prst="rect">
            <a:avLst/>
          </a:prstGeom>
        </p:spPr>
        <p:txBody>
          <a:bodyPr lIns="0" tIns="0">
            <a:noAutofit/>
          </a:bodyPr>
          <a:lstStyle>
            <a:lvl1pPr marL="0" indent="0" algn="r">
              <a:lnSpc>
                <a:spcPct val="900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6" name="Text Placeholder 15">
            <a:extLst>
              <a:ext uri="{FF2B5EF4-FFF2-40B4-BE49-F238E27FC236}">
                <a16:creationId xmlns:a16="http://schemas.microsoft.com/office/drawing/2014/main" id="{D6AB4503-F23F-444E-A8F6-CE96FC3129D8}"/>
              </a:ext>
            </a:extLst>
          </p:cNvPr>
          <p:cNvSpPr>
            <a:spLocks noGrp="1"/>
          </p:cNvSpPr>
          <p:nvPr>
            <p:ph type="body" sz="quarter" idx="14" hasCustomPrompt="1"/>
          </p:nvPr>
        </p:nvSpPr>
        <p:spPr>
          <a:xfrm>
            <a:off x="9232456" y="4683358"/>
            <a:ext cx="2702375" cy="225271"/>
          </a:xfrm>
          <a:prstGeom prst="rect">
            <a:avLst/>
          </a:prstGeom>
        </p:spPr>
        <p:txBody>
          <a:bodyPr lIns="0" anchor="ctr" anchorCtr="0">
            <a:noAutofit/>
          </a:bodyPr>
          <a:lstStyle>
            <a:lvl1pPr marL="0" indent="0" algn="r">
              <a:buFontTx/>
              <a:buNone/>
              <a:defRPr sz="12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a:t>
            </a:r>
          </a:p>
        </p:txBody>
      </p:sp>
      <p:sp>
        <p:nvSpPr>
          <p:cNvPr id="17" name="Text Placeholder 2">
            <a:extLst>
              <a:ext uri="{FF2B5EF4-FFF2-40B4-BE49-F238E27FC236}">
                <a16:creationId xmlns:a16="http://schemas.microsoft.com/office/drawing/2014/main" id="{7AE3858F-DCA3-4CCB-AB61-A4A60579F42B}"/>
              </a:ext>
            </a:extLst>
          </p:cNvPr>
          <p:cNvSpPr>
            <a:spLocks noGrp="1"/>
          </p:cNvSpPr>
          <p:nvPr>
            <p:ph type="body" sz="quarter" idx="15" hasCustomPrompt="1"/>
          </p:nvPr>
        </p:nvSpPr>
        <p:spPr>
          <a:xfrm>
            <a:off x="7296912" y="3081528"/>
            <a:ext cx="4628388" cy="832104"/>
          </a:xfrm>
        </p:spPr>
        <p:txBody>
          <a:bodyPr lIns="0" anchor="b">
            <a:noAutofit/>
          </a:bodyPr>
          <a:lstStyle>
            <a:lvl1pPr marL="0" indent="0" algn="r">
              <a:spcBef>
                <a:spcPts val="0"/>
              </a:spcBef>
              <a:buFontTx/>
              <a:buNone/>
              <a:defRPr sz="2800" spc="50" baseline="0">
                <a:solidFill>
                  <a:schemeClr val="bg1"/>
                </a:solidFill>
                <a:latin typeface="+mj-lt"/>
              </a:defRPr>
            </a:lvl1pPr>
          </a:lstStyle>
          <a:p>
            <a:pPr lvl="0"/>
            <a:r>
              <a:rPr lang="en-US"/>
              <a:t>Presentation Title</a:t>
            </a:r>
          </a:p>
        </p:txBody>
      </p:sp>
      <p:sp>
        <p:nvSpPr>
          <p:cNvPr id="3" name="Rectangle 2">
            <a:extLst>
              <a:ext uri="{FF2B5EF4-FFF2-40B4-BE49-F238E27FC236}">
                <a16:creationId xmlns:a16="http://schemas.microsoft.com/office/drawing/2014/main" id="{D6A0B274-223B-56EE-EB4E-1ECC3CBF2D24}"/>
              </a:ext>
            </a:extLst>
          </p:cNvPr>
          <p:cNvSpPr/>
          <p:nvPr userDrawn="1"/>
        </p:nvSpPr>
        <p:spPr>
          <a:xfrm>
            <a:off x="7267575" y="5038344"/>
            <a:ext cx="4924425" cy="18196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9D06F003-972C-BAD6-E527-EBBA75B07A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78240" y="5760720"/>
            <a:ext cx="1937270" cy="630936"/>
          </a:xfrm>
          <a:prstGeom prst="rect">
            <a:avLst/>
          </a:prstGeom>
        </p:spPr>
      </p:pic>
      <p:sp>
        <p:nvSpPr>
          <p:cNvPr id="5" name="TextBox 4">
            <a:extLst>
              <a:ext uri="{FF2B5EF4-FFF2-40B4-BE49-F238E27FC236}">
                <a16:creationId xmlns:a16="http://schemas.microsoft.com/office/drawing/2014/main" id="{E61FBE94-2AC8-E289-37BD-35FB3E622F65}"/>
              </a:ext>
            </a:extLst>
          </p:cNvPr>
          <p:cNvSpPr txBox="1"/>
          <p:nvPr userDrawn="1"/>
        </p:nvSpPr>
        <p:spPr>
          <a:xfrm>
            <a:off x="0" y="0"/>
            <a:ext cx="6096000" cy="646331"/>
          </a:xfrm>
          <a:prstGeom prst="rect">
            <a:avLst/>
          </a:prstGeom>
          <a:noFill/>
        </p:spPr>
        <p:txBody>
          <a:bodyPr wrap="square">
            <a:spAutoFit/>
          </a:bodyPr>
          <a:lstStyle/>
          <a:p>
            <a:r>
              <a:rPr lang="en-US" sz="1800" dirty="0">
                <a:solidFill>
                  <a:schemeClr val="bg1"/>
                </a:solidFill>
              </a:rPr>
              <a:t>CONFIDENTIAL</a:t>
            </a:r>
          </a:p>
          <a:p>
            <a:r>
              <a:rPr lang="en-US" sz="1800" dirty="0">
                <a:solidFill>
                  <a:schemeClr val="bg1"/>
                </a:solidFill>
              </a:rPr>
              <a:t>FOR DISCUSSION PURPOSES</a:t>
            </a:r>
          </a:p>
        </p:txBody>
      </p:sp>
    </p:spTree>
    <p:extLst>
      <p:ext uri="{BB962C8B-B14F-4D97-AF65-F5344CB8AC3E}">
        <p14:creationId xmlns:p14="http://schemas.microsoft.com/office/powerpoint/2010/main" val="6705723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173162"/>
            <a:ext cx="11658600" cy="4889309"/>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1E3520C1-E3AC-E032-E463-471CF49AB2E5}"/>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5" name="Footer Placeholder 1">
            <a:extLst>
              <a:ext uri="{FF2B5EF4-FFF2-40B4-BE49-F238E27FC236}">
                <a16:creationId xmlns:a16="http://schemas.microsoft.com/office/drawing/2014/main" id="{42BC6923-58CC-8C26-3288-2D3F5A4F3CB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91636578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Dan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951630"/>
            <a:ext cx="11658600" cy="4110842"/>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2391073-8542-4C9F-B852-037CAE9FF851}"/>
              </a:ext>
            </a:extLst>
          </p:cNvPr>
          <p:cNvSpPr>
            <a:spLocks noGrp="1"/>
          </p:cNvSpPr>
          <p:nvPr>
            <p:ph type="body" sz="quarter" idx="10" hasCustomPrompt="1"/>
          </p:nvPr>
        </p:nvSpPr>
        <p:spPr>
          <a:xfrm>
            <a:off x="266700"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and Content on Home&gt;Layout</a:t>
            </a:r>
          </a:p>
        </p:txBody>
      </p:sp>
      <p:sp>
        <p:nvSpPr>
          <p:cNvPr id="2" name="Slide Number Placeholder 5">
            <a:extLst>
              <a:ext uri="{FF2B5EF4-FFF2-40B4-BE49-F238E27FC236}">
                <a16:creationId xmlns:a16="http://schemas.microsoft.com/office/drawing/2014/main" id="{8C499F0C-7F90-E2CA-DD5B-603CABD40C4F}"/>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7" name="Footer Placeholder 1">
            <a:extLst>
              <a:ext uri="{FF2B5EF4-FFF2-40B4-BE49-F238E27FC236}">
                <a16:creationId xmlns:a16="http://schemas.microsoft.com/office/drawing/2014/main" id="{579E816B-2932-EC3E-2DB5-79DF2CC8045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60441565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62763747-8423-0952-B04B-3487132B6BFD}"/>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7CEAEC4F-35C4-9DE1-2574-63ECFCEEE129}"/>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25753895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Dan bo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8E8E4F2-B07C-424D-B977-A5A215DC601B}"/>
              </a:ext>
            </a:extLst>
          </p:cNvPr>
          <p:cNvSpPr>
            <a:spLocks noGrp="1"/>
          </p:cNvSpPr>
          <p:nvPr>
            <p:ph type="body" sz="quarter" idx="11" hasCustomPrompt="1"/>
          </p:nvPr>
        </p:nvSpPr>
        <p:spPr>
          <a:xfrm>
            <a:off x="265176"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Only on Home&gt;Layout</a:t>
            </a:r>
          </a:p>
        </p:txBody>
      </p:sp>
      <p:sp>
        <p:nvSpPr>
          <p:cNvPr id="2" name="Footer Placeholder 1">
            <a:extLst>
              <a:ext uri="{FF2B5EF4-FFF2-40B4-BE49-F238E27FC236}">
                <a16:creationId xmlns:a16="http://schemas.microsoft.com/office/drawing/2014/main" id="{3A9C04C7-F8F2-150B-C869-EBD9E1151471}"/>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19213017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63321099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1">
            <a:extLst>
              <a:ext uri="{FF2B5EF4-FFF2-40B4-BE49-F238E27FC236}">
                <a16:creationId xmlns:a16="http://schemas.microsoft.com/office/drawing/2014/main" id="{6E061231-053B-1D7D-ADE4-D936E0CDC97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2959723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Dan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951630"/>
            <a:ext cx="11658600" cy="4110842"/>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2391073-8542-4C9F-B852-037CAE9FF851}"/>
              </a:ext>
            </a:extLst>
          </p:cNvPr>
          <p:cNvSpPr>
            <a:spLocks noGrp="1"/>
          </p:cNvSpPr>
          <p:nvPr>
            <p:ph type="body" sz="quarter" idx="10" hasCustomPrompt="1"/>
          </p:nvPr>
        </p:nvSpPr>
        <p:spPr>
          <a:xfrm>
            <a:off x="266700"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and Content on Home&gt;Layout</a:t>
            </a:r>
          </a:p>
        </p:txBody>
      </p:sp>
      <p:sp>
        <p:nvSpPr>
          <p:cNvPr id="2" name="Slide Number Placeholder 5">
            <a:extLst>
              <a:ext uri="{FF2B5EF4-FFF2-40B4-BE49-F238E27FC236}">
                <a16:creationId xmlns:a16="http://schemas.microsoft.com/office/drawing/2014/main" id="{8C499F0C-7F90-E2CA-DD5B-603CABD40C4F}"/>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7" name="Footer Placeholder 1">
            <a:extLst>
              <a:ext uri="{FF2B5EF4-FFF2-40B4-BE49-F238E27FC236}">
                <a16:creationId xmlns:a16="http://schemas.microsoft.com/office/drawing/2014/main" id="{579E816B-2932-EC3E-2DB5-79DF2CC8045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206279280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 Sub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Text Placeholder 9">
            <a:extLst>
              <a:ext uri="{FF2B5EF4-FFF2-40B4-BE49-F238E27FC236}">
                <a16:creationId xmlns:a16="http://schemas.microsoft.com/office/drawing/2014/main" id="{E10585AB-2D5B-4534-B35C-CF88BA566C4C}"/>
              </a:ext>
            </a:extLst>
          </p:cNvPr>
          <p:cNvSpPr>
            <a:spLocks noGrp="1"/>
          </p:cNvSpPr>
          <p:nvPr>
            <p:ph type="body" sz="quarter" idx="11" hasCustomPrompt="1"/>
          </p:nvPr>
        </p:nvSpPr>
        <p:spPr>
          <a:xfrm>
            <a:off x="274638" y="3035300"/>
            <a:ext cx="11658600" cy="1274763"/>
          </a:xfrm>
        </p:spPr>
        <p:txBody>
          <a:bodyPr>
            <a:normAutofit/>
          </a:bodyPr>
          <a:lstStyle>
            <a:lvl1pPr marL="0" indent="0">
              <a:buNone/>
              <a:defRPr sz="3200">
                <a:solidFill>
                  <a:schemeClr val="bg1"/>
                </a:solidFill>
                <a:latin typeface="+mj-lt"/>
              </a:defRPr>
            </a:lvl1pPr>
          </a:lstStyle>
          <a:p>
            <a:pPr lvl="0"/>
            <a:r>
              <a:rPr lang="en-US"/>
              <a:t>Subsection Title Goes Here</a:t>
            </a:r>
          </a:p>
        </p:txBody>
      </p:sp>
      <p:sp>
        <p:nvSpPr>
          <p:cNvPr id="4" name="Footer Placeholder 1">
            <a:extLst>
              <a:ext uri="{FF2B5EF4-FFF2-40B4-BE49-F238E27FC236}">
                <a16:creationId xmlns:a16="http://schemas.microsoft.com/office/drawing/2014/main" id="{14726D25-9A8E-EE51-D62B-C00F5FB0AFA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866351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4" name="Text Placeholder 23">
            <a:extLst>
              <a:ext uri="{FF2B5EF4-FFF2-40B4-BE49-F238E27FC236}">
                <a16:creationId xmlns:a16="http://schemas.microsoft.com/office/drawing/2014/main" id="{7A1C55E9-25C9-406A-B47C-F099877A3480}"/>
              </a:ext>
            </a:extLst>
          </p:cNvPr>
          <p:cNvSpPr>
            <a:spLocks noGrp="1"/>
          </p:cNvSpPr>
          <p:nvPr>
            <p:ph type="body" sz="quarter" idx="11" hasCustomPrompt="1"/>
          </p:nvPr>
        </p:nvSpPr>
        <p:spPr>
          <a:xfrm>
            <a:off x="2986088" y="1173164"/>
            <a:ext cx="8939212" cy="4290658"/>
          </a:xfrm>
          <a:solidFill>
            <a:schemeClr val="accent3">
              <a:lumMod val="40000"/>
              <a:lumOff val="60000"/>
            </a:schemeClr>
          </a:solidFill>
        </p:spPr>
        <p:txBody>
          <a:bodyPr lIns="274320" tIns="91440" rIns="274320" bIns="91440" anchor="ctr" anchorCtr="0"/>
          <a:lstStyle>
            <a:lvl1pPr marL="274320" indent="-274320">
              <a:spcBef>
                <a:spcPts val="1800"/>
              </a:spcBef>
              <a:defRPr/>
            </a:lvl1pPr>
            <a:lvl2pPr marL="457200" indent="0">
              <a:buNone/>
              <a:defRPr/>
            </a:lvl2pPr>
          </a:lstStyle>
          <a:p>
            <a:pPr lvl="0"/>
            <a:r>
              <a:rPr lang="en-US"/>
              <a:t>Next Step One goes here</a:t>
            </a:r>
          </a:p>
          <a:p>
            <a:pPr lvl="0"/>
            <a:r>
              <a:rPr lang="en-US"/>
              <a:t>Next Step Two goes here</a:t>
            </a:r>
          </a:p>
          <a:p>
            <a:pPr lvl="0"/>
            <a:r>
              <a:rPr lang="en-US"/>
              <a:t>Next Step Three goes here</a:t>
            </a:r>
          </a:p>
        </p:txBody>
      </p:sp>
      <p:sp>
        <p:nvSpPr>
          <p:cNvPr id="43" name="Rectangle 42">
            <a:extLst>
              <a:ext uri="{FF2B5EF4-FFF2-40B4-BE49-F238E27FC236}">
                <a16:creationId xmlns:a16="http://schemas.microsoft.com/office/drawing/2014/main" id="{3B52B253-7D42-4E85-A8CD-4067AADE30DE}"/>
              </a:ext>
            </a:extLst>
          </p:cNvPr>
          <p:cNvSpPr/>
          <p:nvPr userDrawn="1"/>
        </p:nvSpPr>
        <p:spPr>
          <a:xfrm>
            <a:off x="266700" y="1173479"/>
            <a:ext cx="2720035" cy="4290659"/>
          </a:xfrm>
          <a:prstGeom prst="rect">
            <a:avLst/>
          </a:prstGeom>
          <a:solidFill>
            <a:schemeClr val="accent1"/>
          </a:solidFill>
          <a:ln>
            <a:noFill/>
          </a:ln>
          <a:effectLst>
            <a:outerShdw blurRad="1143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NEX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STEPS</a:t>
            </a:r>
          </a:p>
        </p:txBody>
      </p:sp>
      <p:grpSp>
        <p:nvGrpSpPr>
          <p:cNvPr id="4" name="Group 3">
            <a:extLst>
              <a:ext uri="{FF2B5EF4-FFF2-40B4-BE49-F238E27FC236}">
                <a16:creationId xmlns:a16="http://schemas.microsoft.com/office/drawing/2014/main" id="{6BA1CD3B-28EB-AFBE-F777-520931449940}"/>
              </a:ext>
            </a:extLst>
          </p:cNvPr>
          <p:cNvGrpSpPr/>
          <p:nvPr userDrawn="1"/>
        </p:nvGrpSpPr>
        <p:grpSpPr>
          <a:xfrm>
            <a:off x="626330" y="3038060"/>
            <a:ext cx="2000775" cy="1034830"/>
            <a:chOff x="588263" y="3038060"/>
            <a:chExt cx="2000775" cy="1034830"/>
          </a:xfrm>
        </p:grpSpPr>
        <p:sp>
          <p:nvSpPr>
            <p:cNvPr id="44" name="Arrow: Chevron 43">
              <a:extLst>
                <a:ext uri="{FF2B5EF4-FFF2-40B4-BE49-F238E27FC236}">
                  <a16:creationId xmlns:a16="http://schemas.microsoft.com/office/drawing/2014/main" id="{9CE28639-56AB-4B7D-B323-4864EB1AB83F}"/>
                </a:ext>
              </a:extLst>
            </p:cNvPr>
            <p:cNvSpPr/>
            <p:nvPr userDrawn="1"/>
          </p:nvSpPr>
          <p:spPr>
            <a:xfrm>
              <a:off x="2037392"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Arrow: Chevron 44">
              <a:extLst>
                <a:ext uri="{FF2B5EF4-FFF2-40B4-BE49-F238E27FC236}">
                  <a16:creationId xmlns:a16="http://schemas.microsoft.com/office/drawing/2014/main" id="{D3E12F6D-0F8F-4C19-A4ED-604BACED5DE5}"/>
                </a:ext>
              </a:extLst>
            </p:cNvPr>
            <p:cNvSpPr/>
            <p:nvPr userDrawn="1"/>
          </p:nvSpPr>
          <p:spPr>
            <a:xfrm>
              <a:off x="1554349"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Arrow: Chevron 45">
              <a:extLst>
                <a:ext uri="{FF2B5EF4-FFF2-40B4-BE49-F238E27FC236}">
                  <a16:creationId xmlns:a16="http://schemas.microsoft.com/office/drawing/2014/main" id="{3D49C03D-6243-4E54-AF1D-66175C54DD28}"/>
                </a:ext>
              </a:extLst>
            </p:cNvPr>
            <p:cNvSpPr/>
            <p:nvPr userDrawn="1"/>
          </p:nvSpPr>
          <p:spPr>
            <a:xfrm>
              <a:off x="1071306"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Arrow: Chevron 46">
              <a:extLst>
                <a:ext uri="{FF2B5EF4-FFF2-40B4-BE49-F238E27FC236}">
                  <a16:creationId xmlns:a16="http://schemas.microsoft.com/office/drawing/2014/main" id="{F1D32012-5B20-4721-910B-6BCF03A7318A}"/>
                </a:ext>
              </a:extLst>
            </p:cNvPr>
            <p:cNvSpPr/>
            <p:nvPr userDrawn="1"/>
          </p:nvSpPr>
          <p:spPr>
            <a:xfrm>
              <a:off x="588263"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Footer Placeholder 1">
            <a:extLst>
              <a:ext uri="{FF2B5EF4-FFF2-40B4-BE49-F238E27FC236}">
                <a16:creationId xmlns:a16="http://schemas.microsoft.com/office/drawing/2014/main" id="{F8C297A0-4453-5642-C15F-E6AAE7FC71B6}"/>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66380556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s and Discussion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4" name="Group 3">
            <a:extLst>
              <a:ext uri="{FF2B5EF4-FFF2-40B4-BE49-F238E27FC236}">
                <a16:creationId xmlns:a16="http://schemas.microsoft.com/office/drawing/2014/main" id="{8DBA9C78-4DF7-4D75-9842-39ED1A36FD0C}"/>
              </a:ext>
            </a:extLst>
          </p:cNvPr>
          <p:cNvGrpSpPr/>
          <p:nvPr userDrawn="1"/>
        </p:nvGrpSpPr>
        <p:grpSpPr>
          <a:xfrm>
            <a:off x="1849031" y="1164270"/>
            <a:ext cx="8493938" cy="3323552"/>
            <a:chOff x="1915268" y="1164270"/>
            <a:chExt cx="8493938" cy="3323552"/>
          </a:xfrm>
        </p:grpSpPr>
        <p:sp>
          <p:nvSpPr>
            <p:cNvPr id="6" name="Oval Callout 24">
              <a:extLst>
                <a:ext uri="{FF2B5EF4-FFF2-40B4-BE49-F238E27FC236}">
                  <a16:creationId xmlns:a16="http://schemas.microsoft.com/office/drawing/2014/main" id="{0B9D9E15-5F54-483E-856F-9777C7BBB0FF}"/>
                </a:ext>
              </a:extLst>
            </p:cNvPr>
            <p:cNvSpPr/>
            <p:nvPr/>
          </p:nvSpPr>
          <p:spPr bwMode="auto">
            <a:xfrm>
              <a:off x="2286001" y="2647298"/>
              <a:ext cx="2433711" cy="1350499"/>
            </a:xfrm>
            <a:prstGeom prst="wedgeEllipseCallout">
              <a:avLst>
                <a:gd name="adj1" fmla="val -60717"/>
                <a:gd name="adj2" fmla="val 52083"/>
              </a:avLst>
            </a:prstGeom>
            <a:solidFill>
              <a:schemeClr val="bg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7" name="Oval Callout 25">
              <a:extLst>
                <a:ext uri="{FF2B5EF4-FFF2-40B4-BE49-F238E27FC236}">
                  <a16:creationId xmlns:a16="http://schemas.microsoft.com/office/drawing/2014/main" id="{1D01254F-672A-4034-8EE1-2FCF3AB3065D}"/>
                </a:ext>
              </a:extLst>
            </p:cNvPr>
            <p:cNvSpPr/>
            <p:nvPr/>
          </p:nvSpPr>
          <p:spPr bwMode="auto">
            <a:xfrm>
              <a:off x="4395329" y="2921621"/>
              <a:ext cx="2433711" cy="1566201"/>
            </a:xfrm>
            <a:prstGeom prst="wedgeEllipseCallout">
              <a:avLst>
                <a:gd name="adj1" fmla="val 36971"/>
                <a:gd name="adj2" fmla="val 67708"/>
              </a:avLst>
            </a:prstGeom>
            <a:solidFill>
              <a:schemeClr val="accent6"/>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8" name="Oval Callout 26">
              <a:extLst>
                <a:ext uri="{FF2B5EF4-FFF2-40B4-BE49-F238E27FC236}">
                  <a16:creationId xmlns:a16="http://schemas.microsoft.com/office/drawing/2014/main" id="{A63660D0-913F-431B-AA6C-7816E98E713E}"/>
                </a:ext>
              </a:extLst>
            </p:cNvPr>
            <p:cNvSpPr/>
            <p:nvPr/>
          </p:nvSpPr>
          <p:spPr bwMode="auto">
            <a:xfrm>
              <a:off x="3863101" y="3498248"/>
              <a:ext cx="1064455" cy="980049"/>
            </a:xfrm>
            <a:prstGeom prst="wedgeEllipseCallout">
              <a:avLst>
                <a:gd name="adj1" fmla="val 36971"/>
                <a:gd name="adj2" fmla="val 67708"/>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9" name="Oval Callout 27">
              <a:extLst>
                <a:ext uri="{FF2B5EF4-FFF2-40B4-BE49-F238E27FC236}">
                  <a16:creationId xmlns:a16="http://schemas.microsoft.com/office/drawing/2014/main" id="{659341B6-A649-4CB7-94E1-2BD8F5D5FE3E}"/>
                </a:ext>
              </a:extLst>
            </p:cNvPr>
            <p:cNvSpPr/>
            <p:nvPr/>
          </p:nvSpPr>
          <p:spPr bwMode="auto">
            <a:xfrm>
              <a:off x="6172201" y="2456225"/>
              <a:ext cx="1752600" cy="1541572"/>
            </a:xfrm>
            <a:prstGeom prst="wedgeEllipseCallout">
              <a:avLst/>
            </a:prstGeom>
            <a:solidFill>
              <a:schemeClr val="accent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0" name="Oval Callout 28">
              <a:extLst>
                <a:ext uri="{FF2B5EF4-FFF2-40B4-BE49-F238E27FC236}">
                  <a16:creationId xmlns:a16="http://schemas.microsoft.com/office/drawing/2014/main" id="{3BEEF42C-B849-4993-A6C1-9C270E8B6E73}"/>
                </a:ext>
              </a:extLst>
            </p:cNvPr>
            <p:cNvSpPr/>
            <p:nvPr/>
          </p:nvSpPr>
          <p:spPr bwMode="auto">
            <a:xfrm>
              <a:off x="7432975" y="2551761"/>
              <a:ext cx="2433711" cy="1350499"/>
            </a:xfrm>
            <a:prstGeom prst="wedgeEllipseCallout">
              <a:avLst>
                <a:gd name="adj1" fmla="val -25457"/>
                <a:gd name="adj2" fmla="val 68750"/>
              </a:avLst>
            </a:prstGeom>
            <a:solidFill>
              <a:schemeClr val="accent3"/>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1" name="Oval Callout 29">
              <a:extLst>
                <a:ext uri="{FF2B5EF4-FFF2-40B4-BE49-F238E27FC236}">
                  <a16:creationId xmlns:a16="http://schemas.microsoft.com/office/drawing/2014/main" id="{22639245-E1AF-4A3B-8B4E-ED62120F4709}"/>
                </a:ext>
              </a:extLst>
            </p:cNvPr>
            <p:cNvSpPr/>
            <p:nvPr/>
          </p:nvSpPr>
          <p:spPr bwMode="auto">
            <a:xfrm>
              <a:off x="8802231" y="3435088"/>
              <a:ext cx="1064455" cy="980049"/>
            </a:xfrm>
            <a:prstGeom prst="wedgeEllipseCallout">
              <a:avLst>
                <a:gd name="adj1" fmla="val -26465"/>
                <a:gd name="adj2" fmla="val 72015"/>
              </a:avLst>
            </a:prstGeom>
            <a:solidFill>
              <a:schemeClr val="accent4">
                <a:lumMod val="75000"/>
              </a:schemeClr>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grpSp>
          <p:nvGrpSpPr>
            <p:cNvPr id="12" name="Group 11">
              <a:extLst>
                <a:ext uri="{FF2B5EF4-FFF2-40B4-BE49-F238E27FC236}">
                  <a16:creationId xmlns:a16="http://schemas.microsoft.com/office/drawing/2014/main" id="{8E4E1F7B-2861-43A2-A887-5A6359BC461C}"/>
                </a:ext>
              </a:extLst>
            </p:cNvPr>
            <p:cNvGrpSpPr/>
            <p:nvPr/>
          </p:nvGrpSpPr>
          <p:grpSpPr>
            <a:xfrm>
              <a:off x="1915268" y="1164270"/>
              <a:ext cx="8493938" cy="1446550"/>
              <a:chOff x="391268" y="997890"/>
              <a:chExt cx="8493938" cy="1446550"/>
            </a:xfrm>
          </p:grpSpPr>
          <p:sp>
            <p:nvSpPr>
              <p:cNvPr id="13" name="Title 1">
                <a:extLst>
                  <a:ext uri="{FF2B5EF4-FFF2-40B4-BE49-F238E27FC236}">
                    <a16:creationId xmlns:a16="http://schemas.microsoft.com/office/drawing/2014/main" id="{0296A2FF-607B-4A83-88E7-16CE0E42A4E2}"/>
                  </a:ext>
                </a:extLst>
              </p:cNvPr>
              <p:cNvSpPr txBox="1">
                <a:spLocks/>
              </p:cNvSpPr>
              <p:nvPr/>
            </p:nvSpPr>
            <p:spPr>
              <a:xfrm>
                <a:off x="391268" y="1518699"/>
                <a:ext cx="3925515" cy="769441"/>
              </a:xfrm>
              <a:prstGeom prst="rect">
                <a:avLst/>
              </a:prstGeom>
            </p:spPr>
            <p:txBody>
              <a:bodyPr vert="horz" lIns="91440" tIns="45720" rIns="91440" bIns="45720" rtlCol="0" anchor="ctr">
                <a:spAutoFit/>
              </a:bodyPr>
              <a:lstStyle>
                <a:lvl1pPr algn="ctr" defTabSz="914400" rtl="0" eaLnBrk="1" latinLnBrk="0" hangingPunct="1">
                  <a:spcBef>
                    <a:spcPct val="0"/>
                  </a:spcBef>
                  <a:buNone/>
                  <a:defRPr sz="3200" b="1" kern="1200" baseline="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Questions</a:t>
                </a:r>
              </a:p>
            </p:txBody>
          </p:sp>
          <p:sp>
            <p:nvSpPr>
              <p:cNvPr id="14" name="TextBox 13">
                <a:extLst>
                  <a:ext uri="{FF2B5EF4-FFF2-40B4-BE49-F238E27FC236}">
                    <a16:creationId xmlns:a16="http://schemas.microsoft.com/office/drawing/2014/main" id="{E6C7106F-E585-486F-AAF1-1F91F9686DCF}"/>
                  </a:ext>
                </a:extLst>
              </p:cNvPr>
              <p:cNvSpPr txBox="1"/>
              <p:nvPr/>
            </p:nvSpPr>
            <p:spPr>
              <a:xfrm>
                <a:off x="3657600" y="997890"/>
                <a:ext cx="14478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0091E1"/>
                    </a:solidFill>
                    <a:effectLst/>
                    <a:uLnTx/>
                    <a:uFillTx/>
                    <a:latin typeface="Rockwell" panose="02060603020205020403" pitchFamily="18" charset="0"/>
                    <a:ea typeface="+mn-ea"/>
                    <a:cs typeface="Arial" panose="020B0604020202020204" pitchFamily="34" charset="0"/>
                  </a:rPr>
                  <a:t>&amp;</a:t>
                </a:r>
              </a:p>
            </p:txBody>
          </p:sp>
          <p:sp>
            <p:nvSpPr>
              <p:cNvPr id="15" name="Title 1">
                <a:extLst>
                  <a:ext uri="{FF2B5EF4-FFF2-40B4-BE49-F238E27FC236}">
                    <a16:creationId xmlns:a16="http://schemas.microsoft.com/office/drawing/2014/main" id="{F0FBBBAE-CE0B-4B52-BC8E-9129F4055A8F}"/>
                  </a:ext>
                </a:extLst>
              </p:cNvPr>
              <p:cNvSpPr txBox="1">
                <a:spLocks/>
              </p:cNvSpPr>
              <p:nvPr/>
            </p:nvSpPr>
            <p:spPr>
              <a:xfrm>
                <a:off x="4215440" y="1530795"/>
                <a:ext cx="4669766" cy="769441"/>
              </a:xfrm>
              <a:prstGeom prst="rect">
                <a:avLst/>
              </a:prstGeom>
            </p:spPr>
            <p:txBody>
              <a:bodyPr vert="horz" wrap="square" lIns="91440" tIns="45720" rIns="91440" bIns="45720" rtlCol="0" anchor="ctr">
                <a:spAutoFit/>
              </a:bodyPr>
              <a:lstStyle>
                <a:lvl1pPr algn="ctr" defTabSz="914400" rtl="0" eaLnBrk="1" latinLnBrk="0" hangingPunct="1">
                  <a:spcBef>
                    <a:spcPct val="0"/>
                  </a:spcBef>
                  <a:buNone/>
                  <a:defRPr sz="3200" b="1" kern="120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Discussion</a:t>
                </a:r>
              </a:p>
            </p:txBody>
          </p:sp>
        </p:grpSp>
      </p:grpSp>
      <p:sp>
        <p:nvSpPr>
          <p:cNvPr id="16" name="Text Placeholder 15">
            <a:extLst>
              <a:ext uri="{FF2B5EF4-FFF2-40B4-BE49-F238E27FC236}">
                <a16:creationId xmlns:a16="http://schemas.microsoft.com/office/drawing/2014/main" id="{15567D59-4386-4DB3-9DFF-C9E181FCB29E}"/>
              </a:ext>
            </a:extLst>
          </p:cNvPr>
          <p:cNvSpPr>
            <a:spLocks noGrp="1"/>
          </p:cNvSpPr>
          <p:nvPr>
            <p:ph type="body" sz="quarter" idx="11" hasCustomPrompt="1"/>
          </p:nvPr>
        </p:nvSpPr>
        <p:spPr>
          <a:xfrm>
            <a:off x="2863618" y="4800600"/>
            <a:ext cx="3014662" cy="457200"/>
          </a:xfrm>
        </p:spPr>
        <p:txBody>
          <a:bodyPr/>
          <a:lstStyle>
            <a:lvl1pPr marL="0" indent="0" algn="ctr">
              <a:buFontTx/>
              <a:buNone/>
              <a:defRPr b="1"/>
            </a:lvl1pPr>
          </a:lstStyle>
          <a:p>
            <a:pPr lvl="0"/>
            <a:r>
              <a:rPr lang="en-US"/>
              <a:t>Name</a:t>
            </a:r>
          </a:p>
          <a:p>
            <a:pPr lvl="0"/>
            <a:endParaRPr lang="en-US"/>
          </a:p>
        </p:txBody>
      </p:sp>
      <p:sp>
        <p:nvSpPr>
          <p:cNvPr id="18" name="Text Placeholder 15">
            <a:extLst>
              <a:ext uri="{FF2B5EF4-FFF2-40B4-BE49-F238E27FC236}">
                <a16:creationId xmlns:a16="http://schemas.microsoft.com/office/drawing/2014/main" id="{1D0056BF-8338-45CD-B076-376EEDBD46F3}"/>
              </a:ext>
            </a:extLst>
          </p:cNvPr>
          <p:cNvSpPr>
            <a:spLocks noGrp="1"/>
          </p:cNvSpPr>
          <p:nvPr>
            <p:ph type="body" sz="quarter" idx="12" hasCustomPrompt="1"/>
          </p:nvPr>
        </p:nvSpPr>
        <p:spPr>
          <a:xfrm>
            <a:off x="2863618"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22" name="Text Placeholder 15">
            <a:extLst>
              <a:ext uri="{FF2B5EF4-FFF2-40B4-BE49-F238E27FC236}">
                <a16:creationId xmlns:a16="http://schemas.microsoft.com/office/drawing/2014/main" id="{F0586C2F-544F-4BF1-A61B-F8013D680B73}"/>
              </a:ext>
            </a:extLst>
          </p:cNvPr>
          <p:cNvSpPr>
            <a:spLocks noGrp="1"/>
          </p:cNvSpPr>
          <p:nvPr>
            <p:ph type="body" sz="quarter" idx="13" hasCustomPrompt="1"/>
          </p:nvPr>
        </p:nvSpPr>
        <p:spPr>
          <a:xfrm>
            <a:off x="6313720" y="4800600"/>
            <a:ext cx="3014662" cy="457200"/>
          </a:xfrm>
        </p:spPr>
        <p:txBody>
          <a:bodyPr/>
          <a:lstStyle>
            <a:lvl1pPr marL="0" indent="0" algn="ctr">
              <a:buFontTx/>
              <a:buNone/>
              <a:defRPr b="1"/>
            </a:lvl1pPr>
          </a:lstStyle>
          <a:p>
            <a:pPr lvl="0"/>
            <a:r>
              <a:rPr lang="en-US"/>
              <a:t>Name</a:t>
            </a:r>
          </a:p>
          <a:p>
            <a:pPr lvl="0"/>
            <a:endParaRPr lang="en-US"/>
          </a:p>
        </p:txBody>
      </p:sp>
      <p:sp>
        <p:nvSpPr>
          <p:cNvPr id="23" name="Text Placeholder 15">
            <a:extLst>
              <a:ext uri="{FF2B5EF4-FFF2-40B4-BE49-F238E27FC236}">
                <a16:creationId xmlns:a16="http://schemas.microsoft.com/office/drawing/2014/main" id="{AB0A737E-927A-4B0D-9099-B124AAF93530}"/>
              </a:ext>
            </a:extLst>
          </p:cNvPr>
          <p:cNvSpPr>
            <a:spLocks noGrp="1"/>
          </p:cNvSpPr>
          <p:nvPr>
            <p:ph type="body" sz="quarter" idx="14" hasCustomPrompt="1"/>
          </p:nvPr>
        </p:nvSpPr>
        <p:spPr>
          <a:xfrm>
            <a:off x="6313720"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3" name="Footer Placeholder 1">
            <a:extLst>
              <a:ext uri="{FF2B5EF4-FFF2-40B4-BE49-F238E27FC236}">
                <a16:creationId xmlns:a16="http://schemas.microsoft.com/office/drawing/2014/main" id="{0A306CEA-3184-F441-C591-06FC02087DC3}"/>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55129871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Title &amp; Bullets">
    <p:bg>
      <p:bgPr>
        <a:solidFill>
          <a:srgbClr val="FFFFFF"/>
        </a:solidFill>
        <a:effectLst/>
      </p:bgPr>
    </p:bg>
    <p:spTree>
      <p:nvGrpSpPr>
        <p:cNvPr id="1" name=""/>
        <p:cNvGrpSpPr/>
        <p:nvPr/>
      </p:nvGrpSpPr>
      <p:grpSpPr>
        <a:xfrm>
          <a:off x="0" y="0"/>
          <a:ext cx="0" cy="0"/>
          <a:chOff x="0" y="0"/>
          <a:chExt cx="0" cy="0"/>
        </a:xfrm>
      </p:grpSpPr>
      <p:sp>
        <p:nvSpPr>
          <p:cNvPr id="184" name="Title Text"/>
          <p:cNvSpPr txBox="1">
            <a:spLocks noGrp="1"/>
          </p:cNvSpPr>
          <p:nvPr>
            <p:ph type="title"/>
          </p:nvPr>
        </p:nvSpPr>
        <p:spPr>
          <a:xfrm>
            <a:off x="892967" y="178592"/>
            <a:ext cx="10406067" cy="1518050"/>
          </a:xfrm>
          <a:prstGeom prst="rect">
            <a:avLst/>
          </a:prstGeom>
        </p:spPr>
        <p:txBody>
          <a:bodyPr lIns="35716" tIns="35716" rIns="35716" bIns="35716"/>
          <a:lstStyle>
            <a:lvl1pPr defTabSz="410763">
              <a:defRPr sz="5600" b="1">
                <a:solidFill>
                  <a:srgbClr val="3378AE"/>
                </a:solidFill>
                <a:latin typeface="Avenir Next"/>
                <a:ea typeface="Avenir Next"/>
                <a:cs typeface="Avenir Next"/>
                <a:sym typeface="Avenir Next"/>
              </a:defRPr>
            </a:lvl1pPr>
          </a:lstStyle>
          <a:p>
            <a:r>
              <a:t>Title Text</a:t>
            </a:r>
          </a:p>
        </p:txBody>
      </p:sp>
      <p:sp>
        <p:nvSpPr>
          <p:cNvPr id="185" name="Body Level One…"/>
          <p:cNvSpPr txBox="1">
            <a:spLocks noGrp="1"/>
          </p:cNvSpPr>
          <p:nvPr>
            <p:ph type="body" idx="1"/>
          </p:nvPr>
        </p:nvSpPr>
        <p:spPr>
          <a:xfrm>
            <a:off x="892967" y="1821657"/>
            <a:ext cx="10406067" cy="4420197"/>
          </a:xfrm>
          <a:prstGeom prst="rect">
            <a:avLst/>
          </a:prstGeom>
        </p:spPr>
        <p:txBody>
          <a:bodyPr lIns="35716" tIns="35716" rIns="35716" bIns="35716" anchor="ctr"/>
          <a:lstStyle>
            <a:lvl1pPr marL="305592" indent="-305592" defTabSz="410763">
              <a:spcBef>
                <a:spcPts val="2900"/>
              </a:spcBef>
              <a:buClrTx/>
              <a:buSzPct val="145000"/>
              <a:buFontTx/>
              <a:defRPr>
                <a:solidFill>
                  <a:srgbClr val="000000"/>
                </a:solidFill>
                <a:latin typeface="Avenir Next"/>
                <a:ea typeface="Avenir Next"/>
                <a:cs typeface="Avenir Next"/>
                <a:sym typeface="Avenir Next"/>
              </a:defRPr>
            </a:lvl1pPr>
            <a:lvl2pPr marL="750093" indent="-305593" defTabSz="410763">
              <a:spcBef>
                <a:spcPts val="2900"/>
              </a:spcBef>
              <a:buClrTx/>
              <a:buSzPct val="145000"/>
              <a:buFontTx/>
              <a:defRPr>
                <a:solidFill>
                  <a:srgbClr val="000000"/>
                </a:solidFill>
                <a:latin typeface="Avenir Next"/>
                <a:ea typeface="Avenir Next"/>
                <a:cs typeface="Avenir Next"/>
                <a:sym typeface="Avenir Next"/>
              </a:defRPr>
            </a:lvl2pPr>
            <a:lvl3pPr marL="1194592" indent="-305592" defTabSz="410763">
              <a:spcBef>
                <a:spcPts val="2900"/>
              </a:spcBef>
              <a:buClrTx/>
              <a:buSzPct val="145000"/>
              <a:buFontTx/>
              <a:defRPr>
                <a:solidFill>
                  <a:srgbClr val="000000"/>
                </a:solidFill>
                <a:latin typeface="Avenir Next"/>
                <a:ea typeface="Avenir Next"/>
                <a:cs typeface="Avenir Next"/>
                <a:sym typeface="Avenir Next"/>
              </a:defRPr>
            </a:lvl3pPr>
            <a:lvl4pPr marL="1639092" indent="-305592" defTabSz="410763">
              <a:spcBef>
                <a:spcPts val="2900"/>
              </a:spcBef>
              <a:buClrTx/>
              <a:buSzPct val="145000"/>
              <a:buFontTx/>
              <a:defRPr>
                <a:solidFill>
                  <a:srgbClr val="000000"/>
                </a:solidFill>
                <a:latin typeface="Avenir Next"/>
                <a:ea typeface="Avenir Next"/>
                <a:cs typeface="Avenir Next"/>
                <a:sym typeface="Avenir Next"/>
              </a:defRPr>
            </a:lvl4pPr>
            <a:lvl5pPr marL="2083592" indent="-305592" defTabSz="410763">
              <a:spcBef>
                <a:spcPts val="2900"/>
              </a:spcBef>
              <a:buClrTx/>
              <a:buSzPct val="145000"/>
              <a:buFontTx/>
              <a:defRPr>
                <a:solidFill>
                  <a:srgbClr val="000000"/>
                </a:solid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186" name="Slide Number"/>
          <p:cNvSpPr txBox="1">
            <a:spLocks noGrp="1"/>
          </p:cNvSpPr>
          <p:nvPr>
            <p:ph type="sldNum" sz="quarter" idx="2"/>
          </p:nvPr>
        </p:nvSpPr>
        <p:spPr>
          <a:xfrm>
            <a:off x="5933173" y="6536531"/>
            <a:ext cx="319305" cy="232480"/>
          </a:xfrm>
          <a:prstGeom prst="rect">
            <a:avLst/>
          </a:prstGeom>
        </p:spPr>
        <p:txBody>
          <a:bodyPr lIns="35716" tIns="35716" rIns="35716" bIns="35716" anchor="t"/>
          <a:lstStyle>
            <a:lvl1pPr algn="ctr" defTabSz="410763">
              <a:defRPr>
                <a:solidFill>
                  <a:srgbClr val="000000"/>
                </a:solidFill>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327251127"/>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1190.004\678197(pptx)-E2 5-9-24</a:t>
            </a:r>
          </a:p>
        </p:txBody>
      </p:sp>
      <p:sp>
        <p:nvSpPr>
          <p:cNvPr id="4" name="Slide Number Placeholder 3"/>
          <p:cNvSpPr>
            <a:spLocks noGrp="1"/>
          </p:cNvSpPr>
          <p:nvPr>
            <p:ph type="sldNum" sz="quarter" idx="12"/>
          </p:nvPr>
        </p:nvSpPr>
        <p:spPr>
          <a:xfrm>
            <a:off x="11551790" y="6647585"/>
            <a:ext cx="430306" cy="187036"/>
          </a:xfrm>
          <a:prstGeom prst="rect">
            <a:avLst/>
          </a:prstGeom>
        </p:spPr>
        <p:txBody>
          <a:bodyPr/>
          <a:lstStyle/>
          <a:p>
            <a:fld id="{4FE2E287-E16C-4B0B-8A00-FDDD33EA5E69}" type="slidenum">
              <a:rPr lang="en-US" smtClean="0"/>
              <a:t>‹#›</a:t>
            </a:fld>
            <a:endParaRPr lang="en-US" dirty="0"/>
          </a:p>
        </p:txBody>
      </p:sp>
    </p:spTree>
    <p:extLst>
      <p:ext uri="{BB962C8B-B14F-4D97-AF65-F5344CB8AC3E}">
        <p14:creationId xmlns:p14="http://schemas.microsoft.com/office/powerpoint/2010/main" val="29465920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1">
    <p:spTree>
      <p:nvGrpSpPr>
        <p:cNvPr id="1" name=""/>
        <p:cNvGrpSpPr/>
        <p:nvPr/>
      </p:nvGrpSpPr>
      <p:grpSpPr>
        <a:xfrm>
          <a:off x="0" y="0"/>
          <a:ext cx="0" cy="0"/>
          <a:chOff x="0" y="0"/>
          <a:chExt cx="0" cy="0"/>
        </a:xfrm>
      </p:grpSpPr>
      <p:pic>
        <p:nvPicPr>
          <p:cNvPr id="9" name="Logo 8">
            <a:extLst>
              <a:ext uri="{FF2B5EF4-FFF2-40B4-BE49-F238E27FC236}">
                <a16:creationId xmlns:a16="http://schemas.microsoft.com/office/drawing/2014/main" id="{4A12B0A9-B752-4248-B2E5-74FCF6A8691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2920" y="640080"/>
            <a:ext cx="6446520" cy="414192"/>
          </a:xfrm>
          <a:prstGeom prst="rect">
            <a:avLst/>
          </a:prstGeom>
        </p:spPr>
      </p:pic>
      <p:sp>
        <p:nvSpPr>
          <p:cNvPr id="2" name="Title 1">
            <a:extLst>
              <a:ext uri="{FF2B5EF4-FFF2-40B4-BE49-F238E27FC236}">
                <a16:creationId xmlns:a16="http://schemas.microsoft.com/office/drawing/2014/main" id="{AD274CDE-E6C8-4359-8AED-3F32894A5701}"/>
              </a:ext>
            </a:extLst>
          </p:cNvPr>
          <p:cNvSpPr>
            <a:spLocks noGrp="1"/>
          </p:cNvSpPr>
          <p:nvPr>
            <p:ph type="ctrTitle" hasCustomPrompt="1"/>
          </p:nvPr>
        </p:nvSpPr>
        <p:spPr>
          <a:xfrm>
            <a:off x="502920" y="1554480"/>
            <a:ext cx="8595360" cy="2286000"/>
          </a:xfrm>
        </p:spPr>
        <p:txBody>
          <a:bodyPr anchor="b"/>
          <a:lstStyle>
            <a:lvl1pPr algn="l">
              <a:defRPr sz="6000" b="0">
                <a:solidFill>
                  <a:schemeClr val="accent3"/>
                </a:solidFill>
              </a:defRPr>
            </a:lvl1pPr>
          </a:lstStyle>
          <a:p>
            <a:r>
              <a:rPr lang="en-US"/>
              <a:t>Presentation title, 60pt</a:t>
            </a:r>
          </a:p>
        </p:txBody>
      </p:sp>
      <p:sp>
        <p:nvSpPr>
          <p:cNvPr id="3" name="Subtitle 2">
            <a:extLst>
              <a:ext uri="{FF2B5EF4-FFF2-40B4-BE49-F238E27FC236}">
                <a16:creationId xmlns:a16="http://schemas.microsoft.com/office/drawing/2014/main" id="{700E92F1-B1A6-4F97-A5D2-4B0C71E307E0}"/>
              </a:ext>
            </a:extLst>
          </p:cNvPr>
          <p:cNvSpPr>
            <a:spLocks noGrp="1"/>
          </p:cNvSpPr>
          <p:nvPr>
            <p:ph type="subTitle" idx="1" hasCustomPrompt="1"/>
          </p:nvPr>
        </p:nvSpPr>
        <p:spPr>
          <a:xfrm>
            <a:off x="502920" y="4206240"/>
            <a:ext cx="8595360" cy="1655762"/>
          </a:xfrm>
        </p:spPr>
        <p:txBody>
          <a:bodyPr/>
          <a:lstStyle>
            <a:lvl1pPr marL="0" indent="0" algn="l">
              <a:buNone/>
              <a:defRPr sz="28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28pt</a:t>
            </a:r>
          </a:p>
        </p:txBody>
      </p:sp>
      <p:sp>
        <p:nvSpPr>
          <p:cNvPr id="7" name="Rectangle 6">
            <a:extLst>
              <a:ext uri="{FF2B5EF4-FFF2-40B4-BE49-F238E27FC236}">
                <a16:creationId xmlns:a16="http://schemas.microsoft.com/office/drawing/2014/main" id="{901448AB-CA22-42D4-9FEF-EDC189921065}"/>
              </a:ext>
              <a:ext uri="{C183D7F6-B498-43B3-948B-1728B52AA6E4}">
                <adec:decorative xmlns:adec="http://schemas.microsoft.com/office/drawing/2017/decorative" val="1"/>
              </a:ext>
            </a:extLst>
          </p:cNvPr>
          <p:cNvSpPr/>
          <p:nvPr userDrawn="1"/>
        </p:nvSpPr>
        <p:spPr bwMode="ltGray">
          <a:xfrm>
            <a:off x="9417466" y="0"/>
            <a:ext cx="226481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EA5055E9-B7CB-464C-A979-CA52003FE3F4}"/>
              </a:ext>
              <a:ext uri="{C183D7F6-B498-43B3-948B-1728B52AA6E4}">
                <adec:decorative xmlns:adec="http://schemas.microsoft.com/office/drawing/2017/decorative" val="1"/>
              </a:ext>
            </a:extLst>
          </p:cNvPr>
          <p:cNvSpPr/>
          <p:nvPr userDrawn="1"/>
        </p:nvSpPr>
        <p:spPr>
          <a:xfrm>
            <a:off x="11679936" y="0"/>
            <a:ext cx="51206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Tree>
    <p:extLst>
      <p:ext uri="{BB962C8B-B14F-4D97-AF65-F5344CB8AC3E}">
        <p14:creationId xmlns:p14="http://schemas.microsoft.com/office/powerpoint/2010/main" val="90741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5" name="Logo 1">
            <a:extLst>
              <a:ext uri="{FF2B5EF4-FFF2-40B4-BE49-F238E27FC236}">
                <a16:creationId xmlns:a16="http://schemas.microsoft.com/office/drawing/2014/main" id="{41A2EC88-CC7F-42B3-9330-9474D60ECAA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5026" y="402336"/>
            <a:ext cx="1938528" cy="1122731"/>
          </a:xfrm>
          <a:prstGeom prst="rect">
            <a:avLst/>
          </a:prstGeom>
        </p:spPr>
      </p:pic>
      <p:sp>
        <p:nvSpPr>
          <p:cNvPr id="10" name="Rectangle 9">
            <a:extLst>
              <a:ext uri="{FF2B5EF4-FFF2-40B4-BE49-F238E27FC236}">
                <a16:creationId xmlns:a16="http://schemas.microsoft.com/office/drawing/2014/main" id="{253F7CA7-0BAF-4FA0-98F8-6505F041AB0C}"/>
              </a:ext>
              <a:ext uri="{C183D7F6-B498-43B3-948B-1728B52AA6E4}">
                <adec:decorative xmlns:adec="http://schemas.microsoft.com/office/drawing/2017/decorative" val="1"/>
              </a:ext>
            </a:extLst>
          </p:cNvPr>
          <p:cNvSpPr/>
          <p:nvPr userDrawn="1"/>
        </p:nvSpPr>
        <p:spPr bwMode="ltGray">
          <a:xfrm>
            <a:off x="0" y="2003427"/>
            <a:ext cx="7772400" cy="3383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11" name="Rectangle 10">
            <a:extLst>
              <a:ext uri="{FF2B5EF4-FFF2-40B4-BE49-F238E27FC236}">
                <a16:creationId xmlns:a16="http://schemas.microsoft.com/office/drawing/2014/main" id="{2B885808-FBB4-4040-8A29-23DA91559F11}"/>
              </a:ext>
              <a:ext uri="{C183D7F6-B498-43B3-948B-1728B52AA6E4}">
                <adec:decorative xmlns:adec="http://schemas.microsoft.com/office/drawing/2017/decorative" val="1"/>
              </a:ext>
            </a:extLst>
          </p:cNvPr>
          <p:cNvSpPr/>
          <p:nvPr userDrawn="1"/>
        </p:nvSpPr>
        <p:spPr>
          <a:xfrm>
            <a:off x="11679936" y="2003427"/>
            <a:ext cx="512064" cy="3383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2" name="Title 2">
            <a:extLst>
              <a:ext uri="{FF2B5EF4-FFF2-40B4-BE49-F238E27FC236}">
                <a16:creationId xmlns:a16="http://schemas.microsoft.com/office/drawing/2014/main" id="{AD274CDE-E6C8-4359-8AED-3F32894A5701}"/>
              </a:ext>
            </a:extLst>
          </p:cNvPr>
          <p:cNvSpPr>
            <a:spLocks noGrp="1"/>
          </p:cNvSpPr>
          <p:nvPr>
            <p:ph type="ctrTitle" hasCustomPrompt="1"/>
          </p:nvPr>
        </p:nvSpPr>
        <p:spPr bwMode="white">
          <a:xfrm>
            <a:off x="502920" y="2471176"/>
            <a:ext cx="6675120" cy="1463040"/>
          </a:xfrm>
        </p:spPr>
        <p:txBody>
          <a:bodyPr anchor="b"/>
          <a:lstStyle>
            <a:lvl1pPr algn="l">
              <a:defRPr sz="4800" b="0">
                <a:solidFill>
                  <a:schemeClr val="bg1"/>
                </a:solidFill>
              </a:defRPr>
            </a:lvl1pPr>
          </a:lstStyle>
          <a:p>
            <a:r>
              <a:rPr lang="en-US"/>
              <a:t>Presentation title, 48pt</a:t>
            </a:r>
          </a:p>
        </p:txBody>
      </p:sp>
      <p:sp>
        <p:nvSpPr>
          <p:cNvPr id="3" name="Subtitle 2">
            <a:extLst>
              <a:ext uri="{FF2B5EF4-FFF2-40B4-BE49-F238E27FC236}">
                <a16:creationId xmlns:a16="http://schemas.microsoft.com/office/drawing/2014/main" id="{700E92F1-B1A6-4F97-A5D2-4B0C71E307E0}"/>
              </a:ext>
            </a:extLst>
          </p:cNvPr>
          <p:cNvSpPr>
            <a:spLocks noGrp="1"/>
          </p:cNvSpPr>
          <p:nvPr>
            <p:ph type="subTitle" idx="1" hasCustomPrompt="1"/>
          </p:nvPr>
        </p:nvSpPr>
        <p:spPr bwMode="white">
          <a:xfrm>
            <a:off x="502920" y="4071376"/>
            <a:ext cx="6675120" cy="914400"/>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24pt</a:t>
            </a:r>
          </a:p>
        </p:txBody>
      </p:sp>
      <p:sp>
        <p:nvSpPr>
          <p:cNvPr id="12" name="Picture 4">
            <a:extLst>
              <a:ext uri="{FF2B5EF4-FFF2-40B4-BE49-F238E27FC236}">
                <a16:creationId xmlns:a16="http://schemas.microsoft.com/office/drawing/2014/main" id="{27DBDCA7-20B7-40C1-8FEE-D3C1CCAEF3FD}"/>
              </a:ext>
            </a:extLst>
          </p:cNvPr>
          <p:cNvSpPr>
            <a:spLocks noGrp="1"/>
          </p:cNvSpPr>
          <p:nvPr>
            <p:ph type="pic" sz="quarter" idx="10" hasCustomPrompt="1"/>
          </p:nvPr>
        </p:nvSpPr>
        <p:spPr>
          <a:xfrm>
            <a:off x="7751035" y="2003425"/>
            <a:ext cx="3938045" cy="3383280"/>
          </a:xfrm>
          <a:prstGeom prst="rect">
            <a:avLst/>
          </a:prstGeom>
          <a:pattFill prst="wdUpDiag">
            <a:fgClr>
              <a:schemeClr val="bg1">
                <a:lumMod val="95000"/>
              </a:schemeClr>
            </a:fgClr>
            <a:bgClr>
              <a:schemeClr val="bg1">
                <a:lumMod val="85000"/>
              </a:schemeClr>
            </a:bgClr>
          </a:pattFill>
        </p:spPr>
        <p:txBody>
          <a:bodyPr lIns="274320" tIns="274320" rIns="822960" bIns="91440"/>
          <a:lstStyle>
            <a:lvl1pPr marL="0" indent="0">
              <a:lnSpc>
                <a:spcPct val="100000"/>
              </a:lnSpc>
              <a:buNone/>
              <a:defRPr>
                <a:solidFill>
                  <a:schemeClr val="tx1"/>
                </a:solidFill>
                <a:latin typeface="+mn-lt"/>
              </a:defRPr>
            </a:lvl1pPr>
          </a:lstStyle>
          <a:p>
            <a:r>
              <a:rPr lang="en-GB"/>
              <a:t>Drag picture to placeholder or click icon to add</a:t>
            </a:r>
            <a:endParaRPr lang="en-US"/>
          </a:p>
        </p:txBody>
      </p:sp>
    </p:spTree>
    <p:extLst>
      <p:ext uri="{BB962C8B-B14F-4D97-AF65-F5344CB8AC3E}">
        <p14:creationId xmlns:p14="http://schemas.microsoft.com/office/powerpoint/2010/main" val="37325028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5" name="Logo 4">
            <a:extLst>
              <a:ext uri="{FF2B5EF4-FFF2-40B4-BE49-F238E27FC236}">
                <a16:creationId xmlns:a16="http://schemas.microsoft.com/office/drawing/2014/main" id="{41A2EC88-CC7F-42B3-9330-9474D60ECAA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70310" y="402336"/>
            <a:ext cx="1938528" cy="1122731"/>
          </a:xfrm>
          <a:prstGeom prst="rect">
            <a:avLst/>
          </a:prstGeom>
        </p:spPr>
      </p:pic>
      <p:sp>
        <p:nvSpPr>
          <p:cNvPr id="2" name="Title 1">
            <a:extLst>
              <a:ext uri="{FF2B5EF4-FFF2-40B4-BE49-F238E27FC236}">
                <a16:creationId xmlns:a16="http://schemas.microsoft.com/office/drawing/2014/main" id="{AD274CDE-E6C8-4359-8AED-3F32894A5701}"/>
              </a:ext>
            </a:extLst>
          </p:cNvPr>
          <p:cNvSpPr>
            <a:spLocks noGrp="1"/>
          </p:cNvSpPr>
          <p:nvPr>
            <p:ph type="ctrTitle" hasCustomPrompt="1"/>
          </p:nvPr>
        </p:nvSpPr>
        <p:spPr>
          <a:xfrm>
            <a:off x="502920" y="201168"/>
            <a:ext cx="7726680" cy="1005840"/>
          </a:xfrm>
        </p:spPr>
        <p:txBody>
          <a:bodyPr anchor="b"/>
          <a:lstStyle>
            <a:lvl1pPr algn="l">
              <a:defRPr sz="4800" b="0">
                <a:solidFill>
                  <a:schemeClr val="accent3"/>
                </a:solidFill>
              </a:defRPr>
            </a:lvl1pPr>
          </a:lstStyle>
          <a:p>
            <a:r>
              <a:rPr lang="en-US"/>
              <a:t>Presentation title, 48pt</a:t>
            </a:r>
          </a:p>
        </p:txBody>
      </p:sp>
      <p:sp>
        <p:nvSpPr>
          <p:cNvPr id="3" name="Subtitle 2">
            <a:extLst>
              <a:ext uri="{FF2B5EF4-FFF2-40B4-BE49-F238E27FC236}">
                <a16:creationId xmlns:a16="http://schemas.microsoft.com/office/drawing/2014/main" id="{700E92F1-B1A6-4F97-A5D2-4B0C71E307E0}"/>
              </a:ext>
            </a:extLst>
          </p:cNvPr>
          <p:cNvSpPr>
            <a:spLocks noGrp="1"/>
          </p:cNvSpPr>
          <p:nvPr>
            <p:ph type="subTitle" idx="1" hasCustomPrompt="1"/>
          </p:nvPr>
        </p:nvSpPr>
        <p:spPr>
          <a:xfrm>
            <a:off x="502920" y="1325880"/>
            <a:ext cx="7726680" cy="548640"/>
          </a:xfrm>
        </p:spPr>
        <p:txBody>
          <a:bodyPr/>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24pt</a:t>
            </a:r>
          </a:p>
        </p:txBody>
      </p:sp>
      <p:sp>
        <p:nvSpPr>
          <p:cNvPr id="8" name="Rectangle 7">
            <a:extLst>
              <a:ext uri="{FF2B5EF4-FFF2-40B4-BE49-F238E27FC236}">
                <a16:creationId xmlns:a16="http://schemas.microsoft.com/office/drawing/2014/main" id="{665E61B5-4F9B-4B03-95BF-1E9CE38648D8}"/>
              </a:ext>
              <a:ext uri="{C183D7F6-B498-43B3-948B-1728B52AA6E4}">
                <adec:decorative xmlns:adec="http://schemas.microsoft.com/office/drawing/2017/decorative" val="1"/>
              </a:ext>
            </a:extLst>
          </p:cNvPr>
          <p:cNvSpPr/>
          <p:nvPr userDrawn="1"/>
        </p:nvSpPr>
        <p:spPr bwMode="ltGray">
          <a:xfrm>
            <a:off x="9407231" y="2101034"/>
            <a:ext cx="2784770" cy="4203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9" name="Rectangle 8">
            <a:extLst>
              <a:ext uri="{FF2B5EF4-FFF2-40B4-BE49-F238E27FC236}">
                <a16:creationId xmlns:a16="http://schemas.microsoft.com/office/drawing/2014/main" id="{197E04D3-8490-4161-A89F-BB103BEA7666}"/>
              </a:ext>
              <a:ext uri="{C183D7F6-B498-43B3-948B-1728B52AA6E4}">
                <adec:decorative xmlns:adec="http://schemas.microsoft.com/office/drawing/2017/decorative" val="1"/>
              </a:ext>
            </a:extLst>
          </p:cNvPr>
          <p:cNvSpPr/>
          <p:nvPr userDrawn="1"/>
        </p:nvSpPr>
        <p:spPr bwMode="ltGray">
          <a:xfrm>
            <a:off x="8819530" y="2101034"/>
            <a:ext cx="640080" cy="42037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12" name="Picture 4">
            <a:extLst>
              <a:ext uri="{FF2B5EF4-FFF2-40B4-BE49-F238E27FC236}">
                <a16:creationId xmlns:a16="http://schemas.microsoft.com/office/drawing/2014/main" id="{27DBDCA7-20B7-40C1-8FEE-D3C1CCAEF3FD}"/>
              </a:ext>
            </a:extLst>
          </p:cNvPr>
          <p:cNvSpPr>
            <a:spLocks noGrp="1"/>
          </p:cNvSpPr>
          <p:nvPr>
            <p:ph type="pic" sz="quarter" idx="10" hasCustomPrompt="1"/>
          </p:nvPr>
        </p:nvSpPr>
        <p:spPr>
          <a:xfrm>
            <a:off x="-1" y="2103120"/>
            <a:ext cx="8869680" cy="4206240"/>
          </a:xfrm>
          <a:prstGeom prst="rect">
            <a:avLst/>
          </a:prstGeom>
          <a:pattFill prst="wdUpDiag">
            <a:fgClr>
              <a:schemeClr val="bg1">
                <a:lumMod val="95000"/>
              </a:schemeClr>
            </a:fgClr>
            <a:bgClr>
              <a:schemeClr val="bg1">
                <a:lumMod val="85000"/>
              </a:schemeClr>
            </a:bgClr>
          </a:pattFill>
        </p:spPr>
        <p:txBody>
          <a:bodyPr lIns="274320" tIns="274320" rIns="822960" bIns="91440"/>
          <a:lstStyle>
            <a:lvl1pPr marL="0" indent="0">
              <a:lnSpc>
                <a:spcPct val="100000"/>
              </a:lnSpc>
              <a:buNone/>
              <a:defRPr b="0">
                <a:solidFill>
                  <a:schemeClr val="tx1"/>
                </a:solidFill>
                <a:latin typeface="+mn-lt"/>
              </a:defRPr>
            </a:lvl1pPr>
          </a:lstStyle>
          <a:p>
            <a:r>
              <a:rPr lang="en-GB"/>
              <a:t>Drag picture to placeholder or click icon to add</a:t>
            </a:r>
            <a:endParaRPr lang="en-US"/>
          </a:p>
        </p:txBody>
      </p:sp>
    </p:spTree>
    <p:extLst>
      <p:ext uri="{BB962C8B-B14F-4D97-AF65-F5344CB8AC3E}">
        <p14:creationId xmlns:p14="http://schemas.microsoft.com/office/powerpoint/2010/main" val="10878224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 HB-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140719-18DD-434C-B7BE-F4F4113EC537}"/>
              </a:ext>
              <a:ext uri="{C183D7F6-B498-43B3-948B-1728B52AA6E4}">
                <adec:decorative xmlns:adec="http://schemas.microsoft.com/office/drawing/2017/decorative" val="1"/>
              </a:ext>
            </a:extLst>
          </p:cNvPr>
          <p:cNvSpPr/>
          <p:nvPr userDrawn="1"/>
        </p:nvSpPr>
        <p:spPr>
          <a:xfrm>
            <a:off x="0" y="0"/>
            <a:ext cx="5120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154FF6FC-5305-490F-973C-B1027157063F}"/>
              </a:ext>
              <a:ext uri="{C183D7F6-B498-43B3-948B-1728B52AA6E4}">
                <adec:decorative xmlns:adec="http://schemas.microsoft.com/office/drawing/2017/decorative" val="1"/>
              </a:ext>
            </a:extLst>
          </p:cNvPr>
          <p:cNvSpPr/>
          <p:nvPr userDrawn="1"/>
        </p:nvSpPr>
        <p:spPr>
          <a:xfrm>
            <a:off x="11101516" y="0"/>
            <a:ext cx="1090484" cy="68579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4ED0C-36C2-48B7-98E5-0119572A988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BC1D4CCF-E7A0-44B0-A51B-A0DB82CA5740}"/>
              </a:ext>
            </a:extLst>
          </p:cNvPr>
          <p:cNvSpPr>
            <a:spLocks noGrp="1"/>
          </p:cNvSpPr>
          <p:nvPr>
            <p:ph type="title" hasCustomPrompt="1"/>
          </p:nvPr>
        </p:nvSpPr>
        <p:spPr>
          <a:xfrm>
            <a:off x="1088136" y="1326382"/>
            <a:ext cx="9445752" cy="4205236"/>
          </a:xfrm>
        </p:spPr>
        <p:txBody>
          <a:bodyPr anchor="ctr"/>
          <a:lstStyle>
            <a:lvl1pPr>
              <a:defRPr sz="6600" b="0">
                <a:solidFill>
                  <a:schemeClr val="accent1"/>
                </a:solidFill>
              </a:defRPr>
            </a:lvl1pPr>
          </a:lstStyle>
          <a:p>
            <a:r>
              <a:rPr lang="en-US"/>
              <a:t>Section divider, 66pt</a:t>
            </a:r>
          </a:p>
        </p:txBody>
      </p:sp>
      <p:pic>
        <p:nvPicPr>
          <p:cNvPr id="6" name="Logo 5">
            <a:extLst>
              <a:ext uri="{FF2B5EF4-FFF2-40B4-BE49-F238E27FC236}">
                <a16:creationId xmlns:a16="http://schemas.microsoft.com/office/drawing/2014/main" id="{67B8BACB-FF23-4561-BD06-02CE46D5B17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264" y="5797296"/>
            <a:ext cx="5486400" cy="352504"/>
          </a:xfrm>
          <a:prstGeom prst="rect">
            <a:avLst/>
          </a:prstGeom>
        </p:spPr>
      </p:pic>
    </p:spTree>
    <p:extLst>
      <p:ext uri="{BB962C8B-B14F-4D97-AF65-F5344CB8AC3E}">
        <p14:creationId xmlns:p14="http://schemas.microsoft.com/office/powerpoint/2010/main" val="20431771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 BB-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140719-18DD-434C-B7BE-F4F4113EC537}"/>
              </a:ext>
              <a:ext uri="{C183D7F6-B498-43B3-948B-1728B52AA6E4}">
                <adec:decorative xmlns:adec="http://schemas.microsoft.com/office/drawing/2017/decorative" val="1"/>
              </a:ext>
            </a:extLst>
          </p:cNvPr>
          <p:cNvSpPr/>
          <p:nvPr userDrawn="1"/>
        </p:nvSpPr>
        <p:spPr bwMode="ltGray">
          <a:xfrm>
            <a:off x="0" y="0"/>
            <a:ext cx="512064"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154FF6FC-5305-490F-973C-B1027157063F}"/>
              </a:ext>
              <a:ext uri="{C183D7F6-B498-43B3-948B-1728B52AA6E4}">
                <adec:decorative xmlns:adec="http://schemas.microsoft.com/office/drawing/2017/decorative" val="1"/>
              </a:ext>
            </a:extLst>
          </p:cNvPr>
          <p:cNvSpPr/>
          <p:nvPr userDrawn="1"/>
        </p:nvSpPr>
        <p:spPr bwMode="ltGray">
          <a:xfrm>
            <a:off x="11103864" y="0"/>
            <a:ext cx="1090484"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4ED0C-36C2-48B7-98E5-0119572A988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BC1D4CCF-E7A0-44B0-A51B-A0DB82CA5740}"/>
              </a:ext>
            </a:extLst>
          </p:cNvPr>
          <p:cNvSpPr>
            <a:spLocks noGrp="1"/>
          </p:cNvSpPr>
          <p:nvPr>
            <p:ph type="title" hasCustomPrompt="1"/>
          </p:nvPr>
        </p:nvSpPr>
        <p:spPr>
          <a:xfrm>
            <a:off x="1088136" y="1325880"/>
            <a:ext cx="9445752" cy="4206240"/>
          </a:xfrm>
        </p:spPr>
        <p:txBody>
          <a:bodyPr anchor="ctr"/>
          <a:lstStyle>
            <a:lvl1pPr>
              <a:defRPr sz="6600" b="0">
                <a:solidFill>
                  <a:schemeClr val="accent1"/>
                </a:solidFill>
              </a:defRPr>
            </a:lvl1pPr>
          </a:lstStyle>
          <a:p>
            <a:r>
              <a:rPr lang="en-US"/>
              <a:t>Section divider, 66pt</a:t>
            </a:r>
          </a:p>
        </p:txBody>
      </p:sp>
      <p:pic>
        <p:nvPicPr>
          <p:cNvPr id="10" name="Logo 5">
            <a:extLst>
              <a:ext uri="{FF2B5EF4-FFF2-40B4-BE49-F238E27FC236}">
                <a16:creationId xmlns:a16="http://schemas.microsoft.com/office/drawing/2014/main" id="{ECD3FC1F-5480-400A-AF8B-951D6FFA3021}"/>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264" y="5797296"/>
            <a:ext cx="5486400" cy="352504"/>
          </a:xfrm>
          <a:prstGeom prst="rect">
            <a:avLst/>
          </a:prstGeom>
        </p:spPr>
      </p:pic>
    </p:spTree>
    <p:extLst>
      <p:ext uri="{BB962C8B-B14F-4D97-AF65-F5344CB8AC3E}">
        <p14:creationId xmlns:p14="http://schemas.microsoft.com/office/powerpoint/2010/main" val="4182095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62763747-8423-0952-B04B-3487132B6BFD}"/>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7CEAEC4F-35C4-9DE1-2574-63ECFCEEE129}"/>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4218582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div BB-rubin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140719-18DD-434C-B7BE-F4F4113EC537}"/>
              </a:ext>
              <a:ext uri="{C183D7F6-B498-43B3-948B-1728B52AA6E4}">
                <adec:decorative xmlns:adec="http://schemas.microsoft.com/office/drawing/2017/decorative" val="1"/>
              </a:ext>
            </a:extLst>
          </p:cNvPr>
          <p:cNvSpPr/>
          <p:nvPr userDrawn="1"/>
        </p:nvSpPr>
        <p:spPr bwMode="ltGray">
          <a:xfrm>
            <a:off x="0" y="0"/>
            <a:ext cx="512064"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154FF6FC-5305-490F-973C-B1027157063F}"/>
              </a:ext>
              <a:ext uri="{C183D7F6-B498-43B3-948B-1728B52AA6E4}">
                <adec:decorative xmlns:adec="http://schemas.microsoft.com/office/drawing/2017/decorative" val="1"/>
              </a:ext>
            </a:extLst>
          </p:cNvPr>
          <p:cNvSpPr/>
          <p:nvPr userDrawn="1"/>
        </p:nvSpPr>
        <p:spPr bwMode="ltGray">
          <a:xfrm>
            <a:off x="11101516" y="0"/>
            <a:ext cx="1090484"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4ED0C-36C2-48B7-98E5-0119572A988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BC1D4CCF-E7A0-44B0-A51B-A0DB82CA5740}"/>
              </a:ext>
            </a:extLst>
          </p:cNvPr>
          <p:cNvSpPr>
            <a:spLocks noGrp="1"/>
          </p:cNvSpPr>
          <p:nvPr>
            <p:ph type="title" hasCustomPrompt="1"/>
          </p:nvPr>
        </p:nvSpPr>
        <p:spPr>
          <a:xfrm>
            <a:off x="1088136" y="1325880"/>
            <a:ext cx="9445752" cy="4206240"/>
          </a:xfrm>
        </p:spPr>
        <p:txBody>
          <a:bodyPr anchor="ctr"/>
          <a:lstStyle>
            <a:lvl1pPr>
              <a:defRPr sz="6600" b="0">
                <a:solidFill>
                  <a:schemeClr val="accent1"/>
                </a:solidFill>
              </a:defRPr>
            </a:lvl1pPr>
          </a:lstStyle>
          <a:p>
            <a:r>
              <a:rPr lang="en-US"/>
              <a:t>Section divider, 66pt</a:t>
            </a:r>
          </a:p>
        </p:txBody>
      </p:sp>
      <p:pic>
        <p:nvPicPr>
          <p:cNvPr id="10" name="Logo 5">
            <a:extLst>
              <a:ext uri="{FF2B5EF4-FFF2-40B4-BE49-F238E27FC236}">
                <a16:creationId xmlns:a16="http://schemas.microsoft.com/office/drawing/2014/main" id="{398BFEA8-BB49-4AB3-8F03-436E537CA17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264" y="5797296"/>
            <a:ext cx="5486400" cy="352504"/>
          </a:xfrm>
          <a:prstGeom prst="rect">
            <a:avLst/>
          </a:prstGeom>
        </p:spPr>
      </p:pic>
    </p:spTree>
    <p:extLst>
      <p:ext uri="{BB962C8B-B14F-4D97-AF65-F5344CB8AC3E}">
        <p14:creationId xmlns:p14="http://schemas.microsoft.com/office/powerpoint/2010/main" val="6533429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div BB-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140719-18DD-434C-B7BE-F4F4113EC537}"/>
              </a:ext>
              <a:ext uri="{C183D7F6-B498-43B3-948B-1728B52AA6E4}">
                <adec:decorative xmlns:adec="http://schemas.microsoft.com/office/drawing/2017/decorative" val="1"/>
              </a:ext>
            </a:extLst>
          </p:cNvPr>
          <p:cNvSpPr/>
          <p:nvPr userDrawn="1"/>
        </p:nvSpPr>
        <p:spPr bwMode="ltGray">
          <a:xfrm>
            <a:off x="0" y="0"/>
            <a:ext cx="512064"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154FF6FC-5305-490F-973C-B1027157063F}"/>
              </a:ext>
              <a:ext uri="{C183D7F6-B498-43B3-948B-1728B52AA6E4}">
                <adec:decorative xmlns:adec="http://schemas.microsoft.com/office/drawing/2017/decorative" val="1"/>
              </a:ext>
            </a:extLst>
          </p:cNvPr>
          <p:cNvSpPr/>
          <p:nvPr userDrawn="1"/>
        </p:nvSpPr>
        <p:spPr bwMode="ltGray">
          <a:xfrm>
            <a:off x="11101516" y="0"/>
            <a:ext cx="1090484" cy="6857999"/>
          </a:xfrm>
          <a:prstGeom prst="rect">
            <a:avLst/>
          </a:prstGeom>
          <a:solidFill>
            <a:srgbClr val="FA55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4ED0C-36C2-48B7-98E5-0119572A988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BC1D4CCF-E7A0-44B0-A51B-A0DB82CA5740}"/>
              </a:ext>
            </a:extLst>
          </p:cNvPr>
          <p:cNvSpPr>
            <a:spLocks noGrp="1"/>
          </p:cNvSpPr>
          <p:nvPr>
            <p:ph type="title" hasCustomPrompt="1"/>
          </p:nvPr>
        </p:nvSpPr>
        <p:spPr>
          <a:xfrm>
            <a:off x="1088136" y="1325880"/>
            <a:ext cx="9445752" cy="4206240"/>
          </a:xfrm>
        </p:spPr>
        <p:txBody>
          <a:bodyPr anchor="ctr"/>
          <a:lstStyle>
            <a:lvl1pPr>
              <a:defRPr sz="6600" b="0">
                <a:solidFill>
                  <a:schemeClr val="accent1"/>
                </a:solidFill>
              </a:defRPr>
            </a:lvl1pPr>
          </a:lstStyle>
          <a:p>
            <a:r>
              <a:rPr lang="en-US"/>
              <a:t>Section divider, 66pt</a:t>
            </a:r>
          </a:p>
        </p:txBody>
      </p:sp>
      <p:pic>
        <p:nvPicPr>
          <p:cNvPr id="9" name="Logo 5">
            <a:extLst>
              <a:ext uri="{FF2B5EF4-FFF2-40B4-BE49-F238E27FC236}">
                <a16:creationId xmlns:a16="http://schemas.microsoft.com/office/drawing/2014/main" id="{CCD74D99-8D08-41AB-9BC7-2754C3880E6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264" y="5797296"/>
            <a:ext cx="5486400" cy="352504"/>
          </a:xfrm>
          <a:prstGeom prst="rect">
            <a:avLst/>
          </a:prstGeom>
        </p:spPr>
      </p:pic>
    </p:spTree>
    <p:extLst>
      <p:ext uri="{BB962C8B-B14F-4D97-AF65-F5344CB8AC3E}">
        <p14:creationId xmlns:p14="http://schemas.microsoft.com/office/powerpoint/2010/main" val="360051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div BB-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140719-18DD-434C-B7BE-F4F4113EC537}"/>
              </a:ext>
              <a:ext uri="{C183D7F6-B498-43B3-948B-1728B52AA6E4}">
                <adec:decorative xmlns:adec="http://schemas.microsoft.com/office/drawing/2017/decorative" val="1"/>
              </a:ext>
            </a:extLst>
          </p:cNvPr>
          <p:cNvSpPr/>
          <p:nvPr userDrawn="1"/>
        </p:nvSpPr>
        <p:spPr bwMode="ltGray">
          <a:xfrm>
            <a:off x="0" y="0"/>
            <a:ext cx="512064"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154FF6FC-5305-490F-973C-B1027157063F}"/>
              </a:ext>
              <a:ext uri="{C183D7F6-B498-43B3-948B-1728B52AA6E4}">
                <adec:decorative xmlns:adec="http://schemas.microsoft.com/office/drawing/2017/decorative" val="1"/>
              </a:ext>
            </a:extLst>
          </p:cNvPr>
          <p:cNvSpPr/>
          <p:nvPr userDrawn="1"/>
        </p:nvSpPr>
        <p:spPr bwMode="ltGray">
          <a:xfrm>
            <a:off x="11101516" y="0"/>
            <a:ext cx="1090484" cy="68579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4ED0C-36C2-48B7-98E5-0119572A988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BC1D4CCF-E7A0-44B0-A51B-A0DB82CA5740}"/>
              </a:ext>
            </a:extLst>
          </p:cNvPr>
          <p:cNvSpPr>
            <a:spLocks noGrp="1"/>
          </p:cNvSpPr>
          <p:nvPr>
            <p:ph type="title" hasCustomPrompt="1"/>
          </p:nvPr>
        </p:nvSpPr>
        <p:spPr>
          <a:xfrm>
            <a:off x="1088136" y="1325880"/>
            <a:ext cx="9445752" cy="4206240"/>
          </a:xfrm>
        </p:spPr>
        <p:txBody>
          <a:bodyPr anchor="ctr"/>
          <a:lstStyle>
            <a:lvl1pPr>
              <a:defRPr sz="6600" b="0">
                <a:solidFill>
                  <a:schemeClr val="accent1"/>
                </a:solidFill>
              </a:defRPr>
            </a:lvl1pPr>
          </a:lstStyle>
          <a:p>
            <a:r>
              <a:rPr lang="en-US"/>
              <a:t>Section divider, 66pt</a:t>
            </a:r>
          </a:p>
        </p:txBody>
      </p:sp>
      <p:pic>
        <p:nvPicPr>
          <p:cNvPr id="10" name="Logo 5">
            <a:extLst>
              <a:ext uri="{FF2B5EF4-FFF2-40B4-BE49-F238E27FC236}">
                <a16:creationId xmlns:a16="http://schemas.microsoft.com/office/drawing/2014/main" id="{C85B1DB7-2B75-4451-840C-B64F1BB8158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264" y="5797296"/>
            <a:ext cx="5486400" cy="352504"/>
          </a:xfrm>
          <a:prstGeom prst="rect">
            <a:avLst/>
          </a:prstGeom>
        </p:spPr>
      </p:pic>
    </p:spTree>
    <p:extLst>
      <p:ext uri="{BB962C8B-B14F-4D97-AF65-F5344CB8AC3E}">
        <p14:creationId xmlns:p14="http://schemas.microsoft.com/office/powerpoint/2010/main" val="16187296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B53B68-499E-42E3-A023-B1ABCB16FA2C}"/>
              </a:ext>
              <a:ext uri="{C183D7F6-B498-43B3-948B-1728B52AA6E4}">
                <adec:decorative xmlns:adec="http://schemas.microsoft.com/office/drawing/2017/decorative" val="1"/>
              </a:ext>
            </a:extLst>
          </p:cNvPr>
          <p:cNvSpPr/>
          <p:nvPr userDrawn="1"/>
        </p:nvSpPr>
        <p:spPr>
          <a:xfrm>
            <a:off x="6641239" y="0"/>
            <a:ext cx="512064" cy="6858000"/>
          </a:xfrm>
          <a:prstGeom prst="rect">
            <a:avLst/>
          </a:prstGeom>
          <a:solidFill>
            <a:srgbClr val="009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2" name="Title 1">
            <a:extLst>
              <a:ext uri="{FF2B5EF4-FFF2-40B4-BE49-F238E27FC236}">
                <a16:creationId xmlns:a16="http://schemas.microsoft.com/office/drawing/2014/main" id="{C12C1807-7CAA-4BAE-9BB1-01C5F51441AC}"/>
              </a:ext>
            </a:extLst>
          </p:cNvPr>
          <p:cNvSpPr>
            <a:spLocks noGrp="1"/>
          </p:cNvSpPr>
          <p:nvPr>
            <p:ph type="title" hasCustomPrompt="1"/>
          </p:nvPr>
        </p:nvSpPr>
        <p:spPr>
          <a:xfrm>
            <a:off x="502920" y="1314450"/>
            <a:ext cx="5669280" cy="2331720"/>
          </a:xfrm>
        </p:spPr>
        <p:txBody>
          <a:bodyPr anchor="b"/>
          <a:lstStyle>
            <a:lvl1pPr>
              <a:defRPr sz="6000" b="0">
                <a:solidFill>
                  <a:schemeClr val="accent1"/>
                </a:solidFill>
              </a:defRPr>
            </a:lvl1pPr>
          </a:lstStyle>
          <a:p>
            <a:r>
              <a:rPr lang="en-US"/>
              <a:t>Agenda, 60pt</a:t>
            </a:r>
          </a:p>
        </p:txBody>
      </p:sp>
      <p:sp>
        <p:nvSpPr>
          <p:cNvPr id="8" name="Content 7">
            <a:extLst>
              <a:ext uri="{FF2B5EF4-FFF2-40B4-BE49-F238E27FC236}">
                <a16:creationId xmlns:a16="http://schemas.microsoft.com/office/drawing/2014/main" id="{D5B229C9-CE28-4C55-AAA5-23BE7DECABD7}"/>
              </a:ext>
            </a:extLst>
          </p:cNvPr>
          <p:cNvSpPr>
            <a:spLocks noGrp="1"/>
          </p:cNvSpPr>
          <p:nvPr>
            <p:ph sz="quarter" idx="13" hasCustomPrompt="1"/>
          </p:nvPr>
        </p:nvSpPr>
        <p:spPr bwMode="ltGray">
          <a:xfrm>
            <a:off x="7153303" y="0"/>
            <a:ext cx="5038697" cy="6858000"/>
          </a:xfrm>
          <a:solidFill>
            <a:schemeClr val="accent1"/>
          </a:solidFill>
        </p:spPr>
        <p:txBody>
          <a:bodyPr lIns="365760" rIns="320040" anchor="ctr"/>
          <a:lstStyle>
            <a:lvl1pPr marL="231775" indent="-231775">
              <a:spcBef>
                <a:spcPts val="1800"/>
              </a:spcBef>
              <a:defRPr sz="2400">
                <a:solidFill>
                  <a:schemeClr val="bg1"/>
                </a:solidFill>
              </a:defRPr>
            </a:lvl1pPr>
            <a:lvl2pPr marL="457200" indent="-225425">
              <a:spcBef>
                <a:spcPts val="900"/>
              </a:spcBef>
              <a:defRPr sz="2000">
                <a:solidFill>
                  <a:schemeClr val="bg1"/>
                </a:solidFill>
              </a:defRPr>
            </a:lvl2pPr>
            <a:lvl3pPr marL="688975" indent="-231775">
              <a:defRPr sz="1800">
                <a:solidFill>
                  <a:schemeClr val="bg1"/>
                </a:solidFill>
              </a:defRPr>
            </a:lvl3pPr>
            <a:lvl4pPr marL="858838" indent="-171450">
              <a:defRPr sz="1600">
                <a:solidFill>
                  <a:schemeClr val="bg1"/>
                </a:solidFill>
              </a:defRPr>
            </a:lvl4pPr>
            <a:lvl5pPr marL="1030288" indent="-169863">
              <a:defRPr sz="1600">
                <a:solidFill>
                  <a:schemeClr val="bg1"/>
                </a:solidFill>
              </a:defRPr>
            </a:lvl5pPr>
          </a:lstStyle>
          <a:p>
            <a:pPr lvl="0"/>
            <a:r>
              <a:rPr lang="en-US"/>
              <a:t>First level, 24pt</a:t>
            </a:r>
          </a:p>
          <a:p>
            <a:pPr lvl="1"/>
            <a:r>
              <a:rPr lang="en-US"/>
              <a:t>Second level, 20pt</a:t>
            </a:r>
          </a:p>
          <a:p>
            <a:pPr lvl="2"/>
            <a:r>
              <a:rPr lang="en-US"/>
              <a:t>Third level, 18pt</a:t>
            </a:r>
          </a:p>
          <a:p>
            <a:pPr lvl="3"/>
            <a:r>
              <a:rPr lang="en-US"/>
              <a:t>Fourth level, 16pt</a:t>
            </a:r>
          </a:p>
          <a:p>
            <a:pPr lvl="4"/>
            <a:r>
              <a:rPr lang="en-US"/>
              <a:t>Fifth level, 16pt</a:t>
            </a:r>
          </a:p>
        </p:txBody>
      </p:sp>
      <p:sp>
        <p:nvSpPr>
          <p:cNvPr id="5" name="Slide Number 4">
            <a:extLst>
              <a:ext uri="{FF2B5EF4-FFF2-40B4-BE49-F238E27FC236}">
                <a16:creationId xmlns:a16="http://schemas.microsoft.com/office/drawing/2014/main" id="{8EF8468C-3D88-4E53-9BC9-0E048B20EEF2}"/>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3" name="Date Placeholder 2">
            <a:extLst>
              <a:ext uri="{FF2B5EF4-FFF2-40B4-BE49-F238E27FC236}">
                <a16:creationId xmlns:a16="http://schemas.microsoft.com/office/drawing/2014/main" id="{EF1E0726-B2B6-420A-A5E3-7A18CD994C22}"/>
              </a:ext>
            </a:extLst>
          </p:cNvPr>
          <p:cNvSpPr>
            <a:spLocks noGrp="1"/>
          </p:cNvSpPr>
          <p:nvPr>
            <p:ph type="dt" sz="half" idx="14"/>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678D3E5B-41AD-4BB0-8F35-01247B2EBB0D}"/>
              </a:ext>
            </a:extLst>
          </p:cNvPr>
          <p:cNvSpPr>
            <a:spLocks noGrp="1"/>
          </p:cNvSpPr>
          <p:nvPr>
            <p:ph type="ftr" sz="quarter" idx="15"/>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804142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mp; image r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D9BAA4-906C-4354-9E1D-1C1F50A6FA54}"/>
              </a:ext>
              <a:ext uri="{C183D7F6-B498-43B3-948B-1728B52AA6E4}">
                <adec:decorative xmlns:adec="http://schemas.microsoft.com/office/drawing/2017/decorative" val="1"/>
              </a:ext>
            </a:extLst>
          </p:cNvPr>
          <p:cNvSpPr/>
          <p:nvPr userDrawn="1"/>
        </p:nvSpPr>
        <p:spPr bwMode="ltGray">
          <a:xfrm>
            <a:off x="11679936" y="0"/>
            <a:ext cx="51206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9" name="Content 8">
            <a:extLst>
              <a:ext uri="{FF2B5EF4-FFF2-40B4-BE49-F238E27FC236}">
                <a16:creationId xmlns:a16="http://schemas.microsoft.com/office/drawing/2014/main" id="{9A27E9BB-2105-42A1-A364-072AEDF855DF}"/>
              </a:ext>
            </a:extLst>
          </p:cNvPr>
          <p:cNvSpPr>
            <a:spLocks noGrp="1"/>
          </p:cNvSpPr>
          <p:nvPr>
            <p:ph sz="quarter" idx="13" hasCustomPrompt="1"/>
          </p:nvPr>
        </p:nvSpPr>
        <p:spPr>
          <a:xfrm>
            <a:off x="502284" y="1737360"/>
            <a:ext cx="5669280" cy="4390390"/>
          </a:xfrm>
        </p:spPr>
        <p:txBody>
          <a:bodyPr/>
          <a:lstStyle>
            <a:lvl1pPr>
              <a:defRPr/>
            </a:lvl1pPr>
            <a:lvl2pPr>
              <a:defRPr/>
            </a:lvl2pPr>
            <a:lvl3pPr>
              <a:defRPr/>
            </a:lvl3pPr>
            <a:lvl4pPr>
              <a:defRPr/>
            </a:lvl4pPr>
            <a:lvl5pPr>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Picture 4">
            <a:extLst>
              <a:ext uri="{FF2B5EF4-FFF2-40B4-BE49-F238E27FC236}">
                <a16:creationId xmlns:a16="http://schemas.microsoft.com/office/drawing/2014/main" id="{67B99815-1D0D-40E8-92A6-6F617DC7EFAF}"/>
              </a:ext>
            </a:extLst>
          </p:cNvPr>
          <p:cNvSpPr>
            <a:spLocks noGrp="1"/>
          </p:cNvSpPr>
          <p:nvPr>
            <p:ph type="pic" sz="quarter" idx="10" hasCustomPrompt="1"/>
          </p:nvPr>
        </p:nvSpPr>
        <p:spPr>
          <a:xfrm>
            <a:off x="6647688" y="0"/>
            <a:ext cx="5032248" cy="6858000"/>
          </a:xfrm>
          <a:prstGeom prst="rect">
            <a:avLst/>
          </a:prstGeom>
          <a:pattFill prst="wdUpDiag">
            <a:fgClr>
              <a:schemeClr val="bg1">
                <a:lumMod val="95000"/>
              </a:schemeClr>
            </a:fgClr>
            <a:bgClr>
              <a:schemeClr val="bg1">
                <a:lumMod val="85000"/>
              </a:schemeClr>
            </a:bgClr>
          </a:pattFill>
        </p:spPr>
        <p:txBody>
          <a:bodyPr lIns="274320" tIns="274320" rIns="2103120" bIns="91440"/>
          <a:lstStyle>
            <a:lvl1pPr marL="0" indent="0">
              <a:lnSpc>
                <a:spcPct val="100000"/>
              </a:lnSpc>
              <a:buNone/>
              <a:defRPr b="0">
                <a:solidFill>
                  <a:schemeClr val="tx1"/>
                </a:solidFill>
                <a:latin typeface="+mn-lt"/>
              </a:defRPr>
            </a:lvl1pPr>
          </a:lstStyle>
          <a:p>
            <a:r>
              <a:rPr lang="en-GB"/>
              <a:t>Drag picture to placeholder or click icon to add, then send to back.</a:t>
            </a:r>
            <a:endParaRPr lang="en-US"/>
          </a:p>
        </p:txBody>
      </p:sp>
      <p:sp>
        <p:nvSpPr>
          <p:cNvPr id="5" name="Slide Number 4">
            <a:extLst>
              <a:ext uri="{FF2B5EF4-FFF2-40B4-BE49-F238E27FC236}">
                <a16:creationId xmlns:a16="http://schemas.microsoft.com/office/drawing/2014/main" id="{479924D4-EF4D-421A-9DC3-66E5E0DC5CFB}"/>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3" name="Date Placeholder 2">
            <a:extLst>
              <a:ext uri="{FF2B5EF4-FFF2-40B4-BE49-F238E27FC236}">
                <a16:creationId xmlns:a16="http://schemas.microsoft.com/office/drawing/2014/main" id="{7B4191DF-A028-4029-8F11-D72F0CD5A944}"/>
              </a:ext>
            </a:extLst>
          </p:cNvPr>
          <p:cNvSpPr>
            <a:spLocks noGrp="1"/>
          </p:cNvSpPr>
          <p:nvPr>
            <p:ph type="dt" sz="half" idx="14"/>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651216A5-75F0-4739-BA42-B5CB7C963E0D}"/>
              </a:ext>
            </a:extLst>
          </p:cNvPr>
          <p:cNvSpPr>
            <a:spLocks noGrp="1"/>
          </p:cNvSpPr>
          <p:nvPr>
            <p:ph type="ftr" sz="quarter" idx="15"/>
          </p:nvPr>
        </p:nvSpPr>
        <p:spPr/>
        <p:txBody>
          <a:bodyPr/>
          <a:lstStyle>
            <a:lvl1pPr>
              <a:defRPr>
                <a:solidFill>
                  <a:schemeClr val="bg1"/>
                </a:solidFill>
              </a:defRPr>
            </a:lvl1pPr>
          </a:lstStyle>
          <a:p>
            <a:endParaRPr lang="en-US"/>
          </a:p>
        </p:txBody>
      </p:sp>
      <p:sp>
        <p:nvSpPr>
          <p:cNvPr id="8" name="Title 7">
            <a:extLst>
              <a:ext uri="{FF2B5EF4-FFF2-40B4-BE49-F238E27FC236}">
                <a16:creationId xmlns:a16="http://schemas.microsoft.com/office/drawing/2014/main" id="{0739B224-6B19-45BE-A224-818D8A7DF50D}"/>
              </a:ext>
            </a:extLst>
          </p:cNvPr>
          <p:cNvSpPr>
            <a:spLocks noGrp="1"/>
          </p:cNvSpPr>
          <p:nvPr>
            <p:ph type="title" hasCustomPrompt="1"/>
          </p:nvPr>
        </p:nvSpPr>
        <p:spPr>
          <a:xfrm>
            <a:off x="495300" y="0"/>
            <a:ext cx="5669280" cy="1463040"/>
          </a:xfrm>
        </p:spPr>
        <p:txBody>
          <a:bodyPr/>
          <a:lstStyle/>
          <a:p>
            <a:r>
              <a:rPr lang="en-US"/>
              <a:t>Slide title, 36pt</a:t>
            </a:r>
          </a:p>
        </p:txBody>
      </p:sp>
    </p:spTree>
    <p:extLst>
      <p:ext uri="{BB962C8B-B14F-4D97-AF65-F5344CB8AC3E}">
        <p14:creationId xmlns:p14="http://schemas.microsoft.com/office/powerpoint/2010/main" val="37423073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mp; light image l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479924D4-EF4D-421A-9DC3-66E5E0DC5CFB}"/>
              </a:ext>
            </a:extLst>
          </p:cNvPr>
          <p:cNvSpPr>
            <a:spLocks noGrp="1"/>
          </p:cNvSpPr>
          <p:nvPr>
            <p:ph type="sldNum" sz="quarter" idx="12"/>
          </p:nvPr>
        </p:nvSpPr>
        <p:spPr>
          <a:xfrm>
            <a:off x="11679936" y="6464808"/>
            <a:ext cx="512064" cy="393192"/>
          </a:xfrm>
        </p:spPr>
        <p:txBody>
          <a:bodyPr/>
          <a:lstStyle>
            <a:lvl1pPr>
              <a:defRPr>
                <a:solidFill>
                  <a:schemeClr val="bg1"/>
                </a:solidFill>
              </a:defRPr>
            </a:lvl1p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CE0615C7-DFF2-44D5-85E6-86D2A729E631}"/>
              </a:ext>
            </a:extLst>
          </p:cNvPr>
          <p:cNvSpPr>
            <a:spLocks noGrp="1"/>
          </p:cNvSpPr>
          <p:nvPr>
            <p:ph type="title" hasCustomPrompt="1"/>
          </p:nvPr>
        </p:nvSpPr>
        <p:spPr>
          <a:xfrm>
            <a:off x="5989636" y="0"/>
            <a:ext cx="5478464" cy="1463040"/>
          </a:xfrm>
        </p:spPr>
        <p:txBody>
          <a:bodyPr anchor="b"/>
          <a:lstStyle>
            <a:lvl1pPr>
              <a:defRPr/>
            </a:lvl1pPr>
          </a:lstStyle>
          <a:p>
            <a:r>
              <a:rPr lang="en-US"/>
              <a:t>Slide title, 36pt</a:t>
            </a:r>
          </a:p>
        </p:txBody>
      </p:sp>
      <p:sp>
        <p:nvSpPr>
          <p:cNvPr id="9" name="Content 8">
            <a:extLst>
              <a:ext uri="{FF2B5EF4-FFF2-40B4-BE49-F238E27FC236}">
                <a16:creationId xmlns:a16="http://schemas.microsoft.com/office/drawing/2014/main" id="{9A27E9BB-2105-42A1-A364-072AEDF855DF}"/>
              </a:ext>
            </a:extLst>
          </p:cNvPr>
          <p:cNvSpPr>
            <a:spLocks noGrp="1"/>
          </p:cNvSpPr>
          <p:nvPr>
            <p:ph sz="quarter" idx="13" hasCustomPrompt="1"/>
          </p:nvPr>
        </p:nvSpPr>
        <p:spPr>
          <a:xfrm>
            <a:off x="5989635" y="1737360"/>
            <a:ext cx="5478464" cy="4390390"/>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Picture 4">
            <a:extLst>
              <a:ext uri="{FF2B5EF4-FFF2-40B4-BE49-F238E27FC236}">
                <a16:creationId xmlns:a16="http://schemas.microsoft.com/office/drawing/2014/main" id="{67B99815-1D0D-40E8-92A6-6F617DC7EFAF}"/>
              </a:ext>
            </a:extLst>
          </p:cNvPr>
          <p:cNvSpPr>
            <a:spLocks noGrp="1"/>
          </p:cNvSpPr>
          <p:nvPr>
            <p:ph type="pic" sz="quarter" idx="10" hasCustomPrompt="1"/>
          </p:nvPr>
        </p:nvSpPr>
        <p:spPr>
          <a:xfrm>
            <a:off x="0" y="0"/>
            <a:ext cx="5532120" cy="6858000"/>
          </a:xfrm>
          <a:prstGeom prst="rect">
            <a:avLst/>
          </a:prstGeom>
          <a:pattFill prst="wdUpDiag">
            <a:fgClr>
              <a:schemeClr val="bg1">
                <a:lumMod val="95000"/>
              </a:schemeClr>
            </a:fgClr>
            <a:bgClr>
              <a:schemeClr val="bg1">
                <a:lumMod val="85000"/>
              </a:schemeClr>
            </a:bgClr>
          </a:pattFill>
        </p:spPr>
        <p:txBody>
          <a:bodyPr lIns="274320" tIns="274320" rIns="914400" bIns="91440"/>
          <a:lstStyle>
            <a:lvl1pPr marL="0" indent="0">
              <a:lnSpc>
                <a:spcPct val="100000"/>
              </a:lnSpc>
              <a:buNone/>
              <a:defRPr b="0">
                <a:solidFill>
                  <a:schemeClr val="tx1"/>
                </a:solidFill>
                <a:latin typeface="+mn-lt"/>
              </a:defRPr>
            </a:lvl1pPr>
          </a:lstStyle>
          <a:p>
            <a:r>
              <a:rPr lang="en-GB"/>
              <a:t>Drag picture to placeholder or click icon to add, then send to back. If logo not showing on slide, copy from slide master and paste on slide layout taking care to match size and position.</a:t>
            </a:r>
            <a:endParaRPr lang="en-US"/>
          </a:p>
        </p:txBody>
      </p:sp>
      <p:pic>
        <p:nvPicPr>
          <p:cNvPr id="8" name="Logo 7">
            <a:extLst>
              <a:ext uri="{FF2B5EF4-FFF2-40B4-BE49-F238E27FC236}">
                <a16:creationId xmlns:a16="http://schemas.microsoft.com/office/drawing/2014/main" id="{349B052C-AB6E-45D0-8D7B-72E2CF3E360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9638" y="6400800"/>
            <a:ext cx="2926080" cy="188002"/>
          </a:xfrm>
          <a:prstGeom prst="rect">
            <a:avLst/>
          </a:prstGeom>
        </p:spPr>
      </p:pic>
      <p:sp>
        <p:nvSpPr>
          <p:cNvPr id="3" name="Date Placeholder 2">
            <a:extLst>
              <a:ext uri="{FF2B5EF4-FFF2-40B4-BE49-F238E27FC236}">
                <a16:creationId xmlns:a16="http://schemas.microsoft.com/office/drawing/2014/main" id="{837E3E5F-27E5-4A80-BA44-CD8EEB29B530}"/>
              </a:ext>
            </a:extLst>
          </p:cNvPr>
          <p:cNvSpPr>
            <a:spLocks noGrp="1"/>
          </p:cNvSpPr>
          <p:nvPr>
            <p:ph type="dt" sz="half" idx="14"/>
          </p:nvPr>
        </p:nvSpPr>
        <p:spPr>
          <a:xfrm>
            <a:off x="4160520" y="6464808"/>
            <a:ext cx="1371600" cy="393192"/>
          </a:xfrm>
        </p:spPr>
        <p:txBody>
          <a:bodyPr/>
          <a:lstStyle>
            <a:lvl1pPr>
              <a:defRPr>
                <a:solidFill>
                  <a:schemeClr val="bg1"/>
                </a:solidFill>
              </a:defRPr>
            </a:lvl1p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B0606839-ED2B-488B-85A7-6D101241EFF3}"/>
              </a:ext>
            </a:extLst>
          </p:cNvPr>
          <p:cNvSpPr>
            <a:spLocks noGrp="1"/>
          </p:cNvSpPr>
          <p:nvPr>
            <p:ph type="ftr" sz="quarter" idx="15"/>
          </p:nvPr>
        </p:nvSpPr>
        <p:spPr>
          <a:xfrm>
            <a:off x="495300" y="6464808"/>
            <a:ext cx="3444875" cy="393192"/>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511737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mp; 2-image r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C190158-29E5-4E04-95AF-ADBEE22DF175}"/>
              </a:ext>
              <a:ext uri="{C183D7F6-B498-43B3-948B-1728B52AA6E4}">
                <adec:decorative xmlns:adec="http://schemas.microsoft.com/office/drawing/2017/decorative" val="1"/>
              </a:ext>
            </a:extLst>
          </p:cNvPr>
          <p:cNvSpPr/>
          <p:nvPr userDrawn="1"/>
        </p:nvSpPr>
        <p:spPr bwMode="ltGray">
          <a:xfrm>
            <a:off x="11679936" y="0"/>
            <a:ext cx="51206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95639352-0F93-4775-9E8A-03756E489E2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9E531341-6728-40EE-A348-EDA031E8D650}"/>
              </a:ext>
            </a:extLst>
          </p:cNvPr>
          <p:cNvSpPr>
            <a:spLocks noGrp="1"/>
          </p:cNvSpPr>
          <p:nvPr>
            <p:ph type="title" hasCustomPrompt="1"/>
          </p:nvPr>
        </p:nvSpPr>
        <p:spPr>
          <a:xfrm>
            <a:off x="495300" y="0"/>
            <a:ext cx="5669280" cy="1463040"/>
          </a:xfrm>
        </p:spPr>
        <p:txBody>
          <a:bodyPr/>
          <a:lstStyle>
            <a:lvl1pPr>
              <a:defRPr/>
            </a:lvl1pPr>
          </a:lstStyle>
          <a:p>
            <a:r>
              <a:rPr lang="en-US"/>
              <a:t>Slide title, 36pt</a:t>
            </a:r>
          </a:p>
        </p:txBody>
      </p:sp>
      <p:sp>
        <p:nvSpPr>
          <p:cNvPr id="6" name="Content 8">
            <a:extLst>
              <a:ext uri="{FF2B5EF4-FFF2-40B4-BE49-F238E27FC236}">
                <a16:creationId xmlns:a16="http://schemas.microsoft.com/office/drawing/2014/main" id="{25A78BE5-297A-4CC1-9A48-6E4ABD317792}"/>
              </a:ext>
            </a:extLst>
          </p:cNvPr>
          <p:cNvSpPr>
            <a:spLocks noGrp="1"/>
          </p:cNvSpPr>
          <p:nvPr>
            <p:ph sz="quarter" idx="13" hasCustomPrompt="1"/>
          </p:nvPr>
        </p:nvSpPr>
        <p:spPr>
          <a:xfrm>
            <a:off x="502284" y="1737360"/>
            <a:ext cx="5669280" cy="4390390"/>
          </a:xfrm>
        </p:spPr>
        <p:txBody>
          <a:bodyPr/>
          <a:lstStyle>
            <a:lvl1pPr>
              <a:defRPr/>
            </a:lvl1pPr>
            <a:lvl2pPr>
              <a:defRPr/>
            </a:lvl2pPr>
            <a:lvl3pPr>
              <a:defRPr/>
            </a:lvl3pPr>
            <a:lvl4pPr>
              <a:defRPr/>
            </a:lvl4pPr>
            <a:lvl5pPr>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Picture 4">
            <a:extLst>
              <a:ext uri="{FF2B5EF4-FFF2-40B4-BE49-F238E27FC236}">
                <a16:creationId xmlns:a16="http://schemas.microsoft.com/office/drawing/2014/main" id="{6E58B576-0509-43D7-830E-4871B5194B94}"/>
              </a:ext>
            </a:extLst>
          </p:cNvPr>
          <p:cNvSpPr>
            <a:spLocks noGrp="1"/>
          </p:cNvSpPr>
          <p:nvPr>
            <p:ph type="pic" sz="quarter" idx="10" hasCustomPrompt="1"/>
          </p:nvPr>
        </p:nvSpPr>
        <p:spPr>
          <a:xfrm>
            <a:off x="6647688" y="0"/>
            <a:ext cx="5029200" cy="3429000"/>
          </a:xfrm>
          <a:prstGeom prst="rect">
            <a:avLst/>
          </a:prstGeom>
          <a:pattFill prst="wdUpDiag">
            <a:fgClr>
              <a:schemeClr val="bg1">
                <a:lumMod val="95000"/>
              </a:schemeClr>
            </a:fgClr>
            <a:bgClr>
              <a:schemeClr val="bg1">
                <a:lumMod val="85000"/>
              </a:schemeClr>
            </a:bgClr>
          </a:pattFill>
        </p:spPr>
        <p:txBody>
          <a:bodyPr lIns="274320" tIns="274320" rIns="914400" bIns="91440"/>
          <a:lstStyle>
            <a:lvl1pPr marL="0" indent="0">
              <a:lnSpc>
                <a:spcPct val="100000"/>
              </a:lnSpc>
              <a:buNone/>
              <a:defRPr b="0">
                <a:solidFill>
                  <a:schemeClr val="tx1"/>
                </a:solidFill>
                <a:latin typeface="+mn-lt"/>
              </a:defRPr>
            </a:lvl1pPr>
          </a:lstStyle>
          <a:p>
            <a:r>
              <a:rPr lang="en-GB"/>
              <a:t>Drag picture to placeholder or click icon to add, then send to back.</a:t>
            </a:r>
            <a:endParaRPr lang="en-US"/>
          </a:p>
        </p:txBody>
      </p:sp>
      <p:sp>
        <p:nvSpPr>
          <p:cNvPr id="8" name="Picture 5">
            <a:extLst>
              <a:ext uri="{FF2B5EF4-FFF2-40B4-BE49-F238E27FC236}">
                <a16:creationId xmlns:a16="http://schemas.microsoft.com/office/drawing/2014/main" id="{4FA18C3F-A5EA-4EC9-9B6C-84400FBAD05C}"/>
              </a:ext>
            </a:extLst>
          </p:cNvPr>
          <p:cNvSpPr>
            <a:spLocks noGrp="1"/>
          </p:cNvSpPr>
          <p:nvPr>
            <p:ph type="pic" sz="quarter" idx="14" hasCustomPrompt="1"/>
          </p:nvPr>
        </p:nvSpPr>
        <p:spPr>
          <a:xfrm>
            <a:off x="6647688" y="3429000"/>
            <a:ext cx="5029200" cy="3429000"/>
          </a:xfrm>
          <a:prstGeom prst="rect">
            <a:avLst/>
          </a:prstGeom>
          <a:pattFill prst="wdUpDiag">
            <a:fgClr>
              <a:schemeClr val="bg1">
                <a:lumMod val="95000"/>
              </a:schemeClr>
            </a:fgClr>
            <a:bgClr>
              <a:schemeClr val="bg1">
                <a:lumMod val="85000"/>
              </a:schemeClr>
            </a:bgClr>
          </a:pattFill>
        </p:spPr>
        <p:txBody>
          <a:bodyPr lIns="274320" tIns="274320" rIns="914400" bIns="91440"/>
          <a:lstStyle>
            <a:lvl1pPr marL="0" indent="0">
              <a:lnSpc>
                <a:spcPct val="100000"/>
              </a:lnSpc>
              <a:buNone/>
              <a:defRPr b="0">
                <a:solidFill>
                  <a:schemeClr val="tx1"/>
                </a:solidFill>
                <a:latin typeface="+mn-lt"/>
              </a:defRPr>
            </a:lvl1pPr>
          </a:lstStyle>
          <a:p>
            <a:r>
              <a:rPr lang="en-GB"/>
              <a:t>Drag picture to placeholder or click icon to add, then send to back.</a:t>
            </a:r>
            <a:endParaRPr lang="en-US"/>
          </a:p>
        </p:txBody>
      </p:sp>
      <p:sp>
        <p:nvSpPr>
          <p:cNvPr id="3" name="Date Placeholder 2">
            <a:extLst>
              <a:ext uri="{FF2B5EF4-FFF2-40B4-BE49-F238E27FC236}">
                <a16:creationId xmlns:a16="http://schemas.microsoft.com/office/drawing/2014/main" id="{1F810B12-FA55-4CE5-9341-DEBB1CC8A702}"/>
              </a:ext>
            </a:extLst>
          </p:cNvPr>
          <p:cNvSpPr>
            <a:spLocks noGrp="1"/>
          </p:cNvSpPr>
          <p:nvPr>
            <p:ph type="dt" sz="half" idx="15"/>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21C68774-4F97-45F0-BF6C-FC612213BE59}"/>
              </a:ext>
            </a:extLst>
          </p:cNvPr>
          <p:cNvSpPr>
            <a:spLocks noGrp="1"/>
          </p:cNvSpPr>
          <p:nvPr>
            <p:ph type="ftr" sz="quarter" idx="16"/>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8798385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mp; light 2-image lt">
    <p:spTree>
      <p:nvGrpSpPr>
        <p:cNvPr id="1" name=""/>
        <p:cNvGrpSpPr/>
        <p:nvPr/>
      </p:nvGrpSpPr>
      <p:grpSpPr>
        <a:xfrm>
          <a:off x="0" y="0"/>
          <a:ext cx="0" cy="0"/>
          <a:chOff x="0" y="0"/>
          <a:chExt cx="0" cy="0"/>
        </a:xfrm>
      </p:grpSpPr>
      <p:sp>
        <p:nvSpPr>
          <p:cNvPr id="7" name="Picture 4">
            <a:extLst>
              <a:ext uri="{FF2B5EF4-FFF2-40B4-BE49-F238E27FC236}">
                <a16:creationId xmlns:a16="http://schemas.microsoft.com/office/drawing/2014/main" id="{6E58B576-0509-43D7-830E-4871B5194B94}"/>
              </a:ext>
            </a:extLst>
          </p:cNvPr>
          <p:cNvSpPr>
            <a:spLocks noGrp="1"/>
          </p:cNvSpPr>
          <p:nvPr>
            <p:ph type="pic" sz="quarter" idx="10" hasCustomPrompt="1"/>
          </p:nvPr>
        </p:nvSpPr>
        <p:spPr>
          <a:xfrm>
            <a:off x="0" y="0"/>
            <a:ext cx="5532120" cy="3429000"/>
          </a:xfrm>
          <a:prstGeom prst="rect">
            <a:avLst/>
          </a:prstGeom>
          <a:pattFill prst="wdUpDiag">
            <a:fgClr>
              <a:schemeClr val="bg1">
                <a:lumMod val="95000"/>
              </a:schemeClr>
            </a:fgClr>
            <a:bgClr>
              <a:schemeClr val="bg1">
                <a:lumMod val="85000"/>
              </a:schemeClr>
            </a:bgClr>
          </a:pattFill>
        </p:spPr>
        <p:txBody>
          <a:bodyPr lIns="274320" tIns="182880" rIns="914400" bIns="91440"/>
          <a:lstStyle>
            <a:lvl1pPr marL="0" indent="0">
              <a:lnSpc>
                <a:spcPct val="100000"/>
              </a:lnSpc>
              <a:buNone/>
              <a:defRPr b="0">
                <a:solidFill>
                  <a:schemeClr val="tx1"/>
                </a:solidFill>
                <a:latin typeface="+mn-lt"/>
              </a:defRPr>
            </a:lvl1pPr>
          </a:lstStyle>
          <a:p>
            <a:r>
              <a:rPr lang="en-GB"/>
              <a:t>Drag picture to placeholder or click icon to add, then send to back.</a:t>
            </a:r>
            <a:endParaRPr lang="en-US"/>
          </a:p>
        </p:txBody>
      </p:sp>
      <p:sp>
        <p:nvSpPr>
          <p:cNvPr id="8" name="Picture 5">
            <a:extLst>
              <a:ext uri="{FF2B5EF4-FFF2-40B4-BE49-F238E27FC236}">
                <a16:creationId xmlns:a16="http://schemas.microsoft.com/office/drawing/2014/main" id="{4FA18C3F-A5EA-4EC9-9B6C-84400FBAD05C}"/>
              </a:ext>
            </a:extLst>
          </p:cNvPr>
          <p:cNvSpPr>
            <a:spLocks noGrp="1"/>
          </p:cNvSpPr>
          <p:nvPr>
            <p:ph type="pic" sz="quarter" idx="14" hasCustomPrompt="1"/>
          </p:nvPr>
        </p:nvSpPr>
        <p:spPr>
          <a:xfrm>
            <a:off x="0" y="3429000"/>
            <a:ext cx="5532120" cy="3429000"/>
          </a:xfrm>
          <a:prstGeom prst="rect">
            <a:avLst/>
          </a:prstGeom>
          <a:pattFill prst="wdUpDiag">
            <a:fgClr>
              <a:schemeClr val="bg1">
                <a:lumMod val="95000"/>
              </a:schemeClr>
            </a:fgClr>
            <a:bgClr>
              <a:schemeClr val="bg1">
                <a:lumMod val="85000"/>
              </a:schemeClr>
            </a:bgClr>
          </a:pattFill>
        </p:spPr>
        <p:txBody>
          <a:bodyPr lIns="274320" tIns="182880" rIns="274320" bIns="91440"/>
          <a:lstStyle>
            <a:lvl1pPr marL="0" indent="0">
              <a:lnSpc>
                <a:spcPct val="100000"/>
              </a:lnSpc>
              <a:buNone/>
              <a:defRPr b="0">
                <a:solidFill>
                  <a:schemeClr val="tx1"/>
                </a:solidFill>
                <a:latin typeface="+mn-lt"/>
              </a:defRPr>
            </a:lvl1pPr>
          </a:lstStyle>
          <a:p>
            <a:r>
              <a:rPr lang="en-GB"/>
              <a:t>Drag picture to placeholder or click icon to add, then send to back. If logo not showing on slide, copy from slide master and paste on slide layout taking care to match size and position.</a:t>
            </a:r>
            <a:endParaRPr lang="en-US"/>
          </a:p>
        </p:txBody>
      </p:sp>
      <p:sp>
        <p:nvSpPr>
          <p:cNvPr id="5" name="Slide Number 4">
            <a:extLst>
              <a:ext uri="{FF2B5EF4-FFF2-40B4-BE49-F238E27FC236}">
                <a16:creationId xmlns:a16="http://schemas.microsoft.com/office/drawing/2014/main" id="{95639352-0F93-4775-9E8A-03756E489E2E}"/>
              </a:ext>
            </a:extLst>
          </p:cNvPr>
          <p:cNvSpPr>
            <a:spLocks noGrp="1"/>
          </p:cNvSpPr>
          <p:nvPr>
            <p:ph type="sldNum" sz="quarter" idx="12"/>
          </p:nvPr>
        </p:nvSpPr>
        <p:spPr/>
        <p:txBody>
          <a:bodyPr/>
          <a:lstStyle>
            <a:lvl1pPr>
              <a:defRPr>
                <a:solidFill>
                  <a:schemeClr val="bg1"/>
                </a:solidFill>
              </a:defRPr>
            </a:lvl1p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9E531341-6728-40EE-A348-EDA031E8D650}"/>
              </a:ext>
            </a:extLst>
          </p:cNvPr>
          <p:cNvSpPr>
            <a:spLocks noGrp="1"/>
          </p:cNvSpPr>
          <p:nvPr>
            <p:ph type="title" hasCustomPrompt="1"/>
          </p:nvPr>
        </p:nvSpPr>
        <p:spPr>
          <a:xfrm>
            <a:off x="5998464" y="0"/>
            <a:ext cx="5469636" cy="1463040"/>
          </a:xfrm>
        </p:spPr>
        <p:txBody>
          <a:bodyPr/>
          <a:lstStyle>
            <a:lvl1pPr>
              <a:defRPr/>
            </a:lvl1pPr>
          </a:lstStyle>
          <a:p>
            <a:r>
              <a:rPr lang="en-US"/>
              <a:t>Slide title, 36pt</a:t>
            </a:r>
          </a:p>
        </p:txBody>
      </p:sp>
      <p:sp>
        <p:nvSpPr>
          <p:cNvPr id="6" name="Content 8">
            <a:extLst>
              <a:ext uri="{FF2B5EF4-FFF2-40B4-BE49-F238E27FC236}">
                <a16:creationId xmlns:a16="http://schemas.microsoft.com/office/drawing/2014/main" id="{25A78BE5-297A-4CC1-9A48-6E4ABD317792}"/>
              </a:ext>
            </a:extLst>
          </p:cNvPr>
          <p:cNvSpPr>
            <a:spLocks noGrp="1"/>
          </p:cNvSpPr>
          <p:nvPr>
            <p:ph sz="quarter" idx="13" hasCustomPrompt="1"/>
          </p:nvPr>
        </p:nvSpPr>
        <p:spPr>
          <a:xfrm>
            <a:off x="5998464" y="1737360"/>
            <a:ext cx="5469636" cy="4390390"/>
          </a:xfrm>
        </p:spPr>
        <p:txBody>
          <a:bodyPr/>
          <a:lstStyle>
            <a:lvl1pPr>
              <a:defRPr/>
            </a:lvl1pPr>
            <a:lvl2pPr>
              <a:defRPr/>
            </a:lvl2pPr>
            <a:lvl3pPr>
              <a:defRPr/>
            </a:lvl3pPr>
            <a:lvl4pPr>
              <a:defRPr/>
            </a:lvl4pPr>
            <a:lvl5pPr>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pic>
        <p:nvPicPr>
          <p:cNvPr id="10" name="Logo 7">
            <a:extLst>
              <a:ext uri="{FF2B5EF4-FFF2-40B4-BE49-F238E27FC236}">
                <a16:creationId xmlns:a16="http://schemas.microsoft.com/office/drawing/2014/main" id="{9FFD1A12-45F8-4AFB-B752-6ABA597DC8A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98464" y="6400800"/>
            <a:ext cx="2926080" cy="188002"/>
          </a:xfrm>
          <a:prstGeom prst="rect">
            <a:avLst/>
          </a:prstGeom>
        </p:spPr>
      </p:pic>
      <p:sp>
        <p:nvSpPr>
          <p:cNvPr id="3" name="Date Placeholder 2">
            <a:extLst>
              <a:ext uri="{FF2B5EF4-FFF2-40B4-BE49-F238E27FC236}">
                <a16:creationId xmlns:a16="http://schemas.microsoft.com/office/drawing/2014/main" id="{98A140F4-4A8A-4548-8652-9A39C1397CE9}"/>
              </a:ext>
            </a:extLst>
          </p:cNvPr>
          <p:cNvSpPr>
            <a:spLocks noGrp="1"/>
          </p:cNvSpPr>
          <p:nvPr>
            <p:ph type="dt" sz="half" idx="15"/>
          </p:nvPr>
        </p:nvSpPr>
        <p:spPr>
          <a:xfrm>
            <a:off x="4160520" y="6464808"/>
            <a:ext cx="1371600" cy="393192"/>
          </a:xfrm>
        </p:spPr>
        <p:txBody>
          <a:bodyPr/>
          <a:lstStyle>
            <a:lvl1pPr>
              <a:defRPr>
                <a:solidFill>
                  <a:schemeClr val="bg1"/>
                </a:solidFill>
              </a:defRPr>
            </a:lvl1p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2CC3628F-FFE3-4E4E-A21B-C101D8F74031}"/>
              </a:ext>
            </a:extLst>
          </p:cNvPr>
          <p:cNvSpPr>
            <a:spLocks noGrp="1"/>
          </p:cNvSpPr>
          <p:nvPr>
            <p:ph type="ftr" sz="quarter" idx="16"/>
          </p:nvPr>
        </p:nvSpPr>
        <p:spPr>
          <a:xfrm>
            <a:off x="495300" y="6464808"/>
            <a:ext cx="3444875" cy="393192"/>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6794224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7C987AB7-4FEE-4D02-B838-18ECB2FB2DC5}"/>
              </a:ext>
            </a:extLst>
          </p:cNvPr>
          <p:cNvSpPr>
            <a:spLocks noGrp="1"/>
          </p:cNvSpPr>
          <p:nvPr>
            <p:ph type="title" hasCustomPrompt="1"/>
          </p:nvPr>
        </p:nvSpPr>
        <p:spPr/>
        <p:txBody>
          <a:bodyPr/>
          <a:lstStyle/>
          <a:p>
            <a:r>
              <a:rPr lang="en-US"/>
              <a:t>Slide title, 36pt</a:t>
            </a:r>
          </a:p>
        </p:txBody>
      </p:sp>
      <p:sp>
        <p:nvSpPr>
          <p:cNvPr id="7" name="Content 6">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37360"/>
            <a:ext cx="10972800" cy="4389120"/>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837AF9A1-899B-49D3-9759-8B25894996B7}"/>
              </a:ext>
            </a:extLst>
          </p:cNvPr>
          <p:cNvSpPr>
            <a:spLocks noGrp="1"/>
          </p:cNvSpPr>
          <p:nvPr>
            <p:ph type="dt" sz="half" idx="14"/>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009FA436-3389-47A5-99FA-D44C6990022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5447755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subtitle &amp; 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7C987AB7-4FEE-4D02-B838-18ECB2FB2DC5}"/>
              </a:ext>
            </a:extLst>
          </p:cNvPr>
          <p:cNvSpPr>
            <a:spLocks noGrp="1"/>
          </p:cNvSpPr>
          <p:nvPr>
            <p:ph type="title" hasCustomPrompt="1"/>
          </p:nvPr>
        </p:nvSpPr>
        <p:spPr/>
        <p:txBody>
          <a:bodyPr/>
          <a:lstStyle/>
          <a:p>
            <a:r>
              <a:rPr lang="en-US"/>
              <a:t>Slide title, 36pt</a:t>
            </a:r>
          </a:p>
        </p:txBody>
      </p:sp>
      <p:sp>
        <p:nvSpPr>
          <p:cNvPr id="4" name="Text 3">
            <a:extLst>
              <a:ext uri="{FF2B5EF4-FFF2-40B4-BE49-F238E27FC236}">
                <a16:creationId xmlns:a16="http://schemas.microsoft.com/office/drawing/2014/main" id="{CF1A2A30-A127-4038-A112-E2803128024F}"/>
              </a:ext>
            </a:extLst>
          </p:cNvPr>
          <p:cNvSpPr>
            <a:spLocks noGrp="1"/>
          </p:cNvSpPr>
          <p:nvPr>
            <p:ph type="body" sz="quarter" idx="14" hasCustomPrompt="1"/>
          </p:nvPr>
        </p:nvSpPr>
        <p:spPr>
          <a:xfrm>
            <a:off x="503238" y="1821766"/>
            <a:ext cx="10972800" cy="640080"/>
          </a:xfrm>
        </p:spPr>
        <p:txBody>
          <a:bodyPr anchor="b"/>
          <a:lstStyle>
            <a:lvl1pPr marL="0" indent="0">
              <a:lnSpc>
                <a:spcPct val="100000"/>
              </a:lnSpc>
              <a:spcBef>
                <a:spcPts val="0"/>
              </a:spcBef>
              <a:buNone/>
              <a:defRPr sz="2400" b="0">
                <a:solidFill>
                  <a:schemeClr val="accent1"/>
                </a:solidFill>
              </a:defRPr>
            </a:lvl1pPr>
            <a:lvl2pPr marL="0" indent="0">
              <a:buNone/>
              <a:defRPr/>
            </a:lvl2pPr>
          </a:lstStyle>
          <a:p>
            <a:r>
              <a:rPr lang="en-US"/>
              <a:t>Presentation sub-title, 24pt</a:t>
            </a:r>
          </a:p>
        </p:txBody>
      </p:sp>
      <p:sp>
        <p:nvSpPr>
          <p:cNvPr id="7" name="Content 6">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2644726"/>
            <a:ext cx="10972800" cy="3483024"/>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D7D6959-0134-4257-BC1A-422C04C2F1F3}"/>
              </a:ext>
            </a:extLst>
          </p:cNvPr>
          <p:cNvSpPr>
            <a:spLocks noGrp="1"/>
          </p:cNvSpPr>
          <p:nvPr>
            <p:ph type="dt" sz="half" idx="15"/>
          </p:nvPr>
        </p:nvSpPr>
        <p:spPr/>
        <p:txBody>
          <a:bodyPr/>
          <a:lstStyle/>
          <a:p>
            <a:fld id="{44447170-F1AC-4F6F-97CD-3085A335B429}" type="datetimeFigureOut">
              <a:rPr lang="en-US" smtClean="0"/>
              <a:pPr/>
              <a:t>10/30/2024</a:t>
            </a:fld>
            <a:endParaRPr lang="en-US"/>
          </a:p>
        </p:txBody>
      </p:sp>
      <p:sp>
        <p:nvSpPr>
          <p:cNvPr id="6" name="Footer Placeholder 5">
            <a:extLst>
              <a:ext uri="{FF2B5EF4-FFF2-40B4-BE49-F238E27FC236}">
                <a16:creationId xmlns:a16="http://schemas.microsoft.com/office/drawing/2014/main" id="{BFD22362-280B-45DD-9CDE-FF5FD8F2EFF2}"/>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306873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w/Dan bo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8E8E4F2-B07C-424D-B977-A5A215DC601B}"/>
              </a:ext>
            </a:extLst>
          </p:cNvPr>
          <p:cNvSpPr>
            <a:spLocks noGrp="1"/>
          </p:cNvSpPr>
          <p:nvPr>
            <p:ph type="body" sz="quarter" idx="11" hasCustomPrompt="1"/>
          </p:nvPr>
        </p:nvSpPr>
        <p:spPr>
          <a:xfrm>
            <a:off x="265176"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Only on Home&gt;Layout</a:t>
            </a:r>
          </a:p>
        </p:txBody>
      </p:sp>
      <p:sp>
        <p:nvSpPr>
          <p:cNvPr id="2" name="Footer Placeholder 1">
            <a:extLst>
              <a:ext uri="{FF2B5EF4-FFF2-40B4-BE49-F238E27FC236}">
                <a16:creationId xmlns:a16="http://schemas.microsoft.com/office/drawing/2014/main" id="{3A9C04C7-F8F2-150B-C869-EBD9E1151471}"/>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41324151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7" name="Content 6">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37360"/>
            <a:ext cx="5303520" cy="4389120"/>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7">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6172200" y="1737360"/>
            <a:ext cx="5303520" cy="4389120"/>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59902BD-67D8-4433-A7B2-4974EC182732}"/>
              </a:ext>
            </a:extLst>
          </p:cNvPr>
          <p:cNvSpPr>
            <a:spLocks noGrp="1"/>
          </p:cNvSpPr>
          <p:nvPr>
            <p:ph type="dt" sz="half" idx="15"/>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DFF14A3E-75A3-4D23-86F0-B4BE38952C95}"/>
              </a:ext>
            </a:extLst>
          </p:cNvPr>
          <p:cNvSpPr>
            <a:spLocks noGrp="1"/>
          </p:cNvSpPr>
          <p:nvPr>
            <p:ph type="ftr" sz="quarter" idx="16"/>
          </p:nvPr>
        </p:nvSpPr>
        <p:spPr/>
        <p:txBody>
          <a:bodyPr/>
          <a:lstStyle/>
          <a:p>
            <a:endParaRPr lang="en-US"/>
          </a:p>
        </p:txBody>
      </p:sp>
      <p:sp>
        <p:nvSpPr>
          <p:cNvPr id="8" name="Title 7">
            <a:extLst>
              <a:ext uri="{FF2B5EF4-FFF2-40B4-BE49-F238E27FC236}">
                <a16:creationId xmlns:a16="http://schemas.microsoft.com/office/drawing/2014/main" id="{54F98E56-1A65-4670-8B61-B1E03837BEE8}"/>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37626572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subtitle &amp; 2-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10" name="Text 3">
            <a:extLst>
              <a:ext uri="{FF2B5EF4-FFF2-40B4-BE49-F238E27FC236}">
                <a16:creationId xmlns:a16="http://schemas.microsoft.com/office/drawing/2014/main" id="{E61A5E3C-0337-4D28-A474-4CDFEAE499F5}"/>
              </a:ext>
            </a:extLst>
          </p:cNvPr>
          <p:cNvSpPr>
            <a:spLocks noGrp="1"/>
          </p:cNvSpPr>
          <p:nvPr>
            <p:ph type="body" sz="quarter" idx="15" hasCustomPrompt="1"/>
          </p:nvPr>
        </p:nvSpPr>
        <p:spPr>
          <a:xfrm>
            <a:off x="503238" y="1821767"/>
            <a:ext cx="5303520" cy="640080"/>
          </a:xfrm>
        </p:spPr>
        <p:txBody>
          <a:bodyPr anchor="b"/>
          <a:lstStyle>
            <a:lvl1pPr marL="0" indent="0">
              <a:lnSpc>
                <a:spcPct val="100000"/>
              </a:lnSpc>
              <a:spcBef>
                <a:spcPts val="0"/>
              </a:spcBef>
              <a:buNone/>
              <a:defRPr sz="2400" b="0">
                <a:solidFill>
                  <a:schemeClr val="accent1"/>
                </a:solidFill>
              </a:defRPr>
            </a:lvl1pPr>
            <a:lvl2pPr marL="0" indent="0">
              <a:buNone/>
              <a:defRPr/>
            </a:lvl2pPr>
          </a:lstStyle>
          <a:p>
            <a:r>
              <a:rPr lang="en-US"/>
              <a:t>Presentation sub-title, 24pt</a:t>
            </a:r>
          </a:p>
        </p:txBody>
      </p:sp>
      <p:sp>
        <p:nvSpPr>
          <p:cNvPr id="7" name="Content 2">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2644727"/>
            <a:ext cx="5303520" cy="3483023"/>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5">
            <a:extLst>
              <a:ext uri="{FF2B5EF4-FFF2-40B4-BE49-F238E27FC236}">
                <a16:creationId xmlns:a16="http://schemas.microsoft.com/office/drawing/2014/main" id="{F00B40D8-AE9C-4948-BA97-31C375224B5F}"/>
              </a:ext>
            </a:extLst>
          </p:cNvPr>
          <p:cNvSpPr>
            <a:spLocks noGrp="1"/>
          </p:cNvSpPr>
          <p:nvPr>
            <p:ph type="body" sz="quarter" idx="16" hasCustomPrompt="1"/>
          </p:nvPr>
        </p:nvSpPr>
        <p:spPr>
          <a:xfrm>
            <a:off x="6172200" y="1821767"/>
            <a:ext cx="5303520" cy="640080"/>
          </a:xfrm>
        </p:spPr>
        <p:txBody>
          <a:bodyPr anchor="b"/>
          <a:lstStyle>
            <a:lvl1pPr marL="0" indent="0">
              <a:lnSpc>
                <a:spcPct val="100000"/>
              </a:lnSpc>
              <a:spcBef>
                <a:spcPts val="0"/>
              </a:spcBef>
              <a:buNone/>
              <a:defRPr sz="2400" b="0">
                <a:solidFill>
                  <a:schemeClr val="accent1"/>
                </a:solidFill>
              </a:defRPr>
            </a:lvl1pPr>
            <a:lvl2pPr marL="0" indent="0">
              <a:buNone/>
              <a:defRPr/>
            </a:lvl2pPr>
          </a:lstStyle>
          <a:p>
            <a:r>
              <a:rPr lang="en-US"/>
              <a:t>Presentation sub-title, 24pt</a:t>
            </a:r>
          </a:p>
        </p:txBody>
      </p:sp>
      <p:sp>
        <p:nvSpPr>
          <p:cNvPr id="6" name="Content 6">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6172200" y="2644727"/>
            <a:ext cx="5303520" cy="3483023"/>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08D5C7D-72B4-48CF-9710-62C9C8D68981}"/>
              </a:ext>
            </a:extLst>
          </p:cNvPr>
          <p:cNvSpPr>
            <a:spLocks noGrp="1"/>
          </p:cNvSpPr>
          <p:nvPr>
            <p:ph type="dt" sz="half" idx="17"/>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54C14623-1742-4259-8F25-6D3E2C99791B}"/>
              </a:ext>
            </a:extLst>
          </p:cNvPr>
          <p:cNvSpPr>
            <a:spLocks noGrp="1"/>
          </p:cNvSpPr>
          <p:nvPr>
            <p:ph type="ftr" sz="quarter" idx="18"/>
          </p:nvPr>
        </p:nvSpPr>
        <p:spPr/>
        <p:txBody>
          <a:bodyPr/>
          <a:lstStyle/>
          <a:p>
            <a:endParaRPr lang="en-US"/>
          </a:p>
        </p:txBody>
      </p:sp>
      <p:sp>
        <p:nvSpPr>
          <p:cNvPr id="8" name="Title 7">
            <a:extLst>
              <a:ext uri="{FF2B5EF4-FFF2-40B4-BE49-F238E27FC236}">
                <a16:creationId xmlns:a16="http://schemas.microsoft.com/office/drawing/2014/main" id="{0BB84A8A-4257-47FB-8EF3-4BB75BB276FA}"/>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37245094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ntent horz">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7" name="Content 6">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37360"/>
            <a:ext cx="10972800" cy="2011680"/>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Content 7">
            <a:extLst>
              <a:ext uri="{FF2B5EF4-FFF2-40B4-BE49-F238E27FC236}">
                <a16:creationId xmlns:a16="http://schemas.microsoft.com/office/drawing/2014/main" id="{C47C178D-362C-4517-BB34-228F3271216F}"/>
              </a:ext>
            </a:extLst>
          </p:cNvPr>
          <p:cNvSpPr>
            <a:spLocks noGrp="1"/>
          </p:cNvSpPr>
          <p:nvPr>
            <p:ph sz="quarter" idx="15" hasCustomPrompt="1"/>
          </p:nvPr>
        </p:nvSpPr>
        <p:spPr>
          <a:xfrm>
            <a:off x="503237" y="4116070"/>
            <a:ext cx="10972800" cy="2011680"/>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375C4715-5548-42E9-BA25-F84A12F657F0}"/>
              </a:ext>
            </a:extLst>
          </p:cNvPr>
          <p:cNvSpPr>
            <a:spLocks noGrp="1"/>
          </p:cNvSpPr>
          <p:nvPr>
            <p:ph type="dt" sz="half" idx="16"/>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B823CD03-9FEB-411A-89BE-EDAE409612BD}"/>
              </a:ext>
            </a:extLst>
          </p:cNvPr>
          <p:cNvSpPr>
            <a:spLocks noGrp="1"/>
          </p:cNvSpPr>
          <p:nvPr>
            <p:ph type="ftr" sz="quarter" idx="17"/>
          </p:nvPr>
        </p:nvSpPr>
        <p:spPr/>
        <p:txBody>
          <a:bodyPr/>
          <a:lstStyle/>
          <a:p>
            <a:endParaRPr lang="en-US"/>
          </a:p>
        </p:txBody>
      </p:sp>
      <p:sp>
        <p:nvSpPr>
          <p:cNvPr id="6" name="Title 5">
            <a:extLst>
              <a:ext uri="{FF2B5EF4-FFF2-40B4-BE49-F238E27FC236}">
                <a16:creationId xmlns:a16="http://schemas.microsoft.com/office/drawing/2014/main" id="{E7DFC29E-CAAF-4D5E-A7FB-17C2DA33C610}"/>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31019059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3-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7" name="Content 2">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64792"/>
            <a:ext cx="3438144"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3">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4258310" y="1764792"/>
            <a:ext cx="3438144"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Content 4">
            <a:extLst>
              <a:ext uri="{FF2B5EF4-FFF2-40B4-BE49-F238E27FC236}">
                <a16:creationId xmlns:a16="http://schemas.microsoft.com/office/drawing/2014/main" id="{21002625-9637-4AAE-B58A-04B6BD9BA3A2}"/>
              </a:ext>
            </a:extLst>
          </p:cNvPr>
          <p:cNvSpPr>
            <a:spLocks noGrp="1"/>
          </p:cNvSpPr>
          <p:nvPr>
            <p:ph sz="quarter" idx="15" hasCustomPrompt="1"/>
          </p:nvPr>
        </p:nvSpPr>
        <p:spPr>
          <a:xfrm>
            <a:off x="8013383" y="1764792"/>
            <a:ext cx="3438144"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DBC16E30-5559-45CC-AF34-6E664B909FFA}"/>
              </a:ext>
            </a:extLst>
          </p:cNvPr>
          <p:cNvSpPr>
            <a:spLocks noGrp="1"/>
          </p:cNvSpPr>
          <p:nvPr>
            <p:ph type="dt" sz="half" idx="16"/>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27BF1022-D4F6-4E72-A4A2-7E0FE148D104}"/>
              </a:ext>
            </a:extLst>
          </p:cNvPr>
          <p:cNvSpPr>
            <a:spLocks noGrp="1"/>
          </p:cNvSpPr>
          <p:nvPr>
            <p:ph type="ftr" sz="quarter" idx="17"/>
          </p:nvPr>
        </p:nvSpPr>
        <p:spPr/>
        <p:txBody>
          <a:bodyPr/>
          <a:lstStyle/>
          <a:p>
            <a:endParaRPr lang="en-US"/>
          </a:p>
        </p:txBody>
      </p:sp>
      <p:sp>
        <p:nvSpPr>
          <p:cNvPr id="9" name="Title 8">
            <a:extLst>
              <a:ext uri="{FF2B5EF4-FFF2-40B4-BE49-F238E27FC236}">
                <a16:creationId xmlns:a16="http://schemas.microsoft.com/office/drawing/2014/main" id="{E731E393-2087-46CB-922E-1FA8730A0F90}"/>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26235079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subtitle &amp; 3-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14" name="Text 2">
            <a:extLst>
              <a:ext uri="{FF2B5EF4-FFF2-40B4-BE49-F238E27FC236}">
                <a16:creationId xmlns:a16="http://schemas.microsoft.com/office/drawing/2014/main" id="{04F39E57-548F-4B41-8355-D403A9BD599C}"/>
              </a:ext>
            </a:extLst>
          </p:cNvPr>
          <p:cNvSpPr>
            <a:spLocks noGrp="1"/>
          </p:cNvSpPr>
          <p:nvPr>
            <p:ph type="body" sz="quarter" idx="16" hasCustomPrompt="1"/>
          </p:nvPr>
        </p:nvSpPr>
        <p:spPr>
          <a:xfrm>
            <a:off x="503238" y="1743740"/>
            <a:ext cx="3438144"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7" name="Content 3">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2566700"/>
            <a:ext cx="3438144"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5" name="Text 4">
            <a:extLst>
              <a:ext uri="{FF2B5EF4-FFF2-40B4-BE49-F238E27FC236}">
                <a16:creationId xmlns:a16="http://schemas.microsoft.com/office/drawing/2014/main" id="{0C2D5640-8659-431E-AB60-888828D4DCC3}"/>
              </a:ext>
            </a:extLst>
          </p:cNvPr>
          <p:cNvSpPr>
            <a:spLocks noGrp="1"/>
          </p:cNvSpPr>
          <p:nvPr>
            <p:ph type="body" sz="quarter" idx="17" hasCustomPrompt="1"/>
          </p:nvPr>
        </p:nvSpPr>
        <p:spPr>
          <a:xfrm>
            <a:off x="4270407" y="1743740"/>
            <a:ext cx="3438144"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6" name="Content 5">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4270406" y="2566700"/>
            <a:ext cx="3438144"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6" name="Text 6">
            <a:extLst>
              <a:ext uri="{FF2B5EF4-FFF2-40B4-BE49-F238E27FC236}">
                <a16:creationId xmlns:a16="http://schemas.microsoft.com/office/drawing/2014/main" id="{152251DA-6551-4B00-A82B-68FE964D2673}"/>
              </a:ext>
            </a:extLst>
          </p:cNvPr>
          <p:cNvSpPr>
            <a:spLocks noGrp="1"/>
          </p:cNvSpPr>
          <p:nvPr>
            <p:ph type="body" sz="quarter" idx="18" hasCustomPrompt="1"/>
          </p:nvPr>
        </p:nvSpPr>
        <p:spPr>
          <a:xfrm>
            <a:off x="8037576" y="1743740"/>
            <a:ext cx="3438144"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8" name="Content 7">
            <a:extLst>
              <a:ext uri="{FF2B5EF4-FFF2-40B4-BE49-F238E27FC236}">
                <a16:creationId xmlns:a16="http://schemas.microsoft.com/office/drawing/2014/main" id="{21002625-9637-4AAE-B58A-04B6BD9BA3A2}"/>
              </a:ext>
            </a:extLst>
          </p:cNvPr>
          <p:cNvSpPr>
            <a:spLocks noGrp="1"/>
          </p:cNvSpPr>
          <p:nvPr>
            <p:ph sz="quarter" idx="15" hasCustomPrompt="1"/>
          </p:nvPr>
        </p:nvSpPr>
        <p:spPr>
          <a:xfrm>
            <a:off x="8037576" y="2566700"/>
            <a:ext cx="3438144"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B4B2937E-A4CF-467F-A364-DEE844C589DB}"/>
              </a:ext>
            </a:extLst>
          </p:cNvPr>
          <p:cNvSpPr>
            <a:spLocks noGrp="1"/>
          </p:cNvSpPr>
          <p:nvPr>
            <p:ph type="dt" sz="half" idx="19"/>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5E494D7D-938D-4F0D-AEBA-7A83E0CE6269}"/>
              </a:ext>
            </a:extLst>
          </p:cNvPr>
          <p:cNvSpPr>
            <a:spLocks noGrp="1"/>
          </p:cNvSpPr>
          <p:nvPr>
            <p:ph type="ftr" sz="quarter" idx="20"/>
          </p:nvPr>
        </p:nvSpPr>
        <p:spPr/>
        <p:txBody>
          <a:bodyPr/>
          <a:lstStyle/>
          <a:p>
            <a:endParaRPr lang="en-US"/>
          </a:p>
        </p:txBody>
      </p:sp>
      <p:sp>
        <p:nvSpPr>
          <p:cNvPr id="9" name="Title 8">
            <a:extLst>
              <a:ext uri="{FF2B5EF4-FFF2-40B4-BE49-F238E27FC236}">
                <a16:creationId xmlns:a16="http://schemas.microsoft.com/office/drawing/2014/main" id="{EE4F6D13-E29F-4999-B44D-C08B6E843F92}"/>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667967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4-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7" name="Content 2">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64792"/>
            <a:ext cx="2468880"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3">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3337771" y="1764792"/>
            <a:ext cx="2468880"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4">
            <a:extLst>
              <a:ext uri="{FF2B5EF4-FFF2-40B4-BE49-F238E27FC236}">
                <a16:creationId xmlns:a16="http://schemas.microsoft.com/office/drawing/2014/main" id="{D0C12CC6-FBC6-4D67-B342-B8F0BE2175FF}"/>
              </a:ext>
            </a:extLst>
          </p:cNvPr>
          <p:cNvSpPr>
            <a:spLocks noGrp="1"/>
          </p:cNvSpPr>
          <p:nvPr>
            <p:ph sz="quarter" idx="16" hasCustomPrompt="1"/>
          </p:nvPr>
        </p:nvSpPr>
        <p:spPr>
          <a:xfrm>
            <a:off x="6172305" y="1764792"/>
            <a:ext cx="2468880"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Content 5">
            <a:extLst>
              <a:ext uri="{FF2B5EF4-FFF2-40B4-BE49-F238E27FC236}">
                <a16:creationId xmlns:a16="http://schemas.microsoft.com/office/drawing/2014/main" id="{21002625-9637-4AAE-B58A-04B6BD9BA3A2}"/>
              </a:ext>
            </a:extLst>
          </p:cNvPr>
          <p:cNvSpPr>
            <a:spLocks noGrp="1"/>
          </p:cNvSpPr>
          <p:nvPr>
            <p:ph sz="quarter" idx="15" hasCustomPrompt="1"/>
          </p:nvPr>
        </p:nvSpPr>
        <p:spPr>
          <a:xfrm>
            <a:off x="9006840" y="1764792"/>
            <a:ext cx="2468880" cy="4361688"/>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B1E8854C-4E98-4EB0-A97E-D03709726D48}"/>
              </a:ext>
            </a:extLst>
          </p:cNvPr>
          <p:cNvSpPr>
            <a:spLocks noGrp="1"/>
          </p:cNvSpPr>
          <p:nvPr>
            <p:ph type="dt" sz="half" idx="17"/>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E265D6F5-6A37-436E-A0B5-CA933B9DAE0B}"/>
              </a:ext>
            </a:extLst>
          </p:cNvPr>
          <p:cNvSpPr>
            <a:spLocks noGrp="1"/>
          </p:cNvSpPr>
          <p:nvPr>
            <p:ph type="ftr" sz="quarter" idx="18"/>
          </p:nvPr>
        </p:nvSpPr>
        <p:spPr/>
        <p:txBody>
          <a:bodyPr/>
          <a:lstStyle/>
          <a:p>
            <a:endParaRPr lang="en-US"/>
          </a:p>
        </p:txBody>
      </p:sp>
      <p:sp>
        <p:nvSpPr>
          <p:cNvPr id="9" name="Title 8">
            <a:extLst>
              <a:ext uri="{FF2B5EF4-FFF2-40B4-BE49-F238E27FC236}">
                <a16:creationId xmlns:a16="http://schemas.microsoft.com/office/drawing/2014/main" id="{60766A00-383C-4047-92E1-FDC52EB5AB9A}"/>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488489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subtitle &amp; 4-content">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9" name="Text 2">
            <a:extLst>
              <a:ext uri="{FF2B5EF4-FFF2-40B4-BE49-F238E27FC236}">
                <a16:creationId xmlns:a16="http://schemas.microsoft.com/office/drawing/2014/main" id="{6CB7C239-1C81-4928-A343-116D3E582098}"/>
              </a:ext>
            </a:extLst>
          </p:cNvPr>
          <p:cNvSpPr>
            <a:spLocks noGrp="1"/>
          </p:cNvSpPr>
          <p:nvPr>
            <p:ph type="body" sz="quarter" idx="17" hasCustomPrompt="1"/>
          </p:nvPr>
        </p:nvSpPr>
        <p:spPr>
          <a:xfrm>
            <a:off x="503238" y="1743740"/>
            <a:ext cx="2468880"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7" name="Content 3">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2566700"/>
            <a:ext cx="2468880"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4">
            <a:extLst>
              <a:ext uri="{FF2B5EF4-FFF2-40B4-BE49-F238E27FC236}">
                <a16:creationId xmlns:a16="http://schemas.microsoft.com/office/drawing/2014/main" id="{B5D403AF-89AB-472F-B8C0-2B0C17C0B158}"/>
              </a:ext>
            </a:extLst>
          </p:cNvPr>
          <p:cNvSpPr>
            <a:spLocks noGrp="1"/>
          </p:cNvSpPr>
          <p:nvPr>
            <p:ph type="body" sz="quarter" idx="18" hasCustomPrompt="1"/>
          </p:nvPr>
        </p:nvSpPr>
        <p:spPr>
          <a:xfrm>
            <a:off x="3337771" y="1743740"/>
            <a:ext cx="2468880"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6" name="Content 5">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3337771" y="2566700"/>
            <a:ext cx="2468880"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2" name="Text 6">
            <a:extLst>
              <a:ext uri="{FF2B5EF4-FFF2-40B4-BE49-F238E27FC236}">
                <a16:creationId xmlns:a16="http://schemas.microsoft.com/office/drawing/2014/main" id="{63E91DE6-0748-4C15-AD32-3EA570C1BF62}"/>
              </a:ext>
            </a:extLst>
          </p:cNvPr>
          <p:cNvSpPr>
            <a:spLocks noGrp="1"/>
          </p:cNvSpPr>
          <p:nvPr>
            <p:ph type="body" sz="quarter" idx="19" hasCustomPrompt="1"/>
          </p:nvPr>
        </p:nvSpPr>
        <p:spPr>
          <a:xfrm>
            <a:off x="6172305" y="1743740"/>
            <a:ext cx="2468880"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10" name="Content 7">
            <a:extLst>
              <a:ext uri="{FF2B5EF4-FFF2-40B4-BE49-F238E27FC236}">
                <a16:creationId xmlns:a16="http://schemas.microsoft.com/office/drawing/2014/main" id="{D0C12CC6-FBC6-4D67-B342-B8F0BE2175FF}"/>
              </a:ext>
            </a:extLst>
          </p:cNvPr>
          <p:cNvSpPr>
            <a:spLocks noGrp="1"/>
          </p:cNvSpPr>
          <p:nvPr>
            <p:ph sz="quarter" idx="16" hasCustomPrompt="1"/>
          </p:nvPr>
        </p:nvSpPr>
        <p:spPr>
          <a:xfrm>
            <a:off x="6172305" y="2566700"/>
            <a:ext cx="2468880"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3" name="Text 8">
            <a:extLst>
              <a:ext uri="{FF2B5EF4-FFF2-40B4-BE49-F238E27FC236}">
                <a16:creationId xmlns:a16="http://schemas.microsoft.com/office/drawing/2014/main" id="{3C787AE6-FB1A-4E48-99F0-147FD1456E2D}"/>
              </a:ext>
            </a:extLst>
          </p:cNvPr>
          <p:cNvSpPr>
            <a:spLocks noGrp="1"/>
          </p:cNvSpPr>
          <p:nvPr>
            <p:ph type="body" sz="quarter" idx="20" hasCustomPrompt="1"/>
          </p:nvPr>
        </p:nvSpPr>
        <p:spPr>
          <a:xfrm>
            <a:off x="9006840" y="1743740"/>
            <a:ext cx="2468880" cy="640080"/>
          </a:xfrm>
        </p:spPr>
        <p:txBody>
          <a:bodyPr anchor="b"/>
          <a:lstStyle>
            <a:lvl1pPr marL="0" indent="0">
              <a:lnSpc>
                <a:spcPct val="100000"/>
              </a:lnSpc>
              <a:spcBef>
                <a:spcPts val="0"/>
              </a:spcBef>
              <a:buNone/>
              <a:defRPr sz="2000" b="0">
                <a:solidFill>
                  <a:schemeClr val="accent1"/>
                </a:solidFill>
              </a:defRPr>
            </a:lvl1pPr>
            <a:lvl2pPr marL="0" indent="0">
              <a:buNone/>
              <a:defRPr/>
            </a:lvl2pPr>
          </a:lstStyle>
          <a:p>
            <a:r>
              <a:rPr lang="en-US"/>
              <a:t>Presentation </a:t>
            </a:r>
            <a:br>
              <a:rPr lang="en-US"/>
            </a:br>
            <a:r>
              <a:rPr lang="en-US"/>
              <a:t>sub-title, 20pt</a:t>
            </a:r>
          </a:p>
        </p:txBody>
      </p:sp>
      <p:sp>
        <p:nvSpPr>
          <p:cNvPr id="8" name="Content 9">
            <a:extLst>
              <a:ext uri="{FF2B5EF4-FFF2-40B4-BE49-F238E27FC236}">
                <a16:creationId xmlns:a16="http://schemas.microsoft.com/office/drawing/2014/main" id="{21002625-9637-4AAE-B58A-04B6BD9BA3A2}"/>
              </a:ext>
            </a:extLst>
          </p:cNvPr>
          <p:cNvSpPr>
            <a:spLocks noGrp="1"/>
          </p:cNvSpPr>
          <p:nvPr>
            <p:ph sz="quarter" idx="15" hasCustomPrompt="1"/>
          </p:nvPr>
        </p:nvSpPr>
        <p:spPr>
          <a:xfrm>
            <a:off x="9006840" y="2566700"/>
            <a:ext cx="2468880" cy="356105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525216FF-9E00-4438-A519-58F1CEFE95CB}"/>
              </a:ext>
            </a:extLst>
          </p:cNvPr>
          <p:cNvSpPr>
            <a:spLocks noGrp="1"/>
          </p:cNvSpPr>
          <p:nvPr>
            <p:ph type="dt" sz="half" idx="21"/>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FD55F842-F4EB-47B9-B779-D472F11E4DD9}"/>
              </a:ext>
            </a:extLst>
          </p:cNvPr>
          <p:cNvSpPr>
            <a:spLocks noGrp="1"/>
          </p:cNvSpPr>
          <p:nvPr>
            <p:ph type="ftr" sz="quarter" idx="22"/>
          </p:nvPr>
        </p:nvSpPr>
        <p:spPr/>
        <p:txBody>
          <a:bodyPr/>
          <a:lstStyle/>
          <a:p>
            <a:endParaRPr lang="en-US"/>
          </a:p>
        </p:txBody>
      </p:sp>
      <p:sp>
        <p:nvSpPr>
          <p:cNvPr id="14" name="Title 13">
            <a:extLst>
              <a:ext uri="{FF2B5EF4-FFF2-40B4-BE49-F238E27FC236}">
                <a16:creationId xmlns:a16="http://schemas.microsoft.com/office/drawing/2014/main" id="{A1CF86A1-736B-4C05-8939-FA2117F7FB0F}"/>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9403655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4-content sq">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7" name="Content 2">
            <a:extLst>
              <a:ext uri="{FF2B5EF4-FFF2-40B4-BE49-F238E27FC236}">
                <a16:creationId xmlns:a16="http://schemas.microsoft.com/office/drawing/2014/main" id="{098F504E-4D5E-4FDA-9BFA-1D76B12E720F}"/>
              </a:ext>
            </a:extLst>
          </p:cNvPr>
          <p:cNvSpPr>
            <a:spLocks noGrp="1"/>
          </p:cNvSpPr>
          <p:nvPr>
            <p:ph sz="quarter" idx="13" hasCustomPrompt="1"/>
          </p:nvPr>
        </p:nvSpPr>
        <p:spPr>
          <a:xfrm>
            <a:off x="503237" y="1767504"/>
            <a:ext cx="5303520" cy="201168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Content 3">
            <a:extLst>
              <a:ext uri="{FF2B5EF4-FFF2-40B4-BE49-F238E27FC236}">
                <a16:creationId xmlns:a16="http://schemas.microsoft.com/office/drawing/2014/main" id="{C47C178D-362C-4517-BB34-228F3271216F}"/>
              </a:ext>
            </a:extLst>
          </p:cNvPr>
          <p:cNvSpPr>
            <a:spLocks noGrp="1"/>
          </p:cNvSpPr>
          <p:nvPr>
            <p:ph sz="quarter" idx="15" hasCustomPrompt="1"/>
          </p:nvPr>
        </p:nvSpPr>
        <p:spPr>
          <a:xfrm>
            <a:off x="503237" y="4116070"/>
            <a:ext cx="5303520" cy="201168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4">
            <a:extLst>
              <a:ext uri="{FF2B5EF4-FFF2-40B4-BE49-F238E27FC236}">
                <a16:creationId xmlns:a16="http://schemas.microsoft.com/office/drawing/2014/main" id="{FBD63901-F5A1-494E-8A02-41C73B6986B4}"/>
              </a:ext>
            </a:extLst>
          </p:cNvPr>
          <p:cNvSpPr>
            <a:spLocks noGrp="1"/>
          </p:cNvSpPr>
          <p:nvPr>
            <p:ph sz="quarter" idx="14" hasCustomPrompt="1"/>
          </p:nvPr>
        </p:nvSpPr>
        <p:spPr>
          <a:xfrm>
            <a:off x="6172200" y="1767504"/>
            <a:ext cx="5303520" cy="201168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Content 5">
            <a:extLst>
              <a:ext uri="{FF2B5EF4-FFF2-40B4-BE49-F238E27FC236}">
                <a16:creationId xmlns:a16="http://schemas.microsoft.com/office/drawing/2014/main" id="{320C3D18-96CB-4524-96DE-AC3CCAA2552B}"/>
              </a:ext>
            </a:extLst>
          </p:cNvPr>
          <p:cNvSpPr>
            <a:spLocks noGrp="1"/>
          </p:cNvSpPr>
          <p:nvPr>
            <p:ph sz="quarter" idx="16" hasCustomPrompt="1"/>
          </p:nvPr>
        </p:nvSpPr>
        <p:spPr>
          <a:xfrm>
            <a:off x="6172200" y="4116070"/>
            <a:ext cx="5303520" cy="2011680"/>
          </a:xfrm>
        </p:spPr>
        <p:txBody>
          <a:bodyPr/>
          <a:lstStyle>
            <a:lvl1pPr>
              <a:defRPr sz="1600"/>
            </a:lvl1pPr>
            <a:lvl2pPr>
              <a:defRPr sz="1600"/>
            </a:lvl2pPr>
            <a:lvl3pPr>
              <a:defRPr sz="1400"/>
            </a:lvl3pPr>
            <a:lvl4pPr>
              <a:defRPr sz="1200"/>
            </a:lvl4pPr>
            <a:lvl5pP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3A495A7B-5314-431C-A6A7-DD6A1E01A981}"/>
              </a:ext>
            </a:extLst>
          </p:cNvPr>
          <p:cNvSpPr>
            <a:spLocks noGrp="1"/>
          </p:cNvSpPr>
          <p:nvPr>
            <p:ph type="dt" sz="half" idx="17"/>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0B3BA4B8-222E-4AE3-B9ED-3754663BB1EB}"/>
              </a:ext>
            </a:extLst>
          </p:cNvPr>
          <p:cNvSpPr>
            <a:spLocks noGrp="1"/>
          </p:cNvSpPr>
          <p:nvPr>
            <p:ph type="ftr" sz="quarter" idx="18"/>
          </p:nvPr>
        </p:nvSpPr>
        <p:spPr/>
        <p:txBody>
          <a:bodyPr/>
          <a:lstStyle/>
          <a:p>
            <a:endParaRPr lang="en-US"/>
          </a:p>
        </p:txBody>
      </p:sp>
      <p:sp>
        <p:nvSpPr>
          <p:cNvPr id="10" name="Title 9">
            <a:extLst>
              <a:ext uri="{FF2B5EF4-FFF2-40B4-BE49-F238E27FC236}">
                <a16:creationId xmlns:a16="http://schemas.microsoft.com/office/drawing/2014/main" id="{BF21AF0F-6D3C-4D35-843B-1C14647B54D6}"/>
              </a:ext>
            </a:extLst>
          </p:cNvPr>
          <p:cNvSpPr>
            <a:spLocks noGrp="1"/>
          </p:cNvSpPr>
          <p:nvPr>
            <p:ph type="title" hasCustomPrompt="1"/>
          </p:nvPr>
        </p:nvSpPr>
        <p:spPr/>
        <p:txBody>
          <a:bodyPr/>
          <a:lstStyle/>
          <a:p>
            <a:r>
              <a:rPr lang="en-US"/>
              <a:t>Slide title, 36pt</a:t>
            </a:r>
          </a:p>
        </p:txBody>
      </p:sp>
    </p:spTree>
    <p:extLst>
      <p:ext uri="{BB962C8B-B14F-4D97-AF65-F5344CB8AC3E}">
        <p14:creationId xmlns:p14="http://schemas.microsoft.com/office/powerpoint/2010/main" val="18252097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ue/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9D24D40-905A-4D7E-BEF6-90990000577F}"/>
              </a:ext>
              <a:ext uri="{C183D7F6-B498-43B3-948B-1728B52AA6E4}">
                <adec:decorative xmlns:adec="http://schemas.microsoft.com/office/drawing/2017/decorative" val="1"/>
              </a:ext>
            </a:extLst>
          </p:cNvPr>
          <p:cNvSpPr/>
          <p:nvPr userDrawn="1"/>
        </p:nvSpPr>
        <p:spPr>
          <a:xfrm>
            <a:off x="11679936" y="0"/>
            <a:ext cx="51206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7" name="Rectangle 6">
            <a:extLst>
              <a:ext uri="{FF2B5EF4-FFF2-40B4-BE49-F238E27FC236}">
                <a16:creationId xmlns:a16="http://schemas.microsoft.com/office/drawing/2014/main" id="{157A840A-3993-481F-8B92-18CAC5250042}"/>
              </a:ext>
              <a:ext uri="{C183D7F6-B498-43B3-948B-1728B52AA6E4}">
                <adec:decorative xmlns:adec="http://schemas.microsoft.com/office/drawing/2017/decorative" val="1"/>
              </a:ext>
            </a:extLst>
          </p:cNvPr>
          <p:cNvSpPr/>
          <p:nvPr userDrawn="1"/>
        </p:nvSpPr>
        <p:spPr bwMode="ltGray">
          <a:xfrm>
            <a:off x="0" y="0"/>
            <a:ext cx="5545008"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4">
            <a:extLst>
              <a:ext uri="{FF2B5EF4-FFF2-40B4-BE49-F238E27FC236}">
                <a16:creationId xmlns:a16="http://schemas.microsoft.com/office/drawing/2014/main" id="{6A3FAD0E-36FB-4059-B53D-D0C97EF660A8}"/>
              </a:ext>
            </a:extLst>
          </p:cNvPr>
          <p:cNvSpPr>
            <a:spLocks noGrp="1"/>
          </p:cNvSpPr>
          <p:nvPr>
            <p:ph type="sldNum" sz="quarter" idx="12"/>
          </p:nvPr>
        </p:nvSpPr>
        <p:spPr>
          <a:xfrm>
            <a:off x="11679936" y="6464808"/>
            <a:ext cx="512064" cy="393192"/>
          </a:xfrm>
        </p:spPr>
        <p:txBody>
          <a:bodyPr/>
          <a:lstStyle>
            <a:lvl1pPr>
              <a:defRPr>
                <a:solidFill>
                  <a:schemeClr val="bg1"/>
                </a:solidFill>
              </a:defRPr>
            </a:lvl1p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61814580-5568-4BFB-8FFA-04A77B4E1783}"/>
              </a:ext>
            </a:extLst>
          </p:cNvPr>
          <p:cNvSpPr>
            <a:spLocks noGrp="1"/>
          </p:cNvSpPr>
          <p:nvPr>
            <p:ph type="title" hasCustomPrompt="1"/>
          </p:nvPr>
        </p:nvSpPr>
        <p:spPr bwMode="white">
          <a:xfrm>
            <a:off x="502919" y="0"/>
            <a:ext cx="4754880" cy="1463040"/>
          </a:xfrm>
        </p:spPr>
        <p:txBody>
          <a:bodyPr/>
          <a:lstStyle>
            <a:lvl1pPr>
              <a:defRPr>
                <a:solidFill>
                  <a:schemeClr val="bg1"/>
                </a:solidFill>
              </a:defRPr>
            </a:lvl1pPr>
          </a:lstStyle>
          <a:p>
            <a:r>
              <a:rPr lang="en-US"/>
              <a:t>Title slide, 36pt</a:t>
            </a:r>
          </a:p>
        </p:txBody>
      </p:sp>
      <p:sp>
        <p:nvSpPr>
          <p:cNvPr id="9" name="Content 2">
            <a:extLst>
              <a:ext uri="{FF2B5EF4-FFF2-40B4-BE49-F238E27FC236}">
                <a16:creationId xmlns:a16="http://schemas.microsoft.com/office/drawing/2014/main" id="{28368E4C-2916-4679-9A07-839857F683BC}"/>
              </a:ext>
            </a:extLst>
          </p:cNvPr>
          <p:cNvSpPr>
            <a:spLocks noGrp="1"/>
          </p:cNvSpPr>
          <p:nvPr>
            <p:ph sz="quarter" idx="13" hasCustomPrompt="1"/>
          </p:nvPr>
        </p:nvSpPr>
        <p:spPr bwMode="white">
          <a:xfrm>
            <a:off x="503238" y="1737360"/>
            <a:ext cx="4754562" cy="4389120"/>
          </a:xfrm>
        </p:spPr>
        <p:txBody>
          <a:bodyPr/>
          <a:lstStyle>
            <a:lvl1pPr>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3">
            <a:extLst>
              <a:ext uri="{FF2B5EF4-FFF2-40B4-BE49-F238E27FC236}">
                <a16:creationId xmlns:a16="http://schemas.microsoft.com/office/drawing/2014/main" id="{3CE327B3-0077-42D9-B73C-EA4FE5C12849}"/>
              </a:ext>
            </a:extLst>
          </p:cNvPr>
          <p:cNvSpPr>
            <a:spLocks noGrp="1"/>
          </p:cNvSpPr>
          <p:nvPr>
            <p:ph sz="quarter" idx="14" hasCustomPrompt="1"/>
          </p:nvPr>
        </p:nvSpPr>
        <p:spPr>
          <a:xfrm>
            <a:off x="5989320" y="376814"/>
            <a:ext cx="5486400" cy="5749666"/>
          </a:xfrm>
        </p:spPr>
        <p:txBody>
          <a:bodyPr/>
          <a:lstStyle>
            <a:lvl1pPr>
              <a:defRPr b="0"/>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4"/>
            <a:endParaRPr lang="en-US"/>
          </a:p>
        </p:txBody>
      </p:sp>
      <p:pic>
        <p:nvPicPr>
          <p:cNvPr id="13" name="Logo 12">
            <a:extLst>
              <a:ext uri="{FF2B5EF4-FFF2-40B4-BE49-F238E27FC236}">
                <a16:creationId xmlns:a16="http://schemas.microsoft.com/office/drawing/2014/main" id="{33910566-CF43-40CB-8F66-43D069859BB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3035" y="6400800"/>
            <a:ext cx="2926080" cy="188002"/>
          </a:xfrm>
          <a:prstGeom prst="rect">
            <a:avLst/>
          </a:prstGeom>
        </p:spPr>
      </p:pic>
      <p:sp>
        <p:nvSpPr>
          <p:cNvPr id="3" name="Date Placeholder 2">
            <a:extLst>
              <a:ext uri="{FF2B5EF4-FFF2-40B4-BE49-F238E27FC236}">
                <a16:creationId xmlns:a16="http://schemas.microsoft.com/office/drawing/2014/main" id="{BB66222E-B707-4B8F-A8D1-52DA0FA7B42C}"/>
              </a:ext>
            </a:extLst>
          </p:cNvPr>
          <p:cNvSpPr>
            <a:spLocks noGrp="1"/>
          </p:cNvSpPr>
          <p:nvPr>
            <p:ph type="dt" sz="half" idx="15"/>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9DC5B585-A248-4651-946E-0D44A761142A}"/>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8878827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7A840A-3993-481F-8B92-18CAC5250042}"/>
              </a:ext>
              <a:ext uri="{C183D7F6-B498-43B3-948B-1728B52AA6E4}">
                <adec:decorative xmlns:adec="http://schemas.microsoft.com/office/drawing/2017/decorative" val="1"/>
              </a:ext>
            </a:extLst>
          </p:cNvPr>
          <p:cNvSpPr/>
          <p:nvPr userDrawn="1"/>
        </p:nvSpPr>
        <p:spPr bwMode="ltGray">
          <a:xfrm>
            <a:off x="6646992" y="0"/>
            <a:ext cx="5545008"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9D24D40-905A-4D7E-BEF6-90990000577F}"/>
              </a:ext>
              <a:ext uri="{C183D7F6-B498-43B3-948B-1728B52AA6E4}">
                <adec:decorative xmlns:adec="http://schemas.microsoft.com/office/drawing/2017/decorative" val="1"/>
              </a:ext>
            </a:extLst>
          </p:cNvPr>
          <p:cNvSpPr/>
          <p:nvPr userDrawn="1"/>
        </p:nvSpPr>
        <p:spPr>
          <a:xfrm>
            <a:off x="11679936" y="0"/>
            <a:ext cx="51206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6A3FAD0E-36FB-4059-B53D-D0C97EF660A8}"/>
              </a:ext>
            </a:extLst>
          </p:cNvPr>
          <p:cNvSpPr>
            <a:spLocks noGrp="1"/>
          </p:cNvSpPr>
          <p:nvPr>
            <p:ph type="sldNum" sz="quarter" idx="12"/>
          </p:nvPr>
        </p:nvSpPr>
        <p:spPr>
          <a:xfrm>
            <a:off x="11679936" y="6464808"/>
            <a:ext cx="512064" cy="393192"/>
          </a:xfrm>
        </p:spPr>
        <p:txBody>
          <a:bodyPr/>
          <a:lstStyle>
            <a:lvl1pPr>
              <a:defRPr>
                <a:solidFill>
                  <a:schemeClr val="bg1"/>
                </a:solidFill>
              </a:defRPr>
            </a:lvl1p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61814580-5568-4BFB-8FFA-04A77B4E1783}"/>
              </a:ext>
            </a:extLst>
          </p:cNvPr>
          <p:cNvSpPr>
            <a:spLocks noGrp="1"/>
          </p:cNvSpPr>
          <p:nvPr>
            <p:ph type="title" hasCustomPrompt="1"/>
          </p:nvPr>
        </p:nvSpPr>
        <p:spPr bwMode="white">
          <a:xfrm>
            <a:off x="6995160" y="0"/>
            <a:ext cx="4480560" cy="1463040"/>
          </a:xfrm>
        </p:spPr>
        <p:txBody>
          <a:bodyPr/>
          <a:lstStyle>
            <a:lvl1pPr>
              <a:defRPr>
                <a:solidFill>
                  <a:schemeClr val="bg1"/>
                </a:solidFill>
              </a:defRPr>
            </a:lvl1pPr>
          </a:lstStyle>
          <a:p>
            <a:r>
              <a:rPr lang="en-US"/>
              <a:t>Title slide, 36pt</a:t>
            </a:r>
          </a:p>
        </p:txBody>
      </p:sp>
      <p:sp>
        <p:nvSpPr>
          <p:cNvPr id="9" name="Content 2">
            <a:extLst>
              <a:ext uri="{FF2B5EF4-FFF2-40B4-BE49-F238E27FC236}">
                <a16:creationId xmlns:a16="http://schemas.microsoft.com/office/drawing/2014/main" id="{28368E4C-2916-4679-9A07-839857F683BC}"/>
              </a:ext>
            </a:extLst>
          </p:cNvPr>
          <p:cNvSpPr>
            <a:spLocks noGrp="1"/>
          </p:cNvSpPr>
          <p:nvPr>
            <p:ph sz="quarter" idx="13" hasCustomPrompt="1"/>
          </p:nvPr>
        </p:nvSpPr>
        <p:spPr bwMode="white">
          <a:xfrm>
            <a:off x="6995160" y="1737360"/>
            <a:ext cx="4480560" cy="4389120"/>
          </a:xfrm>
        </p:spPr>
        <p:txBody>
          <a:bodyPr/>
          <a:lstStyle>
            <a:lvl1pPr>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3">
            <a:extLst>
              <a:ext uri="{FF2B5EF4-FFF2-40B4-BE49-F238E27FC236}">
                <a16:creationId xmlns:a16="http://schemas.microsoft.com/office/drawing/2014/main" id="{3CE327B3-0077-42D9-B73C-EA4FE5C12849}"/>
              </a:ext>
            </a:extLst>
          </p:cNvPr>
          <p:cNvSpPr>
            <a:spLocks noGrp="1"/>
          </p:cNvSpPr>
          <p:nvPr>
            <p:ph sz="quarter" idx="14" hasCustomPrompt="1"/>
          </p:nvPr>
        </p:nvSpPr>
        <p:spPr>
          <a:xfrm>
            <a:off x="502920" y="376814"/>
            <a:ext cx="5486718" cy="5749666"/>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pic>
        <p:nvPicPr>
          <p:cNvPr id="11" name="Logo 10">
            <a:extLst>
              <a:ext uri="{FF2B5EF4-FFF2-40B4-BE49-F238E27FC236}">
                <a16:creationId xmlns:a16="http://schemas.microsoft.com/office/drawing/2014/main" id="{4E6838CB-688D-453A-9BEE-2FB452F5A14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3035" y="6400800"/>
            <a:ext cx="2926080" cy="188002"/>
          </a:xfrm>
          <a:prstGeom prst="rect">
            <a:avLst/>
          </a:prstGeom>
        </p:spPr>
      </p:pic>
      <p:sp>
        <p:nvSpPr>
          <p:cNvPr id="3" name="Date Placeholder 2">
            <a:extLst>
              <a:ext uri="{FF2B5EF4-FFF2-40B4-BE49-F238E27FC236}">
                <a16:creationId xmlns:a16="http://schemas.microsoft.com/office/drawing/2014/main" id="{C7873527-1860-4EC4-83DE-F8ADC8DEE20E}"/>
              </a:ext>
            </a:extLst>
          </p:cNvPr>
          <p:cNvSpPr>
            <a:spLocks noGrp="1"/>
          </p:cNvSpPr>
          <p:nvPr>
            <p:ph type="dt" sz="half" idx="15"/>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63F46D8E-86E7-48E5-A5A2-4700FE7B05C5}"/>
              </a:ext>
            </a:extLst>
          </p:cNvPr>
          <p:cNvSpPr>
            <a:spLocks noGrp="1"/>
          </p:cNvSpPr>
          <p:nvPr>
            <p:ph type="ftr" sz="quarter" idx="16"/>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251685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85295124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9338EB-8917-49C4-8458-3D619E1F30AD}"/>
              </a:ext>
              <a:ext uri="{C183D7F6-B498-43B3-948B-1728B52AA6E4}">
                <adec:decorative xmlns:adec="http://schemas.microsoft.com/office/drawing/2017/decorative" val="1"/>
              </a:ext>
            </a:extLst>
          </p:cNvPr>
          <p:cNvSpPr/>
          <p:nvPr userDrawn="1"/>
        </p:nvSpPr>
        <p:spPr bwMode="ltGray">
          <a:xfrm>
            <a:off x="3879791" y="6035040"/>
            <a:ext cx="8312209" cy="82296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8" name="Rectangle 7">
            <a:extLst>
              <a:ext uri="{FF2B5EF4-FFF2-40B4-BE49-F238E27FC236}">
                <a16:creationId xmlns:a16="http://schemas.microsoft.com/office/drawing/2014/main" id="{557C8923-E52C-44ED-8ED6-FB1F8FDC765F}"/>
              </a:ext>
              <a:ext uri="{C183D7F6-B498-43B3-948B-1728B52AA6E4}">
                <adec:decorative xmlns:adec="http://schemas.microsoft.com/office/drawing/2017/decorative" val="1"/>
              </a:ext>
            </a:extLst>
          </p:cNvPr>
          <p:cNvSpPr/>
          <p:nvPr userDrawn="1"/>
        </p:nvSpPr>
        <p:spPr>
          <a:xfrm>
            <a:off x="11679936" y="6035040"/>
            <a:ext cx="512064" cy="822960"/>
          </a:xfrm>
          <a:prstGeom prst="rect">
            <a:avLst/>
          </a:prstGeom>
          <a:solidFill>
            <a:srgbClr val="7D5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sp>
        <p:nvSpPr>
          <p:cNvPr id="5" name="Slide Number 4">
            <a:extLst>
              <a:ext uri="{FF2B5EF4-FFF2-40B4-BE49-F238E27FC236}">
                <a16:creationId xmlns:a16="http://schemas.microsoft.com/office/drawing/2014/main" id="{56785572-F52C-428E-A774-98E787625242}"/>
              </a:ext>
            </a:extLst>
          </p:cNvPr>
          <p:cNvSpPr>
            <a:spLocks noGrp="1"/>
          </p:cNvSpPr>
          <p:nvPr>
            <p:ph type="sldNum" sz="quarter" idx="12"/>
          </p:nvPr>
        </p:nvSpPr>
        <p:spPr/>
        <p:txBody>
          <a:bodyPr/>
          <a:lstStyle>
            <a:lvl1pPr>
              <a:defRPr>
                <a:solidFill>
                  <a:schemeClr val="bg1"/>
                </a:solidFill>
              </a:defRPr>
            </a:lvl1pPr>
          </a:lstStyle>
          <a:p>
            <a:fld id="{E1F70E87-4818-48F4-88E2-E301CB903448}" type="slidenum">
              <a:rPr lang="en-US" smtClean="0"/>
              <a:pPr/>
              <a:t>‹#›</a:t>
            </a:fld>
            <a:endParaRPr lang="en-US"/>
          </a:p>
        </p:txBody>
      </p:sp>
      <p:sp>
        <p:nvSpPr>
          <p:cNvPr id="9" name="Picture 4">
            <a:extLst>
              <a:ext uri="{FF2B5EF4-FFF2-40B4-BE49-F238E27FC236}">
                <a16:creationId xmlns:a16="http://schemas.microsoft.com/office/drawing/2014/main" id="{8F1F432F-C9E7-4B86-897C-AF78B43B32D8}"/>
              </a:ext>
            </a:extLst>
          </p:cNvPr>
          <p:cNvSpPr>
            <a:spLocks noGrp="1"/>
          </p:cNvSpPr>
          <p:nvPr>
            <p:ph type="pic" sz="quarter" idx="10" hasCustomPrompt="1"/>
          </p:nvPr>
        </p:nvSpPr>
        <p:spPr>
          <a:xfrm>
            <a:off x="-1" y="0"/>
            <a:ext cx="12188952" cy="6126480"/>
          </a:xfrm>
          <a:prstGeom prst="rect">
            <a:avLst/>
          </a:prstGeom>
          <a:pattFill prst="wdUpDiag">
            <a:fgClr>
              <a:schemeClr val="bg1">
                <a:lumMod val="95000"/>
              </a:schemeClr>
            </a:fgClr>
            <a:bgClr>
              <a:schemeClr val="bg1">
                <a:lumMod val="85000"/>
              </a:schemeClr>
            </a:bgClr>
          </a:pattFill>
        </p:spPr>
        <p:txBody>
          <a:bodyPr lIns="274320" tIns="274320" rIns="822960" bIns="91440"/>
          <a:lstStyle>
            <a:lvl1pPr marL="0" indent="0">
              <a:lnSpc>
                <a:spcPct val="100000"/>
              </a:lnSpc>
              <a:buNone/>
              <a:defRPr b="0">
                <a:solidFill>
                  <a:schemeClr val="tx1"/>
                </a:solidFill>
                <a:latin typeface="+mn-lt"/>
              </a:defRPr>
            </a:lvl1pPr>
          </a:lstStyle>
          <a:p>
            <a:r>
              <a:rPr lang="en-GB"/>
              <a:t>Drag picture to placeholder or click icon to add</a:t>
            </a:r>
            <a:endParaRPr lang="en-US"/>
          </a:p>
        </p:txBody>
      </p:sp>
      <p:pic>
        <p:nvPicPr>
          <p:cNvPr id="7" name="Logo 6">
            <a:extLst>
              <a:ext uri="{FF2B5EF4-FFF2-40B4-BE49-F238E27FC236}">
                <a16:creationId xmlns:a16="http://schemas.microsoft.com/office/drawing/2014/main" id="{1EC7EF11-F7C5-4A3E-92F5-D13B15955D9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3035" y="6400800"/>
            <a:ext cx="2926080" cy="188002"/>
          </a:xfrm>
          <a:prstGeom prst="rect">
            <a:avLst/>
          </a:prstGeom>
        </p:spPr>
      </p:pic>
      <p:sp>
        <p:nvSpPr>
          <p:cNvPr id="2" name="Date Placeholder 1">
            <a:extLst>
              <a:ext uri="{FF2B5EF4-FFF2-40B4-BE49-F238E27FC236}">
                <a16:creationId xmlns:a16="http://schemas.microsoft.com/office/drawing/2014/main" id="{3D6E2BDC-A6F6-4096-96E8-C14A7B75D1C1}"/>
              </a:ext>
            </a:extLst>
          </p:cNvPr>
          <p:cNvSpPr>
            <a:spLocks noGrp="1"/>
          </p:cNvSpPr>
          <p:nvPr>
            <p:ph type="dt" sz="half" idx="13"/>
          </p:nvPr>
        </p:nvSpPr>
        <p:spPr/>
        <p:txBody>
          <a:bodyPr/>
          <a:lstStyle>
            <a:lvl1pPr>
              <a:defRPr>
                <a:solidFill>
                  <a:schemeClr val="bg1"/>
                </a:solidFill>
              </a:defRPr>
            </a:lvl1pPr>
          </a:lstStyle>
          <a:p>
            <a:fld id="{44447170-F1AC-4F6F-97CD-3085A335B429}" type="datetimeFigureOut">
              <a:rPr lang="en-US" smtClean="0"/>
              <a:pPr/>
              <a:t>10/30/2024</a:t>
            </a:fld>
            <a:endParaRPr lang="en-US"/>
          </a:p>
        </p:txBody>
      </p:sp>
      <p:sp>
        <p:nvSpPr>
          <p:cNvPr id="3" name="Footer Placeholder 2">
            <a:extLst>
              <a:ext uri="{FF2B5EF4-FFF2-40B4-BE49-F238E27FC236}">
                <a16:creationId xmlns:a16="http://schemas.microsoft.com/office/drawing/2014/main" id="{608AE0DF-BF68-4394-A2DC-73ACDEB482E8}"/>
              </a:ext>
            </a:extLst>
          </p:cNvPr>
          <p:cNvSpPr>
            <a:spLocks noGrp="1"/>
          </p:cNvSpPr>
          <p:nvPr>
            <p:ph type="ftr" sz="quarter" idx="14"/>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2876107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586CFC73-D4B1-4DFF-A812-2DF83B042BFE}"/>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Title 1">
            <a:extLst>
              <a:ext uri="{FF2B5EF4-FFF2-40B4-BE49-F238E27FC236}">
                <a16:creationId xmlns:a16="http://schemas.microsoft.com/office/drawing/2014/main" id="{7C987AB7-4FEE-4D02-B838-18ECB2FB2DC5}"/>
              </a:ext>
            </a:extLst>
          </p:cNvPr>
          <p:cNvSpPr>
            <a:spLocks noGrp="1"/>
          </p:cNvSpPr>
          <p:nvPr>
            <p:ph type="title" hasCustomPrompt="1"/>
          </p:nvPr>
        </p:nvSpPr>
        <p:spPr/>
        <p:txBody>
          <a:bodyPr/>
          <a:lstStyle/>
          <a:p>
            <a:r>
              <a:rPr lang="en-US"/>
              <a:t>Slide title, 36pt</a:t>
            </a:r>
          </a:p>
        </p:txBody>
      </p:sp>
      <p:sp>
        <p:nvSpPr>
          <p:cNvPr id="3" name="Date Placeholder 2">
            <a:extLst>
              <a:ext uri="{FF2B5EF4-FFF2-40B4-BE49-F238E27FC236}">
                <a16:creationId xmlns:a16="http://schemas.microsoft.com/office/drawing/2014/main" id="{B3E401E1-8B18-4D85-89D0-6560854BF39F}"/>
              </a:ext>
            </a:extLst>
          </p:cNvPr>
          <p:cNvSpPr>
            <a:spLocks noGrp="1"/>
          </p:cNvSpPr>
          <p:nvPr>
            <p:ph type="dt" sz="half" idx="13"/>
          </p:nvPr>
        </p:nvSpPr>
        <p:spPr/>
        <p:txBody>
          <a:bodyPr/>
          <a:lstStyle/>
          <a:p>
            <a:fld id="{44447170-F1AC-4F6F-97CD-3085A335B429}" type="datetimeFigureOut">
              <a:rPr lang="en-US" smtClean="0"/>
              <a:pPr/>
              <a:t>10/30/2024</a:t>
            </a:fld>
            <a:endParaRPr lang="en-US"/>
          </a:p>
        </p:txBody>
      </p:sp>
      <p:sp>
        <p:nvSpPr>
          <p:cNvPr id="4" name="Footer Placeholder 3">
            <a:extLst>
              <a:ext uri="{FF2B5EF4-FFF2-40B4-BE49-F238E27FC236}">
                <a16:creationId xmlns:a16="http://schemas.microsoft.com/office/drawing/2014/main" id="{17636E39-E775-4B63-8E40-737EFA65CE8E}"/>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9636209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4">
            <a:extLst>
              <a:ext uri="{FF2B5EF4-FFF2-40B4-BE49-F238E27FC236}">
                <a16:creationId xmlns:a16="http://schemas.microsoft.com/office/drawing/2014/main" id="{D9521DCA-D84D-4D6E-B199-342209F517D5}"/>
              </a:ext>
            </a:extLst>
          </p:cNvPr>
          <p:cNvSpPr>
            <a:spLocks noGrp="1"/>
          </p:cNvSpPr>
          <p:nvPr>
            <p:ph type="sldNum" sz="quarter" idx="12"/>
          </p:nvPr>
        </p:nvSpPr>
        <p:spPr/>
        <p:txBody>
          <a:bodyPr/>
          <a:lstStyle/>
          <a:p>
            <a:fld id="{E1F70E87-4818-48F4-88E2-E301CB903448}" type="slidenum">
              <a:rPr lang="en-US" smtClean="0"/>
              <a:pPr/>
              <a:t>‹#›</a:t>
            </a:fld>
            <a:endParaRPr lang="en-US"/>
          </a:p>
        </p:txBody>
      </p:sp>
      <p:sp>
        <p:nvSpPr>
          <p:cNvPr id="2" name="Date Placeholder 1">
            <a:extLst>
              <a:ext uri="{FF2B5EF4-FFF2-40B4-BE49-F238E27FC236}">
                <a16:creationId xmlns:a16="http://schemas.microsoft.com/office/drawing/2014/main" id="{E85B9473-0796-4A82-8C91-F930F975F96E}"/>
              </a:ext>
            </a:extLst>
          </p:cNvPr>
          <p:cNvSpPr>
            <a:spLocks noGrp="1"/>
          </p:cNvSpPr>
          <p:nvPr>
            <p:ph type="dt" sz="half" idx="13"/>
          </p:nvPr>
        </p:nvSpPr>
        <p:spPr/>
        <p:txBody>
          <a:bodyPr/>
          <a:lstStyle/>
          <a:p>
            <a:fld id="{44447170-F1AC-4F6F-97CD-3085A335B429}" type="datetimeFigureOut">
              <a:rPr lang="en-US" smtClean="0"/>
              <a:pPr/>
              <a:t>10/30/2024</a:t>
            </a:fld>
            <a:endParaRPr lang="en-US"/>
          </a:p>
        </p:txBody>
      </p:sp>
      <p:sp>
        <p:nvSpPr>
          <p:cNvPr id="3" name="Footer Placeholder 2">
            <a:extLst>
              <a:ext uri="{FF2B5EF4-FFF2-40B4-BE49-F238E27FC236}">
                <a16:creationId xmlns:a16="http://schemas.microsoft.com/office/drawing/2014/main" id="{C6D54A02-A4AA-4FDC-A289-26D90BD5619E}"/>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41804641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Cover 2 - Healthy Fami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B6DC4-F443-4398-B024-61934E953F1A}"/>
              </a:ext>
            </a:extLst>
          </p:cNvPr>
          <p:cNvGraphicFramePr>
            <a:graphicFrameLocks noChangeAspect="1"/>
          </p:cNvGraphicFramePr>
          <p:nvPr userDrawn="1">
            <p:custDataLst>
              <p:tags r:id="rId1"/>
            </p:custDataLst>
            <p:extLst>
              <p:ext uri="{D42A27DB-BD31-4B8C-83A1-F6EECF244321}">
                <p14:modId xmlns:p14="http://schemas.microsoft.com/office/powerpoint/2010/main" val="153550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2BB6DC4-F443-4398-B024-61934E95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ED6E2347-EEF7-434B-B045-D49C56A1486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62"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CE303BEB-AEF3-4ECF-A589-D95CE1A1525F}"/>
              </a:ext>
            </a:extLst>
          </p:cNvPr>
          <p:cNvSpPr/>
          <p:nvPr userDrawn="1"/>
        </p:nvSpPr>
        <p:spPr>
          <a:xfrm>
            <a:off x="-1" y="0"/>
            <a:ext cx="7267576" cy="1410789"/>
          </a:xfrm>
          <a:prstGeom prst="rect">
            <a:avLst/>
          </a:prstGeom>
          <a:gradFill flip="none" rotWithShape="1">
            <a:gsLst>
              <a:gs pos="0">
                <a:schemeClr val="bg1">
                  <a:lumMod val="50000"/>
                  <a:shade val="30000"/>
                  <a:satMod val="115000"/>
                  <a:alpha val="54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D8D8">
                  <a:lumMod val="40000"/>
                  <a:lumOff val="60000"/>
                </a:srgbClr>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1F838AD-A49F-469D-A5A0-9BF7CB17DD1B}"/>
              </a:ext>
            </a:extLst>
          </p:cNvPr>
          <p:cNvSpPr/>
          <p:nvPr userDrawn="1"/>
        </p:nvSpPr>
        <p:spPr>
          <a:xfrm>
            <a:off x="7279042" y="0"/>
            <a:ext cx="491295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789FF9EF-B1EA-4E45-87E6-40CEFE5565DE}"/>
              </a:ext>
            </a:extLst>
          </p:cNvPr>
          <p:cNvSpPr/>
          <p:nvPr userDrawn="1"/>
        </p:nvSpPr>
        <p:spPr>
          <a:xfrm>
            <a:off x="7279042" y="2847703"/>
            <a:ext cx="4913335" cy="2190642"/>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Content Placeholder 5">
            <a:extLst>
              <a:ext uri="{FF2B5EF4-FFF2-40B4-BE49-F238E27FC236}">
                <a16:creationId xmlns:a16="http://schemas.microsoft.com/office/drawing/2014/main" id="{75198B83-C8A4-42DA-B9B5-E85FA6A5D9B5}"/>
              </a:ext>
            </a:extLst>
          </p:cNvPr>
          <p:cNvSpPr>
            <a:spLocks noGrp="1"/>
          </p:cNvSpPr>
          <p:nvPr>
            <p:ph sz="quarter" idx="16" hasCustomPrompt="1"/>
          </p:nvPr>
        </p:nvSpPr>
        <p:spPr>
          <a:xfrm>
            <a:off x="9090660" y="689039"/>
            <a:ext cx="2834640" cy="1645920"/>
          </a:xfrm>
        </p:spPr>
        <p:txBody>
          <a:bodyPr anchor="ctr"/>
          <a:lstStyle>
            <a:lvl1pPr marL="0" indent="0" algn="ctr">
              <a:buFontTx/>
              <a:buNone/>
              <a:defRPr sz="1800" i="1"/>
            </a:lvl1pPr>
          </a:lstStyle>
          <a:p>
            <a:pPr lvl="0"/>
            <a:r>
              <a:rPr lang="en-US"/>
              <a:t>Client logo goes here </a:t>
            </a:r>
            <a:br>
              <a:rPr lang="en-US"/>
            </a:br>
            <a:r>
              <a:rPr lang="en-US"/>
              <a:t>(click on Picture icon)</a:t>
            </a:r>
          </a:p>
        </p:txBody>
      </p:sp>
      <p:sp>
        <p:nvSpPr>
          <p:cNvPr id="14" name="Subtitle 2">
            <a:extLst>
              <a:ext uri="{FF2B5EF4-FFF2-40B4-BE49-F238E27FC236}">
                <a16:creationId xmlns:a16="http://schemas.microsoft.com/office/drawing/2014/main" id="{1CC80F1F-A61B-4FA4-BFDC-34C5900A86D0}"/>
              </a:ext>
            </a:extLst>
          </p:cNvPr>
          <p:cNvSpPr>
            <a:spLocks noGrp="1"/>
          </p:cNvSpPr>
          <p:nvPr>
            <p:ph type="subTitle" idx="1" hasCustomPrompt="1"/>
          </p:nvPr>
        </p:nvSpPr>
        <p:spPr>
          <a:xfrm>
            <a:off x="7296912" y="3944141"/>
            <a:ext cx="4632766" cy="428948"/>
          </a:xfrm>
          <a:prstGeom prst="rect">
            <a:avLst/>
          </a:prstGeom>
        </p:spPr>
        <p:txBody>
          <a:bodyPr lIns="0" tIns="0">
            <a:noAutofit/>
          </a:bodyPr>
          <a:lstStyle>
            <a:lvl1pPr marL="0" indent="0" algn="r">
              <a:lnSpc>
                <a:spcPct val="900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6" name="Text Placeholder 15">
            <a:extLst>
              <a:ext uri="{FF2B5EF4-FFF2-40B4-BE49-F238E27FC236}">
                <a16:creationId xmlns:a16="http://schemas.microsoft.com/office/drawing/2014/main" id="{D6AB4503-F23F-444E-A8F6-CE96FC3129D8}"/>
              </a:ext>
            </a:extLst>
          </p:cNvPr>
          <p:cNvSpPr>
            <a:spLocks noGrp="1"/>
          </p:cNvSpPr>
          <p:nvPr>
            <p:ph type="body" sz="quarter" idx="14" hasCustomPrompt="1"/>
          </p:nvPr>
        </p:nvSpPr>
        <p:spPr>
          <a:xfrm>
            <a:off x="9232456" y="4683358"/>
            <a:ext cx="2702375" cy="225271"/>
          </a:xfrm>
          <a:prstGeom prst="rect">
            <a:avLst/>
          </a:prstGeom>
        </p:spPr>
        <p:txBody>
          <a:bodyPr lIns="0" anchor="ctr" anchorCtr="0">
            <a:noAutofit/>
          </a:bodyPr>
          <a:lstStyle>
            <a:lvl1pPr marL="0" indent="0" algn="r">
              <a:buFontTx/>
              <a:buNone/>
              <a:defRPr sz="12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a:t>
            </a:r>
          </a:p>
        </p:txBody>
      </p:sp>
      <p:sp>
        <p:nvSpPr>
          <p:cNvPr id="17" name="Text Placeholder 2">
            <a:extLst>
              <a:ext uri="{FF2B5EF4-FFF2-40B4-BE49-F238E27FC236}">
                <a16:creationId xmlns:a16="http://schemas.microsoft.com/office/drawing/2014/main" id="{7AE3858F-DCA3-4CCB-AB61-A4A60579F42B}"/>
              </a:ext>
            </a:extLst>
          </p:cNvPr>
          <p:cNvSpPr>
            <a:spLocks noGrp="1"/>
          </p:cNvSpPr>
          <p:nvPr>
            <p:ph type="body" sz="quarter" idx="15" hasCustomPrompt="1"/>
          </p:nvPr>
        </p:nvSpPr>
        <p:spPr>
          <a:xfrm>
            <a:off x="7296912" y="3081528"/>
            <a:ext cx="4628388" cy="832104"/>
          </a:xfrm>
        </p:spPr>
        <p:txBody>
          <a:bodyPr lIns="0" anchor="b">
            <a:noAutofit/>
          </a:bodyPr>
          <a:lstStyle>
            <a:lvl1pPr marL="0" indent="0" algn="r">
              <a:spcBef>
                <a:spcPts val="0"/>
              </a:spcBef>
              <a:buFontTx/>
              <a:buNone/>
              <a:defRPr sz="2800" spc="50" baseline="0">
                <a:solidFill>
                  <a:schemeClr val="bg1"/>
                </a:solidFill>
                <a:latin typeface="+mj-lt"/>
              </a:defRPr>
            </a:lvl1pPr>
          </a:lstStyle>
          <a:p>
            <a:pPr lvl="0"/>
            <a:r>
              <a:rPr lang="en-US"/>
              <a:t>Presentation Title</a:t>
            </a:r>
          </a:p>
        </p:txBody>
      </p:sp>
      <p:sp>
        <p:nvSpPr>
          <p:cNvPr id="3" name="Rectangle 2">
            <a:extLst>
              <a:ext uri="{FF2B5EF4-FFF2-40B4-BE49-F238E27FC236}">
                <a16:creationId xmlns:a16="http://schemas.microsoft.com/office/drawing/2014/main" id="{D6A0B274-223B-56EE-EB4E-1ECC3CBF2D24}"/>
              </a:ext>
            </a:extLst>
          </p:cNvPr>
          <p:cNvSpPr/>
          <p:nvPr userDrawn="1"/>
        </p:nvSpPr>
        <p:spPr>
          <a:xfrm>
            <a:off x="7267575" y="5038344"/>
            <a:ext cx="4924425" cy="18196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3021979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173162"/>
            <a:ext cx="11658600" cy="4889309"/>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1E3520C1-E3AC-E032-E463-471CF49AB2E5}"/>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5" name="Footer Placeholder 1">
            <a:extLst>
              <a:ext uri="{FF2B5EF4-FFF2-40B4-BE49-F238E27FC236}">
                <a16:creationId xmlns:a16="http://schemas.microsoft.com/office/drawing/2014/main" id="{42BC6923-58CC-8C26-3288-2D3F5A4F3CB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294792679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w/Dan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951630"/>
            <a:ext cx="11658600" cy="4110842"/>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2391073-8542-4C9F-B852-037CAE9FF851}"/>
              </a:ext>
            </a:extLst>
          </p:cNvPr>
          <p:cNvSpPr>
            <a:spLocks noGrp="1"/>
          </p:cNvSpPr>
          <p:nvPr>
            <p:ph type="body" sz="quarter" idx="10" hasCustomPrompt="1"/>
          </p:nvPr>
        </p:nvSpPr>
        <p:spPr>
          <a:xfrm>
            <a:off x="266700"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and Content on Home&gt;Layout</a:t>
            </a:r>
          </a:p>
        </p:txBody>
      </p:sp>
      <p:sp>
        <p:nvSpPr>
          <p:cNvPr id="2" name="Slide Number Placeholder 5">
            <a:extLst>
              <a:ext uri="{FF2B5EF4-FFF2-40B4-BE49-F238E27FC236}">
                <a16:creationId xmlns:a16="http://schemas.microsoft.com/office/drawing/2014/main" id="{8C499F0C-7F90-E2CA-DD5B-603CABD40C4F}"/>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7" name="Footer Placeholder 1">
            <a:extLst>
              <a:ext uri="{FF2B5EF4-FFF2-40B4-BE49-F238E27FC236}">
                <a16:creationId xmlns:a16="http://schemas.microsoft.com/office/drawing/2014/main" id="{579E816B-2932-EC3E-2DB5-79DF2CC8045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298358123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62763747-8423-0952-B04B-3487132B6BFD}"/>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7CEAEC4F-35C4-9DE1-2574-63ECFCEEE129}"/>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316629743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w/Dan bo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8E8E4F2-B07C-424D-B977-A5A215DC601B}"/>
              </a:ext>
            </a:extLst>
          </p:cNvPr>
          <p:cNvSpPr>
            <a:spLocks noGrp="1"/>
          </p:cNvSpPr>
          <p:nvPr>
            <p:ph type="body" sz="quarter" idx="11" hasCustomPrompt="1"/>
          </p:nvPr>
        </p:nvSpPr>
        <p:spPr>
          <a:xfrm>
            <a:off x="265176"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Only on Home&gt;Layout</a:t>
            </a:r>
          </a:p>
        </p:txBody>
      </p:sp>
      <p:sp>
        <p:nvSpPr>
          <p:cNvPr id="2" name="Footer Placeholder 1">
            <a:extLst>
              <a:ext uri="{FF2B5EF4-FFF2-40B4-BE49-F238E27FC236}">
                <a16:creationId xmlns:a16="http://schemas.microsoft.com/office/drawing/2014/main" id="{3A9C04C7-F8F2-150B-C869-EBD9E1151471}"/>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3577918010"/>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675342780"/>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1">
            <a:extLst>
              <a:ext uri="{FF2B5EF4-FFF2-40B4-BE49-F238E27FC236}">
                <a16:creationId xmlns:a16="http://schemas.microsoft.com/office/drawing/2014/main" id="{6E061231-053B-1D7D-ADE4-D936E0CDC97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712194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1">
            <a:extLst>
              <a:ext uri="{FF2B5EF4-FFF2-40B4-BE49-F238E27FC236}">
                <a16:creationId xmlns:a16="http://schemas.microsoft.com/office/drawing/2014/main" id="{6E061231-053B-1D7D-ADE4-D936E0CDC97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7968316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Slide - Sub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Text Placeholder 9">
            <a:extLst>
              <a:ext uri="{FF2B5EF4-FFF2-40B4-BE49-F238E27FC236}">
                <a16:creationId xmlns:a16="http://schemas.microsoft.com/office/drawing/2014/main" id="{E10585AB-2D5B-4534-B35C-CF88BA566C4C}"/>
              </a:ext>
            </a:extLst>
          </p:cNvPr>
          <p:cNvSpPr>
            <a:spLocks noGrp="1"/>
          </p:cNvSpPr>
          <p:nvPr>
            <p:ph type="body" sz="quarter" idx="11" hasCustomPrompt="1"/>
          </p:nvPr>
        </p:nvSpPr>
        <p:spPr>
          <a:xfrm>
            <a:off x="274638" y="3035300"/>
            <a:ext cx="11658600" cy="1274763"/>
          </a:xfrm>
        </p:spPr>
        <p:txBody>
          <a:bodyPr>
            <a:normAutofit/>
          </a:bodyPr>
          <a:lstStyle>
            <a:lvl1pPr marL="0" indent="0">
              <a:buNone/>
              <a:defRPr sz="3200">
                <a:solidFill>
                  <a:schemeClr val="bg1"/>
                </a:solidFill>
                <a:latin typeface="+mj-lt"/>
              </a:defRPr>
            </a:lvl1pPr>
          </a:lstStyle>
          <a:p>
            <a:pPr lvl="0"/>
            <a:r>
              <a:rPr lang="en-US"/>
              <a:t>Subsection Title Goes Here</a:t>
            </a:r>
          </a:p>
        </p:txBody>
      </p:sp>
      <p:sp>
        <p:nvSpPr>
          <p:cNvPr id="4" name="Footer Placeholder 1">
            <a:extLst>
              <a:ext uri="{FF2B5EF4-FFF2-40B4-BE49-F238E27FC236}">
                <a16:creationId xmlns:a16="http://schemas.microsoft.com/office/drawing/2014/main" id="{14726D25-9A8E-EE51-D62B-C00F5FB0AFA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24740863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4" name="Text Placeholder 23">
            <a:extLst>
              <a:ext uri="{FF2B5EF4-FFF2-40B4-BE49-F238E27FC236}">
                <a16:creationId xmlns:a16="http://schemas.microsoft.com/office/drawing/2014/main" id="{7A1C55E9-25C9-406A-B47C-F099877A3480}"/>
              </a:ext>
            </a:extLst>
          </p:cNvPr>
          <p:cNvSpPr>
            <a:spLocks noGrp="1"/>
          </p:cNvSpPr>
          <p:nvPr>
            <p:ph type="body" sz="quarter" idx="11" hasCustomPrompt="1"/>
          </p:nvPr>
        </p:nvSpPr>
        <p:spPr>
          <a:xfrm>
            <a:off x="2986088" y="1173164"/>
            <a:ext cx="8939212" cy="4290658"/>
          </a:xfrm>
          <a:solidFill>
            <a:schemeClr val="accent3">
              <a:lumMod val="40000"/>
              <a:lumOff val="60000"/>
            </a:schemeClr>
          </a:solidFill>
        </p:spPr>
        <p:txBody>
          <a:bodyPr lIns="274320" tIns="91440" rIns="274320" bIns="91440" anchor="ctr" anchorCtr="0"/>
          <a:lstStyle>
            <a:lvl1pPr marL="274320" indent="-274320">
              <a:spcBef>
                <a:spcPts val="1800"/>
              </a:spcBef>
              <a:defRPr/>
            </a:lvl1pPr>
            <a:lvl2pPr marL="457200" indent="0">
              <a:buNone/>
              <a:defRPr/>
            </a:lvl2pPr>
          </a:lstStyle>
          <a:p>
            <a:pPr lvl="0"/>
            <a:r>
              <a:rPr lang="en-US"/>
              <a:t>Next Step One goes here</a:t>
            </a:r>
          </a:p>
          <a:p>
            <a:pPr lvl="0"/>
            <a:r>
              <a:rPr lang="en-US"/>
              <a:t>Next Step Two goes here</a:t>
            </a:r>
          </a:p>
          <a:p>
            <a:pPr lvl="0"/>
            <a:r>
              <a:rPr lang="en-US"/>
              <a:t>Next Step Three goes here</a:t>
            </a:r>
          </a:p>
        </p:txBody>
      </p:sp>
      <p:sp>
        <p:nvSpPr>
          <p:cNvPr id="43" name="Rectangle 42">
            <a:extLst>
              <a:ext uri="{FF2B5EF4-FFF2-40B4-BE49-F238E27FC236}">
                <a16:creationId xmlns:a16="http://schemas.microsoft.com/office/drawing/2014/main" id="{3B52B253-7D42-4E85-A8CD-4067AADE30DE}"/>
              </a:ext>
            </a:extLst>
          </p:cNvPr>
          <p:cNvSpPr/>
          <p:nvPr userDrawn="1"/>
        </p:nvSpPr>
        <p:spPr>
          <a:xfrm>
            <a:off x="266700" y="1173479"/>
            <a:ext cx="2720035" cy="4290659"/>
          </a:xfrm>
          <a:prstGeom prst="rect">
            <a:avLst/>
          </a:prstGeom>
          <a:solidFill>
            <a:schemeClr val="accent1"/>
          </a:solidFill>
          <a:ln>
            <a:noFill/>
          </a:ln>
          <a:effectLst>
            <a:outerShdw blurRad="1143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NEX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STEPS</a:t>
            </a:r>
          </a:p>
        </p:txBody>
      </p:sp>
      <p:grpSp>
        <p:nvGrpSpPr>
          <p:cNvPr id="4" name="Group 3">
            <a:extLst>
              <a:ext uri="{FF2B5EF4-FFF2-40B4-BE49-F238E27FC236}">
                <a16:creationId xmlns:a16="http://schemas.microsoft.com/office/drawing/2014/main" id="{6BA1CD3B-28EB-AFBE-F777-520931449940}"/>
              </a:ext>
            </a:extLst>
          </p:cNvPr>
          <p:cNvGrpSpPr/>
          <p:nvPr userDrawn="1"/>
        </p:nvGrpSpPr>
        <p:grpSpPr>
          <a:xfrm>
            <a:off x="626330" y="3038060"/>
            <a:ext cx="2000775" cy="1034830"/>
            <a:chOff x="588263" y="3038060"/>
            <a:chExt cx="2000775" cy="1034830"/>
          </a:xfrm>
        </p:grpSpPr>
        <p:sp>
          <p:nvSpPr>
            <p:cNvPr id="44" name="Arrow: Chevron 43">
              <a:extLst>
                <a:ext uri="{FF2B5EF4-FFF2-40B4-BE49-F238E27FC236}">
                  <a16:creationId xmlns:a16="http://schemas.microsoft.com/office/drawing/2014/main" id="{9CE28639-56AB-4B7D-B323-4864EB1AB83F}"/>
                </a:ext>
              </a:extLst>
            </p:cNvPr>
            <p:cNvSpPr/>
            <p:nvPr userDrawn="1"/>
          </p:nvSpPr>
          <p:spPr>
            <a:xfrm>
              <a:off x="2037392"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Arrow: Chevron 44">
              <a:extLst>
                <a:ext uri="{FF2B5EF4-FFF2-40B4-BE49-F238E27FC236}">
                  <a16:creationId xmlns:a16="http://schemas.microsoft.com/office/drawing/2014/main" id="{D3E12F6D-0F8F-4C19-A4ED-604BACED5DE5}"/>
                </a:ext>
              </a:extLst>
            </p:cNvPr>
            <p:cNvSpPr/>
            <p:nvPr userDrawn="1"/>
          </p:nvSpPr>
          <p:spPr>
            <a:xfrm>
              <a:off x="1554349"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Arrow: Chevron 45">
              <a:extLst>
                <a:ext uri="{FF2B5EF4-FFF2-40B4-BE49-F238E27FC236}">
                  <a16:creationId xmlns:a16="http://schemas.microsoft.com/office/drawing/2014/main" id="{3D49C03D-6243-4E54-AF1D-66175C54DD28}"/>
                </a:ext>
              </a:extLst>
            </p:cNvPr>
            <p:cNvSpPr/>
            <p:nvPr userDrawn="1"/>
          </p:nvSpPr>
          <p:spPr>
            <a:xfrm>
              <a:off x="1071306"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Arrow: Chevron 46">
              <a:extLst>
                <a:ext uri="{FF2B5EF4-FFF2-40B4-BE49-F238E27FC236}">
                  <a16:creationId xmlns:a16="http://schemas.microsoft.com/office/drawing/2014/main" id="{F1D32012-5B20-4721-910B-6BCF03A7318A}"/>
                </a:ext>
              </a:extLst>
            </p:cNvPr>
            <p:cNvSpPr/>
            <p:nvPr userDrawn="1"/>
          </p:nvSpPr>
          <p:spPr>
            <a:xfrm>
              <a:off x="588263"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Footer Placeholder 1">
            <a:extLst>
              <a:ext uri="{FF2B5EF4-FFF2-40B4-BE49-F238E27FC236}">
                <a16:creationId xmlns:a16="http://schemas.microsoft.com/office/drawing/2014/main" id="{F8C297A0-4453-5642-C15F-E6AAE7FC71B6}"/>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131977862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estions and Discussion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4" name="Group 3">
            <a:extLst>
              <a:ext uri="{FF2B5EF4-FFF2-40B4-BE49-F238E27FC236}">
                <a16:creationId xmlns:a16="http://schemas.microsoft.com/office/drawing/2014/main" id="{8DBA9C78-4DF7-4D75-9842-39ED1A36FD0C}"/>
              </a:ext>
            </a:extLst>
          </p:cNvPr>
          <p:cNvGrpSpPr/>
          <p:nvPr userDrawn="1"/>
        </p:nvGrpSpPr>
        <p:grpSpPr>
          <a:xfrm>
            <a:off x="1849031" y="1164270"/>
            <a:ext cx="8493938" cy="3323552"/>
            <a:chOff x="1915268" y="1164270"/>
            <a:chExt cx="8493938" cy="3323552"/>
          </a:xfrm>
        </p:grpSpPr>
        <p:sp>
          <p:nvSpPr>
            <p:cNvPr id="6" name="Oval Callout 24">
              <a:extLst>
                <a:ext uri="{FF2B5EF4-FFF2-40B4-BE49-F238E27FC236}">
                  <a16:creationId xmlns:a16="http://schemas.microsoft.com/office/drawing/2014/main" id="{0B9D9E15-5F54-483E-856F-9777C7BBB0FF}"/>
                </a:ext>
              </a:extLst>
            </p:cNvPr>
            <p:cNvSpPr/>
            <p:nvPr/>
          </p:nvSpPr>
          <p:spPr bwMode="auto">
            <a:xfrm>
              <a:off x="2286001" y="2647298"/>
              <a:ext cx="2433711" cy="1350499"/>
            </a:xfrm>
            <a:prstGeom prst="wedgeEllipseCallout">
              <a:avLst>
                <a:gd name="adj1" fmla="val -60717"/>
                <a:gd name="adj2" fmla="val 52083"/>
              </a:avLst>
            </a:prstGeom>
            <a:solidFill>
              <a:schemeClr val="bg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7" name="Oval Callout 25">
              <a:extLst>
                <a:ext uri="{FF2B5EF4-FFF2-40B4-BE49-F238E27FC236}">
                  <a16:creationId xmlns:a16="http://schemas.microsoft.com/office/drawing/2014/main" id="{1D01254F-672A-4034-8EE1-2FCF3AB3065D}"/>
                </a:ext>
              </a:extLst>
            </p:cNvPr>
            <p:cNvSpPr/>
            <p:nvPr/>
          </p:nvSpPr>
          <p:spPr bwMode="auto">
            <a:xfrm>
              <a:off x="4395329" y="2921621"/>
              <a:ext cx="2433711" cy="1566201"/>
            </a:xfrm>
            <a:prstGeom prst="wedgeEllipseCallout">
              <a:avLst>
                <a:gd name="adj1" fmla="val 36971"/>
                <a:gd name="adj2" fmla="val 67708"/>
              </a:avLst>
            </a:prstGeom>
            <a:solidFill>
              <a:schemeClr val="accent6"/>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8" name="Oval Callout 26">
              <a:extLst>
                <a:ext uri="{FF2B5EF4-FFF2-40B4-BE49-F238E27FC236}">
                  <a16:creationId xmlns:a16="http://schemas.microsoft.com/office/drawing/2014/main" id="{A63660D0-913F-431B-AA6C-7816E98E713E}"/>
                </a:ext>
              </a:extLst>
            </p:cNvPr>
            <p:cNvSpPr/>
            <p:nvPr/>
          </p:nvSpPr>
          <p:spPr bwMode="auto">
            <a:xfrm>
              <a:off x="3863101" y="3498248"/>
              <a:ext cx="1064455" cy="980049"/>
            </a:xfrm>
            <a:prstGeom prst="wedgeEllipseCallout">
              <a:avLst>
                <a:gd name="adj1" fmla="val 36971"/>
                <a:gd name="adj2" fmla="val 67708"/>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9" name="Oval Callout 27">
              <a:extLst>
                <a:ext uri="{FF2B5EF4-FFF2-40B4-BE49-F238E27FC236}">
                  <a16:creationId xmlns:a16="http://schemas.microsoft.com/office/drawing/2014/main" id="{659341B6-A649-4CB7-94E1-2BD8F5D5FE3E}"/>
                </a:ext>
              </a:extLst>
            </p:cNvPr>
            <p:cNvSpPr/>
            <p:nvPr/>
          </p:nvSpPr>
          <p:spPr bwMode="auto">
            <a:xfrm>
              <a:off x="6172201" y="2456225"/>
              <a:ext cx="1752600" cy="1541572"/>
            </a:xfrm>
            <a:prstGeom prst="wedgeEllipseCallout">
              <a:avLst/>
            </a:prstGeom>
            <a:solidFill>
              <a:schemeClr val="accent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0" name="Oval Callout 28">
              <a:extLst>
                <a:ext uri="{FF2B5EF4-FFF2-40B4-BE49-F238E27FC236}">
                  <a16:creationId xmlns:a16="http://schemas.microsoft.com/office/drawing/2014/main" id="{3BEEF42C-B849-4993-A6C1-9C270E8B6E73}"/>
                </a:ext>
              </a:extLst>
            </p:cNvPr>
            <p:cNvSpPr/>
            <p:nvPr/>
          </p:nvSpPr>
          <p:spPr bwMode="auto">
            <a:xfrm>
              <a:off x="7432975" y="2551761"/>
              <a:ext cx="2433711" cy="1350499"/>
            </a:xfrm>
            <a:prstGeom prst="wedgeEllipseCallout">
              <a:avLst>
                <a:gd name="adj1" fmla="val -25457"/>
                <a:gd name="adj2" fmla="val 68750"/>
              </a:avLst>
            </a:prstGeom>
            <a:solidFill>
              <a:schemeClr val="accent3"/>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1" name="Oval Callout 29">
              <a:extLst>
                <a:ext uri="{FF2B5EF4-FFF2-40B4-BE49-F238E27FC236}">
                  <a16:creationId xmlns:a16="http://schemas.microsoft.com/office/drawing/2014/main" id="{22639245-E1AF-4A3B-8B4E-ED62120F4709}"/>
                </a:ext>
              </a:extLst>
            </p:cNvPr>
            <p:cNvSpPr/>
            <p:nvPr/>
          </p:nvSpPr>
          <p:spPr bwMode="auto">
            <a:xfrm>
              <a:off x="8802231" y="3435088"/>
              <a:ext cx="1064455" cy="980049"/>
            </a:xfrm>
            <a:prstGeom prst="wedgeEllipseCallout">
              <a:avLst>
                <a:gd name="adj1" fmla="val -26465"/>
                <a:gd name="adj2" fmla="val 72015"/>
              </a:avLst>
            </a:prstGeom>
            <a:solidFill>
              <a:schemeClr val="accent4">
                <a:lumMod val="75000"/>
              </a:schemeClr>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grpSp>
          <p:nvGrpSpPr>
            <p:cNvPr id="12" name="Group 11">
              <a:extLst>
                <a:ext uri="{FF2B5EF4-FFF2-40B4-BE49-F238E27FC236}">
                  <a16:creationId xmlns:a16="http://schemas.microsoft.com/office/drawing/2014/main" id="{8E4E1F7B-2861-43A2-A887-5A6359BC461C}"/>
                </a:ext>
              </a:extLst>
            </p:cNvPr>
            <p:cNvGrpSpPr/>
            <p:nvPr/>
          </p:nvGrpSpPr>
          <p:grpSpPr>
            <a:xfrm>
              <a:off x="1915268" y="1164270"/>
              <a:ext cx="8493938" cy="1446550"/>
              <a:chOff x="391268" y="997890"/>
              <a:chExt cx="8493938" cy="1446550"/>
            </a:xfrm>
          </p:grpSpPr>
          <p:sp>
            <p:nvSpPr>
              <p:cNvPr id="13" name="Title 1">
                <a:extLst>
                  <a:ext uri="{FF2B5EF4-FFF2-40B4-BE49-F238E27FC236}">
                    <a16:creationId xmlns:a16="http://schemas.microsoft.com/office/drawing/2014/main" id="{0296A2FF-607B-4A83-88E7-16CE0E42A4E2}"/>
                  </a:ext>
                </a:extLst>
              </p:cNvPr>
              <p:cNvSpPr txBox="1">
                <a:spLocks/>
              </p:cNvSpPr>
              <p:nvPr/>
            </p:nvSpPr>
            <p:spPr>
              <a:xfrm>
                <a:off x="391268" y="1518699"/>
                <a:ext cx="3925515" cy="769441"/>
              </a:xfrm>
              <a:prstGeom prst="rect">
                <a:avLst/>
              </a:prstGeom>
            </p:spPr>
            <p:txBody>
              <a:bodyPr vert="horz" lIns="91440" tIns="45720" rIns="91440" bIns="45720" rtlCol="0" anchor="ctr">
                <a:spAutoFit/>
              </a:bodyPr>
              <a:lstStyle>
                <a:lvl1pPr algn="ctr" defTabSz="914400" rtl="0" eaLnBrk="1" latinLnBrk="0" hangingPunct="1">
                  <a:spcBef>
                    <a:spcPct val="0"/>
                  </a:spcBef>
                  <a:buNone/>
                  <a:defRPr sz="3200" b="1" kern="1200" baseline="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Questions</a:t>
                </a:r>
              </a:p>
            </p:txBody>
          </p:sp>
          <p:sp>
            <p:nvSpPr>
              <p:cNvPr id="14" name="TextBox 13">
                <a:extLst>
                  <a:ext uri="{FF2B5EF4-FFF2-40B4-BE49-F238E27FC236}">
                    <a16:creationId xmlns:a16="http://schemas.microsoft.com/office/drawing/2014/main" id="{E6C7106F-E585-486F-AAF1-1F91F9686DCF}"/>
                  </a:ext>
                </a:extLst>
              </p:cNvPr>
              <p:cNvSpPr txBox="1"/>
              <p:nvPr/>
            </p:nvSpPr>
            <p:spPr>
              <a:xfrm>
                <a:off x="3657600" y="997890"/>
                <a:ext cx="14478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0091E1"/>
                    </a:solidFill>
                    <a:effectLst/>
                    <a:uLnTx/>
                    <a:uFillTx/>
                    <a:latin typeface="Rockwell" panose="02060603020205020403" pitchFamily="18" charset="0"/>
                    <a:ea typeface="+mn-ea"/>
                    <a:cs typeface="Arial" panose="020B0604020202020204" pitchFamily="34" charset="0"/>
                  </a:rPr>
                  <a:t>&amp;</a:t>
                </a:r>
              </a:p>
            </p:txBody>
          </p:sp>
          <p:sp>
            <p:nvSpPr>
              <p:cNvPr id="15" name="Title 1">
                <a:extLst>
                  <a:ext uri="{FF2B5EF4-FFF2-40B4-BE49-F238E27FC236}">
                    <a16:creationId xmlns:a16="http://schemas.microsoft.com/office/drawing/2014/main" id="{F0FBBBAE-CE0B-4B52-BC8E-9129F4055A8F}"/>
                  </a:ext>
                </a:extLst>
              </p:cNvPr>
              <p:cNvSpPr txBox="1">
                <a:spLocks/>
              </p:cNvSpPr>
              <p:nvPr/>
            </p:nvSpPr>
            <p:spPr>
              <a:xfrm>
                <a:off x="4215440" y="1530795"/>
                <a:ext cx="4669766" cy="769441"/>
              </a:xfrm>
              <a:prstGeom prst="rect">
                <a:avLst/>
              </a:prstGeom>
            </p:spPr>
            <p:txBody>
              <a:bodyPr vert="horz" wrap="square" lIns="91440" tIns="45720" rIns="91440" bIns="45720" rtlCol="0" anchor="ctr">
                <a:spAutoFit/>
              </a:bodyPr>
              <a:lstStyle>
                <a:lvl1pPr algn="ctr" defTabSz="914400" rtl="0" eaLnBrk="1" latinLnBrk="0" hangingPunct="1">
                  <a:spcBef>
                    <a:spcPct val="0"/>
                  </a:spcBef>
                  <a:buNone/>
                  <a:defRPr sz="3200" b="1" kern="120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Discussion</a:t>
                </a:r>
              </a:p>
            </p:txBody>
          </p:sp>
        </p:grpSp>
      </p:grpSp>
      <p:sp>
        <p:nvSpPr>
          <p:cNvPr id="16" name="Text Placeholder 15">
            <a:extLst>
              <a:ext uri="{FF2B5EF4-FFF2-40B4-BE49-F238E27FC236}">
                <a16:creationId xmlns:a16="http://schemas.microsoft.com/office/drawing/2014/main" id="{15567D59-4386-4DB3-9DFF-C9E181FCB29E}"/>
              </a:ext>
            </a:extLst>
          </p:cNvPr>
          <p:cNvSpPr>
            <a:spLocks noGrp="1"/>
          </p:cNvSpPr>
          <p:nvPr>
            <p:ph type="body" sz="quarter" idx="11" hasCustomPrompt="1"/>
          </p:nvPr>
        </p:nvSpPr>
        <p:spPr>
          <a:xfrm>
            <a:off x="2863618" y="4800600"/>
            <a:ext cx="3014662" cy="457200"/>
          </a:xfrm>
        </p:spPr>
        <p:txBody>
          <a:bodyPr/>
          <a:lstStyle>
            <a:lvl1pPr marL="0" indent="0" algn="ctr">
              <a:buFontTx/>
              <a:buNone/>
              <a:defRPr b="1"/>
            </a:lvl1pPr>
          </a:lstStyle>
          <a:p>
            <a:pPr lvl="0"/>
            <a:r>
              <a:rPr lang="en-US"/>
              <a:t>Name</a:t>
            </a:r>
          </a:p>
          <a:p>
            <a:pPr lvl="0"/>
            <a:endParaRPr lang="en-US"/>
          </a:p>
        </p:txBody>
      </p:sp>
      <p:sp>
        <p:nvSpPr>
          <p:cNvPr id="18" name="Text Placeholder 15">
            <a:extLst>
              <a:ext uri="{FF2B5EF4-FFF2-40B4-BE49-F238E27FC236}">
                <a16:creationId xmlns:a16="http://schemas.microsoft.com/office/drawing/2014/main" id="{1D0056BF-8338-45CD-B076-376EEDBD46F3}"/>
              </a:ext>
            </a:extLst>
          </p:cNvPr>
          <p:cNvSpPr>
            <a:spLocks noGrp="1"/>
          </p:cNvSpPr>
          <p:nvPr>
            <p:ph type="body" sz="quarter" idx="12" hasCustomPrompt="1"/>
          </p:nvPr>
        </p:nvSpPr>
        <p:spPr>
          <a:xfrm>
            <a:off x="2863618"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22" name="Text Placeholder 15">
            <a:extLst>
              <a:ext uri="{FF2B5EF4-FFF2-40B4-BE49-F238E27FC236}">
                <a16:creationId xmlns:a16="http://schemas.microsoft.com/office/drawing/2014/main" id="{F0586C2F-544F-4BF1-A61B-F8013D680B73}"/>
              </a:ext>
            </a:extLst>
          </p:cNvPr>
          <p:cNvSpPr>
            <a:spLocks noGrp="1"/>
          </p:cNvSpPr>
          <p:nvPr>
            <p:ph type="body" sz="quarter" idx="13" hasCustomPrompt="1"/>
          </p:nvPr>
        </p:nvSpPr>
        <p:spPr>
          <a:xfrm>
            <a:off x="6313720" y="4800600"/>
            <a:ext cx="3014662" cy="457200"/>
          </a:xfrm>
        </p:spPr>
        <p:txBody>
          <a:bodyPr/>
          <a:lstStyle>
            <a:lvl1pPr marL="0" indent="0" algn="ctr">
              <a:buFontTx/>
              <a:buNone/>
              <a:defRPr b="1"/>
            </a:lvl1pPr>
          </a:lstStyle>
          <a:p>
            <a:pPr lvl="0"/>
            <a:r>
              <a:rPr lang="en-US"/>
              <a:t>Name</a:t>
            </a:r>
          </a:p>
          <a:p>
            <a:pPr lvl="0"/>
            <a:endParaRPr lang="en-US"/>
          </a:p>
        </p:txBody>
      </p:sp>
      <p:sp>
        <p:nvSpPr>
          <p:cNvPr id="23" name="Text Placeholder 15">
            <a:extLst>
              <a:ext uri="{FF2B5EF4-FFF2-40B4-BE49-F238E27FC236}">
                <a16:creationId xmlns:a16="http://schemas.microsoft.com/office/drawing/2014/main" id="{AB0A737E-927A-4B0D-9099-B124AAF93530}"/>
              </a:ext>
            </a:extLst>
          </p:cNvPr>
          <p:cNvSpPr>
            <a:spLocks noGrp="1"/>
          </p:cNvSpPr>
          <p:nvPr>
            <p:ph type="body" sz="quarter" idx="14" hasCustomPrompt="1"/>
          </p:nvPr>
        </p:nvSpPr>
        <p:spPr>
          <a:xfrm>
            <a:off x="6313720"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3" name="Footer Placeholder 1">
            <a:extLst>
              <a:ext uri="{FF2B5EF4-FFF2-40B4-BE49-F238E27FC236}">
                <a16:creationId xmlns:a16="http://schemas.microsoft.com/office/drawing/2014/main" id="{0A306CEA-3184-F441-C591-06FC02087DC3}"/>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extLst>
      <p:ext uri="{BB962C8B-B14F-4D97-AF65-F5344CB8AC3E}">
        <p14:creationId xmlns:p14="http://schemas.microsoft.com/office/powerpoint/2010/main" val="75208327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89320"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3"/>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89320"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1190.004\681195(pptx)-E2 6-24-24</a:t>
            </a:r>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7990225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grpSp>
        <p:nvGrpSpPr>
          <p:cNvPr id="526" name="Group 525"/>
          <p:cNvGrpSpPr/>
          <p:nvPr/>
        </p:nvGrpSpPr>
        <p:grpSpPr>
          <a:xfrm>
            <a:off x="0" y="420256"/>
            <a:ext cx="12188952" cy="3795497"/>
            <a:chOff x="0" y="420256"/>
            <a:chExt cx="12188952" cy="3795497"/>
          </a:xfrm>
        </p:grpSpPr>
        <p:cxnSp>
          <p:nvCxnSpPr>
            <p:cNvPr id="527" name="Straight Connector 526"/>
            <p:cNvCxnSpPr/>
            <p:nvPr/>
          </p:nvCxnSpPr>
          <p:spPr>
            <a:xfrm>
              <a:off x="0" y="4215753"/>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0" y="379403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a:off x="0" y="337231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p:cNvCxnSpPr/>
            <p:nvPr/>
          </p:nvCxnSpPr>
          <p:spPr>
            <a:xfrm>
              <a:off x="0" y="295058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p:nvPr/>
          </p:nvCxnSpPr>
          <p:spPr>
            <a:xfrm>
              <a:off x="0" y="252886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p:nvPr/>
          </p:nvCxnSpPr>
          <p:spPr>
            <a:xfrm>
              <a:off x="0" y="2107144"/>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p:cNvCxnSpPr/>
            <p:nvPr/>
          </p:nvCxnSpPr>
          <p:spPr>
            <a:xfrm>
              <a:off x="0" y="168542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p:cNvCxnSpPr/>
            <p:nvPr/>
          </p:nvCxnSpPr>
          <p:spPr>
            <a:xfrm>
              <a:off x="0" y="126370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p:nvPr/>
          </p:nvCxnSpPr>
          <p:spPr>
            <a:xfrm>
              <a:off x="0" y="84197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p:cNvCxnSpPr/>
            <p:nvPr/>
          </p:nvCxnSpPr>
          <p:spPr>
            <a:xfrm>
              <a:off x="0" y="42025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37" name="Rectangle 379"/>
          <p:cNvSpPr/>
          <p:nvPr/>
        </p:nvSpPr>
        <p:spPr>
          <a:xfrm rot="18900000" flipV="1">
            <a:off x="9445819" y="-965459"/>
            <a:ext cx="13717" cy="6493220"/>
          </a:xfrm>
          <a:custGeom>
            <a:avLst/>
            <a:gdLst/>
            <a:ahLst/>
            <a:cxnLst/>
            <a:rect l="l" t="t" r="r" b="b"/>
            <a:pathLst>
              <a:path w="13717" h="6493220">
                <a:moveTo>
                  <a:pt x="1" y="6493220"/>
                </a:moveTo>
                <a:lnTo>
                  <a:pt x="13717"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8" name="Rectangle 56"/>
          <p:cNvSpPr/>
          <p:nvPr/>
        </p:nvSpPr>
        <p:spPr>
          <a:xfrm>
            <a:off x="0" y="0"/>
            <a:ext cx="11816540" cy="4572004"/>
          </a:xfrm>
          <a:custGeom>
            <a:avLst/>
            <a:gdLst/>
            <a:ahLst/>
            <a:cxnLst/>
            <a:rect l="l" t="t" r="r" b="b"/>
            <a:pathLst>
              <a:path w="11816540" h="4572004">
                <a:moveTo>
                  <a:pt x="11802824" y="4"/>
                </a:moveTo>
                <a:lnTo>
                  <a:pt x="11816540" y="4"/>
                </a:lnTo>
                <a:lnTo>
                  <a:pt x="11816540" y="4572004"/>
                </a:lnTo>
                <a:lnTo>
                  <a:pt x="11802824" y="4572004"/>
                </a:lnTo>
                <a:close/>
                <a:moveTo>
                  <a:pt x="5901406" y="4"/>
                </a:moveTo>
                <a:lnTo>
                  <a:pt x="5915122" y="4"/>
                </a:lnTo>
                <a:lnTo>
                  <a:pt x="5915122" y="4572004"/>
                </a:lnTo>
                <a:lnTo>
                  <a:pt x="5901406" y="4572004"/>
                </a:lnTo>
                <a:close/>
                <a:moveTo>
                  <a:pt x="10959754" y="3"/>
                </a:moveTo>
                <a:lnTo>
                  <a:pt x="10973470" y="3"/>
                </a:lnTo>
                <a:lnTo>
                  <a:pt x="10973470" y="4572003"/>
                </a:lnTo>
                <a:lnTo>
                  <a:pt x="10959754" y="4572003"/>
                </a:lnTo>
                <a:close/>
                <a:moveTo>
                  <a:pt x="5058348" y="3"/>
                </a:moveTo>
                <a:lnTo>
                  <a:pt x="5072064" y="3"/>
                </a:lnTo>
                <a:lnTo>
                  <a:pt x="5072064" y="4572003"/>
                </a:lnTo>
                <a:lnTo>
                  <a:pt x="5058348" y="4572003"/>
                </a:lnTo>
                <a:close/>
                <a:moveTo>
                  <a:pt x="11381283" y="2"/>
                </a:moveTo>
                <a:lnTo>
                  <a:pt x="11394999" y="2"/>
                </a:lnTo>
                <a:lnTo>
                  <a:pt x="11394999" y="4572002"/>
                </a:lnTo>
                <a:lnTo>
                  <a:pt x="11381283" y="4572002"/>
                </a:lnTo>
                <a:close/>
                <a:moveTo>
                  <a:pt x="10538225" y="2"/>
                </a:moveTo>
                <a:lnTo>
                  <a:pt x="10551941" y="2"/>
                </a:lnTo>
                <a:lnTo>
                  <a:pt x="10551941" y="4572002"/>
                </a:lnTo>
                <a:lnTo>
                  <a:pt x="10538225" y="4572002"/>
                </a:lnTo>
                <a:close/>
                <a:moveTo>
                  <a:pt x="10116696" y="2"/>
                </a:moveTo>
                <a:lnTo>
                  <a:pt x="10130412" y="2"/>
                </a:lnTo>
                <a:lnTo>
                  <a:pt x="10130412" y="4572002"/>
                </a:lnTo>
                <a:lnTo>
                  <a:pt x="10116696" y="4572002"/>
                </a:lnTo>
                <a:close/>
                <a:moveTo>
                  <a:pt x="6322935" y="2"/>
                </a:moveTo>
                <a:lnTo>
                  <a:pt x="6336651" y="2"/>
                </a:lnTo>
                <a:lnTo>
                  <a:pt x="6336651" y="4572002"/>
                </a:lnTo>
                <a:lnTo>
                  <a:pt x="6322935" y="4572002"/>
                </a:lnTo>
                <a:close/>
                <a:moveTo>
                  <a:pt x="5479877" y="2"/>
                </a:moveTo>
                <a:lnTo>
                  <a:pt x="5493593" y="2"/>
                </a:lnTo>
                <a:lnTo>
                  <a:pt x="5493593" y="4572002"/>
                </a:lnTo>
                <a:lnTo>
                  <a:pt x="5479877" y="4572002"/>
                </a:lnTo>
                <a:close/>
                <a:moveTo>
                  <a:pt x="4636819" y="2"/>
                </a:moveTo>
                <a:lnTo>
                  <a:pt x="4650535" y="2"/>
                </a:lnTo>
                <a:lnTo>
                  <a:pt x="4650535" y="4572002"/>
                </a:lnTo>
                <a:lnTo>
                  <a:pt x="4636819" y="4572002"/>
                </a:lnTo>
                <a:close/>
                <a:moveTo>
                  <a:pt x="4215290" y="2"/>
                </a:moveTo>
                <a:lnTo>
                  <a:pt x="4229006" y="2"/>
                </a:lnTo>
                <a:lnTo>
                  <a:pt x="4229006" y="4572002"/>
                </a:lnTo>
                <a:lnTo>
                  <a:pt x="4215290" y="4572002"/>
                </a:lnTo>
                <a:close/>
                <a:moveTo>
                  <a:pt x="421529" y="2"/>
                </a:moveTo>
                <a:lnTo>
                  <a:pt x="435245" y="2"/>
                </a:lnTo>
                <a:lnTo>
                  <a:pt x="435245" y="4572002"/>
                </a:lnTo>
                <a:lnTo>
                  <a:pt x="421529" y="4572002"/>
                </a:lnTo>
                <a:close/>
                <a:moveTo>
                  <a:pt x="0" y="2"/>
                </a:moveTo>
                <a:lnTo>
                  <a:pt x="13716" y="2"/>
                </a:lnTo>
                <a:lnTo>
                  <a:pt x="13716" y="4572002"/>
                </a:lnTo>
                <a:lnTo>
                  <a:pt x="0" y="4572002"/>
                </a:lnTo>
                <a:close/>
                <a:moveTo>
                  <a:pt x="9273638" y="1"/>
                </a:moveTo>
                <a:lnTo>
                  <a:pt x="9287354" y="1"/>
                </a:lnTo>
                <a:lnTo>
                  <a:pt x="9287354" y="4572001"/>
                </a:lnTo>
                <a:lnTo>
                  <a:pt x="9273638" y="4572001"/>
                </a:lnTo>
                <a:close/>
                <a:moveTo>
                  <a:pt x="3372232" y="1"/>
                </a:moveTo>
                <a:lnTo>
                  <a:pt x="3385948" y="1"/>
                </a:lnTo>
                <a:lnTo>
                  <a:pt x="3385948" y="4572001"/>
                </a:lnTo>
                <a:lnTo>
                  <a:pt x="3372232" y="4572001"/>
                </a:lnTo>
                <a:close/>
                <a:moveTo>
                  <a:pt x="9695167" y="0"/>
                </a:moveTo>
                <a:lnTo>
                  <a:pt x="9708883" y="0"/>
                </a:lnTo>
                <a:lnTo>
                  <a:pt x="9708883" y="4572000"/>
                </a:lnTo>
                <a:lnTo>
                  <a:pt x="9695167" y="4572000"/>
                </a:lnTo>
                <a:close/>
                <a:moveTo>
                  <a:pt x="8852109" y="0"/>
                </a:moveTo>
                <a:lnTo>
                  <a:pt x="8865825" y="0"/>
                </a:lnTo>
                <a:lnTo>
                  <a:pt x="8865825" y="4572000"/>
                </a:lnTo>
                <a:lnTo>
                  <a:pt x="8852109" y="4572000"/>
                </a:lnTo>
                <a:close/>
                <a:moveTo>
                  <a:pt x="8430580" y="0"/>
                </a:moveTo>
                <a:lnTo>
                  <a:pt x="8444296" y="0"/>
                </a:lnTo>
                <a:lnTo>
                  <a:pt x="8444296" y="4572000"/>
                </a:lnTo>
                <a:lnTo>
                  <a:pt x="8430580" y="4572000"/>
                </a:lnTo>
                <a:close/>
                <a:moveTo>
                  <a:pt x="8009051" y="0"/>
                </a:moveTo>
                <a:lnTo>
                  <a:pt x="8022767" y="0"/>
                </a:lnTo>
                <a:lnTo>
                  <a:pt x="8022767" y="4572000"/>
                </a:lnTo>
                <a:lnTo>
                  <a:pt x="8009051" y="4572000"/>
                </a:lnTo>
                <a:close/>
                <a:moveTo>
                  <a:pt x="7587522" y="0"/>
                </a:moveTo>
                <a:lnTo>
                  <a:pt x="7601238" y="0"/>
                </a:lnTo>
                <a:lnTo>
                  <a:pt x="7601238" y="4572000"/>
                </a:lnTo>
                <a:lnTo>
                  <a:pt x="7587522" y="4572000"/>
                </a:lnTo>
                <a:close/>
                <a:moveTo>
                  <a:pt x="7165993" y="0"/>
                </a:moveTo>
                <a:lnTo>
                  <a:pt x="7179709" y="0"/>
                </a:lnTo>
                <a:lnTo>
                  <a:pt x="7179709" y="4572000"/>
                </a:lnTo>
                <a:lnTo>
                  <a:pt x="7165993" y="4572000"/>
                </a:lnTo>
                <a:close/>
                <a:moveTo>
                  <a:pt x="6744464" y="0"/>
                </a:moveTo>
                <a:lnTo>
                  <a:pt x="6758180" y="0"/>
                </a:lnTo>
                <a:lnTo>
                  <a:pt x="6758180" y="4572000"/>
                </a:lnTo>
                <a:lnTo>
                  <a:pt x="6744464" y="4572000"/>
                </a:lnTo>
                <a:close/>
                <a:moveTo>
                  <a:pt x="3793761" y="0"/>
                </a:moveTo>
                <a:lnTo>
                  <a:pt x="3807477" y="0"/>
                </a:lnTo>
                <a:lnTo>
                  <a:pt x="3807477" y="4572000"/>
                </a:lnTo>
                <a:lnTo>
                  <a:pt x="3793761" y="4572000"/>
                </a:lnTo>
                <a:close/>
                <a:moveTo>
                  <a:pt x="2950703" y="0"/>
                </a:moveTo>
                <a:lnTo>
                  <a:pt x="2964419" y="0"/>
                </a:lnTo>
                <a:lnTo>
                  <a:pt x="2964419" y="4572000"/>
                </a:lnTo>
                <a:lnTo>
                  <a:pt x="2950703" y="4572000"/>
                </a:lnTo>
                <a:close/>
                <a:moveTo>
                  <a:pt x="2529174" y="0"/>
                </a:moveTo>
                <a:lnTo>
                  <a:pt x="2542890" y="0"/>
                </a:lnTo>
                <a:lnTo>
                  <a:pt x="2542890" y="4572000"/>
                </a:lnTo>
                <a:lnTo>
                  <a:pt x="2529174" y="4572000"/>
                </a:lnTo>
                <a:close/>
                <a:moveTo>
                  <a:pt x="2107645" y="0"/>
                </a:moveTo>
                <a:lnTo>
                  <a:pt x="2121361" y="0"/>
                </a:lnTo>
                <a:lnTo>
                  <a:pt x="2121361" y="4572000"/>
                </a:lnTo>
                <a:lnTo>
                  <a:pt x="2107645" y="4572000"/>
                </a:lnTo>
                <a:close/>
                <a:moveTo>
                  <a:pt x="1686116" y="0"/>
                </a:moveTo>
                <a:lnTo>
                  <a:pt x="1699832" y="0"/>
                </a:lnTo>
                <a:lnTo>
                  <a:pt x="1699832" y="4572000"/>
                </a:lnTo>
                <a:lnTo>
                  <a:pt x="1686116" y="4572000"/>
                </a:lnTo>
                <a:close/>
                <a:moveTo>
                  <a:pt x="1264587" y="0"/>
                </a:moveTo>
                <a:lnTo>
                  <a:pt x="1278303" y="0"/>
                </a:lnTo>
                <a:lnTo>
                  <a:pt x="1278303" y="4572000"/>
                </a:lnTo>
                <a:lnTo>
                  <a:pt x="1264587" y="4572000"/>
                </a:lnTo>
                <a:close/>
                <a:moveTo>
                  <a:pt x="843058" y="0"/>
                </a:moveTo>
                <a:lnTo>
                  <a:pt x="856774" y="0"/>
                </a:lnTo>
                <a:lnTo>
                  <a:pt x="856774" y="4572000"/>
                </a:lnTo>
                <a:lnTo>
                  <a:pt x="843058" y="457200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9" name="Rectangle 87"/>
          <p:cNvSpPr/>
          <p:nvPr/>
        </p:nvSpPr>
        <p:spPr>
          <a:xfrm rot="2700000">
            <a:off x="2311242" y="-967047"/>
            <a:ext cx="13716" cy="6570294"/>
          </a:xfrm>
          <a:custGeom>
            <a:avLst/>
            <a:gdLst/>
            <a:ahLst/>
            <a:cxnLst/>
            <a:rect l="l" t="t" r="r" b="b"/>
            <a:pathLst>
              <a:path w="13716" h="6570294">
                <a:moveTo>
                  <a:pt x="0" y="6556578"/>
                </a:moveTo>
                <a:lnTo>
                  <a:pt x="13716" y="6570294"/>
                </a:lnTo>
                <a:lnTo>
                  <a:pt x="13716" y="6570294"/>
                </a:lnTo>
                <a:lnTo>
                  <a:pt x="0" y="6556578"/>
                </a:lnTo>
                <a:close/>
                <a:moveTo>
                  <a:pt x="0" y="13716"/>
                </a:moveTo>
                <a:lnTo>
                  <a:pt x="13716" y="0"/>
                </a:lnTo>
                <a:lnTo>
                  <a:pt x="13716" y="6465786"/>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0" name="Rectangle 88"/>
          <p:cNvSpPr/>
          <p:nvPr/>
        </p:nvSpPr>
        <p:spPr>
          <a:xfrm rot="2700000">
            <a:off x="3186527" y="-953751"/>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1" name="Rectangle 89"/>
          <p:cNvSpPr/>
          <p:nvPr/>
        </p:nvSpPr>
        <p:spPr>
          <a:xfrm rot="2700000">
            <a:off x="4029713" y="-953750"/>
            <a:ext cx="13716" cy="6479503"/>
          </a:xfrm>
          <a:custGeom>
            <a:avLst/>
            <a:gdLst/>
            <a:ahLst/>
            <a:cxnLst/>
            <a:rect l="l" t="t" r="r" b="b"/>
            <a:pathLst>
              <a:path w="13716" h="6479503">
                <a:moveTo>
                  <a:pt x="0" y="13716"/>
                </a:moveTo>
                <a:lnTo>
                  <a:pt x="13716" y="0"/>
                </a:lnTo>
                <a:lnTo>
                  <a:pt x="13716" y="6465787"/>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2" name="Rectangle 90"/>
          <p:cNvSpPr/>
          <p:nvPr/>
        </p:nvSpPr>
        <p:spPr>
          <a:xfrm rot="2700000">
            <a:off x="4872899" y="-953750"/>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3" name="Rectangle 91"/>
          <p:cNvSpPr/>
          <p:nvPr/>
        </p:nvSpPr>
        <p:spPr>
          <a:xfrm rot="2700000">
            <a:off x="5716086" y="-953749"/>
            <a:ext cx="13716" cy="6479501"/>
          </a:xfrm>
          <a:custGeom>
            <a:avLst/>
            <a:gdLst/>
            <a:ahLst/>
            <a:cxnLst/>
            <a:rect l="l" t="t" r="r" b="b"/>
            <a:pathLst>
              <a:path w="13716" h="6479501">
                <a:moveTo>
                  <a:pt x="0" y="13716"/>
                </a:moveTo>
                <a:lnTo>
                  <a:pt x="13716" y="0"/>
                </a:lnTo>
                <a:lnTo>
                  <a:pt x="13716" y="6465785"/>
                </a:lnTo>
                <a:lnTo>
                  <a:pt x="0" y="647950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4" name="Rectangle 92"/>
          <p:cNvSpPr/>
          <p:nvPr/>
        </p:nvSpPr>
        <p:spPr>
          <a:xfrm rot="2700000">
            <a:off x="6559272"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5" name="Rectangle 93"/>
          <p:cNvSpPr/>
          <p:nvPr/>
        </p:nvSpPr>
        <p:spPr>
          <a:xfrm rot="2700000">
            <a:off x="7402457" y="-944051"/>
            <a:ext cx="13717" cy="6479502"/>
          </a:xfrm>
          <a:custGeom>
            <a:avLst/>
            <a:gdLst/>
            <a:ahLst/>
            <a:cxnLst/>
            <a:rect l="l" t="t" r="r" b="b"/>
            <a:pathLst>
              <a:path w="13717" h="6479502">
                <a:moveTo>
                  <a:pt x="0" y="13716"/>
                </a:moveTo>
                <a:lnTo>
                  <a:pt x="13717" y="0"/>
                </a:lnTo>
                <a:lnTo>
                  <a:pt x="13716" y="6465787"/>
                </a:lnTo>
                <a:lnTo>
                  <a:pt x="1"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6" name="Rectangle 94"/>
          <p:cNvSpPr/>
          <p:nvPr/>
        </p:nvSpPr>
        <p:spPr>
          <a:xfrm rot="2700000">
            <a:off x="8245644"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7" name="Rectangle 95"/>
          <p:cNvSpPr/>
          <p:nvPr/>
        </p:nvSpPr>
        <p:spPr>
          <a:xfrm rot="2700000">
            <a:off x="9088831" y="-953750"/>
            <a:ext cx="13717" cy="6479503"/>
          </a:xfrm>
          <a:custGeom>
            <a:avLst/>
            <a:gdLst/>
            <a:ahLst/>
            <a:cxnLst/>
            <a:rect l="l" t="t" r="r" b="b"/>
            <a:pathLst>
              <a:path w="13717" h="6479503">
                <a:moveTo>
                  <a:pt x="13717" y="0"/>
                </a:moveTo>
                <a:lnTo>
                  <a:pt x="13716" y="6465787"/>
                </a:lnTo>
                <a:lnTo>
                  <a:pt x="0" y="6479503"/>
                </a:lnTo>
                <a:lnTo>
                  <a:pt x="1" y="1371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8" name="Rectangle 96"/>
          <p:cNvSpPr/>
          <p:nvPr/>
        </p:nvSpPr>
        <p:spPr>
          <a:xfrm rot="2700000">
            <a:off x="9912896" y="-907596"/>
            <a:ext cx="13716" cy="6425429"/>
          </a:xfrm>
          <a:custGeom>
            <a:avLst/>
            <a:gdLst/>
            <a:ahLst/>
            <a:cxnLst/>
            <a:rect l="l" t="t" r="r" b="b"/>
            <a:pathLst>
              <a:path w="13716" h="6425429">
                <a:moveTo>
                  <a:pt x="0" y="0"/>
                </a:moveTo>
                <a:lnTo>
                  <a:pt x="13716" y="13717"/>
                </a:lnTo>
                <a:lnTo>
                  <a:pt x="13716" y="6411713"/>
                </a:lnTo>
                <a:lnTo>
                  <a:pt x="0" y="642542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9" name="Rectangle 97"/>
          <p:cNvSpPr/>
          <p:nvPr/>
        </p:nvSpPr>
        <p:spPr>
          <a:xfrm rot="2700000">
            <a:off x="10334491" y="110221"/>
            <a:ext cx="13717" cy="5232981"/>
          </a:xfrm>
          <a:custGeom>
            <a:avLst/>
            <a:gdLst/>
            <a:ahLst/>
            <a:cxnLst/>
            <a:rect l="l" t="t" r="r" b="b"/>
            <a:pathLst>
              <a:path w="13717" h="5232981">
                <a:moveTo>
                  <a:pt x="0" y="0"/>
                </a:moveTo>
                <a:lnTo>
                  <a:pt x="13717" y="13716"/>
                </a:lnTo>
                <a:lnTo>
                  <a:pt x="13717" y="5219264"/>
                </a:lnTo>
                <a:lnTo>
                  <a:pt x="1" y="523298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0" name="Rectangle 98"/>
          <p:cNvSpPr/>
          <p:nvPr/>
        </p:nvSpPr>
        <p:spPr>
          <a:xfrm rot="2700000">
            <a:off x="10756084" y="1128037"/>
            <a:ext cx="13716" cy="4040537"/>
          </a:xfrm>
          <a:custGeom>
            <a:avLst/>
            <a:gdLst/>
            <a:ahLst/>
            <a:cxnLst/>
            <a:rect l="l" t="t" r="r" b="b"/>
            <a:pathLst>
              <a:path w="13716" h="4040537">
                <a:moveTo>
                  <a:pt x="0" y="0"/>
                </a:moveTo>
                <a:lnTo>
                  <a:pt x="13716" y="13716"/>
                </a:lnTo>
                <a:lnTo>
                  <a:pt x="13715" y="4026822"/>
                </a:lnTo>
                <a:lnTo>
                  <a:pt x="1" y="404053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1" name="Rectangle 99"/>
          <p:cNvSpPr/>
          <p:nvPr/>
        </p:nvSpPr>
        <p:spPr>
          <a:xfrm rot="2700000">
            <a:off x="11177678" y="2145853"/>
            <a:ext cx="13716" cy="2848091"/>
          </a:xfrm>
          <a:custGeom>
            <a:avLst/>
            <a:gdLst/>
            <a:ahLst/>
            <a:cxnLst/>
            <a:rect l="l" t="t" r="r" b="b"/>
            <a:pathLst>
              <a:path w="13716" h="2848091">
                <a:moveTo>
                  <a:pt x="0" y="0"/>
                </a:moveTo>
                <a:lnTo>
                  <a:pt x="13716" y="13716"/>
                </a:lnTo>
                <a:lnTo>
                  <a:pt x="13715" y="2834375"/>
                </a:lnTo>
                <a:lnTo>
                  <a:pt x="0" y="284809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2" name="Rectangle 100"/>
          <p:cNvSpPr/>
          <p:nvPr/>
        </p:nvSpPr>
        <p:spPr>
          <a:xfrm rot="2700000">
            <a:off x="11599272" y="3163669"/>
            <a:ext cx="13715" cy="1655644"/>
          </a:xfrm>
          <a:custGeom>
            <a:avLst/>
            <a:gdLst/>
            <a:ahLst/>
            <a:cxnLst/>
            <a:rect l="l" t="t" r="r" b="b"/>
            <a:pathLst>
              <a:path w="13715" h="1655644">
                <a:moveTo>
                  <a:pt x="0" y="0"/>
                </a:moveTo>
                <a:lnTo>
                  <a:pt x="13715" y="13716"/>
                </a:lnTo>
                <a:lnTo>
                  <a:pt x="13715" y="1641929"/>
                </a:lnTo>
                <a:lnTo>
                  <a:pt x="0" y="165564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3" name="Rectangle 101"/>
          <p:cNvSpPr/>
          <p:nvPr/>
        </p:nvSpPr>
        <p:spPr>
          <a:xfrm rot="2700000">
            <a:off x="12020868" y="4181493"/>
            <a:ext cx="13715" cy="463189"/>
          </a:xfrm>
          <a:custGeom>
            <a:avLst/>
            <a:gdLst/>
            <a:ahLst/>
            <a:cxnLst/>
            <a:rect l="l" t="t" r="r" b="b"/>
            <a:pathLst>
              <a:path w="13715" h="463189">
                <a:moveTo>
                  <a:pt x="1" y="0"/>
                </a:moveTo>
                <a:lnTo>
                  <a:pt x="13715" y="13716"/>
                </a:lnTo>
                <a:lnTo>
                  <a:pt x="13715" y="449474"/>
                </a:lnTo>
                <a:lnTo>
                  <a:pt x="0" y="46318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4" name="Rectangle 102"/>
          <p:cNvSpPr/>
          <p:nvPr/>
        </p:nvSpPr>
        <p:spPr>
          <a:xfrm rot="2700000">
            <a:off x="203277" y="-93899"/>
            <a:ext cx="13716" cy="608068"/>
          </a:xfrm>
          <a:custGeom>
            <a:avLst/>
            <a:gdLst/>
            <a:ahLst/>
            <a:cxnLst/>
            <a:rect l="l" t="t" r="r" b="b"/>
            <a:pathLst>
              <a:path w="13716" h="608068">
                <a:moveTo>
                  <a:pt x="0" y="13716"/>
                </a:moveTo>
                <a:lnTo>
                  <a:pt x="13716" y="0"/>
                </a:lnTo>
                <a:lnTo>
                  <a:pt x="13716" y="608068"/>
                </a:lnTo>
                <a:lnTo>
                  <a:pt x="0" y="59435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5" name="Rectangle 103"/>
          <p:cNvSpPr/>
          <p:nvPr/>
        </p:nvSpPr>
        <p:spPr>
          <a:xfrm rot="2700000">
            <a:off x="624870" y="-268529"/>
            <a:ext cx="13716" cy="1800514"/>
          </a:xfrm>
          <a:custGeom>
            <a:avLst/>
            <a:gdLst/>
            <a:ahLst/>
            <a:cxnLst/>
            <a:rect l="l" t="t" r="r" b="b"/>
            <a:pathLst>
              <a:path w="13716" h="1800514">
                <a:moveTo>
                  <a:pt x="0" y="13716"/>
                </a:moveTo>
                <a:lnTo>
                  <a:pt x="13716" y="0"/>
                </a:lnTo>
                <a:lnTo>
                  <a:pt x="13716" y="1800514"/>
                </a:lnTo>
                <a:lnTo>
                  <a:pt x="0" y="17867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6" name="Rectangle 104"/>
          <p:cNvSpPr/>
          <p:nvPr/>
        </p:nvSpPr>
        <p:spPr>
          <a:xfrm rot="2700000">
            <a:off x="1046463" y="-443158"/>
            <a:ext cx="13716" cy="2992958"/>
          </a:xfrm>
          <a:custGeom>
            <a:avLst/>
            <a:gdLst/>
            <a:ahLst/>
            <a:cxnLst/>
            <a:rect l="l" t="t" r="r" b="b"/>
            <a:pathLst>
              <a:path w="13716" h="2992958">
                <a:moveTo>
                  <a:pt x="0" y="13716"/>
                </a:moveTo>
                <a:lnTo>
                  <a:pt x="13716" y="0"/>
                </a:lnTo>
                <a:lnTo>
                  <a:pt x="13716" y="2992958"/>
                </a:lnTo>
                <a:lnTo>
                  <a:pt x="0" y="297924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7" name="Rectangle 105"/>
          <p:cNvSpPr/>
          <p:nvPr/>
        </p:nvSpPr>
        <p:spPr>
          <a:xfrm rot="2700000">
            <a:off x="1468056" y="-617788"/>
            <a:ext cx="13716" cy="4185404"/>
          </a:xfrm>
          <a:custGeom>
            <a:avLst/>
            <a:gdLst/>
            <a:ahLst/>
            <a:cxnLst/>
            <a:rect l="l" t="t" r="r" b="b"/>
            <a:pathLst>
              <a:path w="13716" h="4185404">
                <a:moveTo>
                  <a:pt x="0" y="13716"/>
                </a:moveTo>
                <a:lnTo>
                  <a:pt x="13716" y="0"/>
                </a:lnTo>
                <a:lnTo>
                  <a:pt x="13716" y="4185404"/>
                </a:lnTo>
                <a:lnTo>
                  <a:pt x="0" y="417168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8" name="Rectangle 106"/>
          <p:cNvSpPr/>
          <p:nvPr/>
        </p:nvSpPr>
        <p:spPr>
          <a:xfrm rot="2700000">
            <a:off x="1889649" y="-792416"/>
            <a:ext cx="13716" cy="5377849"/>
          </a:xfrm>
          <a:custGeom>
            <a:avLst/>
            <a:gdLst/>
            <a:ahLst/>
            <a:cxnLst/>
            <a:rect l="l" t="t" r="r" b="b"/>
            <a:pathLst>
              <a:path w="13716" h="5377849">
                <a:moveTo>
                  <a:pt x="0" y="13716"/>
                </a:moveTo>
                <a:lnTo>
                  <a:pt x="13716" y="0"/>
                </a:lnTo>
                <a:lnTo>
                  <a:pt x="13716" y="5377849"/>
                </a:lnTo>
                <a:lnTo>
                  <a:pt x="0" y="536413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9" name="Rectangle 148"/>
          <p:cNvSpPr/>
          <p:nvPr/>
        </p:nvSpPr>
        <p:spPr>
          <a:xfrm rot="18900000" flipV="1">
            <a:off x="2070569" y="-450209"/>
            <a:ext cx="13716" cy="5889566"/>
          </a:xfrm>
          <a:custGeom>
            <a:avLst/>
            <a:gdLst/>
            <a:ahLst/>
            <a:cxnLst/>
            <a:rect l="l" t="t" r="r" b="b"/>
            <a:pathLst>
              <a:path w="13716" h="5889566">
                <a:moveTo>
                  <a:pt x="13716" y="5889566"/>
                </a:moveTo>
                <a:lnTo>
                  <a:pt x="13716" y="0"/>
                </a:lnTo>
                <a:lnTo>
                  <a:pt x="0" y="13716"/>
                </a:lnTo>
                <a:lnTo>
                  <a:pt x="0" y="587585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0" name="Rectangle 323"/>
          <p:cNvSpPr/>
          <p:nvPr/>
        </p:nvSpPr>
        <p:spPr>
          <a:xfrm rot="18900000" flipV="1">
            <a:off x="1648976" y="567610"/>
            <a:ext cx="13716" cy="4697119"/>
          </a:xfrm>
          <a:custGeom>
            <a:avLst/>
            <a:gdLst/>
            <a:ahLst/>
            <a:cxnLst/>
            <a:rect l="l" t="t" r="r" b="b"/>
            <a:pathLst>
              <a:path w="13716" h="4697119">
                <a:moveTo>
                  <a:pt x="13716" y="4697119"/>
                </a:moveTo>
                <a:lnTo>
                  <a:pt x="13716" y="0"/>
                </a:lnTo>
                <a:lnTo>
                  <a:pt x="0" y="13716"/>
                </a:lnTo>
                <a:lnTo>
                  <a:pt x="0" y="46834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1" name="Rectangle 324"/>
          <p:cNvSpPr/>
          <p:nvPr/>
        </p:nvSpPr>
        <p:spPr>
          <a:xfrm rot="18900000" flipV="1">
            <a:off x="1227383" y="1585424"/>
            <a:ext cx="13716" cy="3504674"/>
          </a:xfrm>
          <a:custGeom>
            <a:avLst/>
            <a:gdLst/>
            <a:ahLst/>
            <a:cxnLst/>
            <a:rect l="l" t="t" r="r" b="b"/>
            <a:pathLst>
              <a:path w="13716" h="3504674">
                <a:moveTo>
                  <a:pt x="13716" y="3504674"/>
                </a:moveTo>
                <a:lnTo>
                  <a:pt x="13716" y="0"/>
                </a:lnTo>
                <a:lnTo>
                  <a:pt x="0" y="13716"/>
                </a:lnTo>
                <a:lnTo>
                  <a:pt x="0" y="349095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2" name="Rectangle 325"/>
          <p:cNvSpPr/>
          <p:nvPr/>
        </p:nvSpPr>
        <p:spPr>
          <a:xfrm rot="18900000" flipV="1">
            <a:off x="805790" y="2603242"/>
            <a:ext cx="13716" cy="2312226"/>
          </a:xfrm>
          <a:custGeom>
            <a:avLst/>
            <a:gdLst/>
            <a:ahLst/>
            <a:cxnLst/>
            <a:rect l="l" t="t" r="r" b="b"/>
            <a:pathLst>
              <a:path w="13716" h="2312226">
                <a:moveTo>
                  <a:pt x="13716" y="2312226"/>
                </a:moveTo>
                <a:lnTo>
                  <a:pt x="13716" y="0"/>
                </a:lnTo>
                <a:lnTo>
                  <a:pt x="0" y="13716"/>
                </a:lnTo>
                <a:lnTo>
                  <a:pt x="0" y="229851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3" name="Rectangle 326"/>
          <p:cNvSpPr/>
          <p:nvPr/>
        </p:nvSpPr>
        <p:spPr>
          <a:xfrm rot="18900000" flipV="1">
            <a:off x="384198" y="3621057"/>
            <a:ext cx="13716" cy="1119782"/>
          </a:xfrm>
          <a:custGeom>
            <a:avLst/>
            <a:gdLst/>
            <a:ahLst/>
            <a:cxnLst/>
            <a:rect l="l" t="t" r="r" b="b"/>
            <a:pathLst>
              <a:path w="13716" h="1119782">
                <a:moveTo>
                  <a:pt x="13716" y="1119782"/>
                </a:moveTo>
                <a:lnTo>
                  <a:pt x="13716" y="0"/>
                </a:lnTo>
                <a:lnTo>
                  <a:pt x="0" y="13716"/>
                </a:lnTo>
                <a:lnTo>
                  <a:pt x="0" y="110606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4" name="Rectangle 371"/>
          <p:cNvSpPr/>
          <p:nvPr/>
        </p:nvSpPr>
        <p:spPr>
          <a:xfrm rot="18900000" flipV="1">
            <a:off x="2705180" y="-953749"/>
            <a:ext cx="13716" cy="6479500"/>
          </a:xfrm>
          <a:custGeom>
            <a:avLst/>
            <a:gdLst/>
            <a:ahLst/>
            <a:cxnLst/>
            <a:rect l="l" t="t" r="r" b="b"/>
            <a:pathLst>
              <a:path w="13716" h="6479500">
                <a:moveTo>
                  <a:pt x="0" y="6479500"/>
                </a:moveTo>
                <a:lnTo>
                  <a:pt x="13716" y="646578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5" name="Rectangle 373"/>
          <p:cNvSpPr/>
          <p:nvPr/>
        </p:nvSpPr>
        <p:spPr>
          <a:xfrm rot="18900000" flipV="1">
            <a:off x="4391552" y="-953749"/>
            <a:ext cx="13716" cy="6479500"/>
          </a:xfrm>
          <a:custGeom>
            <a:avLst/>
            <a:gdLst/>
            <a:ahLst/>
            <a:cxnLst/>
            <a:rect l="l" t="t" r="r" b="b"/>
            <a:pathLst>
              <a:path w="13716" h="6479500">
                <a:moveTo>
                  <a:pt x="0" y="6479500"/>
                </a:moveTo>
                <a:lnTo>
                  <a:pt x="13716" y="6465784"/>
                </a:lnTo>
                <a:lnTo>
                  <a:pt x="13716" y="0"/>
                </a:lnTo>
                <a:lnTo>
                  <a:pt x="0" y="137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6" name="Rectangle 375"/>
          <p:cNvSpPr/>
          <p:nvPr/>
        </p:nvSpPr>
        <p:spPr>
          <a:xfrm rot="18900000" flipV="1">
            <a:off x="6077925" y="-953749"/>
            <a:ext cx="13716" cy="6479501"/>
          </a:xfrm>
          <a:custGeom>
            <a:avLst/>
            <a:gdLst/>
            <a:ahLst/>
            <a:cxnLst/>
            <a:rect l="l" t="t" r="r" b="b"/>
            <a:pathLst>
              <a:path w="13716" h="6479501">
                <a:moveTo>
                  <a:pt x="0" y="6479501"/>
                </a:moveTo>
                <a:lnTo>
                  <a:pt x="13716" y="6465785"/>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7" name="Rectangle 376"/>
          <p:cNvSpPr/>
          <p:nvPr/>
        </p:nvSpPr>
        <p:spPr>
          <a:xfrm rot="18900000" flipV="1">
            <a:off x="6916261" y="-965458"/>
            <a:ext cx="13716" cy="6493219"/>
          </a:xfrm>
          <a:custGeom>
            <a:avLst/>
            <a:gdLst/>
            <a:ahLst/>
            <a:cxnLst/>
            <a:rect l="l" t="t" r="r" b="b"/>
            <a:pathLst>
              <a:path w="13716" h="6493219">
                <a:moveTo>
                  <a:pt x="13716" y="6479504"/>
                </a:moveTo>
                <a:lnTo>
                  <a:pt x="13716" y="0"/>
                </a:lnTo>
                <a:lnTo>
                  <a:pt x="0" y="13717"/>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8" name="Rectangle 377"/>
          <p:cNvSpPr/>
          <p:nvPr/>
        </p:nvSpPr>
        <p:spPr>
          <a:xfrm rot="18900000" flipV="1">
            <a:off x="7759447" y="-965458"/>
            <a:ext cx="13717" cy="6493219"/>
          </a:xfrm>
          <a:custGeom>
            <a:avLst/>
            <a:gdLst/>
            <a:ahLst/>
            <a:cxnLst/>
            <a:rect l="l" t="t" r="r" b="b"/>
            <a:pathLst>
              <a:path w="13717" h="6493219">
                <a:moveTo>
                  <a:pt x="0" y="6493219"/>
                </a:moveTo>
                <a:lnTo>
                  <a:pt x="13716" y="6479502"/>
                </a:lnTo>
                <a:lnTo>
                  <a:pt x="13717"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9" name="Rectangle 378"/>
          <p:cNvSpPr/>
          <p:nvPr/>
        </p:nvSpPr>
        <p:spPr>
          <a:xfrm rot="18900000" flipV="1">
            <a:off x="8602633" y="-965458"/>
            <a:ext cx="13716" cy="6493219"/>
          </a:xfrm>
          <a:custGeom>
            <a:avLst/>
            <a:gdLst/>
            <a:ahLst/>
            <a:cxnLst/>
            <a:rect l="l" t="t" r="r" b="b"/>
            <a:pathLst>
              <a:path w="13716" h="6493219">
                <a:moveTo>
                  <a:pt x="13716" y="6479504"/>
                </a:moveTo>
                <a:lnTo>
                  <a:pt x="13716" y="0"/>
                </a:lnTo>
                <a:lnTo>
                  <a:pt x="0" y="13716"/>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0" name="Rectangle 138"/>
          <p:cNvSpPr/>
          <p:nvPr/>
        </p:nvSpPr>
        <p:spPr>
          <a:xfrm rot="18900000" flipV="1">
            <a:off x="10088968" y="-882602"/>
            <a:ext cx="13716" cy="5927431"/>
          </a:xfrm>
          <a:custGeom>
            <a:avLst/>
            <a:gdLst/>
            <a:ahLst/>
            <a:cxnLst/>
            <a:rect l="l" t="t" r="r" b="b"/>
            <a:pathLst>
              <a:path w="13716" h="5927431">
                <a:moveTo>
                  <a:pt x="0" y="5927431"/>
                </a:moveTo>
                <a:lnTo>
                  <a:pt x="13715" y="5913716"/>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1" name="Rectangle 139"/>
          <p:cNvSpPr/>
          <p:nvPr/>
        </p:nvSpPr>
        <p:spPr>
          <a:xfrm rot="18900000" flipV="1">
            <a:off x="10510562" y="-707971"/>
            <a:ext cx="13716" cy="4734985"/>
          </a:xfrm>
          <a:custGeom>
            <a:avLst/>
            <a:gdLst/>
            <a:ahLst/>
            <a:cxnLst/>
            <a:rect l="l" t="t" r="r" b="b"/>
            <a:pathLst>
              <a:path w="13716" h="4734985">
                <a:moveTo>
                  <a:pt x="0" y="4734985"/>
                </a:moveTo>
                <a:lnTo>
                  <a:pt x="13715" y="4721270"/>
                </a:lnTo>
                <a:lnTo>
                  <a:pt x="13716" y="13715"/>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2" name="Rectangle 140"/>
          <p:cNvSpPr/>
          <p:nvPr/>
        </p:nvSpPr>
        <p:spPr>
          <a:xfrm rot="18900000" flipV="1">
            <a:off x="10932155" y="-533342"/>
            <a:ext cx="13716" cy="3542540"/>
          </a:xfrm>
          <a:custGeom>
            <a:avLst/>
            <a:gdLst/>
            <a:ahLst/>
            <a:cxnLst/>
            <a:rect l="l" t="t" r="r" b="b"/>
            <a:pathLst>
              <a:path w="13716" h="3542540">
                <a:moveTo>
                  <a:pt x="0" y="3542540"/>
                </a:moveTo>
                <a:lnTo>
                  <a:pt x="13715" y="3528825"/>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3" name="Rectangle 141"/>
          <p:cNvSpPr/>
          <p:nvPr/>
        </p:nvSpPr>
        <p:spPr>
          <a:xfrm rot="18900000" flipV="1">
            <a:off x="11353748" y="-358712"/>
            <a:ext cx="13716" cy="2350095"/>
          </a:xfrm>
          <a:custGeom>
            <a:avLst/>
            <a:gdLst/>
            <a:ahLst/>
            <a:cxnLst/>
            <a:rect l="l" t="t" r="r" b="b"/>
            <a:pathLst>
              <a:path w="13716" h="2350095">
                <a:moveTo>
                  <a:pt x="0" y="2350095"/>
                </a:moveTo>
                <a:lnTo>
                  <a:pt x="13715" y="2336380"/>
                </a:lnTo>
                <a:lnTo>
                  <a:pt x="13716" y="1371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4" name="Rectangle 142"/>
          <p:cNvSpPr/>
          <p:nvPr/>
        </p:nvSpPr>
        <p:spPr>
          <a:xfrm rot="18900000" flipV="1">
            <a:off x="11775341" y="-184083"/>
            <a:ext cx="13716" cy="1157650"/>
          </a:xfrm>
          <a:custGeom>
            <a:avLst/>
            <a:gdLst/>
            <a:ahLst/>
            <a:cxnLst/>
            <a:rect l="l" t="t" r="r" b="b"/>
            <a:pathLst>
              <a:path w="13716" h="1157650">
                <a:moveTo>
                  <a:pt x="0" y="1157650"/>
                </a:moveTo>
                <a:lnTo>
                  <a:pt x="13716" y="1143934"/>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5" name="Rectangle 372"/>
          <p:cNvSpPr/>
          <p:nvPr/>
        </p:nvSpPr>
        <p:spPr>
          <a:xfrm rot="18900000" flipV="1">
            <a:off x="3543517" y="-965458"/>
            <a:ext cx="13716" cy="6493219"/>
          </a:xfrm>
          <a:custGeom>
            <a:avLst/>
            <a:gdLst/>
            <a:ahLst/>
            <a:cxnLst/>
            <a:rect l="l" t="t" r="r" b="b"/>
            <a:pathLst>
              <a:path w="13716" h="6493219">
                <a:moveTo>
                  <a:pt x="0" y="6493219"/>
                </a:moveTo>
                <a:lnTo>
                  <a:pt x="13716" y="6479503"/>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6" name="Rectangle 374"/>
          <p:cNvSpPr/>
          <p:nvPr/>
        </p:nvSpPr>
        <p:spPr>
          <a:xfrm rot="18900000" flipV="1">
            <a:off x="5229889" y="-965458"/>
            <a:ext cx="13716" cy="6493220"/>
          </a:xfrm>
          <a:custGeom>
            <a:avLst/>
            <a:gdLst/>
            <a:ahLst/>
            <a:cxnLst/>
            <a:rect l="l" t="t" r="r" b="b"/>
            <a:pathLst>
              <a:path w="13716" h="6493220">
                <a:moveTo>
                  <a:pt x="0" y="6493220"/>
                </a:moveTo>
                <a:lnTo>
                  <a:pt x="13716"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7" name="Teardrop 3"/>
          <p:cNvSpPr/>
          <p:nvPr/>
        </p:nvSpPr>
        <p:spPr>
          <a:xfrm rot="5400000" flipH="1" flipV="1">
            <a:off x="64427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8" name="Teardrop 3"/>
          <p:cNvSpPr/>
          <p:nvPr/>
        </p:nvSpPr>
        <p:spPr>
          <a:xfrm rot="5400000" flipH="1" flipV="1">
            <a:off x="-148774" y="258315"/>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1"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6" y="223846"/>
                </a:cubicBezTo>
                <a:lnTo>
                  <a:pt x="221347" y="232509"/>
                </a:lnTo>
                <a:cubicBezTo>
                  <a:pt x="224389"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0"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1" y="93753"/>
                </a:cubicBezTo>
                <a:cubicBezTo>
                  <a:pt x="100880" y="69151"/>
                  <a:pt x="130228" y="53433"/>
                  <a:pt x="163247" y="53433"/>
                </a:cubicBezTo>
                <a:cubicBezTo>
                  <a:pt x="186137" y="53872"/>
                  <a:pt x="201262" y="50984"/>
                  <a:pt x="211354"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8"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1"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9" name="Teardrop 3"/>
          <p:cNvSpPr/>
          <p:nvPr/>
        </p:nvSpPr>
        <p:spPr>
          <a:xfrm rot="5400000" flipH="1" flipV="1">
            <a:off x="13875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0" name="Teardrop 3"/>
          <p:cNvSpPr/>
          <p:nvPr/>
        </p:nvSpPr>
        <p:spPr>
          <a:xfrm rot="5400000" flipH="1" flipV="1">
            <a:off x="22300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1" name="Teardrop 3"/>
          <p:cNvSpPr/>
          <p:nvPr/>
        </p:nvSpPr>
        <p:spPr>
          <a:xfrm rot="5400000" flipH="1" flipV="1">
            <a:off x="30726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2" name="Teardrop 3"/>
          <p:cNvSpPr/>
          <p:nvPr/>
        </p:nvSpPr>
        <p:spPr>
          <a:xfrm rot="5400000" flipH="1" flipV="1">
            <a:off x="39151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3" name="Teardrop 3"/>
          <p:cNvSpPr/>
          <p:nvPr/>
        </p:nvSpPr>
        <p:spPr>
          <a:xfrm rot="5400000" flipH="1" flipV="1">
            <a:off x="47576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4" name="Teardrop 3"/>
          <p:cNvSpPr/>
          <p:nvPr/>
        </p:nvSpPr>
        <p:spPr>
          <a:xfrm rot="5400000" flipH="1" flipV="1">
            <a:off x="56002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5" name="Teardrop 3"/>
          <p:cNvSpPr/>
          <p:nvPr/>
        </p:nvSpPr>
        <p:spPr>
          <a:xfrm rot="5400000" flipH="1" flipV="1">
            <a:off x="81278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6" name="Teardrop 3"/>
          <p:cNvSpPr/>
          <p:nvPr/>
        </p:nvSpPr>
        <p:spPr>
          <a:xfrm rot="5400000" flipH="1" flipV="1">
            <a:off x="72853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7" name="Teardrop 3"/>
          <p:cNvSpPr/>
          <p:nvPr/>
        </p:nvSpPr>
        <p:spPr>
          <a:xfrm rot="5400000" flipH="1" flipV="1">
            <a:off x="98129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8" name="Teardrop 3"/>
          <p:cNvSpPr/>
          <p:nvPr/>
        </p:nvSpPr>
        <p:spPr>
          <a:xfrm rot="5400000" flipH="1" flipV="1">
            <a:off x="89703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9" name="Teardrop 3"/>
          <p:cNvSpPr/>
          <p:nvPr/>
        </p:nvSpPr>
        <p:spPr>
          <a:xfrm rot="5400000" flipH="1" flipV="1">
            <a:off x="11498011"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0" name="Teardrop 3"/>
          <p:cNvSpPr/>
          <p:nvPr/>
        </p:nvSpPr>
        <p:spPr>
          <a:xfrm rot="5400000" flipH="1" flipV="1">
            <a:off x="106554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1" name="Teardrop 3"/>
          <p:cNvSpPr/>
          <p:nvPr/>
        </p:nvSpPr>
        <p:spPr>
          <a:xfrm rot="5400000" flipH="1" flipV="1">
            <a:off x="5449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2" name="Oval 591"/>
          <p:cNvSpPr/>
          <p:nvPr/>
        </p:nvSpPr>
        <p:spPr>
          <a:xfrm>
            <a:off x="66645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3" name="Oval 167"/>
          <p:cNvSpPr/>
          <p:nvPr/>
        </p:nvSpPr>
        <p:spPr>
          <a:xfrm>
            <a:off x="0" y="331699"/>
            <a:ext cx="93942" cy="4240302"/>
          </a:xfrm>
          <a:custGeom>
            <a:avLst/>
            <a:gdLst/>
            <a:ahLst/>
            <a:cxnLst/>
            <a:rect l="l" t="t" r="r" b="b"/>
            <a:pathLst>
              <a:path w="93942" h="4240302">
                <a:moveTo>
                  <a:pt x="9066" y="4229620"/>
                </a:moveTo>
                <a:cubicBezTo>
                  <a:pt x="23324" y="4229620"/>
                  <a:pt x="36761" y="4233136"/>
                  <a:pt x="48054" y="4240302"/>
                </a:cubicBezTo>
                <a:lnTo>
                  <a:pt x="0" y="4240302"/>
                </a:lnTo>
                <a:lnTo>
                  <a:pt x="0" y="4231451"/>
                </a:lnTo>
                <a:cubicBezTo>
                  <a:pt x="2881" y="4229788"/>
                  <a:pt x="5954" y="4229620"/>
                  <a:pt x="9066" y="4229620"/>
                </a:cubicBezTo>
                <a:close/>
                <a:moveTo>
                  <a:pt x="9066" y="3380947"/>
                </a:moveTo>
                <a:cubicBezTo>
                  <a:pt x="55942" y="3380947"/>
                  <a:pt x="93942" y="3418947"/>
                  <a:pt x="93942" y="3465822"/>
                </a:cubicBezTo>
                <a:cubicBezTo>
                  <a:pt x="93942" y="3512697"/>
                  <a:pt x="55942" y="3550697"/>
                  <a:pt x="9066" y="3550697"/>
                </a:cubicBezTo>
                <a:lnTo>
                  <a:pt x="0" y="3548867"/>
                </a:lnTo>
                <a:lnTo>
                  <a:pt x="0" y="3382777"/>
                </a:lnTo>
                <a:cubicBezTo>
                  <a:pt x="2881" y="3381115"/>
                  <a:pt x="5954" y="3380947"/>
                  <a:pt x="9066" y="3380947"/>
                </a:cubicBezTo>
                <a:close/>
                <a:moveTo>
                  <a:pt x="9066" y="2536768"/>
                </a:moveTo>
                <a:cubicBezTo>
                  <a:pt x="55942" y="2536768"/>
                  <a:pt x="93942" y="2574768"/>
                  <a:pt x="93942" y="2621643"/>
                </a:cubicBezTo>
                <a:cubicBezTo>
                  <a:pt x="93942" y="2668518"/>
                  <a:pt x="55942" y="2706518"/>
                  <a:pt x="9066" y="2706518"/>
                </a:cubicBezTo>
                <a:lnTo>
                  <a:pt x="0" y="2704688"/>
                </a:lnTo>
                <a:lnTo>
                  <a:pt x="0" y="2538598"/>
                </a:lnTo>
                <a:cubicBezTo>
                  <a:pt x="2881" y="2536936"/>
                  <a:pt x="5954" y="2536768"/>
                  <a:pt x="9066" y="2536768"/>
                </a:cubicBezTo>
                <a:close/>
                <a:moveTo>
                  <a:pt x="9066" y="1688095"/>
                </a:moveTo>
                <a:cubicBezTo>
                  <a:pt x="55942" y="1688095"/>
                  <a:pt x="93942" y="1726095"/>
                  <a:pt x="93942" y="1772970"/>
                </a:cubicBezTo>
                <a:cubicBezTo>
                  <a:pt x="93942" y="1819845"/>
                  <a:pt x="55942" y="1857845"/>
                  <a:pt x="9066" y="1857845"/>
                </a:cubicBezTo>
                <a:lnTo>
                  <a:pt x="0" y="1856015"/>
                </a:lnTo>
                <a:lnTo>
                  <a:pt x="0" y="1689925"/>
                </a:lnTo>
                <a:cubicBezTo>
                  <a:pt x="2881" y="1688263"/>
                  <a:pt x="5954" y="1688095"/>
                  <a:pt x="9066" y="1688095"/>
                </a:cubicBezTo>
                <a:close/>
                <a:moveTo>
                  <a:pt x="9066" y="845498"/>
                </a:moveTo>
                <a:cubicBezTo>
                  <a:pt x="55942" y="845498"/>
                  <a:pt x="93942" y="883498"/>
                  <a:pt x="93942" y="930373"/>
                </a:cubicBezTo>
                <a:cubicBezTo>
                  <a:pt x="93942" y="977248"/>
                  <a:pt x="55942" y="1015248"/>
                  <a:pt x="9066" y="1015248"/>
                </a:cubicBezTo>
                <a:lnTo>
                  <a:pt x="0" y="1013418"/>
                </a:lnTo>
                <a:lnTo>
                  <a:pt x="0" y="847328"/>
                </a:lnTo>
                <a:cubicBezTo>
                  <a:pt x="2881" y="845666"/>
                  <a:pt x="5954" y="845498"/>
                  <a:pt x="9066" y="845498"/>
                </a:cubicBezTo>
                <a:close/>
                <a:moveTo>
                  <a:pt x="9066" y="0"/>
                </a:moveTo>
                <a:cubicBezTo>
                  <a:pt x="55942" y="0"/>
                  <a:pt x="93942" y="38000"/>
                  <a:pt x="93942" y="84875"/>
                </a:cubicBezTo>
                <a:cubicBezTo>
                  <a:pt x="93942" y="131750"/>
                  <a:pt x="55942" y="169750"/>
                  <a:pt x="9066" y="169750"/>
                </a:cubicBezTo>
                <a:lnTo>
                  <a:pt x="0" y="167920"/>
                </a:lnTo>
                <a:lnTo>
                  <a:pt x="0" y="1830"/>
                </a:lnTo>
                <a:cubicBezTo>
                  <a:pt x="2881" y="167"/>
                  <a:pt x="5954" y="0"/>
                  <a:pt x="90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4" name="Oval 593"/>
          <p:cNvSpPr/>
          <p:nvPr/>
        </p:nvSpPr>
        <p:spPr>
          <a:xfrm>
            <a:off x="7667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5" name="Oval 594"/>
          <p:cNvSpPr/>
          <p:nvPr/>
        </p:nvSpPr>
        <p:spPr>
          <a:xfrm>
            <a:off x="16092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6" name="Oval 595"/>
          <p:cNvSpPr/>
          <p:nvPr/>
        </p:nvSpPr>
        <p:spPr>
          <a:xfrm>
            <a:off x="24518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7" name="Oval 596"/>
          <p:cNvSpPr/>
          <p:nvPr/>
        </p:nvSpPr>
        <p:spPr>
          <a:xfrm>
            <a:off x="32943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8" name="Oval 597"/>
          <p:cNvSpPr/>
          <p:nvPr/>
        </p:nvSpPr>
        <p:spPr>
          <a:xfrm>
            <a:off x="41368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9" name="Oval 598"/>
          <p:cNvSpPr/>
          <p:nvPr/>
        </p:nvSpPr>
        <p:spPr>
          <a:xfrm>
            <a:off x="49794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0" name="Oval 599"/>
          <p:cNvSpPr/>
          <p:nvPr/>
        </p:nvSpPr>
        <p:spPr>
          <a:xfrm>
            <a:off x="58219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1" name="Oval 600"/>
          <p:cNvSpPr/>
          <p:nvPr/>
        </p:nvSpPr>
        <p:spPr>
          <a:xfrm>
            <a:off x="83495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2" name="Oval 601"/>
          <p:cNvSpPr/>
          <p:nvPr/>
        </p:nvSpPr>
        <p:spPr>
          <a:xfrm>
            <a:off x="75070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3" name="Oval 602"/>
          <p:cNvSpPr/>
          <p:nvPr/>
        </p:nvSpPr>
        <p:spPr>
          <a:xfrm>
            <a:off x="100346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4" name="Oval 603"/>
          <p:cNvSpPr/>
          <p:nvPr/>
        </p:nvSpPr>
        <p:spPr>
          <a:xfrm>
            <a:off x="91921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5" name="Oval 604"/>
          <p:cNvSpPr/>
          <p:nvPr/>
        </p:nvSpPr>
        <p:spPr>
          <a:xfrm>
            <a:off x="11719750"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6" name="Oval 605"/>
          <p:cNvSpPr/>
          <p:nvPr/>
        </p:nvSpPr>
        <p:spPr>
          <a:xfrm>
            <a:off x="108772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7" name="Teardrop 3"/>
          <p:cNvSpPr/>
          <p:nvPr/>
        </p:nvSpPr>
        <p:spPr>
          <a:xfrm rot="5400000" flipH="1" flipV="1">
            <a:off x="60211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8" name="Teardrop 3"/>
          <p:cNvSpPr/>
          <p:nvPr/>
        </p:nvSpPr>
        <p:spPr>
          <a:xfrm rot="5400000" flipH="1" flipV="1">
            <a:off x="9659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9" name="Teardrop 3"/>
          <p:cNvSpPr/>
          <p:nvPr/>
        </p:nvSpPr>
        <p:spPr>
          <a:xfrm rot="5400000" flipH="1" flipV="1">
            <a:off x="18084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0" name="Teardrop 3"/>
          <p:cNvSpPr/>
          <p:nvPr/>
        </p:nvSpPr>
        <p:spPr>
          <a:xfrm rot="5400000" flipH="1" flipV="1">
            <a:off x="26510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1" name="Teardrop 3"/>
          <p:cNvSpPr/>
          <p:nvPr/>
        </p:nvSpPr>
        <p:spPr>
          <a:xfrm rot="5400000" flipH="1" flipV="1">
            <a:off x="34935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2" name="Teardrop 3"/>
          <p:cNvSpPr/>
          <p:nvPr/>
        </p:nvSpPr>
        <p:spPr>
          <a:xfrm rot="5400000" flipH="1" flipV="1">
            <a:off x="43361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3" name="Teardrop 3"/>
          <p:cNvSpPr/>
          <p:nvPr/>
        </p:nvSpPr>
        <p:spPr>
          <a:xfrm rot="5400000" flipH="1" flipV="1">
            <a:off x="51786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4" name="Teardrop 3"/>
          <p:cNvSpPr/>
          <p:nvPr/>
        </p:nvSpPr>
        <p:spPr>
          <a:xfrm rot="5400000" flipH="1" flipV="1">
            <a:off x="77062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5" name="Teardrop 3"/>
          <p:cNvSpPr/>
          <p:nvPr/>
        </p:nvSpPr>
        <p:spPr>
          <a:xfrm rot="5400000" flipH="1" flipV="1">
            <a:off x="68637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6" name="Teardrop 3"/>
          <p:cNvSpPr/>
          <p:nvPr/>
        </p:nvSpPr>
        <p:spPr>
          <a:xfrm rot="5400000" flipH="1" flipV="1">
            <a:off x="93913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7" name="Teardrop 3"/>
          <p:cNvSpPr/>
          <p:nvPr/>
        </p:nvSpPr>
        <p:spPr>
          <a:xfrm rot="5400000" flipH="1" flipV="1">
            <a:off x="85488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8" name="Teardrop 3"/>
          <p:cNvSpPr/>
          <p:nvPr/>
        </p:nvSpPr>
        <p:spPr>
          <a:xfrm rot="5400000" flipH="1" flipV="1">
            <a:off x="11076421"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9" name="Teardrop 3"/>
          <p:cNvSpPr/>
          <p:nvPr/>
        </p:nvSpPr>
        <p:spPr>
          <a:xfrm rot="5400000" flipH="1" flipV="1">
            <a:off x="102338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0" name="Teardrop 3"/>
          <p:cNvSpPr/>
          <p:nvPr/>
        </p:nvSpPr>
        <p:spPr>
          <a:xfrm rot="5400000" flipH="1" flipV="1">
            <a:off x="1234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1" name="Teardrop 3"/>
          <p:cNvSpPr/>
          <p:nvPr/>
        </p:nvSpPr>
        <p:spPr>
          <a:xfrm rot="5400000" flipH="1" flipV="1">
            <a:off x="11760003" y="685578"/>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69"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2" name="Oval 621"/>
          <p:cNvSpPr/>
          <p:nvPr/>
        </p:nvSpPr>
        <p:spPr>
          <a:xfrm>
            <a:off x="70866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3" name="Oval 622"/>
          <p:cNvSpPr/>
          <p:nvPr/>
        </p:nvSpPr>
        <p:spPr>
          <a:xfrm>
            <a:off x="3463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4" name="Oval 623"/>
          <p:cNvSpPr/>
          <p:nvPr/>
        </p:nvSpPr>
        <p:spPr>
          <a:xfrm>
            <a:off x="11888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5" name="Oval 624"/>
          <p:cNvSpPr/>
          <p:nvPr/>
        </p:nvSpPr>
        <p:spPr>
          <a:xfrm>
            <a:off x="20314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6" name="Oval 625"/>
          <p:cNvSpPr/>
          <p:nvPr/>
        </p:nvSpPr>
        <p:spPr>
          <a:xfrm>
            <a:off x="28739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7" name="Oval 626"/>
          <p:cNvSpPr/>
          <p:nvPr/>
        </p:nvSpPr>
        <p:spPr>
          <a:xfrm>
            <a:off x="37164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8" name="Oval 627"/>
          <p:cNvSpPr/>
          <p:nvPr/>
        </p:nvSpPr>
        <p:spPr>
          <a:xfrm>
            <a:off x="45590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9" name="Oval 628"/>
          <p:cNvSpPr/>
          <p:nvPr/>
        </p:nvSpPr>
        <p:spPr>
          <a:xfrm>
            <a:off x="54015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0" name="Oval 629"/>
          <p:cNvSpPr/>
          <p:nvPr/>
        </p:nvSpPr>
        <p:spPr>
          <a:xfrm>
            <a:off x="62441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1" name="Oval 630"/>
          <p:cNvSpPr/>
          <p:nvPr/>
        </p:nvSpPr>
        <p:spPr>
          <a:xfrm>
            <a:off x="87717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2" name="Oval 631"/>
          <p:cNvSpPr/>
          <p:nvPr/>
        </p:nvSpPr>
        <p:spPr>
          <a:xfrm>
            <a:off x="79291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3" name="Oval 632"/>
          <p:cNvSpPr/>
          <p:nvPr/>
        </p:nvSpPr>
        <p:spPr>
          <a:xfrm>
            <a:off x="104568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4" name="Oval 633"/>
          <p:cNvSpPr/>
          <p:nvPr/>
        </p:nvSpPr>
        <p:spPr>
          <a:xfrm>
            <a:off x="96142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5" name="Oval 860"/>
          <p:cNvSpPr/>
          <p:nvPr/>
        </p:nvSpPr>
        <p:spPr>
          <a:xfrm>
            <a:off x="12141892" y="758852"/>
            <a:ext cx="50109" cy="3538433"/>
          </a:xfrm>
          <a:custGeom>
            <a:avLst/>
            <a:gdLst/>
            <a:ahLst/>
            <a:cxnLst/>
            <a:rect l="l" t="t" r="r" b="b"/>
            <a:pathLst>
              <a:path w="50109" h="3538433">
                <a:moveTo>
                  <a:pt x="50109" y="3384355"/>
                </a:moveTo>
                <a:lnTo>
                  <a:pt x="50109" y="3538433"/>
                </a:lnTo>
                <a:cubicBezTo>
                  <a:pt x="20497" y="3525461"/>
                  <a:pt x="0" y="3495821"/>
                  <a:pt x="0" y="3461394"/>
                </a:cubicBezTo>
                <a:cubicBezTo>
                  <a:pt x="0" y="3426967"/>
                  <a:pt x="20497" y="3397327"/>
                  <a:pt x="50109" y="3384355"/>
                </a:cubicBezTo>
                <a:close/>
                <a:moveTo>
                  <a:pt x="50109" y="2538350"/>
                </a:moveTo>
                <a:lnTo>
                  <a:pt x="50109" y="2692428"/>
                </a:lnTo>
                <a:cubicBezTo>
                  <a:pt x="20497" y="2679456"/>
                  <a:pt x="0" y="2649816"/>
                  <a:pt x="0" y="2615389"/>
                </a:cubicBezTo>
                <a:cubicBezTo>
                  <a:pt x="0" y="2580962"/>
                  <a:pt x="20497" y="2551322"/>
                  <a:pt x="50109" y="2538350"/>
                </a:cubicBezTo>
                <a:close/>
                <a:moveTo>
                  <a:pt x="50109" y="1688095"/>
                </a:moveTo>
                <a:lnTo>
                  <a:pt x="50109" y="1842173"/>
                </a:lnTo>
                <a:cubicBezTo>
                  <a:pt x="20497" y="1829201"/>
                  <a:pt x="0" y="1799561"/>
                  <a:pt x="0" y="1765134"/>
                </a:cubicBezTo>
                <a:cubicBezTo>
                  <a:pt x="0" y="1730707"/>
                  <a:pt x="20497" y="1701067"/>
                  <a:pt x="50109" y="1688095"/>
                </a:cubicBezTo>
                <a:close/>
                <a:moveTo>
                  <a:pt x="50109" y="845498"/>
                </a:moveTo>
                <a:lnTo>
                  <a:pt x="50109" y="999576"/>
                </a:lnTo>
                <a:cubicBezTo>
                  <a:pt x="20497" y="986604"/>
                  <a:pt x="0" y="956964"/>
                  <a:pt x="0" y="922537"/>
                </a:cubicBezTo>
                <a:cubicBezTo>
                  <a:pt x="0" y="888110"/>
                  <a:pt x="20497" y="858470"/>
                  <a:pt x="50109" y="845498"/>
                </a:cubicBezTo>
                <a:close/>
                <a:moveTo>
                  <a:pt x="50109" y="0"/>
                </a:moveTo>
                <a:lnTo>
                  <a:pt x="50109" y="154078"/>
                </a:lnTo>
                <a:cubicBezTo>
                  <a:pt x="20497" y="141106"/>
                  <a:pt x="0" y="111466"/>
                  <a:pt x="0" y="77039"/>
                </a:cubicBezTo>
                <a:cubicBezTo>
                  <a:pt x="0" y="42612"/>
                  <a:pt x="20497" y="12972"/>
                  <a:pt x="501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6" name="Oval 635"/>
          <p:cNvSpPr/>
          <p:nvPr/>
        </p:nvSpPr>
        <p:spPr>
          <a:xfrm>
            <a:off x="112993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7" name="Teardrop 3"/>
          <p:cNvSpPr/>
          <p:nvPr/>
        </p:nvSpPr>
        <p:spPr>
          <a:xfrm rot="5400000" flipH="1" flipV="1">
            <a:off x="617401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8" name="Teardrop 3"/>
          <p:cNvSpPr/>
          <p:nvPr/>
        </p:nvSpPr>
        <p:spPr>
          <a:xfrm rot="5400000" flipH="1" flipV="1">
            <a:off x="11187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699"/>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8"/>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9" name="Teardrop 3"/>
          <p:cNvSpPr/>
          <p:nvPr/>
        </p:nvSpPr>
        <p:spPr>
          <a:xfrm rot="5400000" flipH="1" flipV="1">
            <a:off x="19613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0" name="Teardrop 3"/>
          <p:cNvSpPr/>
          <p:nvPr/>
        </p:nvSpPr>
        <p:spPr>
          <a:xfrm rot="5400000" flipH="1" flipV="1">
            <a:off x="280385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1" name="Teardrop 3"/>
          <p:cNvSpPr/>
          <p:nvPr/>
        </p:nvSpPr>
        <p:spPr>
          <a:xfrm rot="5400000" flipH="1" flipV="1">
            <a:off x="364639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2" name="Teardrop 3"/>
          <p:cNvSpPr/>
          <p:nvPr/>
        </p:nvSpPr>
        <p:spPr>
          <a:xfrm rot="5400000" flipH="1" flipV="1">
            <a:off x="448893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3" name="Teardrop 3"/>
          <p:cNvSpPr/>
          <p:nvPr/>
        </p:nvSpPr>
        <p:spPr>
          <a:xfrm rot="5400000" flipH="1" flipV="1">
            <a:off x="533147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4" name="Teardrop 3"/>
          <p:cNvSpPr/>
          <p:nvPr/>
        </p:nvSpPr>
        <p:spPr>
          <a:xfrm rot="5400000" flipH="1" flipV="1">
            <a:off x="785909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5" name="Teardrop 3"/>
          <p:cNvSpPr/>
          <p:nvPr/>
        </p:nvSpPr>
        <p:spPr>
          <a:xfrm rot="5400000" flipH="1" flipV="1">
            <a:off x="701655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6" name="Teardrop 3"/>
          <p:cNvSpPr/>
          <p:nvPr/>
        </p:nvSpPr>
        <p:spPr>
          <a:xfrm rot="5400000" flipH="1" flipV="1">
            <a:off x="95441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7" name="Teardrop 3"/>
          <p:cNvSpPr/>
          <p:nvPr/>
        </p:nvSpPr>
        <p:spPr>
          <a:xfrm rot="5400000" flipH="1" flipV="1">
            <a:off x="87016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8" name="Teardrop 3"/>
          <p:cNvSpPr/>
          <p:nvPr/>
        </p:nvSpPr>
        <p:spPr>
          <a:xfrm rot="5400000" flipH="1" flipV="1">
            <a:off x="11229252"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9" name="Teardrop 3"/>
          <p:cNvSpPr/>
          <p:nvPr/>
        </p:nvSpPr>
        <p:spPr>
          <a:xfrm rot="5400000" flipH="1" flipV="1">
            <a:off x="103867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0" name="Teardrop 3"/>
          <p:cNvSpPr/>
          <p:nvPr/>
        </p:nvSpPr>
        <p:spPr>
          <a:xfrm rot="5400000" flipH="1" flipV="1">
            <a:off x="2762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8"/>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2"/>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1" name="Teardrop 3"/>
          <p:cNvSpPr/>
          <p:nvPr/>
        </p:nvSpPr>
        <p:spPr>
          <a:xfrm rot="5400000" flipH="1" flipV="1">
            <a:off x="11908617" y="4923"/>
            <a:ext cx="298552" cy="268215"/>
          </a:xfrm>
          <a:custGeom>
            <a:avLst/>
            <a:gdLst/>
            <a:ahLst/>
            <a:cxnLst/>
            <a:rect l="l" t="t" r="r" b="b"/>
            <a:pathLst>
              <a:path w="298552"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298552" y="138"/>
                </a:moveTo>
                <a:lnTo>
                  <a:pt x="298552" y="11636"/>
                </a:lnTo>
                <a:cubicBezTo>
                  <a:pt x="298344" y="11511"/>
                  <a:pt x="298133" y="11506"/>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4" y="189232"/>
                  <a:pt x="256525" y="205210"/>
                  <a:pt x="272877" y="215167"/>
                </a:cubicBezTo>
                <a:lnTo>
                  <a:pt x="298552" y="215277"/>
                </a:lnTo>
                <a:lnTo>
                  <a:pt x="298552" y="221928"/>
                </a:lnTo>
                <a:cubicBezTo>
                  <a:pt x="276711" y="221632"/>
                  <a:pt x="254816" y="229876"/>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0"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cubicBezTo>
                  <a:pt x="99420" y="72140"/>
                  <a:pt x="124170" y="61435"/>
                  <a:pt x="151420" y="61435"/>
                </a:cubicBezTo>
                <a:cubicBezTo>
                  <a:pt x="170023" y="61435"/>
                  <a:pt x="187461" y="66424"/>
                  <a:pt x="202250" y="75515"/>
                </a:cubicBezTo>
                <a:cubicBezTo>
                  <a:pt x="206323" y="58635"/>
                  <a:pt x="215129" y="42758"/>
                  <a:pt x="228297" y="29591"/>
                </a:cubicBezTo>
                <a:cubicBezTo>
                  <a:pt x="247566" y="10322"/>
                  <a:pt x="272636" y="391"/>
                  <a:pt x="29789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2" name="Oval 881"/>
          <p:cNvSpPr/>
          <p:nvPr/>
        </p:nvSpPr>
        <p:spPr>
          <a:xfrm>
            <a:off x="34633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3" name="Oval 882"/>
          <p:cNvSpPr/>
          <p:nvPr/>
        </p:nvSpPr>
        <p:spPr>
          <a:xfrm>
            <a:off x="118887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4" name="Oval 883"/>
          <p:cNvSpPr/>
          <p:nvPr/>
        </p:nvSpPr>
        <p:spPr>
          <a:xfrm>
            <a:off x="2031413" y="-10245"/>
            <a:ext cx="10160587" cy="84875"/>
          </a:xfrm>
          <a:custGeom>
            <a:avLst/>
            <a:gdLst/>
            <a:ahLst/>
            <a:cxnLst/>
            <a:rect l="l" t="t" r="r" b="b"/>
            <a:pathLst>
              <a:path w="10160587" h="84875">
                <a:moveTo>
                  <a:pt x="10110479" y="0"/>
                </a:moveTo>
                <a:lnTo>
                  <a:pt x="10160587" y="0"/>
                </a:lnTo>
                <a:lnTo>
                  <a:pt x="10160587" y="77038"/>
                </a:lnTo>
                <a:cubicBezTo>
                  <a:pt x="10130976" y="64066"/>
                  <a:pt x="10110479" y="34427"/>
                  <a:pt x="10110479" y="0"/>
                </a:cubicBezTo>
                <a:close/>
                <a:moveTo>
                  <a:pt x="9267940" y="0"/>
                </a:moveTo>
                <a:lnTo>
                  <a:pt x="9437692" y="0"/>
                </a:lnTo>
                <a:cubicBezTo>
                  <a:pt x="9437692" y="46875"/>
                  <a:pt x="9399692" y="84875"/>
                  <a:pt x="9352816" y="84875"/>
                </a:cubicBezTo>
                <a:cubicBezTo>
                  <a:pt x="9305940" y="84875"/>
                  <a:pt x="9267940" y="46875"/>
                  <a:pt x="9267940" y="0"/>
                </a:cubicBezTo>
                <a:close/>
                <a:moveTo>
                  <a:pt x="8425400" y="0"/>
                </a:moveTo>
                <a:lnTo>
                  <a:pt x="8595152" y="0"/>
                </a:lnTo>
                <a:cubicBezTo>
                  <a:pt x="8595152" y="46875"/>
                  <a:pt x="8557152" y="84875"/>
                  <a:pt x="8510276" y="84875"/>
                </a:cubicBezTo>
                <a:cubicBezTo>
                  <a:pt x="8463400" y="84875"/>
                  <a:pt x="8425400" y="46875"/>
                  <a:pt x="8425400" y="0"/>
                </a:cubicBezTo>
                <a:close/>
                <a:moveTo>
                  <a:pt x="7582860" y="0"/>
                </a:moveTo>
                <a:lnTo>
                  <a:pt x="7752612" y="0"/>
                </a:lnTo>
                <a:cubicBezTo>
                  <a:pt x="7752612" y="46875"/>
                  <a:pt x="7714612" y="84875"/>
                  <a:pt x="7667736" y="84875"/>
                </a:cubicBezTo>
                <a:cubicBezTo>
                  <a:pt x="7620860" y="84875"/>
                  <a:pt x="7582860" y="46875"/>
                  <a:pt x="7582860" y="0"/>
                </a:cubicBezTo>
                <a:close/>
                <a:moveTo>
                  <a:pt x="6740320" y="0"/>
                </a:moveTo>
                <a:lnTo>
                  <a:pt x="6910072" y="0"/>
                </a:lnTo>
                <a:cubicBezTo>
                  <a:pt x="6910072" y="46875"/>
                  <a:pt x="6872072" y="84875"/>
                  <a:pt x="6825196" y="84875"/>
                </a:cubicBezTo>
                <a:cubicBezTo>
                  <a:pt x="6778320" y="84875"/>
                  <a:pt x="6740320" y="46875"/>
                  <a:pt x="6740320" y="0"/>
                </a:cubicBezTo>
                <a:close/>
                <a:moveTo>
                  <a:pt x="5897780" y="0"/>
                </a:moveTo>
                <a:lnTo>
                  <a:pt x="6067532" y="0"/>
                </a:lnTo>
                <a:cubicBezTo>
                  <a:pt x="6067532" y="46875"/>
                  <a:pt x="6029532" y="84875"/>
                  <a:pt x="5982656" y="84875"/>
                </a:cubicBezTo>
                <a:cubicBezTo>
                  <a:pt x="5935780" y="84875"/>
                  <a:pt x="5897780" y="46875"/>
                  <a:pt x="5897780" y="0"/>
                </a:cubicBezTo>
                <a:close/>
                <a:moveTo>
                  <a:pt x="5055240" y="0"/>
                </a:moveTo>
                <a:lnTo>
                  <a:pt x="5224992" y="0"/>
                </a:lnTo>
                <a:cubicBezTo>
                  <a:pt x="5224992" y="46875"/>
                  <a:pt x="5186992" y="84875"/>
                  <a:pt x="5140116" y="84875"/>
                </a:cubicBezTo>
                <a:cubicBezTo>
                  <a:pt x="5093240" y="84875"/>
                  <a:pt x="5055240" y="46875"/>
                  <a:pt x="5055240" y="0"/>
                </a:cubicBezTo>
                <a:close/>
                <a:moveTo>
                  <a:pt x="4212700" y="0"/>
                </a:moveTo>
                <a:lnTo>
                  <a:pt x="4382452" y="0"/>
                </a:lnTo>
                <a:cubicBezTo>
                  <a:pt x="4382452" y="46875"/>
                  <a:pt x="4344452" y="84875"/>
                  <a:pt x="4297576" y="84875"/>
                </a:cubicBezTo>
                <a:cubicBezTo>
                  <a:pt x="4250700" y="84875"/>
                  <a:pt x="4212700" y="46875"/>
                  <a:pt x="4212700" y="0"/>
                </a:cubicBezTo>
                <a:close/>
                <a:moveTo>
                  <a:pt x="3370160" y="0"/>
                </a:moveTo>
                <a:lnTo>
                  <a:pt x="3539912" y="0"/>
                </a:lnTo>
                <a:cubicBezTo>
                  <a:pt x="3539912" y="46875"/>
                  <a:pt x="3501912" y="84875"/>
                  <a:pt x="3455036" y="84875"/>
                </a:cubicBezTo>
                <a:cubicBezTo>
                  <a:pt x="3408160" y="84875"/>
                  <a:pt x="3370160" y="46875"/>
                  <a:pt x="3370160" y="0"/>
                </a:cubicBezTo>
                <a:close/>
                <a:moveTo>
                  <a:pt x="2527620" y="0"/>
                </a:moveTo>
                <a:lnTo>
                  <a:pt x="2697372" y="0"/>
                </a:lnTo>
                <a:cubicBezTo>
                  <a:pt x="2697372" y="46875"/>
                  <a:pt x="2659372" y="84875"/>
                  <a:pt x="2612496" y="84875"/>
                </a:cubicBezTo>
                <a:cubicBezTo>
                  <a:pt x="2565620" y="84875"/>
                  <a:pt x="2527620" y="46875"/>
                  <a:pt x="2527620" y="0"/>
                </a:cubicBezTo>
                <a:close/>
                <a:moveTo>
                  <a:pt x="1685080" y="0"/>
                </a:moveTo>
                <a:lnTo>
                  <a:pt x="1854832" y="0"/>
                </a:lnTo>
                <a:cubicBezTo>
                  <a:pt x="1854832" y="46875"/>
                  <a:pt x="1816832" y="84875"/>
                  <a:pt x="1769956" y="84875"/>
                </a:cubicBezTo>
                <a:cubicBezTo>
                  <a:pt x="1723080" y="84875"/>
                  <a:pt x="1685080" y="46875"/>
                  <a:pt x="1685080" y="0"/>
                </a:cubicBezTo>
                <a:close/>
                <a:moveTo>
                  <a:pt x="842540" y="0"/>
                </a:moveTo>
                <a:lnTo>
                  <a:pt x="1012292" y="0"/>
                </a:lnTo>
                <a:cubicBezTo>
                  <a:pt x="1012292" y="46875"/>
                  <a:pt x="974292" y="84875"/>
                  <a:pt x="927416" y="84875"/>
                </a:cubicBezTo>
                <a:cubicBezTo>
                  <a:pt x="880540" y="84875"/>
                  <a:pt x="842540" y="46875"/>
                  <a:pt x="842540" y="0"/>
                </a:cubicBezTo>
                <a:close/>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5" name="Teardrop 3"/>
          <p:cNvSpPr/>
          <p:nvPr/>
        </p:nvSpPr>
        <p:spPr>
          <a:xfrm rot="5400000" flipH="1" flipV="1">
            <a:off x="64427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6" name="Teardrop 3"/>
          <p:cNvSpPr/>
          <p:nvPr/>
        </p:nvSpPr>
        <p:spPr>
          <a:xfrm rot="5400000" flipH="1" flipV="1">
            <a:off x="-148774" y="110381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7" name="Teardrop 3"/>
          <p:cNvSpPr/>
          <p:nvPr/>
        </p:nvSpPr>
        <p:spPr>
          <a:xfrm rot="5400000" flipH="1" flipV="1">
            <a:off x="13875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8" name="Teardrop 3"/>
          <p:cNvSpPr/>
          <p:nvPr/>
        </p:nvSpPr>
        <p:spPr>
          <a:xfrm rot="5400000" flipH="1" flipV="1">
            <a:off x="22300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9" name="Teardrop 3"/>
          <p:cNvSpPr/>
          <p:nvPr/>
        </p:nvSpPr>
        <p:spPr>
          <a:xfrm rot="5400000" flipH="1" flipV="1">
            <a:off x="30726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0" name="Teardrop 3"/>
          <p:cNvSpPr/>
          <p:nvPr/>
        </p:nvSpPr>
        <p:spPr>
          <a:xfrm rot="5400000" flipH="1" flipV="1">
            <a:off x="39151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1" name="Teardrop 3"/>
          <p:cNvSpPr/>
          <p:nvPr/>
        </p:nvSpPr>
        <p:spPr>
          <a:xfrm rot="5400000" flipH="1" flipV="1">
            <a:off x="47576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2" name="Teardrop 3"/>
          <p:cNvSpPr/>
          <p:nvPr/>
        </p:nvSpPr>
        <p:spPr>
          <a:xfrm rot="5400000" flipH="1" flipV="1">
            <a:off x="56002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3" name="Teardrop 3"/>
          <p:cNvSpPr/>
          <p:nvPr/>
        </p:nvSpPr>
        <p:spPr>
          <a:xfrm rot="5400000" flipH="1" flipV="1">
            <a:off x="81278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4" name="Teardrop 3"/>
          <p:cNvSpPr/>
          <p:nvPr/>
        </p:nvSpPr>
        <p:spPr>
          <a:xfrm rot="5400000" flipH="1" flipV="1">
            <a:off x="72853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5" name="Teardrop 3"/>
          <p:cNvSpPr/>
          <p:nvPr/>
        </p:nvSpPr>
        <p:spPr>
          <a:xfrm rot="5400000" flipH="1" flipV="1">
            <a:off x="98129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6" name="Teardrop 3"/>
          <p:cNvSpPr/>
          <p:nvPr/>
        </p:nvSpPr>
        <p:spPr>
          <a:xfrm rot="5400000" flipH="1" flipV="1">
            <a:off x="89703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7" name="Teardrop 3"/>
          <p:cNvSpPr/>
          <p:nvPr/>
        </p:nvSpPr>
        <p:spPr>
          <a:xfrm rot="5400000" flipH="1" flipV="1">
            <a:off x="11498011"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8" name="Teardrop 3"/>
          <p:cNvSpPr/>
          <p:nvPr/>
        </p:nvSpPr>
        <p:spPr>
          <a:xfrm rot="5400000" flipH="1" flipV="1">
            <a:off x="106554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9" name="Teardrop 3"/>
          <p:cNvSpPr/>
          <p:nvPr/>
        </p:nvSpPr>
        <p:spPr>
          <a:xfrm rot="5400000" flipH="1" flipV="1">
            <a:off x="5449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0" name="Oval 669"/>
          <p:cNvSpPr/>
          <p:nvPr/>
        </p:nvSpPr>
        <p:spPr>
          <a:xfrm>
            <a:off x="66645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1" name="Oval 670"/>
          <p:cNvSpPr/>
          <p:nvPr/>
        </p:nvSpPr>
        <p:spPr>
          <a:xfrm>
            <a:off x="7667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2" name="Oval 671"/>
          <p:cNvSpPr/>
          <p:nvPr/>
        </p:nvSpPr>
        <p:spPr>
          <a:xfrm>
            <a:off x="16092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3" name="Oval 672"/>
          <p:cNvSpPr/>
          <p:nvPr/>
        </p:nvSpPr>
        <p:spPr>
          <a:xfrm>
            <a:off x="24518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4" name="Oval 673"/>
          <p:cNvSpPr/>
          <p:nvPr/>
        </p:nvSpPr>
        <p:spPr>
          <a:xfrm>
            <a:off x="32943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5" name="Oval 674"/>
          <p:cNvSpPr/>
          <p:nvPr/>
        </p:nvSpPr>
        <p:spPr>
          <a:xfrm>
            <a:off x="41368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6" name="Oval 675"/>
          <p:cNvSpPr/>
          <p:nvPr/>
        </p:nvSpPr>
        <p:spPr>
          <a:xfrm>
            <a:off x="49794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7" name="Oval 676"/>
          <p:cNvSpPr/>
          <p:nvPr/>
        </p:nvSpPr>
        <p:spPr>
          <a:xfrm>
            <a:off x="58219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8" name="Oval 677"/>
          <p:cNvSpPr/>
          <p:nvPr/>
        </p:nvSpPr>
        <p:spPr>
          <a:xfrm>
            <a:off x="83495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9" name="Oval 678"/>
          <p:cNvSpPr/>
          <p:nvPr/>
        </p:nvSpPr>
        <p:spPr>
          <a:xfrm>
            <a:off x="75070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0" name="Oval 679"/>
          <p:cNvSpPr/>
          <p:nvPr/>
        </p:nvSpPr>
        <p:spPr>
          <a:xfrm>
            <a:off x="100346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1" name="Oval 680"/>
          <p:cNvSpPr/>
          <p:nvPr/>
        </p:nvSpPr>
        <p:spPr>
          <a:xfrm>
            <a:off x="91921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2" name="Oval 681"/>
          <p:cNvSpPr/>
          <p:nvPr/>
        </p:nvSpPr>
        <p:spPr>
          <a:xfrm>
            <a:off x="11719750"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3" name="Oval 682"/>
          <p:cNvSpPr/>
          <p:nvPr/>
        </p:nvSpPr>
        <p:spPr>
          <a:xfrm>
            <a:off x="108772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4" name="Teardrop 3"/>
          <p:cNvSpPr/>
          <p:nvPr/>
        </p:nvSpPr>
        <p:spPr>
          <a:xfrm rot="5400000" flipH="1" flipV="1">
            <a:off x="60211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5" name="Teardrop 3"/>
          <p:cNvSpPr/>
          <p:nvPr/>
        </p:nvSpPr>
        <p:spPr>
          <a:xfrm rot="5400000" flipH="1" flipV="1">
            <a:off x="9659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6" name="Teardrop 3"/>
          <p:cNvSpPr/>
          <p:nvPr/>
        </p:nvSpPr>
        <p:spPr>
          <a:xfrm rot="5400000" flipH="1" flipV="1">
            <a:off x="18084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7" name="Teardrop 3"/>
          <p:cNvSpPr/>
          <p:nvPr/>
        </p:nvSpPr>
        <p:spPr>
          <a:xfrm rot="5400000" flipH="1" flipV="1">
            <a:off x="26510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8" name="Teardrop 3"/>
          <p:cNvSpPr/>
          <p:nvPr/>
        </p:nvSpPr>
        <p:spPr>
          <a:xfrm rot="5400000" flipH="1" flipV="1">
            <a:off x="34935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9" name="Teardrop 3"/>
          <p:cNvSpPr/>
          <p:nvPr/>
        </p:nvSpPr>
        <p:spPr>
          <a:xfrm rot="5400000" flipH="1" flipV="1">
            <a:off x="43361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0" name="Teardrop 3"/>
          <p:cNvSpPr/>
          <p:nvPr/>
        </p:nvSpPr>
        <p:spPr>
          <a:xfrm rot="5400000" flipH="1" flipV="1">
            <a:off x="51786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1" name="Teardrop 3"/>
          <p:cNvSpPr/>
          <p:nvPr/>
        </p:nvSpPr>
        <p:spPr>
          <a:xfrm rot="5400000" flipH="1" flipV="1">
            <a:off x="77062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2" name="Teardrop 3"/>
          <p:cNvSpPr/>
          <p:nvPr/>
        </p:nvSpPr>
        <p:spPr>
          <a:xfrm rot="5400000" flipH="1" flipV="1">
            <a:off x="68637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3" name="Teardrop 3"/>
          <p:cNvSpPr/>
          <p:nvPr/>
        </p:nvSpPr>
        <p:spPr>
          <a:xfrm rot="5400000" flipH="1" flipV="1">
            <a:off x="93913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4" name="Teardrop 3"/>
          <p:cNvSpPr/>
          <p:nvPr/>
        </p:nvSpPr>
        <p:spPr>
          <a:xfrm rot="5400000" flipH="1" flipV="1">
            <a:off x="85488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5" name="Teardrop 3"/>
          <p:cNvSpPr/>
          <p:nvPr/>
        </p:nvSpPr>
        <p:spPr>
          <a:xfrm rot="5400000" flipH="1" flipV="1">
            <a:off x="11076421"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6" name="Teardrop 3"/>
          <p:cNvSpPr/>
          <p:nvPr/>
        </p:nvSpPr>
        <p:spPr>
          <a:xfrm rot="5400000" flipH="1" flipV="1">
            <a:off x="102338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7" name="Teardrop 3"/>
          <p:cNvSpPr/>
          <p:nvPr/>
        </p:nvSpPr>
        <p:spPr>
          <a:xfrm rot="5400000" flipH="1" flipV="1">
            <a:off x="1234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8" name="Teardrop 3"/>
          <p:cNvSpPr/>
          <p:nvPr/>
        </p:nvSpPr>
        <p:spPr>
          <a:xfrm rot="5400000" flipH="1" flipV="1">
            <a:off x="11760002" y="1531078"/>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9" name="Oval 698"/>
          <p:cNvSpPr/>
          <p:nvPr/>
        </p:nvSpPr>
        <p:spPr>
          <a:xfrm>
            <a:off x="70866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0" name="Oval 699"/>
          <p:cNvSpPr/>
          <p:nvPr/>
        </p:nvSpPr>
        <p:spPr>
          <a:xfrm>
            <a:off x="3463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1" name="Oval 700"/>
          <p:cNvSpPr/>
          <p:nvPr/>
        </p:nvSpPr>
        <p:spPr>
          <a:xfrm>
            <a:off x="11888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2" name="Oval 701"/>
          <p:cNvSpPr/>
          <p:nvPr/>
        </p:nvSpPr>
        <p:spPr>
          <a:xfrm>
            <a:off x="20314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3" name="Oval 702"/>
          <p:cNvSpPr/>
          <p:nvPr/>
        </p:nvSpPr>
        <p:spPr>
          <a:xfrm>
            <a:off x="28739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4" name="Oval 703"/>
          <p:cNvSpPr/>
          <p:nvPr/>
        </p:nvSpPr>
        <p:spPr>
          <a:xfrm>
            <a:off x="37164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5" name="Oval 704"/>
          <p:cNvSpPr/>
          <p:nvPr/>
        </p:nvSpPr>
        <p:spPr>
          <a:xfrm>
            <a:off x="45590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6" name="Oval 705"/>
          <p:cNvSpPr/>
          <p:nvPr/>
        </p:nvSpPr>
        <p:spPr>
          <a:xfrm>
            <a:off x="54015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7" name="Oval 706"/>
          <p:cNvSpPr/>
          <p:nvPr/>
        </p:nvSpPr>
        <p:spPr>
          <a:xfrm>
            <a:off x="62441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8" name="Oval 707"/>
          <p:cNvSpPr/>
          <p:nvPr/>
        </p:nvSpPr>
        <p:spPr>
          <a:xfrm>
            <a:off x="87717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9" name="Oval 708"/>
          <p:cNvSpPr/>
          <p:nvPr/>
        </p:nvSpPr>
        <p:spPr>
          <a:xfrm>
            <a:off x="79291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0" name="Oval 709"/>
          <p:cNvSpPr/>
          <p:nvPr/>
        </p:nvSpPr>
        <p:spPr>
          <a:xfrm>
            <a:off x="104568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1" name="Oval 710"/>
          <p:cNvSpPr/>
          <p:nvPr/>
        </p:nvSpPr>
        <p:spPr>
          <a:xfrm>
            <a:off x="96142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2" name="Oval 711"/>
          <p:cNvSpPr/>
          <p:nvPr/>
        </p:nvSpPr>
        <p:spPr>
          <a:xfrm>
            <a:off x="112993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3" name="Teardrop 3"/>
          <p:cNvSpPr/>
          <p:nvPr/>
        </p:nvSpPr>
        <p:spPr>
          <a:xfrm rot="5400000" flipH="1" flipV="1">
            <a:off x="64427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4" name="Teardrop 3"/>
          <p:cNvSpPr/>
          <p:nvPr/>
        </p:nvSpPr>
        <p:spPr>
          <a:xfrm rot="5400000" flipH="1" flipV="1">
            <a:off x="-148774" y="1946410"/>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5" name="Teardrop 3"/>
          <p:cNvSpPr/>
          <p:nvPr/>
        </p:nvSpPr>
        <p:spPr>
          <a:xfrm rot="5400000" flipH="1" flipV="1">
            <a:off x="13875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6" name="Teardrop 3"/>
          <p:cNvSpPr/>
          <p:nvPr/>
        </p:nvSpPr>
        <p:spPr>
          <a:xfrm rot="5400000" flipH="1" flipV="1">
            <a:off x="22300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7" name="Teardrop 3"/>
          <p:cNvSpPr/>
          <p:nvPr/>
        </p:nvSpPr>
        <p:spPr>
          <a:xfrm rot="5400000" flipH="1" flipV="1">
            <a:off x="30726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8" name="Teardrop 3"/>
          <p:cNvSpPr/>
          <p:nvPr/>
        </p:nvSpPr>
        <p:spPr>
          <a:xfrm rot="5400000" flipH="1" flipV="1">
            <a:off x="39151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9" name="Teardrop 3"/>
          <p:cNvSpPr/>
          <p:nvPr/>
        </p:nvSpPr>
        <p:spPr>
          <a:xfrm rot="5400000" flipH="1" flipV="1">
            <a:off x="47576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0" name="Teardrop 3"/>
          <p:cNvSpPr/>
          <p:nvPr/>
        </p:nvSpPr>
        <p:spPr>
          <a:xfrm rot="5400000" flipH="1" flipV="1">
            <a:off x="56002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1" name="Teardrop 3"/>
          <p:cNvSpPr/>
          <p:nvPr/>
        </p:nvSpPr>
        <p:spPr>
          <a:xfrm rot="5400000" flipH="1" flipV="1">
            <a:off x="81278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2" name="Teardrop 3"/>
          <p:cNvSpPr/>
          <p:nvPr/>
        </p:nvSpPr>
        <p:spPr>
          <a:xfrm rot="5400000" flipH="1" flipV="1">
            <a:off x="72853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3" name="Teardrop 3"/>
          <p:cNvSpPr/>
          <p:nvPr/>
        </p:nvSpPr>
        <p:spPr>
          <a:xfrm rot="5400000" flipH="1" flipV="1">
            <a:off x="98129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4" name="Teardrop 3"/>
          <p:cNvSpPr/>
          <p:nvPr/>
        </p:nvSpPr>
        <p:spPr>
          <a:xfrm rot="5400000" flipH="1" flipV="1">
            <a:off x="89703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5" name="Teardrop 3"/>
          <p:cNvSpPr/>
          <p:nvPr/>
        </p:nvSpPr>
        <p:spPr>
          <a:xfrm rot="5400000" flipH="1" flipV="1">
            <a:off x="11498011"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6" name="Teardrop 3"/>
          <p:cNvSpPr/>
          <p:nvPr/>
        </p:nvSpPr>
        <p:spPr>
          <a:xfrm rot="5400000" flipH="1" flipV="1">
            <a:off x="106554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7" name="Teardrop 3"/>
          <p:cNvSpPr/>
          <p:nvPr/>
        </p:nvSpPr>
        <p:spPr>
          <a:xfrm rot="5400000" flipH="1" flipV="1">
            <a:off x="5449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8" name="Oval 727"/>
          <p:cNvSpPr/>
          <p:nvPr/>
        </p:nvSpPr>
        <p:spPr>
          <a:xfrm>
            <a:off x="66645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9" name="Oval 728"/>
          <p:cNvSpPr/>
          <p:nvPr/>
        </p:nvSpPr>
        <p:spPr>
          <a:xfrm>
            <a:off x="7667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0" name="Oval 729"/>
          <p:cNvSpPr/>
          <p:nvPr/>
        </p:nvSpPr>
        <p:spPr>
          <a:xfrm>
            <a:off x="16092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1" name="Oval 730"/>
          <p:cNvSpPr/>
          <p:nvPr/>
        </p:nvSpPr>
        <p:spPr>
          <a:xfrm>
            <a:off x="24518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2" name="Oval 731"/>
          <p:cNvSpPr/>
          <p:nvPr/>
        </p:nvSpPr>
        <p:spPr>
          <a:xfrm>
            <a:off x="32943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3" name="Oval 732"/>
          <p:cNvSpPr/>
          <p:nvPr/>
        </p:nvSpPr>
        <p:spPr>
          <a:xfrm>
            <a:off x="41368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4" name="Oval 733"/>
          <p:cNvSpPr/>
          <p:nvPr/>
        </p:nvSpPr>
        <p:spPr>
          <a:xfrm>
            <a:off x="49794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5" name="Oval 734"/>
          <p:cNvSpPr/>
          <p:nvPr/>
        </p:nvSpPr>
        <p:spPr>
          <a:xfrm>
            <a:off x="58219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6" name="Oval 735"/>
          <p:cNvSpPr/>
          <p:nvPr/>
        </p:nvSpPr>
        <p:spPr>
          <a:xfrm>
            <a:off x="83495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7" name="Oval 736"/>
          <p:cNvSpPr/>
          <p:nvPr/>
        </p:nvSpPr>
        <p:spPr>
          <a:xfrm>
            <a:off x="75070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8" name="Oval 737"/>
          <p:cNvSpPr/>
          <p:nvPr/>
        </p:nvSpPr>
        <p:spPr>
          <a:xfrm>
            <a:off x="100346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9" name="Oval 738"/>
          <p:cNvSpPr/>
          <p:nvPr/>
        </p:nvSpPr>
        <p:spPr>
          <a:xfrm>
            <a:off x="91921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0" name="Oval 739"/>
          <p:cNvSpPr/>
          <p:nvPr/>
        </p:nvSpPr>
        <p:spPr>
          <a:xfrm>
            <a:off x="11719750"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1" name="Oval 740"/>
          <p:cNvSpPr/>
          <p:nvPr/>
        </p:nvSpPr>
        <p:spPr>
          <a:xfrm>
            <a:off x="108772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2" name="Teardrop 3"/>
          <p:cNvSpPr/>
          <p:nvPr/>
        </p:nvSpPr>
        <p:spPr>
          <a:xfrm rot="5400000" flipH="1" flipV="1">
            <a:off x="60211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3" name="Teardrop 3"/>
          <p:cNvSpPr/>
          <p:nvPr/>
        </p:nvSpPr>
        <p:spPr>
          <a:xfrm rot="5400000" flipH="1" flipV="1">
            <a:off x="9659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4" name="Teardrop 3"/>
          <p:cNvSpPr/>
          <p:nvPr/>
        </p:nvSpPr>
        <p:spPr>
          <a:xfrm rot="5400000" flipH="1" flipV="1">
            <a:off x="18084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5" name="Teardrop 3"/>
          <p:cNvSpPr/>
          <p:nvPr/>
        </p:nvSpPr>
        <p:spPr>
          <a:xfrm rot="5400000" flipH="1" flipV="1">
            <a:off x="26510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6" name="Teardrop 3"/>
          <p:cNvSpPr/>
          <p:nvPr/>
        </p:nvSpPr>
        <p:spPr>
          <a:xfrm rot="5400000" flipH="1" flipV="1">
            <a:off x="34935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7" name="Teardrop 3"/>
          <p:cNvSpPr/>
          <p:nvPr/>
        </p:nvSpPr>
        <p:spPr>
          <a:xfrm rot="5400000" flipH="1" flipV="1">
            <a:off x="43361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8" name="Teardrop 3"/>
          <p:cNvSpPr/>
          <p:nvPr/>
        </p:nvSpPr>
        <p:spPr>
          <a:xfrm rot="5400000" flipH="1" flipV="1">
            <a:off x="51786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9" name="Teardrop 3"/>
          <p:cNvSpPr/>
          <p:nvPr/>
        </p:nvSpPr>
        <p:spPr>
          <a:xfrm rot="5400000" flipH="1" flipV="1">
            <a:off x="77062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0" name="Teardrop 3"/>
          <p:cNvSpPr/>
          <p:nvPr/>
        </p:nvSpPr>
        <p:spPr>
          <a:xfrm rot="5400000" flipH="1" flipV="1">
            <a:off x="68637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1" name="Teardrop 3"/>
          <p:cNvSpPr/>
          <p:nvPr/>
        </p:nvSpPr>
        <p:spPr>
          <a:xfrm rot="5400000" flipH="1" flipV="1">
            <a:off x="93913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2" name="Teardrop 3"/>
          <p:cNvSpPr/>
          <p:nvPr/>
        </p:nvSpPr>
        <p:spPr>
          <a:xfrm rot="5400000" flipH="1" flipV="1">
            <a:off x="85488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3" name="Teardrop 3"/>
          <p:cNvSpPr/>
          <p:nvPr/>
        </p:nvSpPr>
        <p:spPr>
          <a:xfrm rot="5400000" flipH="1" flipV="1">
            <a:off x="11076421"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4" name="Teardrop 3"/>
          <p:cNvSpPr/>
          <p:nvPr/>
        </p:nvSpPr>
        <p:spPr>
          <a:xfrm rot="5400000" flipH="1" flipV="1">
            <a:off x="102338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5" name="Teardrop 3"/>
          <p:cNvSpPr/>
          <p:nvPr/>
        </p:nvSpPr>
        <p:spPr>
          <a:xfrm rot="5400000" flipH="1" flipV="1">
            <a:off x="1234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6" name="Teardrop 3"/>
          <p:cNvSpPr/>
          <p:nvPr/>
        </p:nvSpPr>
        <p:spPr>
          <a:xfrm rot="5400000" flipH="1" flipV="1">
            <a:off x="11760003" y="2373673"/>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7" name="Oval 756"/>
          <p:cNvSpPr/>
          <p:nvPr/>
        </p:nvSpPr>
        <p:spPr>
          <a:xfrm>
            <a:off x="70866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8" name="Oval 757"/>
          <p:cNvSpPr/>
          <p:nvPr/>
        </p:nvSpPr>
        <p:spPr>
          <a:xfrm>
            <a:off x="3463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9" name="Oval 758"/>
          <p:cNvSpPr/>
          <p:nvPr/>
        </p:nvSpPr>
        <p:spPr>
          <a:xfrm>
            <a:off x="11888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0" name="Oval 759"/>
          <p:cNvSpPr/>
          <p:nvPr/>
        </p:nvSpPr>
        <p:spPr>
          <a:xfrm>
            <a:off x="20314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1" name="Oval 760"/>
          <p:cNvSpPr/>
          <p:nvPr/>
        </p:nvSpPr>
        <p:spPr>
          <a:xfrm>
            <a:off x="28739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2" name="Oval 761"/>
          <p:cNvSpPr/>
          <p:nvPr/>
        </p:nvSpPr>
        <p:spPr>
          <a:xfrm>
            <a:off x="37164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3" name="Oval 762"/>
          <p:cNvSpPr/>
          <p:nvPr/>
        </p:nvSpPr>
        <p:spPr>
          <a:xfrm>
            <a:off x="45590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4" name="Oval 763"/>
          <p:cNvSpPr/>
          <p:nvPr/>
        </p:nvSpPr>
        <p:spPr>
          <a:xfrm>
            <a:off x="54015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5" name="Oval 764"/>
          <p:cNvSpPr/>
          <p:nvPr/>
        </p:nvSpPr>
        <p:spPr>
          <a:xfrm>
            <a:off x="62441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6" name="Oval 765"/>
          <p:cNvSpPr/>
          <p:nvPr/>
        </p:nvSpPr>
        <p:spPr>
          <a:xfrm>
            <a:off x="87717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7" name="Oval 766"/>
          <p:cNvSpPr/>
          <p:nvPr/>
        </p:nvSpPr>
        <p:spPr>
          <a:xfrm>
            <a:off x="79291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8" name="Oval 767"/>
          <p:cNvSpPr/>
          <p:nvPr/>
        </p:nvSpPr>
        <p:spPr>
          <a:xfrm>
            <a:off x="104568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9" name="Oval 768"/>
          <p:cNvSpPr/>
          <p:nvPr/>
        </p:nvSpPr>
        <p:spPr>
          <a:xfrm>
            <a:off x="96142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0" name="Oval 769"/>
          <p:cNvSpPr/>
          <p:nvPr/>
        </p:nvSpPr>
        <p:spPr>
          <a:xfrm>
            <a:off x="112993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1" name="Teardrop 3"/>
          <p:cNvSpPr/>
          <p:nvPr/>
        </p:nvSpPr>
        <p:spPr>
          <a:xfrm rot="5400000" flipH="1" flipV="1">
            <a:off x="64427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2" name="Teardrop 3"/>
          <p:cNvSpPr/>
          <p:nvPr/>
        </p:nvSpPr>
        <p:spPr>
          <a:xfrm rot="5400000" flipH="1" flipV="1">
            <a:off x="-148774" y="279508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3" name="Teardrop 3"/>
          <p:cNvSpPr/>
          <p:nvPr/>
        </p:nvSpPr>
        <p:spPr>
          <a:xfrm rot="5400000" flipH="1" flipV="1">
            <a:off x="13875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4" name="Teardrop 3"/>
          <p:cNvSpPr/>
          <p:nvPr/>
        </p:nvSpPr>
        <p:spPr>
          <a:xfrm rot="5400000" flipH="1" flipV="1">
            <a:off x="22300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5" name="Teardrop 3"/>
          <p:cNvSpPr/>
          <p:nvPr/>
        </p:nvSpPr>
        <p:spPr>
          <a:xfrm rot="5400000" flipH="1" flipV="1">
            <a:off x="30726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6" name="Teardrop 3"/>
          <p:cNvSpPr/>
          <p:nvPr/>
        </p:nvSpPr>
        <p:spPr>
          <a:xfrm rot="5400000" flipH="1" flipV="1">
            <a:off x="39151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7" name="Teardrop 3"/>
          <p:cNvSpPr/>
          <p:nvPr/>
        </p:nvSpPr>
        <p:spPr>
          <a:xfrm rot="5400000" flipH="1" flipV="1">
            <a:off x="47576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8" name="Teardrop 3"/>
          <p:cNvSpPr/>
          <p:nvPr/>
        </p:nvSpPr>
        <p:spPr>
          <a:xfrm rot="5400000" flipH="1" flipV="1">
            <a:off x="56002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9" name="Teardrop 3"/>
          <p:cNvSpPr/>
          <p:nvPr/>
        </p:nvSpPr>
        <p:spPr>
          <a:xfrm rot="5400000" flipH="1" flipV="1">
            <a:off x="81278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0" name="Teardrop 3"/>
          <p:cNvSpPr/>
          <p:nvPr/>
        </p:nvSpPr>
        <p:spPr>
          <a:xfrm rot="5400000" flipH="1" flipV="1">
            <a:off x="72853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1" name="Teardrop 3"/>
          <p:cNvSpPr/>
          <p:nvPr/>
        </p:nvSpPr>
        <p:spPr>
          <a:xfrm rot="5400000" flipH="1" flipV="1">
            <a:off x="98129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2" name="Teardrop 3"/>
          <p:cNvSpPr/>
          <p:nvPr/>
        </p:nvSpPr>
        <p:spPr>
          <a:xfrm rot="5400000" flipH="1" flipV="1">
            <a:off x="89703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3" name="Teardrop 3"/>
          <p:cNvSpPr/>
          <p:nvPr/>
        </p:nvSpPr>
        <p:spPr>
          <a:xfrm rot="5400000" flipH="1" flipV="1">
            <a:off x="11498011"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4" name="Teardrop 3"/>
          <p:cNvSpPr/>
          <p:nvPr/>
        </p:nvSpPr>
        <p:spPr>
          <a:xfrm rot="5400000" flipH="1" flipV="1">
            <a:off x="106554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5" name="Teardrop 3"/>
          <p:cNvSpPr/>
          <p:nvPr/>
        </p:nvSpPr>
        <p:spPr>
          <a:xfrm rot="5400000" flipH="1" flipV="1">
            <a:off x="5449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6" name="Oval 785"/>
          <p:cNvSpPr/>
          <p:nvPr/>
        </p:nvSpPr>
        <p:spPr>
          <a:xfrm>
            <a:off x="66645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7" name="Oval 786"/>
          <p:cNvSpPr/>
          <p:nvPr/>
        </p:nvSpPr>
        <p:spPr>
          <a:xfrm>
            <a:off x="7667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8" name="Oval 787"/>
          <p:cNvSpPr/>
          <p:nvPr/>
        </p:nvSpPr>
        <p:spPr>
          <a:xfrm>
            <a:off x="16092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9" name="Oval 788"/>
          <p:cNvSpPr/>
          <p:nvPr/>
        </p:nvSpPr>
        <p:spPr>
          <a:xfrm>
            <a:off x="24518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0" name="Oval 789"/>
          <p:cNvSpPr/>
          <p:nvPr/>
        </p:nvSpPr>
        <p:spPr>
          <a:xfrm>
            <a:off x="32943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1" name="Oval 790"/>
          <p:cNvSpPr/>
          <p:nvPr/>
        </p:nvSpPr>
        <p:spPr>
          <a:xfrm>
            <a:off x="41368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2" name="Oval 791"/>
          <p:cNvSpPr/>
          <p:nvPr/>
        </p:nvSpPr>
        <p:spPr>
          <a:xfrm>
            <a:off x="49794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3" name="Oval 792"/>
          <p:cNvSpPr/>
          <p:nvPr/>
        </p:nvSpPr>
        <p:spPr>
          <a:xfrm>
            <a:off x="58219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4" name="Oval 793"/>
          <p:cNvSpPr/>
          <p:nvPr/>
        </p:nvSpPr>
        <p:spPr>
          <a:xfrm>
            <a:off x="83495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5" name="Oval 794"/>
          <p:cNvSpPr/>
          <p:nvPr/>
        </p:nvSpPr>
        <p:spPr>
          <a:xfrm>
            <a:off x="75070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6" name="Oval 795"/>
          <p:cNvSpPr/>
          <p:nvPr/>
        </p:nvSpPr>
        <p:spPr>
          <a:xfrm>
            <a:off x="100346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7" name="Oval 796"/>
          <p:cNvSpPr/>
          <p:nvPr/>
        </p:nvSpPr>
        <p:spPr>
          <a:xfrm>
            <a:off x="91921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8" name="Oval 797"/>
          <p:cNvSpPr/>
          <p:nvPr/>
        </p:nvSpPr>
        <p:spPr>
          <a:xfrm>
            <a:off x="11719750"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9" name="Oval 798"/>
          <p:cNvSpPr/>
          <p:nvPr/>
        </p:nvSpPr>
        <p:spPr>
          <a:xfrm>
            <a:off x="108772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0" name="Teardrop 3"/>
          <p:cNvSpPr/>
          <p:nvPr/>
        </p:nvSpPr>
        <p:spPr>
          <a:xfrm rot="5400000" flipH="1" flipV="1">
            <a:off x="60211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1" name="Teardrop 3"/>
          <p:cNvSpPr/>
          <p:nvPr/>
        </p:nvSpPr>
        <p:spPr>
          <a:xfrm rot="5400000" flipH="1" flipV="1">
            <a:off x="9659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2" name="Teardrop 3"/>
          <p:cNvSpPr/>
          <p:nvPr/>
        </p:nvSpPr>
        <p:spPr>
          <a:xfrm rot="5400000" flipH="1" flipV="1">
            <a:off x="18084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3" name="Teardrop 3"/>
          <p:cNvSpPr/>
          <p:nvPr/>
        </p:nvSpPr>
        <p:spPr>
          <a:xfrm rot="5400000" flipH="1" flipV="1">
            <a:off x="26510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4" name="Teardrop 3"/>
          <p:cNvSpPr/>
          <p:nvPr/>
        </p:nvSpPr>
        <p:spPr>
          <a:xfrm rot="5400000" flipH="1" flipV="1">
            <a:off x="34935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5" name="Teardrop 3"/>
          <p:cNvSpPr/>
          <p:nvPr/>
        </p:nvSpPr>
        <p:spPr>
          <a:xfrm rot="5400000" flipH="1" flipV="1">
            <a:off x="43361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6" name="Teardrop 3"/>
          <p:cNvSpPr/>
          <p:nvPr/>
        </p:nvSpPr>
        <p:spPr>
          <a:xfrm rot="5400000" flipH="1" flipV="1">
            <a:off x="51786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7" name="Teardrop 3"/>
          <p:cNvSpPr/>
          <p:nvPr/>
        </p:nvSpPr>
        <p:spPr>
          <a:xfrm rot="5400000" flipH="1" flipV="1">
            <a:off x="77062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8" name="Teardrop 3"/>
          <p:cNvSpPr/>
          <p:nvPr/>
        </p:nvSpPr>
        <p:spPr>
          <a:xfrm rot="5400000" flipH="1" flipV="1">
            <a:off x="68637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9" name="Teardrop 3"/>
          <p:cNvSpPr/>
          <p:nvPr/>
        </p:nvSpPr>
        <p:spPr>
          <a:xfrm rot="5400000" flipH="1" flipV="1">
            <a:off x="93913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0" name="Teardrop 3"/>
          <p:cNvSpPr/>
          <p:nvPr/>
        </p:nvSpPr>
        <p:spPr>
          <a:xfrm rot="5400000" flipH="1" flipV="1">
            <a:off x="85488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1" name="Teardrop 3"/>
          <p:cNvSpPr/>
          <p:nvPr/>
        </p:nvSpPr>
        <p:spPr>
          <a:xfrm rot="5400000" flipH="1" flipV="1">
            <a:off x="11076421"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2" name="Teardrop 3"/>
          <p:cNvSpPr/>
          <p:nvPr/>
        </p:nvSpPr>
        <p:spPr>
          <a:xfrm rot="5400000" flipH="1" flipV="1">
            <a:off x="102338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3" name="Teardrop 3"/>
          <p:cNvSpPr/>
          <p:nvPr/>
        </p:nvSpPr>
        <p:spPr>
          <a:xfrm rot="5400000" flipH="1" flipV="1">
            <a:off x="1234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4" name="Teardrop 3"/>
          <p:cNvSpPr/>
          <p:nvPr/>
        </p:nvSpPr>
        <p:spPr>
          <a:xfrm rot="5400000" flipH="1" flipV="1">
            <a:off x="11760002" y="3223930"/>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5" name="Oval 814"/>
          <p:cNvSpPr/>
          <p:nvPr/>
        </p:nvSpPr>
        <p:spPr>
          <a:xfrm>
            <a:off x="70866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6" name="Oval 815"/>
          <p:cNvSpPr/>
          <p:nvPr/>
        </p:nvSpPr>
        <p:spPr>
          <a:xfrm>
            <a:off x="3463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7" name="Oval 816"/>
          <p:cNvSpPr/>
          <p:nvPr/>
        </p:nvSpPr>
        <p:spPr>
          <a:xfrm>
            <a:off x="11888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8" name="Oval 817"/>
          <p:cNvSpPr/>
          <p:nvPr/>
        </p:nvSpPr>
        <p:spPr>
          <a:xfrm>
            <a:off x="20314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9" name="Oval 818"/>
          <p:cNvSpPr/>
          <p:nvPr/>
        </p:nvSpPr>
        <p:spPr>
          <a:xfrm>
            <a:off x="28739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0" name="Oval 819"/>
          <p:cNvSpPr/>
          <p:nvPr/>
        </p:nvSpPr>
        <p:spPr>
          <a:xfrm>
            <a:off x="37164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1" name="Oval 820"/>
          <p:cNvSpPr/>
          <p:nvPr/>
        </p:nvSpPr>
        <p:spPr>
          <a:xfrm>
            <a:off x="45590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2" name="Oval 821"/>
          <p:cNvSpPr/>
          <p:nvPr/>
        </p:nvSpPr>
        <p:spPr>
          <a:xfrm>
            <a:off x="54015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3" name="Oval 822"/>
          <p:cNvSpPr/>
          <p:nvPr/>
        </p:nvSpPr>
        <p:spPr>
          <a:xfrm>
            <a:off x="62441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4" name="Oval 823"/>
          <p:cNvSpPr/>
          <p:nvPr/>
        </p:nvSpPr>
        <p:spPr>
          <a:xfrm>
            <a:off x="87717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5" name="Oval 824"/>
          <p:cNvSpPr/>
          <p:nvPr/>
        </p:nvSpPr>
        <p:spPr>
          <a:xfrm>
            <a:off x="79291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6" name="Oval 825"/>
          <p:cNvSpPr/>
          <p:nvPr/>
        </p:nvSpPr>
        <p:spPr>
          <a:xfrm>
            <a:off x="104568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7" name="Oval 826"/>
          <p:cNvSpPr/>
          <p:nvPr/>
        </p:nvSpPr>
        <p:spPr>
          <a:xfrm>
            <a:off x="96142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8" name="Oval 827"/>
          <p:cNvSpPr/>
          <p:nvPr/>
        </p:nvSpPr>
        <p:spPr>
          <a:xfrm>
            <a:off x="112993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9" name="Teardrop 3"/>
          <p:cNvSpPr/>
          <p:nvPr/>
        </p:nvSpPr>
        <p:spPr>
          <a:xfrm rot="5400000" flipH="1" flipV="1">
            <a:off x="64427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0" name="Teardrop 3"/>
          <p:cNvSpPr/>
          <p:nvPr/>
        </p:nvSpPr>
        <p:spPr>
          <a:xfrm rot="5400000" flipH="1" flipV="1">
            <a:off x="-148774" y="3639262"/>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1" name="Teardrop 3"/>
          <p:cNvSpPr/>
          <p:nvPr/>
        </p:nvSpPr>
        <p:spPr>
          <a:xfrm rot="5400000" flipH="1" flipV="1">
            <a:off x="13875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2" name="Teardrop 3"/>
          <p:cNvSpPr/>
          <p:nvPr/>
        </p:nvSpPr>
        <p:spPr>
          <a:xfrm rot="5400000" flipH="1" flipV="1">
            <a:off x="22300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3" name="Teardrop 3"/>
          <p:cNvSpPr/>
          <p:nvPr/>
        </p:nvSpPr>
        <p:spPr>
          <a:xfrm rot="5400000" flipH="1" flipV="1">
            <a:off x="30726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4" name="Teardrop 3"/>
          <p:cNvSpPr/>
          <p:nvPr/>
        </p:nvSpPr>
        <p:spPr>
          <a:xfrm rot="5400000" flipH="1" flipV="1">
            <a:off x="39151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5" name="Teardrop 3"/>
          <p:cNvSpPr/>
          <p:nvPr/>
        </p:nvSpPr>
        <p:spPr>
          <a:xfrm rot="5400000" flipH="1" flipV="1">
            <a:off x="47576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6" name="Teardrop 3"/>
          <p:cNvSpPr/>
          <p:nvPr/>
        </p:nvSpPr>
        <p:spPr>
          <a:xfrm rot="5400000" flipH="1" flipV="1">
            <a:off x="56002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7" name="Teardrop 3"/>
          <p:cNvSpPr/>
          <p:nvPr/>
        </p:nvSpPr>
        <p:spPr>
          <a:xfrm rot="5400000" flipH="1" flipV="1">
            <a:off x="81278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8" name="Teardrop 3"/>
          <p:cNvSpPr/>
          <p:nvPr/>
        </p:nvSpPr>
        <p:spPr>
          <a:xfrm rot="5400000" flipH="1" flipV="1">
            <a:off x="72853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9" name="Teardrop 3"/>
          <p:cNvSpPr/>
          <p:nvPr/>
        </p:nvSpPr>
        <p:spPr>
          <a:xfrm rot="5400000" flipH="1" flipV="1">
            <a:off x="98129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0" name="Teardrop 3"/>
          <p:cNvSpPr/>
          <p:nvPr/>
        </p:nvSpPr>
        <p:spPr>
          <a:xfrm rot="5400000" flipH="1" flipV="1">
            <a:off x="89703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1" name="Teardrop 3"/>
          <p:cNvSpPr/>
          <p:nvPr/>
        </p:nvSpPr>
        <p:spPr>
          <a:xfrm rot="5400000" flipH="1" flipV="1">
            <a:off x="11498011"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2" name="Teardrop 3"/>
          <p:cNvSpPr/>
          <p:nvPr/>
        </p:nvSpPr>
        <p:spPr>
          <a:xfrm rot="5400000" flipH="1" flipV="1">
            <a:off x="106554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3" name="Teardrop 3"/>
          <p:cNvSpPr/>
          <p:nvPr/>
        </p:nvSpPr>
        <p:spPr>
          <a:xfrm rot="5400000" flipH="1" flipV="1">
            <a:off x="5449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4" name="Oval 843"/>
          <p:cNvSpPr/>
          <p:nvPr/>
        </p:nvSpPr>
        <p:spPr>
          <a:xfrm>
            <a:off x="66645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5" name="Oval 844"/>
          <p:cNvSpPr/>
          <p:nvPr/>
        </p:nvSpPr>
        <p:spPr>
          <a:xfrm>
            <a:off x="7667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6" name="Oval 845"/>
          <p:cNvSpPr/>
          <p:nvPr/>
        </p:nvSpPr>
        <p:spPr>
          <a:xfrm>
            <a:off x="16092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7" name="Oval 846"/>
          <p:cNvSpPr/>
          <p:nvPr/>
        </p:nvSpPr>
        <p:spPr>
          <a:xfrm>
            <a:off x="24518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8" name="Oval 847"/>
          <p:cNvSpPr/>
          <p:nvPr/>
        </p:nvSpPr>
        <p:spPr>
          <a:xfrm>
            <a:off x="32943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9" name="Oval 848"/>
          <p:cNvSpPr/>
          <p:nvPr/>
        </p:nvSpPr>
        <p:spPr>
          <a:xfrm>
            <a:off x="41368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0" name="Oval 849"/>
          <p:cNvSpPr/>
          <p:nvPr/>
        </p:nvSpPr>
        <p:spPr>
          <a:xfrm>
            <a:off x="49794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1" name="Oval 850"/>
          <p:cNvSpPr/>
          <p:nvPr/>
        </p:nvSpPr>
        <p:spPr>
          <a:xfrm>
            <a:off x="58219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2" name="Oval 851"/>
          <p:cNvSpPr/>
          <p:nvPr/>
        </p:nvSpPr>
        <p:spPr>
          <a:xfrm>
            <a:off x="83495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3" name="Oval 852"/>
          <p:cNvSpPr/>
          <p:nvPr/>
        </p:nvSpPr>
        <p:spPr>
          <a:xfrm>
            <a:off x="75070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4" name="Oval 853"/>
          <p:cNvSpPr/>
          <p:nvPr/>
        </p:nvSpPr>
        <p:spPr>
          <a:xfrm>
            <a:off x="100346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5" name="Oval 854"/>
          <p:cNvSpPr/>
          <p:nvPr/>
        </p:nvSpPr>
        <p:spPr>
          <a:xfrm>
            <a:off x="91921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6" name="Oval 855"/>
          <p:cNvSpPr/>
          <p:nvPr/>
        </p:nvSpPr>
        <p:spPr>
          <a:xfrm>
            <a:off x="11719750"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7" name="Oval 856"/>
          <p:cNvSpPr/>
          <p:nvPr/>
        </p:nvSpPr>
        <p:spPr>
          <a:xfrm>
            <a:off x="108772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8" name="Teardrop 3"/>
          <p:cNvSpPr/>
          <p:nvPr/>
        </p:nvSpPr>
        <p:spPr>
          <a:xfrm rot="5400000" flipH="1" flipV="1">
            <a:off x="60211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9" name="Teardrop 3"/>
          <p:cNvSpPr/>
          <p:nvPr/>
        </p:nvSpPr>
        <p:spPr>
          <a:xfrm rot="5400000" flipH="1" flipV="1">
            <a:off x="9659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0" name="Teardrop 3"/>
          <p:cNvSpPr/>
          <p:nvPr/>
        </p:nvSpPr>
        <p:spPr>
          <a:xfrm rot="5400000" flipH="1" flipV="1">
            <a:off x="18084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1" name="Teardrop 3"/>
          <p:cNvSpPr/>
          <p:nvPr/>
        </p:nvSpPr>
        <p:spPr>
          <a:xfrm rot="5400000" flipH="1" flipV="1">
            <a:off x="26510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2" name="Teardrop 3"/>
          <p:cNvSpPr/>
          <p:nvPr/>
        </p:nvSpPr>
        <p:spPr>
          <a:xfrm rot="5400000" flipH="1" flipV="1">
            <a:off x="34935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3" name="Teardrop 3"/>
          <p:cNvSpPr/>
          <p:nvPr/>
        </p:nvSpPr>
        <p:spPr>
          <a:xfrm rot="5400000" flipH="1" flipV="1">
            <a:off x="43361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4" name="Teardrop 3"/>
          <p:cNvSpPr/>
          <p:nvPr/>
        </p:nvSpPr>
        <p:spPr>
          <a:xfrm rot="5400000" flipH="1" flipV="1">
            <a:off x="51786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5" name="Teardrop 3"/>
          <p:cNvSpPr/>
          <p:nvPr/>
        </p:nvSpPr>
        <p:spPr>
          <a:xfrm rot="5400000" flipH="1" flipV="1">
            <a:off x="77062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6" name="Teardrop 3"/>
          <p:cNvSpPr/>
          <p:nvPr/>
        </p:nvSpPr>
        <p:spPr>
          <a:xfrm rot="5400000" flipH="1" flipV="1">
            <a:off x="68637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7" name="Teardrop 3"/>
          <p:cNvSpPr/>
          <p:nvPr/>
        </p:nvSpPr>
        <p:spPr>
          <a:xfrm rot="5400000" flipH="1" flipV="1">
            <a:off x="93913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8" name="Teardrop 3"/>
          <p:cNvSpPr/>
          <p:nvPr/>
        </p:nvSpPr>
        <p:spPr>
          <a:xfrm rot="5400000" flipH="1" flipV="1">
            <a:off x="85488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9" name="Teardrop 3"/>
          <p:cNvSpPr/>
          <p:nvPr/>
        </p:nvSpPr>
        <p:spPr>
          <a:xfrm rot="5400000" flipH="1" flipV="1">
            <a:off x="11076421"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0" name="Teardrop 3"/>
          <p:cNvSpPr/>
          <p:nvPr/>
        </p:nvSpPr>
        <p:spPr>
          <a:xfrm rot="5400000" flipH="1" flipV="1">
            <a:off x="102338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1" name="Teardrop 3"/>
          <p:cNvSpPr/>
          <p:nvPr/>
        </p:nvSpPr>
        <p:spPr>
          <a:xfrm rot="5400000" flipH="1" flipV="1">
            <a:off x="1234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2" name="Teardrop 3"/>
          <p:cNvSpPr/>
          <p:nvPr/>
        </p:nvSpPr>
        <p:spPr>
          <a:xfrm rot="5400000" flipH="1" flipV="1">
            <a:off x="11760002" y="4069935"/>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8" y="250112"/>
                  <a:pt x="155376" y="250112"/>
                </a:cubicBezTo>
                <a:cubicBezTo>
                  <a:pt x="174455" y="249746"/>
                  <a:pt x="198601" y="254980"/>
                  <a:pt x="211458" y="268141"/>
                </a:cubicBezTo>
                <a:cubicBezTo>
                  <a:pt x="215886"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7"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60" y="254779"/>
                  <a:pt x="246352" y="254786"/>
                </a:cubicBezTo>
                <a:cubicBezTo>
                  <a:pt x="246345"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9"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90" y="195895"/>
                  <a:pt x="53000" y="178457"/>
                  <a:pt x="53000" y="159854"/>
                </a:cubicBezTo>
                <a:cubicBezTo>
                  <a:pt x="53000" y="132604"/>
                  <a:pt x="63706" y="107854"/>
                  <a:pt x="81286" y="89721"/>
                </a:cubicBez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3" name="Oval 872"/>
          <p:cNvSpPr/>
          <p:nvPr/>
        </p:nvSpPr>
        <p:spPr>
          <a:xfrm>
            <a:off x="70866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4" name="Oval 873"/>
          <p:cNvSpPr/>
          <p:nvPr/>
        </p:nvSpPr>
        <p:spPr>
          <a:xfrm>
            <a:off x="3463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5" name="Oval 874"/>
          <p:cNvSpPr/>
          <p:nvPr/>
        </p:nvSpPr>
        <p:spPr>
          <a:xfrm>
            <a:off x="11888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6" name="Oval 875"/>
          <p:cNvSpPr/>
          <p:nvPr/>
        </p:nvSpPr>
        <p:spPr>
          <a:xfrm>
            <a:off x="20314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7" name="Oval 876"/>
          <p:cNvSpPr/>
          <p:nvPr/>
        </p:nvSpPr>
        <p:spPr>
          <a:xfrm>
            <a:off x="28739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8" name="Oval 877"/>
          <p:cNvSpPr/>
          <p:nvPr/>
        </p:nvSpPr>
        <p:spPr>
          <a:xfrm>
            <a:off x="37164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9" name="Oval 878"/>
          <p:cNvSpPr/>
          <p:nvPr/>
        </p:nvSpPr>
        <p:spPr>
          <a:xfrm>
            <a:off x="45590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0" name="Oval 879"/>
          <p:cNvSpPr/>
          <p:nvPr/>
        </p:nvSpPr>
        <p:spPr>
          <a:xfrm>
            <a:off x="54015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1" name="Oval 880"/>
          <p:cNvSpPr/>
          <p:nvPr/>
        </p:nvSpPr>
        <p:spPr>
          <a:xfrm>
            <a:off x="62441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2" name="Oval 881"/>
          <p:cNvSpPr/>
          <p:nvPr/>
        </p:nvSpPr>
        <p:spPr>
          <a:xfrm>
            <a:off x="87717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3" name="Oval 882"/>
          <p:cNvSpPr/>
          <p:nvPr/>
        </p:nvSpPr>
        <p:spPr>
          <a:xfrm>
            <a:off x="79291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4" name="Oval 883"/>
          <p:cNvSpPr/>
          <p:nvPr/>
        </p:nvSpPr>
        <p:spPr>
          <a:xfrm>
            <a:off x="104568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5" name="Oval 884"/>
          <p:cNvSpPr/>
          <p:nvPr/>
        </p:nvSpPr>
        <p:spPr>
          <a:xfrm>
            <a:off x="96142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6" name="Oval 885"/>
          <p:cNvSpPr/>
          <p:nvPr/>
        </p:nvSpPr>
        <p:spPr>
          <a:xfrm>
            <a:off x="112993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7" name="Teardrop 3"/>
          <p:cNvSpPr/>
          <p:nvPr/>
        </p:nvSpPr>
        <p:spPr>
          <a:xfrm rot="5400000" flipH="1" flipV="1">
            <a:off x="663614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8" name="Teardrop 3"/>
          <p:cNvSpPr/>
          <p:nvPr/>
        </p:nvSpPr>
        <p:spPr>
          <a:xfrm rot="5400000" flipH="1" flipV="1">
            <a:off x="22905" y="4316257"/>
            <a:ext cx="232840" cy="278649"/>
          </a:xfrm>
          <a:custGeom>
            <a:avLst/>
            <a:gdLst/>
            <a:ahLst/>
            <a:cxnLst/>
            <a:rect l="l" t="t" r="r" b="b"/>
            <a:pathLst>
              <a:path w="232840" h="278649">
                <a:moveTo>
                  <a:pt x="232840" y="8776"/>
                </a:moveTo>
                <a:cubicBezTo>
                  <a:pt x="232449" y="34030"/>
                  <a:pt x="222519" y="59101"/>
                  <a:pt x="203250" y="78369"/>
                </a:cubicBezTo>
                <a:cubicBezTo>
                  <a:pt x="190082" y="91537"/>
                  <a:pt x="174206" y="100343"/>
                  <a:pt x="157326" y="104416"/>
                </a:cubicBezTo>
                <a:cubicBezTo>
                  <a:pt x="166417" y="119205"/>
                  <a:pt x="171406" y="136643"/>
                  <a:pt x="171406" y="155247"/>
                </a:cubicBezTo>
                <a:cubicBezTo>
                  <a:pt x="171406" y="182497"/>
                  <a:pt x="160701" y="207247"/>
                  <a:pt x="143120" y="225380"/>
                </a:cubicBezTo>
                <a:cubicBezTo>
                  <a:pt x="124986" y="242961"/>
                  <a:pt x="100237" y="253667"/>
                  <a:pt x="72986" y="253667"/>
                </a:cubicBezTo>
                <a:cubicBezTo>
                  <a:pt x="54383" y="253667"/>
                  <a:pt x="36945" y="248677"/>
                  <a:pt x="22156" y="239586"/>
                </a:cubicBezTo>
                <a:lnTo>
                  <a:pt x="0" y="278649"/>
                </a:lnTo>
                <a:lnTo>
                  <a:pt x="0" y="260595"/>
                </a:lnTo>
                <a:cubicBezTo>
                  <a:pt x="5973" y="252057"/>
                  <a:pt x="9654" y="242433"/>
                  <a:pt x="11467" y="232488"/>
                </a:cubicBezTo>
                <a:lnTo>
                  <a:pt x="0" y="218900"/>
                </a:lnTo>
                <a:lnTo>
                  <a:pt x="0" y="201603"/>
                </a:lnTo>
                <a:cubicBezTo>
                  <a:pt x="14950" y="226291"/>
                  <a:pt x="42305" y="241857"/>
                  <a:pt x="73296" y="241857"/>
                </a:cubicBezTo>
                <a:cubicBezTo>
                  <a:pt x="97207" y="241857"/>
                  <a:pt x="118953" y="232592"/>
                  <a:pt x="134965" y="217271"/>
                </a:cubicBezTo>
                <a:lnTo>
                  <a:pt x="0" y="82306"/>
                </a:lnTo>
                <a:lnTo>
                  <a:pt x="0" y="82216"/>
                </a:lnTo>
                <a:lnTo>
                  <a:pt x="135010" y="217225"/>
                </a:lnTo>
                <a:cubicBezTo>
                  <a:pt x="150331" y="201213"/>
                  <a:pt x="159597" y="179467"/>
                  <a:pt x="159597" y="155556"/>
                </a:cubicBezTo>
                <a:cubicBezTo>
                  <a:pt x="159597" y="105538"/>
                  <a:pt x="119048" y="64989"/>
                  <a:pt x="69030" y="64989"/>
                </a:cubicBezTo>
                <a:cubicBezTo>
                  <a:pt x="49952" y="65355"/>
                  <a:pt x="25806" y="60121"/>
                  <a:pt x="12948" y="46961"/>
                </a:cubicBezTo>
                <a:lnTo>
                  <a:pt x="0" y="66032"/>
                </a:lnTo>
                <a:lnTo>
                  <a:pt x="0" y="46474"/>
                </a:lnTo>
                <a:cubicBezTo>
                  <a:pt x="9193" y="32573"/>
                  <a:pt x="11853" y="16060"/>
                  <a:pt x="9334" y="0"/>
                </a:cubicBezTo>
                <a:lnTo>
                  <a:pt x="17529" y="0"/>
                </a:lnTo>
                <a:cubicBezTo>
                  <a:pt x="21671" y="11094"/>
                  <a:pt x="20740" y="22668"/>
                  <a:pt x="17673" y="33790"/>
                </a:cubicBezTo>
                <a:cubicBezTo>
                  <a:pt x="27631" y="50142"/>
                  <a:pt x="43609" y="53932"/>
                  <a:pt x="69593" y="53433"/>
                </a:cubicBezTo>
                <a:cubicBezTo>
                  <a:pt x="102600" y="53434"/>
                  <a:pt x="131938" y="69140"/>
                  <a:pt x="150227" y="93727"/>
                </a:cubicBezTo>
                <a:cubicBezTo>
                  <a:pt x="166735" y="90718"/>
                  <a:pt x="182357" y="82561"/>
                  <a:pt x="195118" y="69800"/>
                </a:cubicBezTo>
                <a:cubicBezTo>
                  <a:pt x="212026" y="52893"/>
                  <a:pt x="220851" y="30964"/>
                  <a:pt x="221339" y="8808"/>
                </a:cubicBezTo>
                <a:lnTo>
                  <a:pt x="136174" y="8808"/>
                </a:lnTo>
                <a:lnTo>
                  <a:pt x="136173" y="8744"/>
                </a:lnTo>
                <a:lnTo>
                  <a:pt x="221340" y="8744"/>
                </a:lnTo>
                <a:lnTo>
                  <a:pt x="219467" y="0"/>
                </a:lnTo>
                <a:lnTo>
                  <a:pt x="231012" y="0"/>
                </a:lnTo>
                <a:cubicBezTo>
                  <a:pt x="232616" y="2826"/>
                  <a:pt x="232794" y="5800"/>
                  <a:pt x="232840"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9" name="Teardrop 3"/>
          <p:cNvSpPr/>
          <p:nvPr/>
        </p:nvSpPr>
        <p:spPr>
          <a:xfrm rot="5400000" flipH="1" flipV="1">
            <a:off x="15809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6"/>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5"/>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0" name="Teardrop 3"/>
          <p:cNvSpPr/>
          <p:nvPr/>
        </p:nvSpPr>
        <p:spPr>
          <a:xfrm rot="5400000" flipH="1" flipV="1">
            <a:off x="24234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1" name="Teardrop 3"/>
          <p:cNvSpPr/>
          <p:nvPr/>
        </p:nvSpPr>
        <p:spPr>
          <a:xfrm rot="5400000" flipH="1" flipV="1">
            <a:off x="326598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2" name="Teardrop 3"/>
          <p:cNvSpPr/>
          <p:nvPr/>
        </p:nvSpPr>
        <p:spPr>
          <a:xfrm rot="5400000" flipH="1" flipV="1">
            <a:off x="4108522" y="4185695"/>
            <a:ext cx="232840" cy="539773"/>
          </a:xfrm>
          <a:custGeom>
            <a:avLst/>
            <a:gdLst/>
            <a:ahLst/>
            <a:cxnLst/>
            <a:rect l="l" t="t" r="r" b="b"/>
            <a:pathLst>
              <a:path w="232840" h="539773">
                <a:moveTo>
                  <a:pt x="221340" y="269867"/>
                </a:moveTo>
                <a:cubicBezTo>
                  <a:pt x="220851" y="247712"/>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3" name="Teardrop 3"/>
          <p:cNvSpPr/>
          <p:nvPr/>
        </p:nvSpPr>
        <p:spPr>
          <a:xfrm rot="5400000" flipH="1" flipV="1">
            <a:off x="495106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4" name="Teardrop 3"/>
          <p:cNvSpPr/>
          <p:nvPr/>
        </p:nvSpPr>
        <p:spPr>
          <a:xfrm rot="5400000" flipH="1" flipV="1">
            <a:off x="579360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5" name="Teardrop 3"/>
          <p:cNvSpPr/>
          <p:nvPr/>
        </p:nvSpPr>
        <p:spPr>
          <a:xfrm rot="5400000" flipH="1" flipV="1">
            <a:off x="832122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6" name="Teardrop 3"/>
          <p:cNvSpPr/>
          <p:nvPr/>
        </p:nvSpPr>
        <p:spPr>
          <a:xfrm rot="5400000" flipH="1" flipV="1">
            <a:off x="747868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7" name="Teardrop 3"/>
          <p:cNvSpPr/>
          <p:nvPr/>
        </p:nvSpPr>
        <p:spPr>
          <a:xfrm rot="5400000" flipH="1" flipV="1">
            <a:off x="100063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8" name="Teardrop 3"/>
          <p:cNvSpPr/>
          <p:nvPr/>
        </p:nvSpPr>
        <p:spPr>
          <a:xfrm rot="5400000" flipH="1" flipV="1">
            <a:off x="916376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7"/>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9" name="Teardrop 3"/>
          <p:cNvSpPr/>
          <p:nvPr/>
        </p:nvSpPr>
        <p:spPr>
          <a:xfrm rot="5400000" flipH="1" flipV="1">
            <a:off x="11691380"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0" name="Teardrop 3"/>
          <p:cNvSpPr/>
          <p:nvPr/>
        </p:nvSpPr>
        <p:spPr>
          <a:xfrm rot="5400000" flipH="1" flipV="1">
            <a:off x="108488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1" name="Teardrop 3"/>
          <p:cNvSpPr/>
          <p:nvPr/>
        </p:nvSpPr>
        <p:spPr>
          <a:xfrm rot="5400000" flipH="1" flipV="1">
            <a:off x="733383"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2"/>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8"/>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2" name="Oval 1651"/>
          <p:cNvSpPr/>
          <p:nvPr/>
        </p:nvSpPr>
        <p:spPr>
          <a:xfrm>
            <a:off x="812619" y="4561319"/>
            <a:ext cx="11030995" cy="10682"/>
          </a:xfrm>
          <a:custGeom>
            <a:avLst/>
            <a:gdLst/>
            <a:ahLst/>
            <a:cxnLst/>
            <a:rect l="l" t="t" r="r" b="b"/>
            <a:pathLst>
              <a:path w="11030995" h="10682">
                <a:moveTo>
                  <a:pt x="10992007" y="0"/>
                </a:moveTo>
                <a:cubicBezTo>
                  <a:pt x="11006265" y="0"/>
                  <a:pt x="11019702" y="3516"/>
                  <a:pt x="11030995" y="10682"/>
                </a:cubicBezTo>
                <a:lnTo>
                  <a:pt x="10953019" y="10682"/>
                </a:lnTo>
                <a:cubicBezTo>
                  <a:pt x="10964312" y="3516"/>
                  <a:pt x="10977749" y="0"/>
                  <a:pt x="10992007" y="0"/>
                </a:cubicBezTo>
                <a:close/>
                <a:moveTo>
                  <a:pt x="10149468" y="0"/>
                </a:moveTo>
                <a:cubicBezTo>
                  <a:pt x="10163726" y="0"/>
                  <a:pt x="10177163" y="3516"/>
                  <a:pt x="10188456" y="10682"/>
                </a:cubicBezTo>
                <a:lnTo>
                  <a:pt x="10110480" y="10682"/>
                </a:lnTo>
                <a:cubicBezTo>
                  <a:pt x="10121773" y="3516"/>
                  <a:pt x="10135210" y="0"/>
                  <a:pt x="10149468" y="0"/>
                </a:cubicBezTo>
                <a:close/>
                <a:moveTo>
                  <a:pt x="9306928" y="0"/>
                </a:moveTo>
                <a:cubicBezTo>
                  <a:pt x="9321186" y="0"/>
                  <a:pt x="9334623" y="3516"/>
                  <a:pt x="9345916" y="10682"/>
                </a:cubicBezTo>
                <a:lnTo>
                  <a:pt x="9267940" y="10682"/>
                </a:lnTo>
                <a:cubicBezTo>
                  <a:pt x="9279233" y="3516"/>
                  <a:pt x="9292670" y="0"/>
                  <a:pt x="9306928" y="0"/>
                </a:cubicBezTo>
                <a:close/>
                <a:moveTo>
                  <a:pt x="8464388" y="0"/>
                </a:moveTo>
                <a:cubicBezTo>
                  <a:pt x="8478646" y="0"/>
                  <a:pt x="8492083" y="3516"/>
                  <a:pt x="8503376" y="10682"/>
                </a:cubicBezTo>
                <a:lnTo>
                  <a:pt x="8425400" y="10682"/>
                </a:lnTo>
                <a:cubicBezTo>
                  <a:pt x="8436693" y="3516"/>
                  <a:pt x="8450130" y="0"/>
                  <a:pt x="8464388" y="0"/>
                </a:cubicBezTo>
                <a:close/>
                <a:moveTo>
                  <a:pt x="7621848" y="0"/>
                </a:moveTo>
                <a:cubicBezTo>
                  <a:pt x="7636106" y="0"/>
                  <a:pt x="7649543" y="3516"/>
                  <a:pt x="7660836" y="10682"/>
                </a:cubicBezTo>
                <a:lnTo>
                  <a:pt x="7582860" y="10682"/>
                </a:lnTo>
                <a:cubicBezTo>
                  <a:pt x="7594153" y="3516"/>
                  <a:pt x="7607590" y="0"/>
                  <a:pt x="7621848" y="0"/>
                </a:cubicBezTo>
                <a:close/>
                <a:moveTo>
                  <a:pt x="6779308" y="0"/>
                </a:moveTo>
                <a:cubicBezTo>
                  <a:pt x="6793566" y="0"/>
                  <a:pt x="6807003" y="3516"/>
                  <a:pt x="6818296" y="10682"/>
                </a:cubicBezTo>
                <a:lnTo>
                  <a:pt x="6740320" y="10682"/>
                </a:lnTo>
                <a:cubicBezTo>
                  <a:pt x="6751613" y="3516"/>
                  <a:pt x="6765050" y="0"/>
                  <a:pt x="6779308" y="0"/>
                </a:cubicBezTo>
                <a:close/>
                <a:moveTo>
                  <a:pt x="5936768" y="0"/>
                </a:moveTo>
                <a:cubicBezTo>
                  <a:pt x="5951026" y="0"/>
                  <a:pt x="5964463" y="3516"/>
                  <a:pt x="5975757" y="10682"/>
                </a:cubicBezTo>
                <a:lnTo>
                  <a:pt x="5897780" y="10682"/>
                </a:lnTo>
                <a:cubicBezTo>
                  <a:pt x="5909073" y="3516"/>
                  <a:pt x="5922510" y="0"/>
                  <a:pt x="5936768" y="0"/>
                </a:cubicBezTo>
                <a:close/>
                <a:moveTo>
                  <a:pt x="5094228" y="0"/>
                </a:moveTo>
                <a:cubicBezTo>
                  <a:pt x="5108486" y="0"/>
                  <a:pt x="5121923" y="3516"/>
                  <a:pt x="5133217" y="10682"/>
                </a:cubicBezTo>
                <a:lnTo>
                  <a:pt x="5055240" y="10682"/>
                </a:lnTo>
                <a:cubicBezTo>
                  <a:pt x="5066533" y="3516"/>
                  <a:pt x="5079970" y="0"/>
                  <a:pt x="5094228" y="0"/>
                </a:cubicBezTo>
                <a:close/>
                <a:moveTo>
                  <a:pt x="4251688" y="0"/>
                </a:moveTo>
                <a:cubicBezTo>
                  <a:pt x="4265946" y="0"/>
                  <a:pt x="4279383" y="3516"/>
                  <a:pt x="4290676" y="10682"/>
                </a:cubicBezTo>
                <a:lnTo>
                  <a:pt x="4212700" y="10682"/>
                </a:lnTo>
                <a:cubicBezTo>
                  <a:pt x="4223993" y="3516"/>
                  <a:pt x="4237430" y="0"/>
                  <a:pt x="4251688" y="0"/>
                </a:cubicBezTo>
                <a:close/>
                <a:moveTo>
                  <a:pt x="3409148" y="0"/>
                </a:moveTo>
                <a:cubicBezTo>
                  <a:pt x="3423406" y="0"/>
                  <a:pt x="3436843" y="3516"/>
                  <a:pt x="3448136" y="10682"/>
                </a:cubicBezTo>
                <a:lnTo>
                  <a:pt x="3370160" y="10682"/>
                </a:lnTo>
                <a:cubicBezTo>
                  <a:pt x="3381453" y="3516"/>
                  <a:pt x="3394890" y="0"/>
                  <a:pt x="3409148" y="0"/>
                </a:cubicBezTo>
                <a:close/>
                <a:moveTo>
                  <a:pt x="2566608" y="0"/>
                </a:moveTo>
                <a:cubicBezTo>
                  <a:pt x="2580866" y="0"/>
                  <a:pt x="2594303" y="3516"/>
                  <a:pt x="2605596" y="10682"/>
                </a:cubicBezTo>
                <a:lnTo>
                  <a:pt x="2527620" y="10682"/>
                </a:lnTo>
                <a:cubicBezTo>
                  <a:pt x="2538913" y="3516"/>
                  <a:pt x="2552350" y="0"/>
                  <a:pt x="2566608" y="0"/>
                </a:cubicBezTo>
                <a:close/>
                <a:moveTo>
                  <a:pt x="1724068" y="0"/>
                </a:moveTo>
                <a:cubicBezTo>
                  <a:pt x="1738326" y="0"/>
                  <a:pt x="1751763" y="3516"/>
                  <a:pt x="1763056" y="10682"/>
                </a:cubicBezTo>
                <a:lnTo>
                  <a:pt x="1685080" y="10682"/>
                </a:lnTo>
                <a:cubicBezTo>
                  <a:pt x="1696373" y="3516"/>
                  <a:pt x="1709810" y="0"/>
                  <a:pt x="1724068" y="0"/>
                </a:cubicBezTo>
                <a:close/>
                <a:moveTo>
                  <a:pt x="881528" y="0"/>
                </a:moveTo>
                <a:cubicBezTo>
                  <a:pt x="895786" y="0"/>
                  <a:pt x="909223" y="3516"/>
                  <a:pt x="920516" y="10682"/>
                </a:cubicBezTo>
                <a:lnTo>
                  <a:pt x="842540" y="10682"/>
                </a:lnTo>
                <a:cubicBezTo>
                  <a:pt x="853833" y="3516"/>
                  <a:pt x="867270" y="0"/>
                  <a:pt x="881528" y="0"/>
                </a:cubicBezTo>
                <a:close/>
                <a:moveTo>
                  <a:pt x="38988" y="0"/>
                </a:moveTo>
                <a:cubicBezTo>
                  <a:pt x="53246" y="0"/>
                  <a:pt x="66683" y="3516"/>
                  <a:pt x="77976" y="10682"/>
                </a:cubicBezTo>
                <a:lnTo>
                  <a:pt x="0" y="10682"/>
                </a:lnTo>
                <a:cubicBezTo>
                  <a:pt x="11293" y="3516"/>
                  <a:pt x="24730" y="0"/>
                  <a:pt x="389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3" name="Oval 902"/>
          <p:cNvSpPr/>
          <p:nvPr/>
        </p:nvSpPr>
        <p:spPr>
          <a:xfrm>
            <a:off x="71204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4" name="Oval 903"/>
          <p:cNvSpPr/>
          <p:nvPr/>
        </p:nvSpPr>
        <p:spPr>
          <a:xfrm>
            <a:off x="3774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5" name="Oval 904"/>
          <p:cNvSpPr/>
          <p:nvPr/>
        </p:nvSpPr>
        <p:spPr>
          <a:xfrm>
            <a:off x="12203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6" name="Oval 905"/>
          <p:cNvSpPr/>
          <p:nvPr/>
        </p:nvSpPr>
        <p:spPr>
          <a:xfrm>
            <a:off x="20632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7" name="Oval 906"/>
          <p:cNvSpPr/>
          <p:nvPr/>
        </p:nvSpPr>
        <p:spPr>
          <a:xfrm>
            <a:off x="29060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8" name="Oval 907"/>
          <p:cNvSpPr/>
          <p:nvPr/>
        </p:nvSpPr>
        <p:spPr>
          <a:xfrm>
            <a:off x="37489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9" name="Oval 908"/>
          <p:cNvSpPr/>
          <p:nvPr/>
        </p:nvSpPr>
        <p:spPr>
          <a:xfrm>
            <a:off x="45918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0" name="Oval 909"/>
          <p:cNvSpPr/>
          <p:nvPr/>
        </p:nvSpPr>
        <p:spPr>
          <a:xfrm>
            <a:off x="54347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1" name="Oval 910"/>
          <p:cNvSpPr/>
          <p:nvPr/>
        </p:nvSpPr>
        <p:spPr>
          <a:xfrm>
            <a:off x="62776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2" name="Oval 911"/>
          <p:cNvSpPr/>
          <p:nvPr/>
        </p:nvSpPr>
        <p:spPr>
          <a:xfrm>
            <a:off x="88062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3" name="Oval 912"/>
          <p:cNvSpPr/>
          <p:nvPr/>
        </p:nvSpPr>
        <p:spPr>
          <a:xfrm>
            <a:off x="79633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4" name="Oval 913"/>
          <p:cNvSpPr/>
          <p:nvPr/>
        </p:nvSpPr>
        <p:spPr>
          <a:xfrm>
            <a:off x="104920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5" name="Oval 914"/>
          <p:cNvSpPr/>
          <p:nvPr/>
        </p:nvSpPr>
        <p:spPr>
          <a:xfrm>
            <a:off x="96491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6" name="Oval 915"/>
          <p:cNvSpPr/>
          <p:nvPr/>
        </p:nvSpPr>
        <p:spPr>
          <a:xfrm>
            <a:off x="113348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7" name="Oval 916"/>
          <p:cNvSpPr/>
          <p:nvPr/>
        </p:nvSpPr>
        <p:spPr>
          <a:xfrm>
            <a:off x="71204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8" name="Oval 917"/>
          <p:cNvSpPr/>
          <p:nvPr/>
        </p:nvSpPr>
        <p:spPr>
          <a:xfrm>
            <a:off x="3774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9" name="Oval 918"/>
          <p:cNvSpPr/>
          <p:nvPr/>
        </p:nvSpPr>
        <p:spPr>
          <a:xfrm>
            <a:off x="12203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0" name="Oval 919"/>
          <p:cNvSpPr/>
          <p:nvPr/>
        </p:nvSpPr>
        <p:spPr>
          <a:xfrm>
            <a:off x="20632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1" name="Oval 920"/>
          <p:cNvSpPr/>
          <p:nvPr/>
        </p:nvSpPr>
        <p:spPr>
          <a:xfrm>
            <a:off x="29060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2" name="Oval 921"/>
          <p:cNvSpPr/>
          <p:nvPr/>
        </p:nvSpPr>
        <p:spPr>
          <a:xfrm>
            <a:off x="37489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3" name="Oval 922"/>
          <p:cNvSpPr/>
          <p:nvPr/>
        </p:nvSpPr>
        <p:spPr>
          <a:xfrm>
            <a:off x="45918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4" name="Oval 923"/>
          <p:cNvSpPr/>
          <p:nvPr/>
        </p:nvSpPr>
        <p:spPr>
          <a:xfrm>
            <a:off x="54347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5" name="Oval 924"/>
          <p:cNvSpPr/>
          <p:nvPr/>
        </p:nvSpPr>
        <p:spPr>
          <a:xfrm>
            <a:off x="62776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6" name="Oval 925"/>
          <p:cNvSpPr/>
          <p:nvPr/>
        </p:nvSpPr>
        <p:spPr>
          <a:xfrm>
            <a:off x="88062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7" name="Oval 926"/>
          <p:cNvSpPr/>
          <p:nvPr/>
        </p:nvSpPr>
        <p:spPr>
          <a:xfrm>
            <a:off x="79633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8" name="Oval 927"/>
          <p:cNvSpPr/>
          <p:nvPr/>
        </p:nvSpPr>
        <p:spPr>
          <a:xfrm>
            <a:off x="104920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9" name="Oval 928"/>
          <p:cNvSpPr/>
          <p:nvPr/>
        </p:nvSpPr>
        <p:spPr>
          <a:xfrm>
            <a:off x="96491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0" name="Oval 929"/>
          <p:cNvSpPr/>
          <p:nvPr/>
        </p:nvSpPr>
        <p:spPr>
          <a:xfrm>
            <a:off x="113348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1" name="Oval 930"/>
          <p:cNvSpPr/>
          <p:nvPr/>
        </p:nvSpPr>
        <p:spPr>
          <a:xfrm>
            <a:off x="71204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2" name="Oval 931"/>
          <p:cNvSpPr/>
          <p:nvPr/>
        </p:nvSpPr>
        <p:spPr>
          <a:xfrm>
            <a:off x="3774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3" name="Oval 932"/>
          <p:cNvSpPr/>
          <p:nvPr/>
        </p:nvSpPr>
        <p:spPr>
          <a:xfrm>
            <a:off x="12203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4" name="Oval 933"/>
          <p:cNvSpPr/>
          <p:nvPr/>
        </p:nvSpPr>
        <p:spPr>
          <a:xfrm>
            <a:off x="20632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5" name="Oval 934"/>
          <p:cNvSpPr/>
          <p:nvPr/>
        </p:nvSpPr>
        <p:spPr>
          <a:xfrm>
            <a:off x="29060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6" name="Oval 935"/>
          <p:cNvSpPr/>
          <p:nvPr/>
        </p:nvSpPr>
        <p:spPr>
          <a:xfrm>
            <a:off x="37489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7" name="Oval 936"/>
          <p:cNvSpPr/>
          <p:nvPr/>
        </p:nvSpPr>
        <p:spPr>
          <a:xfrm>
            <a:off x="45918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8" name="Oval 937"/>
          <p:cNvSpPr/>
          <p:nvPr/>
        </p:nvSpPr>
        <p:spPr>
          <a:xfrm>
            <a:off x="54347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9" name="Oval 938"/>
          <p:cNvSpPr/>
          <p:nvPr/>
        </p:nvSpPr>
        <p:spPr>
          <a:xfrm>
            <a:off x="62776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0" name="Oval 939"/>
          <p:cNvSpPr/>
          <p:nvPr/>
        </p:nvSpPr>
        <p:spPr>
          <a:xfrm>
            <a:off x="88062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1" name="Oval 940"/>
          <p:cNvSpPr/>
          <p:nvPr/>
        </p:nvSpPr>
        <p:spPr>
          <a:xfrm>
            <a:off x="79633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2" name="Oval 941"/>
          <p:cNvSpPr/>
          <p:nvPr/>
        </p:nvSpPr>
        <p:spPr>
          <a:xfrm>
            <a:off x="104920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3" name="Oval 942"/>
          <p:cNvSpPr/>
          <p:nvPr/>
        </p:nvSpPr>
        <p:spPr>
          <a:xfrm>
            <a:off x="96491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4" name="Oval 943"/>
          <p:cNvSpPr/>
          <p:nvPr/>
        </p:nvSpPr>
        <p:spPr>
          <a:xfrm>
            <a:off x="113348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5" name="Oval 944"/>
          <p:cNvSpPr/>
          <p:nvPr/>
        </p:nvSpPr>
        <p:spPr>
          <a:xfrm>
            <a:off x="71204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6" name="Oval 945"/>
          <p:cNvSpPr/>
          <p:nvPr/>
        </p:nvSpPr>
        <p:spPr>
          <a:xfrm>
            <a:off x="3774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7" name="Oval 946"/>
          <p:cNvSpPr/>
          <p:nvPr/>
        </p:nvSpPr>
        <p:spPr>
          <a:xfrm>
            <a:off x="12203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8" name="Oval 947"/>
          <p:cNvSpPr/>
          <p:nvPr/>
        </p:nvSpPr>
        <p:spPr>
          <a:xfrm>
            <a:off x="20632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9" name="Oval 948"/>
          <p:cNvSpPr/>
          <p:nvPr/>
        </p:nvSpPr>
        <p:spPr>
          <a:xfrm>
            <a:off x="29060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0" name="Oval 949"/>
          <p:cNvSpPr/>
          <p:nvPr/>
        </p:nvSpPr>
        <p:spPr>
          <a:xfrm>
            <a:off x="37489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1" name="Oval 950"/>
          <p:cNvSpPr/>
          <p:nvPr/>
        </p:nvSpPr>
        <p:spPr>
          <a:xfrm>
            <a:off x="45918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2" name="Oval 951"/>
          <p:cNvSpPr/>
          <p:nvPr/>
        </p:nvSpPr>
        <p:spPr>
          <a:xfrm>
            <a:off x="54347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3" name="Oval 952"/>
          <p:cNvSpPr/>
          <p:nvPr/>
        </p:nvSpPr>
        <p:spPr>
          <a:xfrm>
            <a:off x="62776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4" name="Oval 953"/>
          <p:cNvSpPr/>
          <p:nvPr/>
        </p:nvSpPr>
        <p:spPr>
          <a:xfrm>
            <a:off x="88062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5" name="Oval 954"/>
          <p:cNvSpPr/>
          <p:nvPr/>
        </p:nvSpPr>
        <p:spPr>
          <a:xfrm>
            <a:off x="79633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6" name="Oval 955"/>
          <p:cNvSpPr/>
          <p:nvPr/>
        </p:nvSpPr>
        <p:spPr>
          <a:xfrm>
            <a:off x="104920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7" name="Oval 956"/>
          <p:cNvSpPr/>
          <p:nvPr/>
        </p:nvSpPr>
        <p:spPr>
          <a:xfrm>
            <a:off x="96491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8" name="Oval 957"/>
          <p:cNvSpPr/>
          <p:nvPr/>
        </p:nvSpPr>
        <p:spPr>
          <a:xfrm>
            <a:off x="113348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9" name="Oval 958"/>
          <p:cNvSpPr/>
          <p:nvPr/>
        </p:nvSpPr>
        <p:spPr>
          <a:xfrm>
            <a:off x="71204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0" name="Oval 959"/>
          <p:cNvSpPr/>
          <p:nvPr/>
        </p:nvSpPr>
        <p:spPr>
          <a:xfrm>
            <a:off x="3774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1" name="Oval 960"/>
          <p:cNvSpPr/>
          <p:nvPr/>
        </p:nvSpPr>
        <p:spPr>
          <a:xfrm>
            <a:off x="12203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2" name="Oval 961"/>
          <p:cNvSpPr/>
          <p:nvPr/>
        </p:nvSpPr>
        <p:spPr>
          <a:xfrm>
            <a:off x="20632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3" name="Oval 962"/>
          <p:cNvSpPr/>
          <p:nvPr/>
        </p:nvSpPr>
        <p:spPr>
          <a:xfrm>
            <a:off x="29060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4" name="Oval 963"/>
          <p:cNvSpPr/>
          <p:nvPr/>
        </p:nvSpPr>
        <p:spPr>
          <a:xfrm>
            <a:off x="37489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5" name="Oval 964"/>
          <p:cNvSpPr/>
          <p:nvPr/>
        </p:nvSpPr>
        <p:spPr>
          <a:xfrm>
            <a:off x="45918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6" name="Oval 965"/>
          <p:cNvSpPr/>
          <p:nvPr/>
        </p:nvSpPr>
        <p:spPr>
          <a:xfrm>
            <a:off x="54347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7" name="Oval 966"/>
          <p:cNvSpPr/>
          <p:nvPr/>
        </p:nvSpPr>
        <p:spPr>
          <a:xfrm>
            <a:off x="62776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8" name="Oval 967"/>
          <p:cNvSpPr/>
          <p:nvPr/>
        </p:nvSpPr>
        <p:spPr>
          <a:xfrm>
            <a:off x="88062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9" name="Oval 968"/>
          <p:cNvSpPr/>
          <p:nvPr/>
        </p:nvSpPr>
        <p:spPr>
          <a:xfrm>
            <a:off x="79633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0" name="Oval 969"/>
          <p:cNvSpPr/>
          <p:nvPr/>
        </p:nvSpPr>
        <p:spPr>
          <a:xfrm>
            <a:off x="104920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1" name="Oval 970"/>
          <p:cNvSpPr/>
          <p:nvPr/>
        </p:nvSpPr>
        <p:spPr>
          <a:xfrm>
            <a:off x="96491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2" name="Oval 971"/>
          <p:cNvSpPr/>
          <p:nvPr/>
        </p:nvSpPr>
        <p:spPr>
          <a:xfrm>
            <a:off x="113348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tIns="45720" rIns="91440" bIns="4572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1190.004\681195(pptx)-E2 6-24-24</a:t>
            </a:r>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2" y="5264106"/>
            <a:ext cx="0" cy="9144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66276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1190.004\678197(pptx)-E2 5-9-24</a:t>
            </a:r>
          </a:p>
        </p:txBody>
      </p:sp>
      <p:sp>
        <p:nvSpPr>
          <p:cNvPr id="4" name="Slide Number Placeholder 3"/>
          <p:cNvSpPr>
            <a:spLocks noGrp="1"/>
          </p:cNvSpPr>
          <p:nvPr>
            <p:ph type="sldNum" sz="quarter" idx="12"/>
          </p:nvPr>
        </p:nvSpPr>
        <p:spPr>
          <a:xfrm>
            <a:off x="11551790" y="6647585"/>
            <a:ext cx="430306" cy="187036"/>
          </a:xfrm>
          <a:prstGeom prst="rect">
            <a:avLst/>
          </a:prstGeom>
        </p:spPr>
        <p:txBody>
          <a:bodyPr/>
          <a:lstStyle/>
          <a:p>
            <a:fld id="{4FE2E287-E16C-4B0B-8A00-FDDD33EA5E69}" type="slidenum">
              <a:rPr lang="en-US" smtClean="0"/>
              <a:t>‹#›</a:t>
            </a:fld>
            <a:endParaRPr lang="en-US" dirty="0"/>
          </a:p>
        </p:txBody>
      </p:sp>
    </p:spTree>
    <p:extLst>
      <p:ext uri="{BB962C8B-B14F-4D97-AF65-F5344CB8AC3E}">
        <p14:creationId xmlns:p14="http://schemas.microsoft.com/office/powerpoint/2010/main" val="37081048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_Cover 2 - Healthy Fami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B6DC4-F443-4398-B024-61934E953F1A}"/>
              </a:ext>
            </a:extLst>
          </p:cNvPr>
          <p:cNvGraphicFramePr>
            <a:graphicFrameLocks noChangeAspect="1"/>
          </p:cNvGraphicFramePr>
          <p:nvPr userDrawn="1">
            <p:custDataLst>
              <p:tags r:id="rId1"/>
            </p:custDataLst>
            <p:extLst>
              <p:ext uri="{D42A27DB-BD31-4B8C-83A1-F6EECF244321}">
                <p14:modId xmlns:p14="http://schemas.microsoft.com/office/powerpoint/2010/main" val="153550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2BB6DC4-F443-4398-B024-61934E95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ED6E2347-EEF7-434B-B045-D49C56A1486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62"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CE303BEB-AEF3-4ECF-A589-D95CE1A1525F}"/>
              </a:ext>
            </a:extLst>
          </p:cNvPr>
          <p:cNvSpPr/>
          <p:nvPr userDrawn="1"/>
        </p:nvSpPr>
        <p:spPr>
          <a:xfrm>
            <a:off x="-1" y="0"/>
            <a:ext cx="7267576" cy="1410789"/>
          </a:xfrm>
          <a:prstGeom prst="rect">
            <a:avLst/>
          </a:prstGeom>
          <a:gradFill flip="none" rotWithShape="1">
            <a:gsLst>
              <a:gs pos="0">
                <a:schemeClr val="bg1">
                  <a:lumMod val="50000"/>
                  <a:shade val="30000"/>
                  <a:satMod val="115000"/>
                  <a:alpha val="54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D8D8">
                  <a:lumMod val="40000"/>
                  <a:lumOff val="60000"/>
                </a:srgbClr>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1F838AD-A49F-469D-A5A0-9BF7CB17DD1B}"/>
              </a:ext>
            </a:extLst>
          </p:cNvPr>
          <p:cNvSpPr/>
          <p:nvPr userDrawn="1"/>
        </p:nvSpPr>
        <p:spPr>
          <a:xfrm>
            <a:off x="7279042" y="0"/>
            <a:ext cx="491295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789FF9EF-B1EA-4E45-87E6-40CEFE5565DE}"/>
              </a:ext>
            </a:extLst>
          </p:cNvPr>
          <p:cNvSpPr/>
          <p:nvPr userDrawn="1"/>
        </p:nvSpPr>
        <p:spPr>
          <a:xfrm>
            <a:off x="7279042" y="2847703"/>
            <a:ext cx="4913335" cy="2190642"/>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Content Placeholder 5">
            <a:extLst>
              <a:ext uri="{FF2B5EF4-FFF2-40B4-BE49-F238E27FC236}">
                <a16:creationId xmlns:a16="http://schemas.microsoft.com/office/drawing/2014/main" id="{75198B83-C8A4-42DA-B9B5-E85FA6A5D9B5}"/>
              </a:ext>
            </a:extLst>
          </p:cNvPr>
          <p:cNvSpPr>
            <a:spLocks noGrp="1"/>
          </p:cNvSpPr>
          <p:nvPr>
            <p:ph sz="quarter" idx="16" hasCustomPrompt="1"/>
          </p:nvPr>
        </p:nvSpPr>
        <p:spPr>
          <a:xfrm>
            <a:off x="9090660" y="689039"/>
            <a:ext cx="2834640" cy="1645920"/>
          </a:xfrm>
        </p:spPr>
        <p:txBody>
          <a:bodyPr anchor="ctr"/>
          <a:lstStyle>
            <a:lvl1pPr marL="0" indent="0" algn="ctr">
              <a:buFontTx/>
              <a:buNone/>
              <a:defRPr sz="1800" i="1"/>
            </a:lvl1pPr>
          </a:lstStyle>
          <a:p>
            <a:pPr lvl="0"/>
            <a:r>
              <a:rPr lang="en-US"/>
              <a:t>Client logo goes here </a:t>
            </a:r>
            <a:br>
              <a:rPr lang="en-US"/>
            </a:br>
            <a:r>
              <a:rPr lang="en-US"/>
              <a:t>(click on Picture icon)</a:t>
            </a:r>
          </a:p>
        </p:txBody>
      </p:sp>
      <p:sp>
        <p:nvSpPr>
          <p:cNvPr id="14" name="Subtitle 2">
            <a:extLst>
              <a:ext uri="{FF2B5EF4-FFF2-40B4-BE49-F238E27FC236}">
                <a16:creationId xmlns:a16="http://schemas.microsoft.com/office/drawing/2014/main" id="{1CC80F1F-A61B-4FA4-BFDC-34C5900A86D0}"/>
              </a:ext>
            </a:extLst>
          </p:cNvPr>
          <p:cNvSpPr>
            <a:spLocks noGrp="1"/>
          </p:cNvSpPr>
          <p:nvPr>
            <p:ph type="subTitle" idx="1" hasCustomPrompt="1"/>
          </p:nvPr>
        </p:nvSpPr>
        <p:spPr>
          <a:xfrm>
            <a:off x="7296912" y="3944141"/>
            <a:ext cx="4632766" cy="428948"/>
          </a:xfrm>
          <a:prstGeom prst="rect">
            <a:avLst/>
          </a:prstGeom>
        </p:spPr>
        <p:txBody>
          <a:bodyPr lIns="0" tIns="0">
            <a:noAutofit/>
          </a:bodyPr>
          <a:lstStyle>
            <a:lvl1pPr marL="0" indent="0" algn="r">
              <a:lnSpc>
                <a:spcPct val="900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6" name="Text Placeholder 15">
            <a:extLst>
              <a:ext uri="{FF2B5EF4-FFF2-40B4-BE49-F238E27FC236}">
                <a16:creationId xmlns:a16="http://schemas.microsoft.com/office/drawing/2014/main" id="{D6AB4503-F23F-444E-A8F6-CE96FC3129D8}"/>
              </a:ext>
            </a:extLst>
          </p:cNvPr>
          <p:cNvSpPr>
            <a:spLocks noGrp="1"/>
          </p:cNvSpPr>
          <p:nvPr>
            <p:ph type="body" sz="quarter" idx="14" hasCustomPrompt="1"/>
          </p:nvPr>
        </p:nvSpPr>
        <p:spPr>
          <a:xfrm>
            <a:off x="9232456" y="4683358"/>
            <a:ext cx="2702375" cy="225271"/>
          </a:xfrm>
          <a:prstGeom prst="rect">
            <a:avLst/>
          </a:prstGeom>
        </p:spPr>
        <p:txBody>
          <a:bodyPr lIns="0" anchor="ctr" anchorCtr="0">
            <a:noAutofit/>
          </a:bodyPr>
          <a:lstStyle>
            <a:lvl1pPr marL="0" indent="0" algn="r">
              <a:buFontTx/>
              <a:buNone/>
              <a:defRPr sz="12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a:t>
            </a:r>
          </a:p>
        </p:txBody>
      </p:sp>
      <p:sp>
        <p:nvSpPr>
          <p:cNvPr id="17" name="Text Placeholder 2">
            <a:extLst>
              <a:ext uri="{FF2B5EF4-FFF2-40B4-BE49-F238E27FC236}">
                <a16:creationId xmlns:a16="http://schemas.microsoft.com/office/drawing/2014/main" id="{7AE3858F-DCA3-4CCB-AB61-A4A60579F42B}"/>
              </a:ext>
            </a:extLst>
          </p:cNvPr>
          <p:cNvSpPr>
            <a:spLocks noGrp="1"/>
          </p:cNvSpPr>
          <p:nvPr>
            <p:ph type="body" sz="quarter" idx="15" hasCustomPrompt="1"/>
          </p:nvPr>
        </p:nvSpPr>
        <p:spPr>
          <a:xfrm>
            <a:off x="7296912" y="3081528"/>
            <a:ext cx="4628388" cy="832104"/>
          </a:xfrm>
        </p:spPr>
        <p:txBody>
          <a:bodyPr lIns="0" anchor="b">
            <a:noAutofit/>
          </a:bodyPr>
          <a:lstStyle>
            <a:lvl1pPr marL="0" indent="0" algn="r">
              <a:spcBef>
                <a:spcPts val="0"/>
              </a:spcBef>
              <a:buFontTx/>
              <a:buNone/>
              <a:defRPr sz="2800" spc="50" baseline="0">
                <a:solidFill>
                  <a:schemeClr val="bg1"/>
                </a:solidFill>
                <a:latin typeface="+mj-lt"/>
              </a:defRPr>
            </a:lvl1pPr>
          </a:lstStyle>
          <a:p>
            <a:pPr lvl="0"/>
            <a:r>
              <a:rPr lang="en-US"/>
              <a:t>Presentation Title</a:t>
            </a:r>
          </a:p>
        </p:txBody>
      </p:sp>
      <p:sp>
        <p:nvSpPr>
          <p:cNvPr id="3" name="Rectangle 2">
            <a:extLst>
              <a:ext uri="{FF2B5EF4-FFF2-40B4-BE49-F238E27FC236}">
                <a16:creationId xmlns:a16="http://schemas.microsoft.com/office/drawing/2014/main" id="{D6A0B274-223B-56EE-EB4E-1ECC3CBF2D24}"/>
              </a:ext>
            </a:extLst>
          </p:cNvPr>
          <p:cNvSpPr/>
          <p:nvPr userDrawn="1"/>
        </p:nvSpPr>
        <p:spPr>
          <a:xfrm>
            <a:off x="7267575" y="5038344"/>
            <a:ext cx="4924425" cy="18196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Footer Placeholder 3">
            <a:extLst>
              <a:ext uri="{FF2B5EF4-FFF2-40B4-BE49-F238E27FC236}">
                <a16:creationId xmlns:a16="http://schemas.microsoft.com/office/drawing/2014/main" id="{C1BEDC65-4A79-3E3D-5BC5-2BF173213A10}"/>
              </a:ext>
            </a:extLst>
          </p:cNvPr>
          <p:cNvSpPr txBox="1">
            <a:spLocks/>
          </p:cNvSpPr>
          <p:nvPr userDrawn="1"/>
        </p:nvSpPr>
        <p:spPr>
          <a:xfrm>
            <a:off x="83817" y="14582"/>
            <a:ext cx="4052020" cy="415498"/>
          </a:xfrm>
          <a:prstGeom prst="rect">
            <a:avLst/>
          </a:prstGeom>
        </p:spPr>
        <p:txBody>
          <a:bodyPr wrap="square" lIns="0" bIns="0" anchor="t">
            <a:spAutoFit/>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chemeClr val="bg1"/>
                </a:solidFill>
              </a:rPr>
              <a:t>CONFIDENTIAL</a:t>
            </a:r>
          </a:p>
          <a:p>
            <a:r>
              <a:rPr lang="en-US" sz="1200" b="1" dirty="0">
                <a:solidFill>
                  <a:schemeClr val="bg1"/>
                </a:solidFill>
              </a:rPr>
              <a:t>FOR DISCUSSION PURPOSES</a:t>
            </a:r>
          </a:p>
        </p:txBody>
      </p:sp>
    </p:spTree>
    <p:extLst>
      <p:ext uri="{BB962C8B-B14F-4D97-AF65-F5344CB8AC3E}">
        <p14:creationId xmlns:p14="http://schemas.microsoft.com/office/powerpoint/2010/main" val="28666226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173162"/>
            <a:ext cx="11658600" cy="4889309"/>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1E3520C1-E3AC-E032-E463-471CF49AB2E5}"/>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5" name="Footer Placeholder 1">
            <a:extLst>
              <a:ext uri="{FF2B5EF4-FFF2-40B4-BE49-F238E27FC236}">
                <a16:creationId xmlns:a16="http://schemas.microsoft.com/office/drawing/2014/main" id="{42BC6923-58CC-8C26-3288-2D3F5A4F3CB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77345128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w/Dan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209D66-6BE1-45C8-8D7C-8480B1C34C50}"/>
              </a:ext>
            </a:extLst>
          </p:cNvPr>
          <p:cNvSpPr>
            <a:spLocks noGrp="1"/>
          </p:cNvSpPr>
          <p:nvPr>
            <p:ph idx="1" hasCustomPrompt="1"/>
          </p:nvPr>
        </p:nvSpPr>
        <p:spPr>
          <a:xfrm>
            <a:off x="266700" y="1951630"/>
            <a:ext cx="11658600" cy="4110842"/>
          </a:xfrm>
          <a:prstGeom prst="rect">
            <a:avLst/>
          </a:prstGeom>
        </p:spPr>
        <p:txBody>
          <a:bodyPr>
            <a:normAutofit/>
          </a:bodyPr>
          <a:lstStyle>
            <a:lvl1pPr>
              <a:spcBef>
                <a:spcPts val="600"/>
              </a:spcBef>
              <a:buClrTx/>
              <a:defRPr sz="2400"/>
            </a:lvl1pPr>
            <a:lvl2pPr>
              <a:lnSpc>
                <a:spcPct val="100000"/>
              </a:lnSpc>
              <a:spcBef>
                <a:spcPts val="600"/>
              </a:spcBef>
              <a:buClrTx/>
              <a:defRPr sz="2000"/>
            </a:lvl2pPr>
            <a:lvl3pPr>
              <a:lnSpc>
                <a:spcPct val="100000"/>
              </a:lnSpc>
              <a:spcBef>
                <a:spcPts val="600"/>
              </a:spcBef>
              <a:buClrTx/>
              <a:defRPr sz="1800"/>
            </a:lvl3pPr>
            <a:lvl4pPr>
              <a:buClr>
                <a:schemeClr val="accent3"/>
              </a:buClr>
              <a:defRPr/>
            </a:lvl4pPr>
            <a:lvl5pPr>
              <a:buClr>
                <a:schemeClr val="accent3"/>
              </a:buClr>
              <a:defRPr/>
            </a:lvl5pPr>
          </a:lstStyle>
          <a:p>
            <a:pPr lvl="0"/>
            <a:r>
              <a:rPr lang="en-US"/>
              <a:t>Bullet text – </a:t>
            </a:r>
            <a:r>
              <a:rPr lang="en-US" err="1"/>
              <a:t>24pt</a:t>
            </a:r>
            <a:r>
              <a:rPr lang="en-US"/>
              <a:t> </a:t>
            </a:r>
            <a:r>
              <a:rPr lang="en-US" err="1"/>
              <a:t>pt</a:t>
            </a:r>
            <a:r>
              <a:rPr lang="en-US"/>
              <a:t> or lower </a:t>
            </a:r>
          </a:p>
          <a:p>
            <a:pPr lvl="1"/>
            <a:r>
              <a:rPr lang="en-US"/>
              <a:t>Second level – 20 points or lower</a:t>
            </a:r>
          </a:p>
          <a:p>
            <a:pPr lvl="2"/>
            <a:r>
              <a:rPr lang="en-US"/>
              <a:t>Third level – 18 points or lower</a:t>
            </a:r>
          </a:p>
        </p:txBody>
      </p:sp>
      <p:sp>
        <p:nvSpPr>
          <p:cNvPr id="4" name="Title 3">
            <a:extLst>
              <a:ext uri="{FF2B5EF4-FFF2-40B4-BE49-F238E27FC236}">
                <a16:creationId xmlns:a16="http://schemas.microsoft.com/office/drawing/2014/main" id="{7C4357F8-9FCD-45D4-9E06-735BC263FA2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2391073-8542-4C9F-B852-037CAE9FF851}"/>
              </a:ext>
            </a:extLst>
          </p:cNvPr>
          <p:cNvSpPr>
            <a:spLocks noGrp="1"/>
          </p:cNvSpPr>
          <p:nvPr>
            <p:ph type="body" sz="quarter" idx="10" hasCustomPrompt="1"/>
          </p:nvPr>
        </p:nvSpPr>
        <p:spPr>
          <a:xfrm>
            <a:off x="266700"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and Content on Home&gt;Layout</a:t>
            </a:r>
          </a:p>
        </p:txBody>
      </p:sp>
      <p:sp>
        <p:nvSpPr>
          <p:cNvPr id="2" name="Slide Number Placeholder 5">
            <a:extLst>
              <a:ext uri="{FF2B5EF4-FFF2-40B4-BE49-F238E27FC236}">
                <a16:creationId xmlns:a16="http://schemas.microsoft.com/office/drawing/2014/main" id="{8C499F0C-7F90-E2CA-DD5B-603CABD40C4F}"/>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7" name="Footer Placeholder 1">
            <a:extLst>
              <a:ext uri="{FF2B5EF4-FFF2-40B4-BE49-F238E27FC236}">
                <a16:creationId xmlns:a16="http://schemas.microsoft.com/office/drawing/2014/main" id="{579E816B-2932-EC3E-2DB5-79DF2CC80458}"/>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36579722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62763747-8423-0952-B04B-3487132B6BFD}"/>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7CEAEC4F-35C4-9DE1-2574-63ECFCEEE129}"/>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232888470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Sub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Text Placeholder 9">
            <a:extLst>
              <a:ext uri="{FF2B5EF4-FFF2-40B4-BE49-F238E27FC236}">
                <a16:creationId xmlns:a16="http://schemas.microsoft.com/office/drawing/2014/main" id="{E10585AB-2D5B-4534-B35C-CF88BA566C4C}"/>
              </a:ext>
            </a:extLst>
          </p:cNvPr>
          <p:cNvSpPr>
            <a:spLocks noGrp="1"/>
          </p:cNvSpPr>
          <p:nvPr>
            <p:ph type="body" sz="quarter" idx="11" hasCustomPrompt="1"/>
          </p:nvPr>
        </p:nvSpPr>
        <p:spPr>
          <a:xfrm>
            <a:off x="274638" y="3035300"/>
            <a:ext cx="11658600" cy="1274763"/>
          </a:xfrm>
        </p:spPr>
        <p:txBody>
          <a:bodyPr>
            <a:normAutofit/>
          </a:bodyPr>
          <a:lstStyle>
            <a:lvl1pPr marL="0" indent="0">
              <a:buNone/>
              <a:defRPr sz="3200">
                <a:solidFill>
                  <a:schemeClr val="bg1"/>
                </a:solidFill>
                <a:latin typeface="+mj-lt"/>
              </a:defRPr>
            </a:lvl1pPr>
          </a:lstStyle>
          <a:p>
            <a:pPr lvl="0"/>
            <a:r>
              <a:rPr lang="en-US"/>
              <a:t>Subsection Title Goes Here</a:t>
            </a:r>
          </a:p>
        </p:txBody>
      </p:sp>
      <p:sp>
        <p:nvSpPr>
          <p:cNvPr id="4" name="Footer Placeholder 1">
            <a:extLst>
              <a:ext uri="{FF2B5EF4-FFF2-40B4-BE49-F238E27FC236}">
                <a16:creationId xmlns:a16="http://schemas.microsoft.com/office/drawing/2014/main" id="{14726D25-9A8E-EE51-D62B-C00F5FB0AFA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4060696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w/Dan bo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Title 3">
            <a:extLst>
              <a:ext uri="{FF2B5EF4-FFF2-40B4-BE49-F238E27FC236}">
                <a16:creationId xmlns:a16="http://schemas.microsoft.com/office/drawing/2014/main" id="{049FD8A5-FE36-4293-96FB-99FEF9A861BF}"/>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8E8E4F2-B07C-424D-B977-A5A215DC601B}"/>
              </a:ext>
            </a:extLst>
          </p:cNvPr>
          <p:cNvSpPr>
            <a:spLocks noGrp="1"/>
          </p:cNvSpPr>
          <p:nvPr>
            <p:ph type="body" sz="quarter" idx="11" hasCustomPrompt="1"/>
          </p:nvPr>
        </p:nvSpPr>
        <p:spPr>
          <a:xfrm>
            <a:off x="265176" y="1188720"/>
            <a:ext cx="11658600" cy="627743"/>
          </a:xfrm>
        </p:spPr>
        <p:txBody>
          <a:bodyPr>
            <a:noAutofit/>
          </a:bodyPr>
          <a:lstStyle>
            <a:lvl1pPr marL="0" indent="0">
              <a:buFontTx/>
              <a:buNone/>
              <a:defRPr sz="1800" b="1">
                <a:solidFill>
                  <a:schemeClr val="accent4"/>
                </a:solidFill>
              </a:defRPr>
            </a:lvl1pPr>
            <a:lvl2pPr marL="457200" indent="0">
              <a:buNone/>
              <a:defRPr/>
            </a:lvl2pPr>
          </a:lstStyle>
          <a:p>
            <a:pPr lvl="0"/>
            <a:r>
              <a:rPr lang="en-US"/>
              <a:t>Dan Box: Lead-in sentence goes here. If not needed, change to Title Only on Home&gt;Layout</a:t>
            </a:r>
          </a:p>
        </p:txBody>
      </p:sp>
      <p:sp>
        <p:nvSpPr>
          <p:cNvPr id="2" name="Footer Placeholder 1">
            <a:extLst>
              <a:ext uri="{FF2B5EF4-FFF2-40B4-BE49-F238E27FC236}">
                <a16:creationId xmlns:a16="http://schemas.microsoft.com/office/drawing/2014/main" id="{3A9C04C7-F8F2-150B-C869-EBD9E1151471}"/>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2854196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446551527"/>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tally 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1">
            <a:extLst>
              <a:ext uri="{FF2B5EF4-FFF2-40B4-BE49-F238E27FC236}">
                <a16:creationId xmlns:a16="http://schemas.microsoft.com/office/drawing/2014/main" id="{DEF18B3C-39B0-5D88-7AB6-DA866C18E09C}"/>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82943793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1">
            <a:extLst>
              <a:ext uri="{FF2B5EF4-FFF2-40B4-BE49-F238E27FC236}">
                <a16:creationId xmlns:a16="http://schemas.microsoft.com/office/drawing/2014/main" id="{6E061231-053B-1D7D-ADE4-D936E0CDC97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0754202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 - Sub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920149-0EA3-4FF2-9EB0-8CF330ABADD8}"/>
              </a:ext>
            </a:extLst>
          </p:cNvPr>
          <p:cNvSpPr/>
          <p:nvPr userDrawn="1"/>
        </p:nvSpPr>
        <p:spPr>
          <a:xfrm>
            <a:off x="0" y="1"/>
            <a:ext cx="12192000" cy="596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CC4E22A2-ADCA-4983-8AAF-4AC9C2059DBD}"/>
              </a:ext>
            </a:extLst>
          </p:cNvPr>
          <p:cNvSpPr>
            <a:spLocks noGrp="1"/>
          </p:cNvSpPr>
          <p:nvPr>
            <p:ph type="title" hasCustomPrompt="1"/>
          </p:nvPr>
        </p:nvSpPr>
        <p:spPr>
          <a:xfrm>
            <a:off x="266700" y="1760882"/>
            <a:ext cx="11658600" cy="1274762"/>
          </a:xfrm>
          <a:prstGeom prst="rect">
            <a:avLst/>
          </a:prstGeom>
        </p:spPr>
        <p:txBody>
          <a:bodyPr bIns="0" anchor="b" anchorCtr="0">
            <a:normAutofit/>
          </a:bodyPr>
          <a:lstStyle>
            <a:lvl1pPr>
              <a:defRPr sz="4800">
                <a:solidFill>
                  <a:schemeClr val="bg1"/>
                </a:solidFill>
              </a:defRPr>
            </a:lvl1pPr>
          </a:lstStyle>
          <a:p>
            <a:r>
              <a:rPr lang="en-US"/>
              <a:t>Main Section Divider Slide</a:t>
            </a:r>
          </a:p>
        </p:txBody>
      </p:sp>
      <p:sp>
        <p:nvSpPr>
          <p:cNvPr id="3" name="Slide Number Placeholder 2">
            <a:extLst>
              <a:ext uri="{FF2B5EF4-FFF2-40B4-BE49-F238E27FC236}">
                <a16:creationId xmlns:a16="http://schemas.microsoft.com/office/drawing/2014/main" id="{6F40179D-08FB-4E26-A3C9-21BB07A17A1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Text Placeholder 9">
            <a:extLst>
              <a:ext uri="{FF2B5EF4-FFF2-40B4-BE49-F238E27FC236}">
                <a16:creationId xmlns:a16="http://schemas.microsoft.com/office/drawing/2014/main" id="{E10585AB-2D5B-4534-B35C-CF88BA566C4C}"/>
              </a:ext>
            </a:extLst>
          </p:cNvPr>
          <p:cNvSpPr>
            <a:spLocks noGrp="1"/>
          </p:cNvSpPr>
          <p:nvPr>
            <p:ph type="body" sz="quarter" idx="11" hasCustomPrompt="1"/>
          </p:nvPr>
        </p:nvSpPr>
        <p:spPr>
          <a:xfrm>
            <a:off x="274638" y="3035300"/>
            <a:ext cx="11658600" cy="1274763"/>
          </a:xfrm>
        </p:spPr>
        <p:txBody>
          <a:bodyPr>
            <a:normAutofit/>
          </a:bodyPr>
          <a:lstStyle>
            <a:lvl1pPr marL="0" indent="0">
              <a:buNone/>
              <a:defRPr sz="3200">
                <a:solidFill>
                  <a:schemeClr val="bg1"/>
                </a:solidFill>
                <a:latin typeface="+mj-lt"/>
              </a:defRPr>
            </a:lvl1pPr>
          </a:lstStyle>
          <a:p>
            <a:pPr lvl="0"/>
            <a:r>
              <a:rPr lang="en-US"/>
              <a:t>Subsection Title Goes Here</a:t>
            </a:r>
          </a:p>
        </p:txBody>
      </p:sp>
      <p:sp>
        <p:nvSpPr>
          <p:cNvPr id="4" name="Footer Placeholder 1">
            <a:extLst>
              <a:ext uri="{FF2B5EF4-FFF2-40B4-BE49-F238E27FC236}">
                <a16:creationId xmlns:a16="http://schemas.microsoft.com/office/drawing/2014/main" id="{14726D25-9A8E-EE51-D62B-C00F5FB0AFA7}"/>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21638599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4" name="Text Placeholder 23">
            <a:extLst>
              <a:ext uri="{FF2B5EF4-FFF2-40B4-BE49-F238E27FC236}">
                <a16:creationId xmlns:a16="http://schemas.microsoft.com/office/drawing/2014/main" id="{7A1C55E9-25C9-406A-B47C-F099877A3480}"/>
              </a:ext>
            </a:extLst>
          </p:cNvPr>
          <p:cNvSpPr>
            <a:spLocks noGrp="1"/>
          </p:cNvSpPr>
          <p:nvPr>
            <p:ph type="body" sz="quarter" idx="11" hasCustomPrompt="1"/>
          </p:nvPr>
        </p:nvSpPr>
        <p:spPr>
          <a:xfrm>
            <a:off x="2986088" y="1173164"/>
            <a:ext cx="8939212" cy="4290658"/>
          </a:xfrm>
          <a:solidFill>
            <a:schemeClr val="accent3">
              <a:lumMod val="40000"/>
              <a:lumOff val="60000"/>
            </a:schemeClr>
          </a:solidFill>
        </p:spPr>
        <p:txBody>
          <a:bodyPr lIns="274320" tIns="91440" rIns="274320" bIns="91440" anchor="ctr" anchorCtr="0"/>
          <a:lstStyle>
            <a:lvl1pPr marL="274320" indent="-274320">
              <a:spcBef>
                <a:spcPts val="1800"/>
              </a:spcBef>
              <a:defRPr/>
            </a:lvl1pPr>
            <a:lvl2pPr marL="457200" indent="0">
              <a:buNone/>
              <a:defRPr/>
            </a:lvl2pPr>
          </a:lstStyle>
          <a:p>
            <a:pPr lvl="0"/>
            <a:r>
              <a:rPr lang="en-US"/>
              <a:t>Next Step One goes here</a:t>
            </a:r>
          </a:p>
          <a:p>
            <a:pPr lvl="0"/>
            <a:r>
              <a:rPr lang="en-US"/>
              <a:t>Next Step Two goes here</a:t>
            </a:r>
          </a:p>
          <a:p>
            <a:pPr lvl="0"/>
            <a:r>
              <a:rPr lang="en-US"/>
              <a:t>Next Step Three goes here</a:t>
            </a:r>
          </a:p>
        </p:txBody>
      </p:sp>
      <p:sp>
        <p:nvSpPr>
          <p:cNvPr id="43" name="Rectangle 42">
            <a:extLst>
              <a:ext uri="{FF2B5EF4-FFF2-40B4-BE49-F238E27FC236}">
                <a16:creationId xmlns:a16="http://schemas.microsoft.com/office/drawing/2014/main" id="{3B52B253-7D42-4E85-A8CD-4067AADE30DE}"/>
              </a:ext>
            </a:extLst>
          </p:cNvPr>
          <p:cNvSpPr/>
          <p:nvPr userDrawn="1"/>
        </p:nvSpPr>
        <p:spPr>
          <a:xfrm>
            <a:off x="266700" y="1173479"/>
            <a:ext cx="2720035" cy="4290659"/>
          </a:xfrm>
          <a:prstGeom prst="rect">
            <a:avLst/>
          </a:prstGeom>
          <a:solidFill>
            <a:schemeClr val="accent1"/>
          </a:solidFill>
          <a:ln>
            <a:noFill/>
          </a:ln>
          <a:effectLst>
            <a:outerShdw blurRad="1143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NEX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STEPS</a:t>
            </a:r>
          </a:p>
        </p:txBody>
      </p:sp>
      <p:grpSp>
        <p:nvGrpSpPr>
          <p:cNvPr id="4" name="Group 3">
            <a:extLst>
              <a:ext uri="{FF2B5EF4-FFF2-40B4-BE49-F238E27FC236}">
                <a16:creationId xmlns:a16="http://schemas.microsoft.com/office/drawing/2014/main" id="{6BA1CD3B-28EB-AFBE-F777-520931449940}"/>
              </a:ext>
            </a:extLst>
          </p:cNvPr>
          <p:cNvGrpSpPr/>
          <p:nvPr userDrawn="1"/>
        </p:nvGrpSpPr>
        <p:grpSpPr>
          <a:xfrm>
            <a:off x="626330" y="3038060"/>
            <a:ext cx="2000775" cy="1034830"/>
            <a:chOff x="588263" y="3038060"/>
            <a:chExt cx="2000775" cy="1034830"/>
          </a:xfrm>
        </p:grpSpPr>
        <p:sp>
          <p:nvSpPr>
            <p:cNvPr id="44" name="Arrow: Chevron 43">
              <a:extLst>
                <a:ext uri="{FF2B5EF4-FFF2-40B4-BE49-F238E27FC236}">
                  <a16:creationId xmlns:a16="http://schemas.microsoft.com/office/drawing/2014/main" id="{9CE28639-56AB-4B7D-B323-4864EB1AB83F}"/>
                </a:ext>
              </a:extLst>
            </p:cNvPr>
            <p:cNvSpPr/>
            <p:nvPr userDrawn="1"/>
          </p:nvSpPr>
          <p:spPr>
            <a:xfrm>
              <a:off x="2037392"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Arrow: Chevron 44">
              <a:extLst>
                <a:ext uri="{FF2B5EF4-FFF2-40B4-BE49-F238E27FC236}">
                  <a16:creationId xmlns:a16="http://schemas.microsoft.com/office/drawing/2014/main" id="{D3E12F6D-0F8F-4C19-A4ED-604BACED5DE5}"/>
                </a:ext>
              </a:extLst>
            </p:cNvPr>
            <p:cNvSpPr/>
            <p:nvPr userDrawn="1"/>
          </p:nvSpPr>
          <p:spPr>
            <a:xfrm>
              <a:off x="1554349"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Arrow: Chevron 45">
              <a:extLst>
                <a:ext uri="{FF2B5EF4-FFF2-40B4-BE49-F238E27FC236}">
                  <a16:creationId xmlns:a16="http://schemas.microsoft.com/office/drawing/2014/main" id="{3D49C03D-6243-4E54-AF1D-66175C54DD28}"/>
                </a:ext>
              </a:extLst>
            </p:cNvPr>
            <p:cNvSpPr/>
            <p:nvPr userDrawn="1"/>
          </p:nvSpPr>
          <p:spPr>
            <a:xfrm>
              <a:off x="1071306"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Arrow: Chevron 46">
              <a:extLst>
                <a:ext uri="{FF2B5EF4-FFF2-40B4-BE49-F238E27FC236}">
                  <a16:creationId xmlns:a16="http://schemas.microsoft.com/office/drawing/2014/main" id="{F1D32012-5B20-4721-910B-6BCF03A7318A}"/>
                </a:ext>
              </a:extLst>
            </p:cNvPr>
            <p:cNvSpPr/>
            <p:nvPr userDrawn="1"/>
          </p:nvSpPr>
          <p:spPr>
            <a:xfrm>
              <a:off x="588263"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Footer Placeholder 1">
            <a:extLst>
              <a:ext uri="{FF2B5EF4-FFF2-40B4-BE49-F238E27FC236}">
                <a16:creationId xmlns:a16="http://schemas.microsoft.com/office/drawing/2014/main" id="{F8C297A0-4453-5642-C15F-E6AAE7FC71B6}"/>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373292630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estions and Discussion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C8D344-417F-48FE-859E-B2D395136C1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4" name="Group 3">
            <a:extLst>
              <a:ext uri="{FF2B5EF4-FFF2-40B4-BE49-F238E27FC236}">
                <a16:creationId xmlns:a16="http://schemas.microsoft.com/office/drawing/2014/main" id="{8DBA9C78-4DF7-4D75-9842-39ED1A36FD0C}"/>
              </a:ext>
            </a:extLst>
          </p:cNvPr>
          <p:cNvGrpSpPr/>
          <p:nvPr userDrawn="1"/>
        </p:nvGrpSpPr>
        <p:grpSpPr>
          <a:xfrm>
            <a:off x="1849031" y="1164270"/>
            <a:ext cx="8493938" cy="3323552"/>
            <a:chOff x="1915268" y="1164270"/>
            <a:chExt cx="8493938" cy="3323552"/>
          </a:xfrm>
        </p:grpSpPr>
        <p:sp>
          <p:nvSpPr>
            <p:cNvPr id="6" name="Oval Callout 24">
              <a:extLst>
                <a:ext uri="{FF2B5EF4-FFF2-40B4-BE49-F238E27FC236}">
                  <a16:creationId xmlns:a16="http://schemas.microsoft.com/office/drawing/2014/main" id="{0B9D9E15-5F54-483E-856F-9777C7BBB0FF}"/>
                </a:ext>
              </a:extLst>
            </p:cNvPr>
            <p:cNvSpPr/>
            <p:nvPr/>
          </p:nvSpPr>
          <p:spPr bwMode="auto">
            <a:xfrm>
              <a:off x="2286001" y="2647298"/>
              <a:ext cx="2433711" cy="1350499"/>
            </a:xfrm>
            <a:prstGeom prst="wedgeEllipseCallout">
              <a:avLst>
                <a:gd name="adj1" fmla="val -60717"/>
                <a:gd name="adj2" fmla="val 52083"/>
              </a:avLst>
            </a:prstGeom>
            <a:solidFill>
              <a:schemeClr val="bg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7" name="Oval Callout 25">
              <a:extLst>
                <a:ext uri="{FF2B5EF4-FFF2-40B4-BE49-F238E27FC236}">
                  <a16:creationId xmlns:a16="http://schemas.microsoft.com/office/drawing/2014/main" id="{1D01254F-672A-4034-8EE1-2FCF3AB3065D}"/>
                </a:ext>
              </a:extLst>
            </p:cNvPr>
            <p:cNvSpPr/>
            <p:nvPr/>
          </p:nvSpPr>
          <p:spPr bwMode="auto">
            <a:xfrm>
              <a:off x="4395329" y="2921621"/>
              <a:ext cx="2433711" cy="1566201"/>
            </a:xfrm>
            <a:prstGeom prst="wedgeEllipseCallout">
              <a:avLst>
                <a:gd name="adj1" fmla="val 36971"/>
                <a:gd name="adj2" fmla="val 67708"/>
              </a:avLst>
            </a:prstGeom>
            <a:solidFill>
              <a:schemeClr val="accent6"/>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8" name="Oval Callout 26">
              <a:extLst>
                <a:ext uri="{FF2B5EF4-FFF2-40B4-BE49-F238E27FC236}">
                  <a16:creationId xmlns:a16="http://schemas.microsoft.com/office/drawing/2014/main" id="{A63660D0-913F-431B-AA6C-7816E98E713E}"/>
                </a:ext>
              </a:extLst>
            </p:cNvPr>
            <p:cNvSpPr/>
            <p:nvPr/>
          </p:nvSpPr>
          <p:spPr bwMode="auto">
            <a:xfrm>
              <a:off x="3863101" y="3498248"/>
              <a:ext cx="1064455" cy="980049"/>
            </a:xfrm>
            <a:prstGeom prst="wedgeEllipseCallout">
              <a:avLst>
                <a:gd name="adj1" fmla="val 36971"/>
                <a:gd name="adj2" fmla="val 67708"/>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9" name="Oval Callout 27">
              <a:extLst>
                <a:ext uri="{FF2B5EF4-FFF2-40B4-BE49-F238E27FC236}">
                  <a16:creationId xmlns:a16="http://schemas.microsoft.com/office/drawing/2014/main" id="{659341B6-A649-4CB7-94E1-2BD8F5D5FE3E}"/>
                </a:ext>
              </a:extLst>
            </p:cNvPr>
            <p:cNvSpPr/>
            <p:nvPr/>
          </p:nvSpPr>
          <p:spPr bwMode="auto">
            <a:xfrm>
              <a:off x="6172201" y="2456225"/>
              <a:ext cx="1752600" cy="1541572"/>
            </a:xfrm>
            <a:prstGeom prst="wedgeEllipseCallout">
              <a:avLst/>
            </a:prstGeom>
            <a:solidFill>
              <a:schemeClr val="accent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0" name="Oval Callout 28">
              <a:extLst>
                <a:ext uri="{FF2B5EF4-FFF2-40B4-BE49-F238E27FC236}">
                  <a16:creationId xmlns:a16="http://schemas.microsoft.com/office/drawing/2014/main" id="{3BEEF42C-B849-4993-A6C1-9C270E8B6E73}"/>
                </a:ext>
              </a:extLst>
            </p:cNvPr>
            <p:cNvSpPr/>
            <p:nvPr/>
          </p:nvSpPr>
          <p:spPr bwMode="auto">
            <a:xfrm>
              <a:off x="7432975" y="2551761"/>
              <a:ext cx="2433711" cy="1350499"/>
            </a:xfrm>
            <a:prstGeom prst="wedgeEllipseCallout">
              <a:avLst>
                <a:gd name="adj1" fmla="val -25457"/>
                <a:gd name="adj2" fmla="val 68750"/>
              </a:avLst>
            </a:prstGeom>
            <a:solidFill>
              <a:schemeClr val="accent3"/>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sp>
          <p:nvSpPr>
            <p:cNvPr id="11" name="Oval Callout 29">
              <a:extLst>
                <a:ext uri="{FF2B5EF4-FFF2-40B4-BE49-F238E27FC236}">
                  <a16:creationId xmlns:a16="http://schemas.microsoft.com/office/drawing/2014/main" id="{22639245-E1AF-4A3B-8B4E-ED62120F4709}"/>
                </a:ext>
              </a:extLst>
            </p:cNvPr>
            <p:cNvSpPr/>
            <p:nvPr/>
          </p:nvSpPr>
          <p:spPr bwMode="auto">
            <a:xfrm>
              <a:off x="8802231" y="3435088"/>
              <a:ext cx="1064455" cy="980049"/>
            </a:xfrm>
            <a:prstGeom prst="wedgeEllipseCallout">
              <a:avLst>
                <a:gd name="adj1" fmla="val -26465"/>
                <a:gd name="adj2" fmla="val 72015"/>
              </a:avLst>
            </a:prstGeom>
            <a:solidFill>
              <a:schemeClr val="accent4">
                <a:lumMod val="75000"/>
              </a:schemeClr>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Arial" charset="0"/>
                <a:ea typeface="ヒラギノ明朝 ProN W3" pitchFamily="1" charset="-128"/>
                <a:cs typeface="+mn-cs"/>
                <a:sym typeface="Times New Roman" pitchFamily="18" charset="0"/>
              </a:endParaRPr>
            </a:p>
          </p:txBody>
        </p:sp>
        <p:grpSp>
          <p:nvGrpSpPr>
            <p:cNvPr id="12" name="Group 11">
              <a:extLst>
                <a:ext uri="{FF2B5EF4-FFF2-40B4-BE49-F238E27FC236}">
                  <a16:creationId xmlns:a16="http://schemas.microsoft.com/office/drawing/2014/main" id="{8E4E1F7B-2861-43A2-A887-5A6359BC461C}"/>
                </a:ext>
              </a:extLst>
            </p:cNvPr>
            <p:cNvGrpSpPr/>
            <p:nvPr/>
          </p:nvGrpSpPr>
          <p:grpSpPr>
            <a:xfrm>
              <a:off x="1915268" y="1164270"/>
              <a:ext cx="8493938" cy="1446550"/>
              <a:chOff x="391268" y="997890"/>
              <a:chExt cx="8493938" cy="1446550"/>
            </a:xfrm>
          </p:grpSpPr>
          <p:sp>
            <p:nvSpPr>
              <p:cNvPr id="13" name="Title 1">
                <a:extLst>
                  <a:ext uri="{FF2B5EF4-FFF2-40B4-BE49-F238E27FC236}">
                    <a16:creationId xmlns:a16="http://schemas.microsoft.com/office/drawing/2014/main" id="{0296A2FF-607B-4A83-88E7-16CE0E42A4E2}"/>
                  </a:ext>
                </a:extLst>
              </p:cNvPr>
              <p:cNvSpPr txBox="1">
                <a:spLocks/>
              </p:cNvSpPr>
              <p:nvPr/>
            </p:nvSpPr>
            <p:spPr>
              <a:xfrm>
                <a:off x="391268" y="1518699"/>
                <a:ext cx="3925515" cy="769441"/>
              </a:xfrm>
              <a:prstGeom prst="rect">
                <a:avLst/>
              </a:prstGeom>
            </p:spPr>
            <p:txBody>
              <a:bodyPr vert="horz" lIns="91440" tIns="45720" rIns="91440" bIns="45720" rtlCol="0" anchor="ctr">
                <a:spAutoFit/>
              </a:bodyPr>
              <a:lstStyle>
                <a:lvl1pPr algn="ctr" defTabSz="914400" rtl="0" eaLnBrk="1" latinLnBrk="0" hangingPunct="1">
                  <a:spcBef>
                    <a:spcPct val="0"/>
                  </a:spcBef>
                  <a:buNone/>
                  <a:defRPr sz="3200" b="1" kern="1200" baseline="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Questions</a:t>
                </a:r>
              </a:p>
            </p:txBody>
          </p:sp>
          <p:sp>
            <p:nvSpPr>
              <p:cNvPr id="14" name="TextBox 13">
                <a:extLst>
                  <a:ext uri="{FF2B5EF4-FFF2-40B4-BE49-F238E27FC236}">
                    <a16:creationId xmlns:a16="http://schemas.microsoft.com/office/drawing/2014/main" id="{E6C7106F-E585-486F-AAF1-1F91F9686DCF}"/>
                  </a:ext>
                </a:extLst>
              </p:cNvPr>
              <p:cNvSpPr txBox="1"/>
              <p:nvPr/>
            </p:nvSpPr>
            <p:spPr>
              <a:xfrm>
                <a:off x="3657600" y="997890"/>
                <a:ext cx="14478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0091E1"/>
                    </a:solidFill>
                    <a:effectLst/>
                    <a:uLnTx/>
                    <a:uFillTx/>
                    <a:latin typeface="Rockwell" panose="02060603020205020403" pitchFamily="18" charset="0"/>
                    <a:ea typeface="+mn-ea"/>
                    <a:cs typeface="Arial" panose="020B0604020202020204" pitchFamily="34" charset="0"/>
                  </a:rPr>
                  <a:t>&amp;</a:t>
                </a:r>
              </a:p>
            </p:txBody>
          </p:sp>
          <p:sp>
            <p:nvSpPr>
              <p:cNvPr id="15" name="Title 1">
                <a:extLst>
                  <a:ext uri="{FF2B5EF4-FFF2-40B4-BE49-F238E27FC236}">
                    <a16:creationId xmlns:a16="http://schemas.microsoft.com/office/drawing/2014/main" id="{F0FBBBAE-CE0B-4B52-BC8E-9129F4055A8F}"/>
                  </a:ext>
                </a:extLst>
              </p:cNvPr>
              <p:cNvSpPr txBox="1">
                <a:spLocks/>
              </p:cNvSpPr>
              <p:nvPr/>
            </p:nvSpPr>
            <p:spPr>
              <a:xfrm>
                <a:off x="4215440" y="1530795"/>
                <a:ext cx="4669766" cy="769441"/>
              </a:xfrm>
              <a:prstGeom prst="rect">
                <a:avLst/>
              </a:prstGeom>
            </p:spPr>
            <p:txBody>
              <a:bodyPr vert="horz" wrap="square" lIns="91440" tIns="45720" rIns="91440" bIns="45720" rtlCol="0" anchor="ctr">
                <a:spAutoFit/>
              </a:bodyPr>
              <a:lstStyle>
                <a:lvl1pPr algn="ctr" defTabSz="914400" rtl="0" eaLnBrk="1" latinLnBrk="0" hangingPunct="1">
                  <a:spcBef>
                    <a:spcPct val="0"/>
                  </a:spcBef>
                  <a:buNone/>
                  <a:defRPr sz="3200" b="1" kern="1200">
                    <a:solidFill>
                      <a:schemeClr val="tx1"/>
                    </a:solidFill>
                    <a:latin typeface="Rockwell" panose="02060603020205020403"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D8D8D8"/>
                    </a:solidFill>
                    <a:effectLst/>
                    <a:uLnTx/>
                    <a:uFillTx/>
                    <a:latin typeface="Rockwell" panose="02060603020205020403" pitchFamily="18" charset="0"/>
                    <a:ea typeface="+mj-ea"/>
                    <a:cs typeface="+mj-cs"/>
                  </a:rPr>
                  <a:t>Discussion</a:t>
                </a:r>
              </a:p>
            </p:txBody>
          </p:sp>
        </p:grpSp>
      </p:grpSp>
      <p:sp>
        <p:nvSpPr>
          <p:cNvPr id="16" name="Text Placeholder 15">
            <a:extLst>
              <a:ext uri="{FF2B5EF4-FFF2-40B4-BE49-F238E27FC236}">
                <a16:creationId xmlns:a16="http://schemas.microsoft.com/office/drawing/2014/main" id="{15567D59-4386-4DB3-9DFF-C9E181FCB29E}"/>
              </a:ext>
            </a:extLst>
          </p:cNvPr>
          <p:cNvSpPr>
            <a:spLocks noGrp="1"/>
          </p:cNvSpPr>
          <p:nvPr>
            <p:ph type="body" sz="quarter" idx="11" hasCustomPrompt="1"/>
          </p:nvPr>
        </p:nvSpPr>
        <p:spPr>
          <a:xfrm>
            <a:off x="2863618" y="4800600"/>
            <a:ext cx="3014662" cy="457200"/>
          </a:xfrm>
        </p:spPr>
        <p:txBody>
          <a:bodyPr/>
          <a:lstStyle>
            <a:lvl1pPr marL="0" indent="0" algn="ctr">
              <a:buFontTx/>
              <a:buNone/>
              <a:defRPr b="1"/>
            </a:lvl1pPr>
          </a:lstStyle>
          <a:p>
            <a:pPr lvl="0"/>
            <a:r>
              <a:rPr lang="en-US"/>
              <a:t>Name</a:t>
            </a:r>
          </a:p>
          <a:p>
            <a:pPr lvl="0"/>
            <a:endParaRPr lang="en-US"/>
          </a:p>
        </p:txBody>
      </p:sp>
      <p:sp>
        <p:nvSpPr>
          <p:cNvPr id="18" name="Text Placeholder 15">
            <a:extLst>
              <a:ext uri="{FF2B5EF4-FFF2-40B4-BE49-F238E27FC236}">
                <a16:creationId xmlns:a16="http://schemas.microsoft.com/office/drawing/2014/main" id="{1D0056BF-8338-45CD-B076-376EEDBD46F3}"/>
              </a:ext>
            </a:extLst>
          </p:cNvPr>
          <p:cNvSpPr>
            <a:spLocks noGrp="1"/>
          </p:cNvSpPr>
          <p:nvPr>
            <p:ph type="body" sz="quarter" idx="12" hasCustomPrompt="1"/>
          </p:nvPr>
        </p:nvSpPr>
        <p:spPr>
          <a:xfrm>
            <a:off x="2863618"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22" name="Text Placeholder 15">
            <a:extLst>
              <a:ext uri="{FF2B5EF4-FFF2-40B4-BE49-F238E27FC236}">
                <a16:creationId xmlns:a16="http://schemas.microsoft.com/office/drawing/2014/main" id="{F0586C2F-544F-4BF1-A61B-F8013D680B73}"/>
              </a:ext>
            </a:extLst>
          </p:cNvPr>
          <p:cNvSpPr>
            <a:spLocks noGrp="1"/>
          </p:cNvSpPr>
          <p:nvPr>
            <p:ph type="body" sz="quarter" idx="13" hasCustomPrompt="1"/>
          </p:nvPr>
        </p:nvSpPr>
        <p:spPr>
          <a:xfrm>
            <a:off x="6313720" y="4800600"/>
            <a:ext cx="3014662" cy="457200"/>
          </a:xfrm>
        </p:spPr>
        <p:txBody>
          <a:bodyPr/>
          <a:lstStyle>
            <a:lvl1pPr marL="0" indent="0" algn="ctr">
              <a:buFontTx/>
              <a:buNone/>
              <a:defRPr b="1"/>
            </a:lvl1pPr>
          </a:lstStyle>
          <a:p>
            <a:pPr lvl="0"/>
            <a:r>
              <a:rPr lang="en-US"/>
              <a:t>Name</a:t>
            </a:r>
          </a:p>
          <a:p>
            <a:pPr lvl="0"/>
            <a:endParaRPr lang="en-US"/>
          </a:p>
        </p:txBody>
      </p:sp>
      <p:sp>
        <p:nvSpPr>
          <p:cNvPr id="23" name="Text Placeholder 15">
            <a:extLst>
              <a:ext uri="{FF2B5EF4-FFF2-40B4-BE49-F238E27FC236}">
                <a16:creationId xmlns:a16="http://schemas.microsoft.com/office/drawing/2014/main" id="{AB0A737E-927A-4B0D-9099-B124AAF93530}"/>
              </a:ext>
            </a:extLst>
          </p:cNvPr>
          <p:cNvSpPr>
            <a:spLocks noGrp="1"/>
          </p:cNvSpPr>
          <p:nvPr>
            <p:ph type="body" sz="quarter" idx="14" hasCustomPrompt="1"/>
          </p:nvPr>
        </p:nvSpPr>
        <p:spPr>
          <a:xfrm>
            <a:off x="6313720" y="5317213"/>
            <a:ext cx="3014662" cy="740687"/>
          </a:xfrm>
        </p:spPr>
        <p:txBody>
          <a:bodyPr/>
          <a:lstStyle>
            <a:lvl1pPr marL="0" indent="0" algn="ctr">
              <a:spcBef>
                <a:spcPts val="0"/>
              </a:spcBef>
              <a:buFontTx/>
              <a:buNone/>
              <a:defRPr sz="1800" b="0"/>
            </a:lvl1pPr>
          </a:lstStyle>
          <a:p>
            <a:pPr lvl="0"/>
            <a:r>
              <a:rPr lang="en-US"/>
              <a:t>email@ecgmc.com</a:t>
            </a:r>
          </a:p>
          <a:p>
            <a:pPr lvl="0"/>
            <a:r>
              <a:rPr lang="en-US"/>
              <a:t>xxx-xxx-</a:t>
            </a:r>
            <a:r>
              <a:rPr lang="en-US" err="1"/>
              <a:t>xxxx</a:t>
            </a:r>
            <a:endParaRPr lang="en-US"/>
          </a:p>
          <a:p>
            <a:pPr lvl="0"/>
            <a:endParaRPr lang="en-US"/>
          </a:p>
        </p:txBody>
      </p:sp>
      <p:sp>
        <p:nvSpPr>
          <p:cNvPr id="3" name="Footer Placeholder 1">
            <a:extLst>
              <a:ext uri="{FF2B5EF4-FFF2-40B4-BE49-F238E27FC236}">
                <a16:creationId xmlns:a16="http://schemas.microsoft.com/office/drawing/2014/main" id="{0A306CEA-3184-F441-C591-06FC02087DC3}"/>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243341886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89320"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3"/>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89320"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a:t>1190.004\683618(pptx)-E2 8-5-24</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172140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grpSp>
        <p:nvGrpSpPr>
          <p:cNvPr id="526" name="Group 525"/>
          <p:cNvGrpSpPr/>
          <p:nvPr/>
        </p:nvGrpSpPr>
        <p:grpSpPr>
          <a:xfrm>
            <a:off x="0" y="420256"/>
            <a:ext cx="12188952" cy="3795497"/>
            <a:chOff x="0" y="420256"/>
            <a:chExt cx="12188952" cy="3795497"/>
          </a:xfrm>
        </p:grpSpPr>
        <p:cxnSp>
          <p:nvCxnSpPr>
            <p:cNvPr id="527" name="Straight Connector 526"/>
            <p:cNvCxnSpPr/>
            <p:nvPr/>
          </p:nvCxnSpPr>
          <p:spPr>
            <a:xfrm>
              <a:off x="0" y="4215753"/>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0" y="379403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a:off x="0" y="337231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p:cNvCxnSpPr/>
            <p:nvPr/>
          </p:nvCxnSpPr>
          <p:spPr>
            <a:xfrm>
              <a:off x="0" y="295058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p:nvPr/>
          </p:nvCxnSpPr>
          <p:spPr>
            <a:xfrm>
              <a:off x="0" y="252886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p:nvPr/>
          </p:nvCxnSpPr>
          <p:spPr>
            <a:xfrm>
              <a:off x="0" y="2107144"/>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p:cNvCxnSpPr/>
            <p:nvPr/>
          </p:nvCxnSpPr>
          <p:spPr>
            <a:xfrm>
              <a:off x="0" y="168542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p:cNvCxnSpPr/>
            <p:nvPr/>
          </p:nvCxnSpPr>
          <p:spPr>
            <a:xfrm>
              <a:off x="0" y="126370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p:nvPr/>
          </p:nvCxnSpPr>
          <p:spPr>
            <a:xfrm>
              <a:off x="0" y="84197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p:cNvCxnSpPr/>
            <p:nvPr/>
          </p:nvCxnSpPr>
          <p:spPr>
            <a:xfrm>
              <a:off x="0" y="42025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37" name="Rectangle 379"/>
          <p:cNvSpPr/>
          <p:nvPr/>
        </p:nvSpPr>
        <p:spPr>
          <a:xfrm rot="18900000" flipV="1">
            <a:off x="9445819" y="-965459"/>
            <a:ext cx="13717" cy="6493220"/>
          </a:xfrm>
          <a:custGeom>
            <a:avLst/>
            <a:gdLst/>
            <a:ahLst/>
            <a:cxnLst/>
            <a:rect l="l" t="t" r="r" b="b"/>
            <a:pathLst>
              <a:path w="13717" h="6493220">
                <a:moveTo>
                  <a:pt x="1" y="6493220"/>
                </a:moveTo>
                <a:lnTo>
                  <a:pt x="13717"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8" name="Rectangle 56"/>
          <p:cNvSpPr/>
          <p:nvPr/>
        </p:nvSpPr>
        <p:spPr>
          <a:xfrm>
            <a:off x="0" y="0"/>
            <a:ext cx="11816540" cy="4572004"/>
          </a:xfrm>
          <a:custGeom>
            <a:avLst/>
            <a:gdLst/>
            <a:ahLst/>
            <a:cxnLst/>
            <a:rect l="l" t="t" r="r" b="b"/>
            <a:pathLst>
              <a:path w="11816540" h="4572004">
                <a:moveTo>
                  <a:pt x="11802824" y="4"/>
                </a:moveTo>
                <a:lnTo>
                  <a:pt x="11816540" y="4"/>
                </a:lnTo>
                <a:lnTo>
                  <a:pt x="11816540" y="4572004"/>
                </a:lnTo>
                <a:lnTo>
                  <a:pt x="11802824" y="4572004"/>
                </a:lnTo>
                <a:close/>
                <a:moveTo>
                  <a:pt x="5901406" y="4"/>
                </a:moveTo>
                <a:lnTo>
                  <a:pt x="5915122" y="4"/>
                </a:lnTo>
                <a:lnTo>
                  <a:pt x="5915122" y="4572004"/>
                </a:lnTo>
                <a:lnTo>
                  <a:pt x="5901406" y="4572004"/>
                </a:lnTo>
                <a:close/>
                <a:moveTo>
                  <a:pt x="10959754" y="3"/>
                </a:moveTo>
                <a:lnTo>
                  <a:pt x="10973470" y="3"/>
                </a:lnTo>
                <a:lnTo>
                  <a:pt x="10973470" y="4572003"/>
                </a:lnTo>
                <a:lnTo>
                  <a:pt x="10959754" y="4572003"/>
                </a:lnTo>
                <a:close/>
                <a:moveTo>
                  <a:pt x="5058348" y="3"/>
                </a:moveTo>
                <a:lnTo>
                  <a:pt x="5072064" y="3"/>
                </a:lnTo>
                <a:lnTo>
                  <a:pt x="5072064" y="4572003"/>
                </a:lnTo>
                <a:lnTo>
                  <a:pt x="5058348" y="4572003"/>
                </a:lnTo>
                <a:close/>
                <a:moveTo>
                  <a:pt x="11381283" y="2"/>
                </a:moveTo>
                <a:lnTo>
                  <a:pt x="11394999" y="2"/>
                </a:lnTo>
                <a:lnTo>
                  <a:pt x="11394999" y="4572002"/>
                </a:lnTo>
                <a:lnTo>
                  <a:pt x="11381283" y="4572002"/>
                </a:lnTo>
                <a:close/>
                <a:moveTo>
                  <a:pt x="10538225" y="2"/>
                </a:moveTo>
                <a:lnTo>
                  <a:pt x="10551941" y="2"/>
                </a:lnTo>
                <a:lnTo>
                  <a:pt x="10551941" y="4572002"/>
                </a:lnTo>
                <a:lnTo>
                  <a:pt x="10538225" y="4572002"/>
                </a:lnTo>
                <a:close/>
                <a:moveTo>
                  <a:pt x="10116696" y="2"/>
                </a:moveTo>
                <a:lnTo>
                  <a:pt x="10130412" y="2"/>
                </a:lnTo>
                <a:lnTo>
                  <a:pt x="10130412" y="4572002"/>
                </a:lnTo>
                <a:lnTo>
                  <a:pt x="10116696" y="4572002"/>
                </a:lnTo>
                <a:close/>
                <a:moveTo>
                  <a:pt x="6322935" y="2"/>
                </a:moveTo>
                <a:lnTo>
                  <a:pt x="6336651" y="2"/>
                </a:lnTo>
                <a:lnTo>
                  <a:pt x="6336651" y="4572002"/>
                </a:lnTo>
                <a:lnTo>
                  <a:pt x="6322935" y="4572002"/>
                </a:lnTo>
                <a:close/>
                <a:moveTo>
                  <a:pt x="5479877" y="2"/>
                </a:moveTo>
                <a:lnTo>
                  <a:pt x="5493593" y="2"/>
                </a:lnTo>
                <a:lnTo>
                  <a:pt x="5493593" y="4572002"/>
                </a:lnTo>
                <a:lnTo>
                  <a:pt x="5479877" y="4572002"/>
                </a:lnTo>
                <a:close/>
                <a:moveTo>
                  <a:pt x="4636819" y="2"/>
                </a:moveTo>
                <a:lnTo>
                  <a:pt x="4650535" y="2"/>
                </a:lnTo>
                <a:lnTo>
                  <a:pt x="4650535" y="4572002"/>
                </a:lnTo>
                <a:lnTo>
                  <a:pt x="4636819" y="4572002"/>
                </a:lnTo>
                <a:close/>
                <a:moveTo>
                  <a:pt x="4215290" y="2"/>
                </a:moveTo>
                <a:lnTo>
                  <a:pt x="4229006" y="2"/>
                </a:lnTo>
                <a:lnTo>
                  <a:pt x="4229006" y="4572002"/>
                </a:lnTo>
                <a:lnTo>
                  <a:pt x="4215290" y="4572002"/>
                </a:lnTo>
                <a:close/>
                <a:moveTo>
                  <a:pt x="421529" y="2"/>
                </a:moveTo>
                <a:lnTo>
                  <a:pt x="435245" y="2"/>
                </a:lnTo>
                <a:lnTo>
                  <a:pt x="435245" y="4572002"/>
                </a:lnTo>
                <a:lnTo>
                  <a:pt x="421529" y="4572002"/>
                </a:lnTo>
                <a:close/>
                <a:moveTo>
                  <a:pt x="0" y="2"/>
                </a:moveTo>
                <a:lnTo>
                  <a:pt x="13716" y="2"/>
                </a:lnTo>
                <a:lnTo>
                  <a:pt x="13716" y="4572002"/>
                </a:lnTo>
                <a:lnTo>
                  <a:pt x="0" y="4572002"/>
                </a:lnTo>
                <a:close/>
                <a:moveTo>
                  <a:pt x="9273638" y="1"/>
                </a:moveTo>
                <a:lnTo>
                  <a:pt x="9287354" y="1"/>
                </a:lnTo>
                <a:lnTo>
                  <a:pt x="9287354" y="4572001"/>
                </a:lnTo>
                <a:lnTo>
                  <a:pt x="9273638" y="4572001"/>
                </a:lnTo>
                <a:close/>
                <a:moveTo>
                  <a:pt x="3372232" y="1"/>
                </a:moveTo>
                <a:lnTo>
                  <a:pt x="3385948" y="1"/>
                </a:lnTo>
                <a:lnTo>
                  <a:pt x="3385948" y="4572001"/>
                </a:lnTo>
                <a:lnTo>
                  <a:pt x="3372232" y="4572001"/>
                </a:lnTo>
                <a:close/>
                <a:moveTo>
                  <a:pt x="9695167" y="0"/>
                </a:moveTo>
                <a:lnTo>
                  <a:pt x="9708883" y="0"/>
                </a:lnTo>
                <a:lnTo>
                  <a:pt x="9708883" y="4572000"/>
                </a:lnTo>
                <a:lnTo>
                  <a:pt x="9695167" y="4572000"/>
                </a:lnTo>
                <a:close/>
                <a:moveTo>
                  <a:pt x="8852109" y="0"/>
                </a:moveTo>
                <a:lnTo>
                  <a:pt x="8865825" y="0"/>
                </a:lnTo>
                <a:lnTo>
                  <a:pt x="8865825" y="4572000"/>
                </a:lnTo>
                <a:lnTo>
                  <a:pt x="8852109" y="4572000"/>
                </a:lnTo>
                <a:close/>
                <a:moveTo>
                  <a:pt x="8430580" y="0"/>
                </a:moveTo>
                <a:lnTo>
                  <a:pt x="8444296" y="0"/>
                </a:lnTo>
                <a:lnTo>
                  <a:pt x="8444296" y="4572000"/>
                </a:lnTo>
                <a:lnTo>
                  <a:pt x="8430580" y="4572000"/>
                </a:lnTo>
                <a:close/>
                <a:moveTo>
                  <a:pt x="8009051" y="0"/>
                </a:moveTo>
                <a:lnTo>
                  <a:pt x="8022767" y="0"/>
                </a:lnTo>
                <a:lnTo>
                  <a:pt x="8022767" y="4572000"/>
                </a:lnTo>
                <a:lnTo>
                  <a:pt x="8009051" y="4572000"/>
                </a:lnTo>
                <a:close/>
                <a:moveTo>
                  <a:pt x="7587522" y="0"/>
                </a:moveTo>
                <a:lnTo>
                  <a:pt x="7601238" y="0"/>
                </a:lnTo>
                <a:lnTo>
                  <a:pt x="7601238" y="4572000"/>
                </a:lnTo>
                <a:lnTo>
                  <a:pt x="7587522" y="4572000"/>
                </a:lnTo>
                <a:close/>
                <a:moveTo>
                  <a:pt x="7165993" y="0"/>
                </a:moveTo>
                <a:lnTo>
                  <a:pt x="7179709" y="0"/>
                </a:lnTo>
                <a:lnTo>
                  <a:pt x="7179709" y="4572000"/>
                </a:lnTo>
                <a:lnTo>
                  <a:pt x="7165993" y="4572000"/>
                </a:lnTo>
                <a:close/>
                <a:moveTo>
                  <a:pt x="6744464" y="0"/>
                </a:moveTo>
                <a:lnTo>
                  <a:pt x="6758180" y="0"/>
                </a:lnTo>
                <a:lnTo>
                  <a:pt x="6758180" y="4572000"/>
                </a:lnTo>
                <a:lnTo>
                  <a:pt x="6744464" y="4572000"/>
                </a:lnTo>
                <a:close/>
                <a:moveTo>
                  <a:pt x="3793761" y="0"/>
                </a:moveTo>
                <a:lnTo>
                  <a:pt x="3807477" y="0"/>
                </a:lnTo>
                <a:lnTo>
                  <a:pt x="3807477" y="4572000"/>
                </a:lnTo>
                <a:lnTo>
                  <a:pt x="3793761" y="4572000"/>
                </a:lnTo>
                <a:close/>
                <a:moveTo>
                  <a:pt x="2950703" y="0"/>
                </a:moveTo>
                <a:lnTo>
                  <a:pt x="2964419" y="0"/>
                </a:lnTo>
                <a:lnTo>
                  <a:pt x="2964419" y="4572000"/>
                </a:lnTo>
                <a:lnTo>
                  <a:pt x="2950703" y="4572000"/>
                </a:lnTo>
                <a:close/>
                <a:moveTo>
                  <a:pt x="2529174" y="0"/>
                </a:moveTo>
                <a:lnTo>
                  <a:pt x="2542890" y="0"/>
                </a:lnTo>
                <a:lnTo>
                  <a:pt x="2542890" y="4572000"/>
                </a:lnTo>
                <a:lnTo>
                  <a:pt x="2529174" y="4572000"/>
                </a:lnTo>
                <a:close/>
                <a:moveTo>
                  <a:pt x="2107645" y="0"/>
                </a:moveTo>
                <a:lnTo>
                  <a:pt x="2121361" y="0"/>
                </a:lnTo>
                <a:lnTo>
                  <a:pt x="2121361" y="4572000"/>
                </a:lnTo>
                <a:lnTo>
                  <a:pt x="2107645" y="4572000"/>
                </a:lnTo>
                <a:close/>
                <a:moveTo>
                  <a:pt x="1686116" y="0"/>
                </a:moveTo>
                <a:lnTo>
                  <a:pt x="1699832" y="0"/>
                </a:lnTo>
                <a:lnTo>
                  <a:pt x="1699832" y="4572000"/>
                </a:lnTo>
                <a:lnTo>
                  <a:pt x="1686116" y="4572000"/>
                </a:lnTo>
                <a:close/>
                <a:moveTo>
                  <a:pt x="1264587" y="0"/>
                </a:moveTo>
                <a:lnTo>
                  <a:pt x="1278303" y="0"/>
                </a:lnTo>
                <a:lnTo>
                  <a:pt x="1278303" y="4572000"/>
                </a:lnTo>
                <a:lnTo>
                  <a:pt x="1264587" y="4572000"/>
                </a:lnTo>
                <a:close/>
                <a:moveTo>
                  <a:pt x="843058" y="0"/>
                </a:moveTo>
                <a:lnTo>
                  <a:pt x="856774" y="0"/>
                </a:lnTo>
                <a:lnTo>
                  <a:pt x="856774" y="4572000"/>
                </a:lnTo>
                <a:lnTo>
                  <a:pt x="843058" y="457200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9" name="Rectangle 87"/>
          <p:cNvSpPr/>
          <p:nvPr/>
        </p:nvSpPr>
        <p:spPr>
          <a:xfrm rot="2700000">
            <a:off x="2311242" y="-967047"/>
            <a:ext cx="13716" cy="6570294"/>
          </a:xfrm>
          <a:custGeom>
            <a:avLst/>
            <a:gdLst/>
            <a:ahLst/>
            <a:cxnLst/>
            <a:rect l="l" t="t" r="r" b="b"/>
            <a:pathLst>
              <a:path w="13716" h="6570294">
                <a:moveTo>
                  <a:pt x="0" y="6556578"/>
                </a:moveTo>
                <a:lnTo>
                  <a:pt x="13716" y="6570294"/>
                </a:lnTo>
                <a:lnTo>
                  <a:pt x="13716" y="6570294"/>
                </a:lnTo>
                <a:lnTo>
                  <a:pt x="0" y="6556578"/>
                </a:lnTo>
                <a:close/>
                <a:moveTo>
                  <a:pt x="0" y="13716"/>
                </a:moveTo>
                <a:lnTo>
                  <a:pt x="13716" y="0"/>
                </a:lnTo>
                <a:lnTo>
                  <a:pt x="13716" y="6465786"/>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0" name="Rectangle 88"/>
          <p:cNvSpPr/>
          <p:nvPr/>
        </p:nvSpPr>
        <p:spPr>
          <a:xfrm rot="2700000">
            <a:off x="3186527" y="-953751"/>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1" name="Rectangle 89"/>
          <p:cNvSpPr/>
          <p:nvPr/>
        </p:nvSpPr>
        <p:spPr>
          <a:xfrm rot="2700000">
            <a:off x="4029713" y="-953750"/>
            <a:ext cx="13716" cy="6479503"/>
          </a:xfrm>
          <a:custGeom>
            <a:avLst/>
            <a:gdLst/>
            <a:ahLst/>
            <a:cxnLst/>
            <a:rect l="l" t="t" r="r" b="b"/>
            <a:pathLst>
              <a:path w="13716" h="6479503">
                <a:moveTo>
                  <a:pt x="0" y="13716"/>
                </a:moveTo>
                <a:lnTo>
                  <a:pt x="13716" y="0"/>
                </a:lnTo>
                <a:lnTo>
                  <a:pt x="13716" y="6465787"/>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2" name="Rectangle 90"/>
          <p:cNvSpPr/>
          <p:nvPr/>
        </p:nvSpPr>
        <p:spPr>
          <a:xfrm rot="2700000">
            <a:off x="4872899" y="-953750"/>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3" name="Rectangle 91"/>
          <p:cNvSpPr/>
          <p:nvPr/>
        </p:nvSpPr>
        <p:spPr>
          <a:xfrm rot="2700000">
            <a:off x="5716086" y="-953749"/>
            <a:ext cx="13716" cy="6479501"/>
          </a:xfrm>
          <a:custGeom>
            <a:avLst/>
            <a:gdLst/>
            <a:ahLst/>
            <a:cxnLst/>
            <a:rect l="l" t="t" r="r" b="b"/>
            <a:pathLst>
              <a:path w="13716" h="6479501">
                <a:moveTo>
                  <a:pt x="0" y="13716"/>
                </a:moveTo>
                <a:lnTo>
                  <a:pt x="13716" y="0"/>
                </a:lnTo>
                <a:lnTo>
                  <a:pt x="13716" y="6465785"/>
                </a:lnTo>
                <a:lnTo>
                  <a:pt x="0" y="647950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4" name="Rectangle 92"/>
          <p:cNvSpPr/>
          <p:nvPr/>
        </p:nvSpPr>
        <p:spPr>
          <a:xfrm rot="2700000">
            <a:off x="6559272"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5" name="Rectangle 93"/>
          <p:cNvSpPr/>
          <p:nvPr/>
        </p:nvSpPr>
        <p:spPr>
          <a:xfrm rot="2700000">
            <a:off x="7402457" y="-944051"/>
            <a:ext cx="13717" cy="6479502"/>
          </a:xfrm>
          <a:custGeom>
            <a:avLst/>
            <a:gdLst/>
            <a:ahLst/>
            <a:cxnLst/>
            <a:rect l="l" t="t" r="r" b="b"/>
            <a:pathLst>
              <a:path w="13717" h="6479502">
                <a:moveTo>
                  <a:pt x="0" y="13716"/>
                </a:moveTo>
                <a:lnTo>
                  <a:pt x="13717" y="0"/>
                </a:lnTo>
                <a:lnTo>
                  <a:pt x="13716" y="6465787"/>
                </a:lnTo>
                <a:lnTo>
                  <a:pt x="1"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6" name="Rectangle 94"/>
          <p:cNvSpPr/>
          <p:nvPr/>
        </p:nvSpPr>
        <p:spPr>
          <a:xfrm rot="2700000">
            <a:off x="8245644"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7" name="Rectangle 95"/>
          <p:cNvSpPr/>
          <p:nvPr/>
        </p:nvSpPr>
        <p:spPr>
          <a:xfrm rot="2700000">
            <a:off x="9088831" y="-953750"/>
            <a:ext cx="13717" cy="6479503"/>
          </a:xfrm>
          <a:custGeom>
            <a:avLst/>
            <a:gdLst/>
            <a:ahLst/>
            <a:cxnLst/>
            <a:rect l="l" t="t" r="r" b="b"/>
            <a:pathLst>
              <a:path w="13717" h="6479503">
                <a:moveTo>
                  <a:pt x="13717" y="0"/>
                </a:moveTo>
                <a:lnTo>
                  <a:pt x="13716" y="6465787"/>
                </a:lnTo>
                <a:lnTo>
                  <a:pt x="0" y="6479503"/>
                </a:lnTo>
                <a:lnTo>
                  <a:pt x="1" y="1371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8" name="Rectangle 96"/>
          <p:cNvSpPr/>
          <p:nvPr/>
        </p:nvSpPr>
        <p:spPr>
          <a:xfrm rot="2700000">
            <a:off x="9912896" y="-907596"/>
            <a:ext cx="13716" cy="6425429"/>
          </a:xfrm>
          <a:custGeom>
            <a:avLst/>
            <a:gdLst/>
            <a:ahLst/>
            <a:cxnLst/>
            <a:rect l="l" t="t" r="r" b="b"/>
            <a:pathLst>
              <a:path w="13716" h="6425429">
                <a:moveTo>
                  <a:pt x="0" y="0"/>
                </a:moveTo>
                <a:lnTo>
                  <a:pt x="13716" y="13717"/>
                </a:lnTo>
                <a:lnTo>
                  <a:pt x="13716" y="6411713"/>
                </a:lnTo>
                <a:lnTo>
                  <a:pt x="0" y="642542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9" name="Rectangle 97"/>
          <p:cNvSpPr/>
          <p:nvPr/>
        </p:nvSpPr>
        <p:spPr>
          <a:xfrm rot="2700000">
            <a:off x="10334491" y="110221"/>
            <a:ext cx="13717" cy="5232981"/>
          </a:xfrm>
          <a:custGeom>
            <a:avLst/>
            <a:gdLst/>
            <a:ahLst/>
            <a:cxnLst/>
            <a:rect l="l" t="t" r="r" b="b"/>
            <a:pathLst>
              <a:path w="13717" h="5232981">
                <a:moveTo>
                  <a:pt x="0" y="0"/>
                </a:moveTo>
                <a:lnTo>
                  <a:pt x="13717" y="13716"/>
                </a:lnTo>
                <a:lnTo>
                  <a:pt x="13717" y="5219264"/>
                </a:lnTo>
                <a:lnTo>
                  <a:pt x="1" y="523298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0" name="Rectangle 98"/>
          <p:cNvSpPr/>
          <p:nvPr/>
        </p:nvSpPr>
        <p:spPr>
          <a:xfrm rot="2700000">
            <a:off x="10756084" y="1128037"/>
            <a:ext cx="13716" cy="4040537"/>
          </a:xfrm>
          <a:custGeom>
            <a:avLst/>
            <a:gdLst/>
            <a:ahLst/>
            <a:cxnLst/>
            <a:rect l="l" t="t" r="r" b="b"/>
            <a:pathLst>
              <a:path w="13716" h="4040537">
                <a:moveTo>
                  <a:pt x="0" y="0"/>
                </a:moveTo>
                <a:lnTo>
                  <a:pt x="13716" y="13716"/>
                </a:lnTo>
                <a:lnTo>
                  <a:pt x="13715" y="4026822"/>
                </a:lnTo>
                <a:lnTo>
                  <a:pt x="1" y="404053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1" name="Rectangle 99"/>
          <p:cNvSpPr/>
          <p:nvPr/>
        </p:nvSpPr>
        <p:spPr>
          <a:xfrm rot="2700000">
            <a:off x="11177678" y="2145853"/>
            <a:ext cx="13716" cy="2848091"/>
          </a:xfrm>
          <a:custGeom>
            <a:avLst/>
            <a:gdLst/>
            <a:ahLst/>
            <a:cxnLst/>
            <a:rect l="l" t="t" r="r" b="b"/>
            <a:pathLst>
              <a:path w="13716" h="2848091">
                <a:moveTo>
                  <a:pt x="0" y="0"/>
                </a:moveTo>
                <a:lnTo>
                  <a:pt x="13716" y="13716"/>
                </a:lnTo>
                <a:lnTo>
                  <a:pt x="13715" y="2834375"/>
                </a:lnTo>
                <a:lnTo>
                  <a:pt x="0" y="284809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2" name="Rectangle 100"/>
          <p:cNvSpPr/>
          <p:nvPr/>
        </p:nvSpPr>
        <p:spPr>
          <a:xfrm rot="2700000">
            <a:off x="11599272" y="3163669"/>
            <a:ext cx="13715" cy="1655644"/>
          </a:xfrm>
          <a:custGeom>
            <a:avLst/>
            <a:gdLst/>
            <a:ahLst/>
            <a:cxnLst/>
            <a:rect l="l" t="t" r="r" b="b"/>
            <a:pathLst>
              <a:path w="13715" h="1655644">
                <a:moveTo>
                  <a:pt x="0" y="0"/>
                </a:moveTo>
                <a:lnTo>
                  <a:pt x="13715" y="13716"/>
                </a:lnTo>
                <a:lnTo>
                  <a:pt x="13715" y="1641929"/>
                </a:lnTo>
                <a:lnTo>
                  <a:pt x="0" y="165564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3" name="Rectangle 101"/>
          <p:cNvSpPr/>
          <p:nvPr/>
        </p:nvSpPr>
        <p:spPr>
          <a:xfrm rot="2700000">
            <a:off x="12020868" y="4181493"/>
            <a:ext cx="13715" cy="463189"/>
          </a:xfrm>
          <a:custGeom>
            <a:avLst/>
            <a:gdLst/>
            <a:ahLst/>
            <a:cxnLst/>
            <a:rect l="l" t="t" r="r" b="b"/>
            <a:pathLst>
              <a:path w="13715" h="463189">
                <a:moveTo>
                  <a:pt x="1" y="0"/>
                </a:moveTo>
                <a:lnTo>
                  <a:pt x="13715" y="13716"/>
                </a:lnTo>
                <a:lnTo>
                  <a:pt x="13715" y="449474"/>
                </a:lnTo>
                <a:lnTo>
                  <a:pt x="0" y="46318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4" name="Rectangle 102"/>
          <p:cNvSpPr/>
          <p:nvPr/>
        </p:nvSpPr>
        <p:spPr>
          <a:xfrm rot="2700000">
            <a:off x="203277" y="-93899"/>
            <a:ext cx="13716" cy="608068"/>
          </a:xfrm>
          <a:custGeom>
            <a:avLst/>
            <a:gdLst/>
            <a:ahLst/>
            <a:cxnLst/>
            <a:rect l="l" t="t" r="r" b="b"/>
            <a:pathLst>
              <a:path w="13716" h="608068">
                <a:moveTo>
                  <a:pt x="0" y="13716"/>
                </a:moveTo>
                <a:lnTo>
                  <a:pt x="13716" y="0"/>
                </a:lnTo>
                <a:lnTo>
                  <a:pt x="13716" y="608068"/>
                </a:lnTo>
                <a:lnTo>
                  <a:pt x="0" y="59435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5" name="Rectangle 103"/>
          <p:cNvSpPr/>
          <p:nvPr/>
        </p:nvSpPr>
        <p:spPr>
          <a:xfrm rot="2700000">
            <a:off x="624870" y="-268529"/>
            <a:ext cx="13716" cy="1800514"/>
          </a:xfrm>
          <a:custGeom>
            <a:avLst/>
            <a:gdLst/>
            <a:ahLst/>
            <a:cxnLst/>
            <a:rect l="l" t="t" r="r" b="b"/>
            <a:pathLst>
              <a:path w="13716" h="1800514">
                <a:moveTo>
                  <a:pt x="0" y="13716"/>
                </a:moveTo>
                <a:lnTo>
                  <a:pt x="13716" y="0"/>
                </a:lnTo>
                <a:lnTo>
                  <a:pt x="13716" y="1800514"/>
                </a:lnTo>
                <a:lnTo>
                  <a:pt x="0" y="17867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6" name="Rectangle 104"/>
          <p:cNvSpPr/>
          <p:nvPr/>
        </p:nvSpPr>
        <p:spPr>
          <a:xfrm rot="2700000">
            <a:off x="1046463" y="-443158"/>
            <a:ext cx="13716" cy="2992958"/>
          </a:xfrm>
          <a:custGeom>
            <a:avLst/>
            <a:gdLst/>
            <a:ahLst/>
            <a:cxnLst/>
            <a:rect l="l" t="t" r="r" b="b"/>
            <a:pathLst>
              <a:path w="13716" h="2992958">
                <a:moveTo>
                  <a:pt x="0" y="13716"/>
                </a:moveTo>
                <a:lnTo>
                  <a:pt x="13716" y="0"/>
                </a:lnTo>
                <a:lnTo>
                  <a:pt x="13716" y="2992958"/>
                </a:lnTo>
                <a:lnTo>
                  <a:pt x="0" y="297924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7" name="Rectangle 105"/>
          <p:cNvSpPr/>
          <p:nvPr/>
        </p:nvSpPr>
        <p:spPr>
          <a:xfrm rot="2700000">
            <a:off x="1468056" y="-617788"/>
            <a:ext cx="13716" cy="4185404"/>
          </a:xfrm>
          <a:custGeom>
            <a:avLst/>
            <a:gdLst/>
            <a:ahLst/>
            <a:cxnLst/>
            <a:rect l="l" t="t" r="r" b="b"/>
            <a:pathLst>
              <a:path w="13716" h="4185404">
                <a:moveTo>
                  <a:pt x="0" y="13716"/>
                </a:moveTo>
                <a:lnTo>
                  <a:pt x="13716" y="0"/>
                </a:lnTo>
                <a:lnTo>
                  <a:pt x="13716" y="4185404"/>
                </a:lnTo>
                <a:lnTo>
                  <a:pt x="0" y="417168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8" name="Rectangle 106"/>
          <p:cNvSpPr/>
          <p:nvPr/>
        </p:nvSpPr>
        <p:spPr>
          <a:xfrm rot="2700000">
            <a:off x="1889649" y="-792416"/>
            <a:ext cx="13716" cy="5377849"/>
          </a:xfrm>
          <a:custGeom>
            <a:avLst/>
            <a:gdLst/>
            <a:ahLst/>
            <a:cxnLst/>
            <a:rect l="l" t="t" r="r" b="b"/>
            <a:pathLst>
              <a:path w="13716" h="5377849">
                <a:moveTo>
                  <a:pt x="0" y="13716"/>
                </a:moveTo>
                <a:lnTo>
                  <a:pt x="13716" y="0"/>
                </a:lnTo>
                <a:lnTo>
                  <a:pt x="13716" y="5377849"/>
                </a:lnTo>
                <a:lnTo>
                  <a:pt x="0" y="536413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9" name="Rectangle 148"/>
          <p:cNvSpPr/>
          <p:nvPr/>
        </p:nvSpPr>
        <p:spPr>
          <a:xfrm rot="18900000" flipV="1">
            <a:off x="2070569" y="-450209"/>
            <a:ext cx="13716" cy="5889566"/>
          </a:xfrm>
          <a:custGeom>
            <a:avLst/>
            <a:gdLst/>
            <a:ahLst/>
            <a:cxnLst/>
            <a:rect l="l" t="t" r="r" b="b"/>
            <a:pathLst>
              <a:path w="13716" h="5889566">
                <a:moveTo>
                  <a:pt x="13716" y="5889566"/>
                </a:moveTo>
                <a:lnTo>
                  <a:pt x="13716" y="0"/>
                </a:lnTo>
                <a:lnTo>
                  <a:pt x="0" y="13716"/>
                </a:lnTo>
                <a:lnTo>
                  <a:pt x="0" y="587585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0" name="Rectangle 323"/>
          <p:cNvSpPr/>
          <p:nvPr/>
        </p:nvSpPr>
        <p:spPr>
          <a:xfrm rot="18900000" flipV="1">
            <a:off x="1648976" y="567610"/>
            <a:ext cx="13716" cy="4697119"/>
          </a:xfrm>
          <a:custGeom>
            <a:avLst/>
            <a:gdLst/>
            <a:ahLst/>
            <a:cxnLst/>
            <a:rect l="l" t="t" r="r" b="b"/>
            <a:pathLst>
              <a:path w="13716" h="4697119">
                <a:moveTo>
                  <a:pt x="13716" y="4697119"/>
                </a:moveTo>
                <a:lnTo>
                  <a:pt x="13716" y="0"/>
                </a:lnTo>
                <a:lnTo>
                  <a:pt x="0" y="13716"/>
                </a:lnTo>
                <a:lnTo>
                  <a:pt x="0" y="46834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1" name="Rectangle 324"/>
          <p:cNvSpPr/>
          <p:nvPr/>
        </p:nvSpPr>
        <p:spPr>
          <a:xfrm rot="18900000" flipV="1">
            <a:off x="1227383" y="1585424"/>
            <a:ext cx="13716" cy="3504674"/>
          </a:xfrm>
          <a:custGeom>
            <a:avLst/>
            <a:gdLst/>
            <a:ahLst/>
            <a:cxnLst/>
            <a:rect l="l" t="t" r="r" b="b"/>
            <a:pathLst>
              <a:path w="13716" h="3504674">
                <a:moveTo>
                  <a:pt x="13716" y="3504674"/>
                </a:moveTo>
                <a:lnTo>
                  <a:pt x="13716" y="0"/>
                </a:lnTo>
                <a:lnTo>
                  <a:pt x="0" y="13716"/>
                </a:lnTo>
                <a:lnTo>
                  <a:pt x="0" y="349095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2" name="Rectangle 325"/>
          <p:cNvSpPr/>
          <p:nvPr/>
        </p:nvSpPr>
        <p:spPr>
          <a:xfrm rot="18900000" flipV="1">
            <a:off x="805790" y="2603242"/>
            <a:ext cx="13716" cy="2312226"/>
          </a:xfrm>
          <a:custGeom>
            <a:avLst/>
            <a:gdLst/>
            <a:ahLst/>
            <a:cxnLst/>
            <a:rect l="l" t="t" r="r" b="b"/>
            <a:pathLst>
              <a:path w="13716" h="2312226">
                <a:moveTo>
                  <a:pt x="13716" y="2312226"/>
                </a:moveTo>
                <a:lnTo>
                  <a:pt x="13716" y="0"/>
                </a:lnTo>
                <a:lnTo>
                  <a:pt x="0" y="13716"/>
                </a:lnTo>
                <a:lnTo>
                  <a:pt x="0" y="229851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3" name="Rectangle 326"/>
          <p:cNvSpPr/>
          <p:nvPr/>
        </p:nvSpPr>
        <p:spPr>
          <a:xfrm rot="18900000" flipV="1">
            <a:off x="384198" y="3621057"/>
            <a:ext cx="13716" cy="1119782"/>
          </a:xfrm>
          <a:custGeom>
            <a:avLst/>
            <a:gdLst/>
            <a:ahLst/>
            <a:cxnLst/>
            <a:rect l="l" t="t" r="r" b="b"/>
            <a:pathLst>
              <a:path w="13716" h="1119782">
                <a:moveTo>
                  <a:pt x="13716" y="1119782"/>
                </a:moveTo>
                <a:lnTo>
                  <a:pt x="13716" y="0"/>
                </a:lnTo>
                <a:lnTo>
                  <a:pt x="0" y="13716"/>
                </a:lnTo>
                <a:lnTo>
                  <a:pt x="0" y="110606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4" name="Rectangle 371"/>
          <p:cNvSpPr/>
          <p:nvPr/>
        </p:nvSpPr>
        <p:spPr>
          <a:xfrm rot="18900000" flipV="1">
            <a:off x="2705180" y="-953749"/>
            <a:ext cx="13716" cy="6479500"/>
          </a:xfrm>
          <a:custGeom>
            <a:avLst/>
            <a:gdLst/>
            <a:ahLst/>
            <a:cxnLst/>
            <a:rect l="l" t="t" r="r" b="b"/>
            <a:pathLst>
              <a:path w="13716" h="6479500">
                <a:moveTo>
                  <a:pt x="0" y="6479500"/>
                </a:moveTo>
                <a:lnTo>
                  <a:pt x="13716" y="646578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5" name="Rectangle 373"/>
          <p:cNvSpPr/>
          <p:nvPr/>
        </p:nvSpPr>
        <p:spPr>
          <a:xfrm rot="18900000" flipV="1">
            <a:off x="4391552" y="-953749"/>
            <a:ext cx="13716" cy="6479500"/>
          </a:xfrm>
          <a:custGeom>
            <a:avLst/>
            <a:gdLst/>
            <a:ahLst/>
            <a:cxnLst/>
            <a:rect l="l" t="t" r="r" b="b"/>
            <a:pathLst>
              <a:path w="13716" h="6479500">
                <a:moveTo>
                  <a:pt x="0" y="6479500"/>
                </a:moveTo>
                <a:lnTo>
                  <a:pt x="13716" y="6465784"/>
                </a:lnTo>
                <a:lnTo>
                  <a:pt x="13716" y="0"/>
                </a:lnTo>
                <a:lnTo>
                  <a:pt x="0" y="137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6" name="Rectangle 375"/>
          <p:cNvSpPr/>
          <p:nvPr/>
        </p:nvSpPr>
        <p:spPr>
          <a:xfrm rot="18900000" flipV="1">
            <a:off x="6077925" y="-953749"/>
            <a:ext cx="13716" cy="6479501"/>
          </a:xfrm>
          <a:custGeom>
            <a:avLst/>
            <a:gdLst/>
            <a:ahLst/>
            <a:cxnLst/>
            <a:rect l="l" t="t" r="r" b="b"/>
            <a:pathLst>
              <a:path w="13716" h="6479501">
                <a:moveTo>
                  <a:pt x="0" y="6479501"/>
                </a:moveTo>
                <a:lnTo>
                  <a:pt x="13716" y="6465785"/>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7" name="Rectangle 376"/>
          <p:cNvSpPr/>
          <p:nvPr/>
        </p:nvSpPr>
        <p:spPr>
          <a:xfrm rot="18900000" flipV="1">
            <a:off x="6916261" y="-965458"/>
            <a:ext cx="13716" cy="6493219"/>
          </a:xfrm>
          <a:custGeom>
            <a:avLst/>
            <a:gdLst/>
            <a:ahLst/>
            <a:cxnLst/>
            <a:rect l="l" t="t" r="r" b="b"/>
            <a:pathLst>
              <a:path w="13716" h="6493219">
                <a:moveTo>
                  <a:pt x="13716" y="6479504"/>
                </a:moveTo>
                <a:lnTo>
                  <a:pt x="13716" y="0"/>
                </a:lnTo>
                <a:lnTo>
                  <a:pt x="0" y="13717"/>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8" name="Rectangle 377"/>
          <p:cNvSpPr/>
          <p:nvPr/>
        </p:nvSpPr>
        <p:spPr>
          <a:xfrm rot="18900000" flipV="1">
            <a:off x="7759447" y="-965458"/>
            <a:ext cx="13717" cy="6493219"/>
          </a:xfrm>
          <a:custGeom>
            <a:avLst/>
            <a:gdLst/>
            <a:ahLst/>
            <a:cxnLst/>
            <a:rect l="l" t="t" r="r" b="b"/>
            <a:pathLst>
              <a:path w="13717" h="6493219">
                <a:moveTo>
                  <a:pt x="0" y="6493219"/>
                </a:moveTo>
                <a:lnTo>
                  <a:pt x="13716" y="6479502"/>
                </a:lnTo>
                <a:lnTo>
                  <a:pt x="13717"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9" name="Rectangle 378"/>
          <p:cNvSpPr/>
          <p:nvPr/>
        </p:nvSpPr>
        <p:spPr>
          <a:xfrm rot="18900000" flipV="1">
            <a:off x="8602633" y="-965458"/>
            <a:ext cx="13716" cy="6493219"/>
          </a:xfrm>
          <a:custGeom>
            <a:avLst/>
            <a:gdLst/>
            <a:ahLst/>
            <a:cxnLst/>
            <a:rect l="l" t="t" r="r" b="b"/>
            <a:pathLst>
              <a:path w="13716" h="6493219">
                <a:moveTo>
                  <a:pt x="13716" y="6479504"/>
                </a:moveTo>
                <a:lnTo>
                  <a:pt x="13716" y="0"/>
                </a:lnTo>
                <a:lnTo>
                  <a:pt x="0" y="13716"/>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0" name="Rectangle 138"/>
          <p:cNvSpPr/>
          <p:nvPr/>
        </p:nvSpPr>
        <p:spPr>
          <a:xfrm rot="18900000" flipV="1">
            <a:off x="10088968" y="-882602"/>
            <a:ext cx="13716" cy="5927431"/>
          </a:xfrm>
          <a:custGeom>
            <a:avLst/>
            <a:gdLst/>
            <a:ahLst/>
            <a:cxnLst/>
            <a:rect l="l" t="t" r="r" b="b"/>
            <a:pathLst>
              <a:path w="13716" h="5927431">
                <a:moveTo>
                  <a:pt x="0" y="5927431"/>
                </a:moveTo>
                <a:lnTo>
                  <a:pt x="13715" y="5913716"/>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1" name="Rectangle 139"/>
          <p:cNvSpPr/>
          <p:nvPr/>
        </p:nvSpPr>
        <p:spPr>
          <a:xfrm rot="18900000" flipV="1">
            <a:off x="10510562" y="-707971"/>
            <a:ext cx="13716" cy="4734985"/>
          </a:xfrm>
          <a:custGeom>
            <a:avLst/>
            <a:gdLst/>
            <a:ahLst/>
            <a:cxnLst/>
            <a:rect l="l" t="t" r="r" b="b"/>
            <a:pathLst>
              <a:path w="13716" h="4734985">
                <a:moveTo>
                  <a:pt x="0" y="4734985"/>
                </a:moveTo>
                <a:lnTo>
                  <a:pt x="13715" y="4721270"/>
                </a:lnTo>
                <a:lnTo>
                  <a:pt x="13716" y="13715"/>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2" name="Rectangle 140"/>
          <p:cNvSpPr/>
          <p:nvPr/>
        </p:nvSpPr>
        <p:spPr>
          <a:xfrm rot="18900000" flipV="1">
            <a:off x="10932155" y="-533342"/>
            <a:ext cx="13716" cy="3542540"/>
          </a:xfrm>
          <a:custGeom>
            <a:avLst/>
            <a:gdLst/>
            <a:ahLst/>
            <a:cxnLst/>
            <a:rect l="l" t="t" r="r" b="b"/>
            <a:pathLst>
              <a:path w="13716" h="3542540">
                <a:moveTo>
                  <a:pt x="0" y="3542540"/>
                </a:moveTo>
                <a:lnTo>
                  <a:pt x="13715" y="3528825"/>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3" name="Rectangle 141"/>
          <p:cNvSpPr/>
          <p:nvPr/>
        </p:nvSpPr>
        <p:spPr>
          <a:xfrm rot="18900000" flipV="1">
            <a:off x="11353748" y="-358712"/>
            <a:ext cx="13716" cy="2350095"/>
          </a:xfrm>
          <a:custGeom>
            <a:avLst/>
            <a:gdLst/>
            <a:ahLst/>
            <a:cxnLst/>
            <a:rect l="l" t="t" r="r" b="b"/>
            <a:pathLst>
              <a:path w="13716" h="2350095">
                <a:moveTo>
                  <a:pt x="0" y="2350095"/>
                </a:moveTo>
                <a:lnTo>
                  <a:pt x="13715" y="2336380"/>
                </a:lnTo>
                <a:lnTo>
                  <a:pt x="13716" y="1371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4" name="Rectangle 142"/>
          <p:cNvSpPr/>
          <p:nvPr/>
        </p:nvSpPr>
        <p:spPr>
          <a:xfrm rot="18900000" flipV="1">
            <a:off x="11775341" y="-184083"/>
            <a:ext cx="13716" cy="1157650"/>
          </a:xfrm>
          <a:custGeom>
            <a:avLst/>
            <a:gdLst/>
            <a:ahLst/>
            <a:cxnLst/>
            <a:rect l="l" t="t" r="r" b="b"/>
            <a:pathLst>
              <a:path w="13716" h="1157650">
                <a:moveTo>
                  <a:pt x="0" y="1157650"/>
                </a:moveTo>
                <a:lnTo>
                  <a:pt x="13716" y="1143934"/>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5" name="Rectangle 372"/>
          <p:cNvSpPr/>
          <p:nvPr/>
        </p:nvSpPr>
        <p:spPr>
          <a:xfrm rot="18900000" flipV="1">
            <a:off x="3543517" y="-965458"/>
            <a:ext cx="13716" cy="6493219"/>
          </a:xfrm>
          <a:custGeom>
            <a:avLst/>
            <a:gdLst/>
            <a:ahLst/>
            <a:cxnLst/>
            <a:rect l="l" t="t" r="r" b="b"/>
            <a:pathLst>
              <a:path w="13716" h="6493219">
                <a:moveTo>
                  <a:pt x="0" y="6493219"/>
                </a:moveTo>
                <a:lnTo>
                  <a:pt x="13716" y="6479503"/>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6" name="Rectangle 374"/>
          <p:cNvSpPr/>
          <p:nvPr/>
        </p:nvSpPr>
        <p:spPr>
          <a:xfrm rot="18900000" flipV="1">
            <a:off x="5229889" y="-965458"/>
            <a:ext cx="13716" cy="6493220"/>
          </a:xfrm>
          <a:custGeom>
            <a:avLst/>
            <a:gdLst/>
            <a:ahLst/>
            <a:cxnLst/>
            <a:rect l="l" t="t" r="r" b="b"/>
            <a:pathLst>
              <a:path w="13716" h="6493220">
                <a:moveTo>
                  <a:pt x="0" y="6493220"/>
                </a:moveTo>
                <a:lnTo>
                  <a:pt x="13716"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7" name="Teardrop 3"/>
          <p:cNvSpPr/>
          <p:nvPr/>
        </p:nvSpPr>
        <p:spPr>
          <a:xfrm rot="5400000" flipH="1" flipV="1">
            <a:off x="64427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8" name="Teardrop 3"/>
          <p:cNvSpPr/>
          <p:nvPr/>
        </p:nvSpPr>
        <p:spPr>
          <a:xfrm rot="5400000" flipH="1" flipV="1">
            <a:off x="-148774" y="258315"/>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1"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6" y="223846"/>
                </a:cubicBezTo>
                <a:lnTo>
                  <a:pt x="221347" y="232509"/>
                </a:lnTo>
                <a:cubicBezTo>
                  <a:pt x="224389"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0"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1" y="93753"/>
                </a:cubicBezTo>
                <a:cubicBezTo>
                  <a:pt x="100880" y="69151"/>
                  <a:pt x="130228" y="53433"/>
                  <a:pt x="163247" y="53433"/>
                </a:cubicBezTo>
                <a:cubicBezTo>
                  <a:pt x="186137" y="53872"/>
                  <a:pt x="201262" y="50984"/>
                  <a:pt x="211354"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8"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1"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9" name="Teardrop 3"/>
          <p:cNvSpPr/>
          <p:nvPr/>
        </p:nvSpPr>
        <p:spPr>
          <a:xfrm rot="5400000" flipH="1" flipV="1">
            <a:off x="13875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0" name="Teardrop 3"/>
          <p:cNvSpPr/>
          <p:nvPr/>
        </p:nvSpPr>
        <p:spPr>
          <a:xfrm rot="5400000" flipH="1" flipV="1">
            <a:off x="22300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1" name="Teardrop 3"/>
          <p:cNvSpPr/>
          <p:nvPr/>
        </p:nvSpPr>
        <p:spPr>
          <a:xfrm rot="5400000" flipH="1" flipV="1">
            <a:off x="30726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2" name="Teardrop 3"/>
          <p:cNvSpPr/>
          <p:nvPr/>
        </p:nvSpPr>
        <p:spPr>
          <a:xfrm rot="5400000" flipH="1" flipV="1">
            <a:off x="39151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3" name="Teardrop 3"/>
          <p:cNvSpPr/>
          <p:nvPr/>
        </p:nvSpPr>
        <p:spPr>
          <a:xfrm rot="5400000" flipH="1" flipV="1">
            <a:off x="47576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4" name="Teardrop 3"/>
          <p:cNvSpPr/>
          <p:nvPr/>
        </p:nvSpPr>
        <p:spPr>
          <a:xfrm rot="5400000" flipH="1" flipV="1">
            <a:off x="56002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5" name="Teardrop 3"/>
          <p:cNvSpPr/>
          <p:nvPr/>
        </p:nvSpPr>
        <p:spPr>
          <a:xfrm rot="5400000" flipH="1" flipV="1">
            <a:off x="81278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6" name="Teardrop 3"/>
          <p:cNvSpPr/>
          <p:nvPr/>
        </p:nvSpPr>
        <p:spPr>
          <a:xfrm rot="5400000" flipH="1" flipV="1">
            <a:off x="72853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7" name="Teardrop 3"/>
          <p:cNvSpPr/>
          <p:nvPr/>
        </p:nvSpPr>
        <p:spPr>
          <a:xfrm rot="5400000" flipH="1" flipV="1">
            <a:off x="98129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8" name="Teardrop 3"/>
          <p:cNvSpPr/>
          <p:nvPr/>
        </p:nvSpPr>
        <p:spPr>
          <a:xfrm rot="5400000" flipH="1" flipV="1">
            <a:off x="89703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9" name="Teardrop 3"/>
          <p:cNvSpPr/>
          <p:nvPr/>
        </p:nvSpPr>
        <p:spPr>
          <a:xfrm rot="5400000" flipH="1" flipV="1">
            <a:off x="11498011"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0" name="Teardrop 3"/>
          <p:cNvSpPr/>
          <p:nvPr/>
        </p:nvSpPr>
        <p:spPr>
          <a:xfrm rot="5400000" flipH="1" flipV="1">
            <a:off x="106554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1" name="Teardrop 3"/>
          <p:cNvSpPr/>
          <p:nvPr/>
        </p:nvSpPr>
        <p:spPr>
          <a:xfrm rot="5400000" flipH="1" flipV="1">
            <a:off x="5449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2" name="Oval 591"/>
          <p:cNvSpPr/>
          <p:nvPr/>
        </p:nvSpPr>
        <p:spPr>
          <a:xfrm>
            <a:off x="66645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3" name="Oval 167"/>
          <p:cNvSpPr/>
          <p:nvPr/>
        </p:nvSpPr>
        <p:spPr>
          <a:xfrm>
            <a:off x="0" y="331699"/>
            <a:ext cx="93942" cy="4240302"/>
          </a:xfrm>
          <a:custGeom>
            <a:avLst/>
            <a:gdLst/>
            <a:ahLst/>
            <a:cxnLst/>
            <a:rect l="l" t="t" r="r" b="b"/>
            <a:pathLst>
              <a:path w="93942" h="4240302">
                <a:moveTo>
                  <a:pt x="9066" y="4229620"/>
                </a:moveTo>
                <a:cubicBezTo>
                  <a:pt x="23324" y="4229620"/>
                  <a:pt x="36761" y="4233136"/>
                  <a:pt x="48054" y="4240302"/>
                </a:cubicBezTo>
                <a:lnTo>
                  <a:pt x="0" y="4240302"/>
                </a:lnTo>
                <a:lnTo>
                  <a:pt x="0" y="4231451"/>
                </a:lnTo>
                <a:cubicBezTo>
                  <a:pt x="2881" y="4229788"/>
                  <a:pt x="5954" y="4229620"/>
                  <a:pt x="9066" y="4229620"/>
                </a:cubicBezTo>
                <a:close/>
                <a:moveTo>
                  <a:pt x="9066" y="3380947"/>
                </a:moveTo>
                <a:cubicBezTo>
                  <a:pt x="55942" y="3380947"/>
                  <a:pt x="93942" y="3418947"/>
                  <a:pt x="93942" y="3465822"/>
                </a:cubicBezTo>
                <a:cubicBezTo>
                  <a:pt x="93942" y="3512697"/>
                  <a:pt x="55942" y="3550697"/>
                  <a:pt x="9066" y="3550697"/>
                </a:cubicBezTo>
                <a:lnTo>
                  <a:pt x="0" y="3548867"/>
                </a:lnTo>
                <a:lnTo>
                  <a:pt x="0" y="3382777"/>
                </a:lnTo>
                <a:cubicBezTo>
                  <a:pt x="2881" y="3381115"/>
                  <a:pt x="5954" y="3380947"/>
                  <a:pt x="9066" y="3380947"/>
                </a:cubicBezTo>
                <a:close/>
                <a:moveTo>
                  <a:pt x="9066" y="2536768"/>
                </a:moveTo>
                <a:cubicBezTo>
                  <a:pt x="55942" y="2536768"/>
                  <a:pt x="93942" y="2574768"/>
                  <a:pt x="93942" y="2621643"/>
                </a:cubicBezTo>
                <a:cubicBezTo>
                  <a:pt x="93942" y="2668518"/>
                  <a:pt x="55942" y="2706518"/>
                  <a:pt x="9066" y="2706518"/>
                </a:cubicBezTo>
                <a:lnTo>
                  <a:pt x="0" y="2704688"/>
                </a:lnTo>
                <a:lnTo>
                  <a:pt x="0" y="2538598"/>
                </a:lnTo>
                <a:cubicBezTo>
                  <a:pt x="2881" y="2536936"/>
                  <a:pt x="5954" y="2536768"/>
                  <a:pt x="9066" y="2536768"/>
                </a:cubicBezTo>
                <a:close/>
                <a:moveTo>
                  <a:pt x="9066" y="1688095"/>
                </a:moveTo>
                <a:cubicBezTo>
                  <a:pt x="55942" y="1688095"/>
                  <a:pt x="93942" y="1726095"/>
                  <a:pt x="93942" y="1772970"/>
                </a:cubicBezTo>
                <a:cubicBezTo>
                  <a:pt x="93942" y="1819845"/>
                  <a:pt x="55942" y="1857845"/>
                  <a:pt x="9066" y="1857845"/>
                </a:cubicBezTo>
                <a:lnTo>
                  <a:pt x="0" y="1856015"/>
                </a:lnTo>
                <a:lnTo>
                  <a:pt x="0" y="1689925"/>
                </a:lnTo>
                <a:cubicBezTo>
                  <a:pt x="2881" y="1688263"/>
                  <a:pt x="5954" y="1688095"/>
                  <a:pt x="9066" y="1688095"/>
                </a:cubicBezTo>
                <a:close/>
                <a:moveTo>
                  <a:pt x="9066" y="845498"/>
                </a:moveTo>
                <a:cubicBezTo>
                  <a:pt x="55942" y="845498"/>
                  <a:pt x="93942" y="883498"/>
                  <a:pt x="93942" y="930373"/>
                </a:cubicBezTo>
                <a:cubicBezTo>
                  <a:pt x="93942" y="977248"/>
                  <a:pt x="55942" y="1015248"/>
                  <a:pt x="9066" y="1015248"/>
                </a:cubicBezTo>
                <a:lnTo>
                  <a:pt x="0" y="1013418"/>
                </a:lnTo>
                <a:lnTo>
                  <a:pt x="0" y="847328"/>
                </a:lnTo>
                <a:cubicBezTo>
                  <a:pt x="2881" y="845666"/>
                  <a:pt x="5954" y="845498"/>
                  <a:pt x="9066" y="845498"/>
                </a:cubicBezTo>
                <a:close/>
                <a:moveTo>
                  <a:pt x="9066" y="0"/>
                </a:moveTo>
                <a:cubicBezTo>
                  <a:pt x="55942" y="0"/>
                  <a:pt x="93942" y="38000"/>
                  <a:pt x="93942" y="84875"/>
                </a:cubicBezTo>
                <a:cubicBezTo>
                  <a:pt x="93942" y="131750"/>
                  <a:pt x="55942" y="169750"/>
                  <a:pt x="9066" y="169750"/>
                </a:cubicBezTo>
                <a:lnTo>
                  <a:pt x="0" y="167920"/>
                </a:lnTo>
                <a:lnTo>
                  <a:pt x="0" y="1830"/>
                </a:lnTo>
                <a:cubicBezTo>
                  <a:pt x="2881" y="167"/>
                  <a:pt x="5954" y="0"/>
                  <a:pt x="90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4" name="Oval 593"/>
          <p:cNvSpPr/>
          <p:nvPr/>
        </p:nvSpPr>
        <p:spPr>
          <a:xfrm>
            <a:off x="7667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5" name="Oval 594"/>
          <p:cNvSpPr/>
          <p:nvPr/>
        </p:nvSpPr>
        <p:spPr>
          <a:xfrm>
            <a:off x="16092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6" name="Oval 595"/>
          <p:cNvSpPr/>
          <p:nvPr/>
        </p:nvSpPr>
        <p:spPr>
          <a:xfrm>
            <a:off x="24518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7" name="Oval 596"/>
          <p:cNvSpPr/>
          <p:nvPr/>
        </p:nvSpPr>
        <p:spPr>
          <a:xfrm>
            <a:off x="32943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8" name="Oval 597"/>
          <p:cNvSpPr/>
          <p:nvPr/>
        </p:nvSpPr>
        <p:spPr>
          <a:xfrm>
            <a:off x="41368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9" name="Oval 598"/>
          <p:cNvSpPr/>
          <p:nvPr/>
        </p:nvSpPr>
        <p:spPr>
          <a:xfrm>
            <a:off x="49794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0" name="Oval 599"/>
          <p:cNvSpPr/>
          <p:nvPr/>
        </p:nvSpPr>
        <p:spPr>
          <a:xfrm>
            <a:off x="58219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1" name="Oval 600"/>
          <p:cNvSpPr/>
          <p:nvPr/>
        </p:nvSpPr>
        <p:spPr>
          <a:xfrm>
            <a:off x="83495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2" name="Oval 601"/>
          <p:cNvSpPr/>
          <p:nvPr/>
        </p:nvSpPr>
        <p:spPr>
          <a:xfrm>
            <a:off x="75070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3" name="Oval 602"/>
          <p:cNvSpPr/>
          <p:nvPr/>
        </p:nvSpPr>
        <p:spPr>
          <a:xfrm>
            <a:off x="100346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4" name="Oval 603"/>
          <p:cNvSpPr/>
          <p:nvPr/>
        </p:nvSpPr>
        <p:spPr>
          <a:xfrm>
            <a:off x="91921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5" name="Oval 604"/>
          <p:cNvSpPr/>
          <p:nvPr/>
        </p:nvSpPr>
        <p:spPr>
          <a:xfrm>
            <a:off x="11719750"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6" name="Oval 605"/>
          <p:cNvSpPr/>
          <p:nvPr/>
        </p:nvSpPr>
        <p:spPr>
          <a:xfrm>
            <a:off x="108772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7" name="Teardrop 3"/>
          <p:cNvSpPr/>
          <p:nvPr/>
        </p:nvSpPr>
        <p:spPr>
          <a:xfrm rot="5400000" flipH="1" flipV="1">
            <a:off x="60211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8" name="Teardrop 3"/>
          <p:cNvSpPr/>
          <p:nvPr/>
        </p:nvSpPr>
        <p:spPr>
          <a:xfrm rot="5400000" flipH="1" flipV="1">
            <a:off x="9659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9" name="Teardrop 3"/>
          <p:cNvSpPr/>
          <p:nvPr/>
        </p:nvSpPr>
        <p:spPr>
          <a:xfrm rot="5400000" flipH="1" flipV="1">
            <a:off x="18084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0" name="Teardrop 3"/>
          <p:cNvSpPr/>
          <p:nvPr/>
        </p:nvSpPr>
        <p:spPr>
          <a:xfrm rot="5400000" flipH="1" flipV="1">
            <a:off x="26510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1" name="Teardrop 3"/>
          <p:cNvSpPr/>
          <p:nvPr/>
        </p:nvSpPr>
        <p:spPr>
          <a:xfrm rot="5400000" flipH="1" flipV="1">
            <a:off x="34935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2" name="Teardrop 3"/>
          <p:cNvSpPr/>
          <p:nvPr/>
        </p:nvSpPr>
        <p:spPr>
          <a:xfrm rot="5400000" flipH="1" flipV="1">
            <a:off x="43361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3" name="Teardrop 3"/>
          <p:cNvSpPr/>
          <p:nvPr/>
        </p:nvSpPr>
        <p:spPr>
          <a:xfrm rot="5400000" flipH="1" flipV="1">
            <a:off x="51786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4" name="Teardrop 3"/>
          <p:cNvSpPr/>
          <p:nvPr/>
        </p:nvSpPr>
        <p:spPr>
          <a:xfrm rot="5400000" flipH="1" flipV="1">
            <a:off x="77062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5" name="Teardrop 3"/>
          <p:cNvSpPr/>
          <p:nvPr/>
        </p:nvSpPr>
        <p:spPr>
          <a:xfrm rot="5400000" flipH="1" flipV="1">
            <a:off x="68637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6" name="Teardrop 3"/>
          <p:cNvSpPr/>
          <p:nvPr/>
        </p:nvSpPr>
        <p:spPr>
          <a:xfrm rot="5400000" flipH="1" flipV="1">
            <a:off x="93913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7" name="Teardrop 3"/>
          <p:cNvSpPr/>
          <p:nvPr/>
        </p:nvSpPr>
        <p:spPr>
          <a:xfrm rot="5400000" flipH="1" flipV="1">
            <a:off x="85488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8" name="Teardrop 3"/>
          <p:cNvSpPr/>
          <p:nvPr/>
        </p:nvSpPr>
        <p:spPr>
          <a:xfrm rot="5400000" flipH="1" flipV="1">
            <a:off x="11076421"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9" name="Teardrop 3"/>
          <p:cNvSpPr/>
          <p:nvPr/>
        </p:nvSpPr>
        <p:spPr>
          <a:xfrm rot="5400000" flipH="1" flipV="1">
            <a:off x="102338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0" name="Teardrop 3"/>
          <p:cNvSpPr/>
          <p:nvPr/>
        </p:nvSpPr>
        <p:spPr>
          <a:xfrm rot="5400000" flipH="1" flipV="1">
            <a:off x="1234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1" name="Teardrop 3"/>
          <p:cNvSpPr/>
          <p:nvPr/>
        </p:nvSpPr>
        <p:spPr>
          <a:xfrm rot="5400000" flipH="1" flipV="1">
            <a:off x="11760003" y="685578"/>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69"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2" name="Oval 621"/>
          <p:cNvSpPr/>
          <p:nvPr/>
        </p:nvSpPr>
        <p:spPr>
          <a:xfrm>
            <a:off x="70866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3" name="Oval 622"/>
          <p:cNvSpPr/>
          <p:nvPr/>
        </p:nvSpPr>
        <p:spPr>
          <a:xfrm>
            <a:off x="3463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4" name="Oval 623"/>
          <p:cNvSpPr/>
          <p:nvPr/>
        </p:nvSpPr>
        <p:spPr>
          <a:xfrm>
            <a:off x="11888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5" name="Oval 624"/>
          <p:cNvSpPr/>
          <p:nvPr/>
        </p:nvSpPr>
        <p:spPr>
          <a:xfrm>
            <a:off x="20314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6" name="Oval 625"/>
          <p:cNvSpPr/>
          <p:nvPr/>
        </p:nvSpPr>
        <p:spPr>
          <a:xfrm>
            <a:off x="28739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7" name="Oval 626"/>
          <p:cNvSpPr/>
          <p:nvPr/>
        </p:nvSpPr>
        <p:spPr>
          <a:xfrm>
            <a:off x="37164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8" name="Oval 627"/>
          <p:cNvSpPr/>
          <p:nvPr/>
        </p:nvSpPr>
        <p:spPr>
          <a:xfrm>
            <a:off x="45590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9" name="Oval 628"/>
          <p:cNvSpPr/>
          <p:nvPr/>
        </p:nvSpPr>
        <p:spPr>
          <a:xfrm>
            <a:off x="54015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0" name="Oval 629"/>
          <p:cNvSpPr/>
          <p:nvPr/>
        </p:nvSpPr>
        <p:spPr>
          <a:xfrm>
            <a:off x="62441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1" name="Oval 630"/>
          <p:cNvSpPr/>
          <p:nvPr/>
        </p:nvSpPr>
        <p:spPr>
          <a:xfrm>
            <a:off x="87717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2" name="Oval 631"/>
          <p:cNvSpPr/>
          <p:nvPr/>
        </p:nvSpPr>
        <p:spPr>
          <a:xfrm>
            <a:off x="79291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3" name="Oval 632"/>
          <p:cNvSpPr/>
          <p:nvPr/>
        </p:nvSpPr>
        <p:spPr>
          <a:xfrm>
            <a:off x="104568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4" name="Oval 633"/>
          <p:cNvSpPr/>
          <p:nvPr/>
        </p:nvSpPr>
        <p:spPr>
          <a:xfrm>
            <a:off x="96142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5" name="Oval 860"/>
          <p:cNvSpPr/>
          <p:nvPr/>
        </p:nvSpPr>
        <p:spPr>
          <a:xfrm>
            <a:off x="12141892" y="758852"/>
            <a:ext cx="50109" cy="3538433"/>
          </a:xfrm>
          <a:custGeom>
            <a:avLst/>
            <a:gdLst/>
            <a:ahLst/>
            <a:cxnLst/>
            <a:rect l="l" t="t" r="r" b="b"/>
            <a:pathLst>
              <a:path w="50109" h="3538433">
                <a:moveTo>
                  <a:pt x="50109" y="3384355"/>
                </a:moveTo>
                <a:lnTo>
                  <a:pt x="50109" y="3538433"/>
                </a:lnTo>
                <a:cubicBezTo>
                  <a:pt x="20497" y="3525461"/>
                  <a:pt x="0" y="3495821"/>
                  <a:pt x="0" y="3461394"/>
                </a:cubicBezTo>
                <a:cubicBezTo>
                  <a:pt x="0" y="3426967"/>
                  <a:pt x="20497" y="3397327"/>
                  <a:pt x="50109" y="3384355"/>
                </a:cubicBezTo>
                <a:close/>
                <a:moveTo>
                  <a:pt x="50109" y="2538350"/>
                </a:moveTo>
                <a:lnTo>
                  <a:pt x="50109" y="2692428"/>
                </a:lnTo>
                <a:cubicBezTo>
                  <a:pt x="20497" y="2679456"/>
                  <a:pt x="0" y="2649816"/>
                  <a:pt x="0" y="2615389"/>
                </a:cubicBezTo>
                <a:cubicBezTo>
                  <a:pt x="0" y="2580962"/>
                  <a:pt x="20497" y="2551322"/>
                  <a:pt x="50109" y="2538350"/>
                </a:cubicBezTo>
                <a:close/>
                <a:moveTo>
                  <a:pt x="50109" y="1688095"/>
                </a:moveTo>
                <a:lnTo>
                  <a:pt x="50109" y="1842173"/>
                </a:lnTo>
                <a:cubicBezTo>
                  <a:pt x="20497" y="1829201"/>
                  <a:pt x="0" y="1799561"/>
                  <a:pt x="0" y="1765134"/>
                </a:cubicBezTo>
                <a:cubicBezTo>
                  <a:pt x="0" y="1730707"/>
                  <a:pt x="20497" y="1701067"/>
                  <a:pt x="50109" y="1688095"/>
                </a:cubicBezTo>
                <a:close/>
                <a:moveTo>
                  <a:pt x="50109" y="845498"/>
                </a:moveTo>
                <a:lnTo>
                  <a:pt x="50109" y="999576"/>
                </a:lnTo>
                <a:cubicBezTo>
                  <a:pt x="20497" y="986604"/>
                  <a:pt x="0" y="956964"/>
                  <a:pt x="0" y="922537"/>
                </a:cubicBezTo>
                <a:cubicBezTo>
                  <a:pt x="0" y="888110"/>
                  <a:pt x="20497" y="858470"/>
                  <a:pt x="50109" y="845498"/>
                </a:cubicBezTo>
                <a:close/>
                <a:moveTo>
                  <a:pt x="50109" y="0"/>
                </a:moveTo>
                <a:lnTo>
                  <a:pt x="50109" y="154078"/>
                </a:lnTo>
                <a:cubicBezTo>
                  <a:pt x="20497" y="141106"/>
                  <a:pt x="0" y="111466"/>
                  <a:pt x="0" y="77039"/>
                </a:cubicBezTo>
                <a:cubicBezTo>
                  <a:pt x="0" y="42612"/>
                  <a:pt x="20497" y="12972"/>
                  <a:pt x="501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6" name="Oval 635"/>
          <p:cNvSpPr/>
          <p:nvPr/>
        </p:nvSpPr>
        <p:spPr>
          <a:xfrm>
            <a:off x="112993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7" name="Teardrop 3"/>
          <p:cNvSpPr/>
          <p:nvPr/>
        </p:nvSpPr>
        <p:spPr>
          <a:xfrm rot="5400000" flipH="1" flipV="1">
            <a:off x="617401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8" name="Teardrop 3"/>
          <p:cNvSpPr/>
          <p:nvPr/>
        </p:nvSpPr>
        <p:spPr>
          <a:xfrm rot="5400000" flipH="1" flipV="1">
            <a:off x="11187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699"/>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8"/>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9" name="Teardrop 3"/>
          <p:cNvSpPr/>
          <p:nvPr/>
        </p:nvSpPr>
        <p:spPr>
          <a:xfrm rot="5400000" flipH="1" flipV="1">
            <a:off x="19613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0" name="Teardrop 3"/>
          <p:cNvSpPr/>
          <p:nvPr/>
        </p:nvSpPr>
        <p:spPr>
          <a:xfrm rot="5400000" flipH="1" flipV="1">
            <a:off x="280385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1" name="Teardrop 3"/>
          <p:cNvSpPr/>
          <p:nvPr/>
        </p:nvSpPr>
        <p:spPr>
          <a:xfrm rot="5400000" flipH="1" flipV="1">
            <a:off x="364639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2" name="Teardrop 3"/>
          <p:cNvSpPr/>
          <p:nvPr/>
        </p:nvSpPr>
        <p:spPr>
          <a:xfrm rot="5400000" flipH="1" flipV="1">
            <a:off x="448893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3" name="Teardrop 3"/>
          <p:cNvSpPr/>
          <p:nvPr/>
        </p:nvSpPr>
        <p:spPr>
          <a:xfrm rot="5400000" flipH="1" flipV="1">
            <a:off x="533147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4" name="Teardrop 3"/>
          <p:cNvSpPr/>
          <p:nvPr/>
        </p:nvSpPr>
        <p:spPr>
          <a:xfrm rot="5400000" flipH="1" flipV="1">
            <a:off x="785909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5" name="Teardrop 3"/>
          <p:cNvSpPr/>
          <p:nvPr/>
        </p:nvSpPr>
        <p:spPr>
          <a:xfrm rot="5400000" flipH="1" flipV="1">
            <a:off x="701655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6" name="Teardrop 3"/>
          <p:cNvSpPr/>
          <p:nvPr/>
        </p:nvSpPr>
        <p:spPr>
          <a:xfrm rot="5400000" flipH="1" flipV="1">
            <a:off x="95441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7" name="Teardrop 3"/>
          <p:cNvSpPr/>
          <p:nvPr/>
        </p:nvSpPr>
        <p:spPr>
          <a:xfrm rot="5400000" flipH="1" flipV="1">
            <a:off x="87016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8" name="Teardrop 3"/>
          <p:cNvSpPr/>
          <p:nvPr/>
        </p:nvSpPr>
        <p:spPr>
          <a:xfrm rot="5400000" flipH="1" flipV="1">
            <a:off x="11229252"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9" name="Teardrop 3"/>
          <p:cNvSpPr/>
          <p:nvPr/>
        </p:nvSpPr>
        <p:spPr>
          <a:xfrm rot="5400000" flipH="1" flipV="1">
            <a:off x="103867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0" name="Teardrop 3"/>
          <p:cNvSpPr/>
          <p:nvPr/>
        </p:nvSpPr>
        <p:spPr>
          <a:xfrm rot="5400000" flipH="1" flipV="1">
            <a:off x="2762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8"/>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2"/>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1" name="Teardrop 3"/>
          <p:cNvSpPr/>
          <p:nvPr/>
        </p:nvSpPr>
        <p:spPr>
          <a:xfrm rot="5400000" flipH="1" flipV="1">
            <a:off x="11908617" y="4923"/>
            <a:ext cx="298552" cy="268215"/>
          </a:xfrm>
          <a:custGeom>
            <a:avLst/>
            <a:gdLst/>
            <a:ahLst/>
            <a:cxnLst/>
            <a:rect l="l" t="t" r="r" b="b"/>
            <a:pathLst>
              <a:path w="298552"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298552" y="138"/>
                </a:moveTo>
                <a:lnTo>
                  <a:pt x="298552" y="11636"/>
                </a:lnTo>
                <a:cubicBezTo>
                  <a:pt x="298344" y="11511"/>
                  <a:pt x="298133" y="11506"/>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4" y="189232"/>
                  <a:pt x="256525" y="205210"/>
                  <a:pt x="272877" y="215167"/>
                </a:cubicBezTo>
                <a:lnTo>
                  <a:pt x="298552" y="215277"/>
                </a:lnTo>
                <a:lnTo>
                  <a:pt x="298552" y="221928"/>
                </a:lnTo>
                <a:cubicBezTo>
                  <a:pt x="276711" y="221632"/>
                  <a:pt x="254816" y="229876"/>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0"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cubicBezTo>
                  <a:pt x="99420" y="72140"/>
                  <a:pt x="124170" y="61435"/>
                  <a:pt x="151420" y="61435"/>
                </a:cubicBezTo>
                <a:cubicBezTo>
                  <a:pt x="170023" y="61435"/>
                  <a:pt x="187461" y="66424"/>
                  <a:pt x="202250" y="75515"/>
                </a:cubicBezTo>
                <a:cubicBezTo>
                  <a:pt x="206323" y="58635"/>
                  <a:pt x="215129" y="42758"/>
                  <a:pt x="228297" y="29591"/>
                </a:cubicBezTo>
                <a:cubicBezTo>
                  <a:pt x="247566" y="10322"/>
                  <a:pt x="272636" y="391"/>
                  <a:pt x="29789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2" name="Oval 881"/>
          <p:cNvSpPr/>
          <p:nvPr/>
        </p:nvSpPr>
        <p:spPr>
          <a:xfrm>
            <a:off x="34633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3" name="Oval 882"/>
          <p:cNvSpPr/>
          <p:nvPr/>
        </p:nvSpPr>
        <p:spPr>
          <a:xfrm>
            <a:off x="118887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4" name="Oval 883"/>
          <p:cNvSpPr/>
          <p:nvPr/>
        </p:nvSpPr>
        <p:spPr>
          <a:xfrm>
            <a:off x="2031413" y="-10245"/>
            <a:ext cx="10160587" cy="84875"/>
          </a:xfrm>
          <a:custGeom>
            <a:avLst/>
            <a:gdLst/>
            <a:ahLst/>
            <a:cxnLst/>
            <a:rect l="l" t="t" r="r" b="b"/>
            <a:pathLst>
              <a:path w="10160587" h="84875">
                <a:moveTo>
                  <a:pt x="10110479" y="0"/>
                </a:moveTo>
                <a:lnTo>
                  <a:pt x="10160587" y="0"/>
                </a:lnTo>
                <a:lnTo>
                  <a:pt x="10160587" y="77038"/>
                </a:lnTo>
                <a:cubicBezTo>
                  <a:pt x="10130976" y="64066"/>
                  <a:pt x="10110479" y="34427"/>
                  <a:pt x="10110479" y="0"/>
                </a:cubicBezTo>
                <a:close/>
                <a:moveTo>
                  <a:pt x="9267940" y="0"/>
                </a:moveTo>
                <a:lnTo>
                  <a:pt x="9437692" y="0"/>
                </a:lnTo>
                <a:cubicBezTo>
                  <a:pt x="9437692" y="46875"/>
                  <a:pt x="9399692" y="84875"/>
                  <a:pt x="9352816" y="84875"/>
                </a:cubicBezTo>
                <a:cubicBezTo>
                  <a:pt x="9305940" y="84875"/>
                  <a:pt x="9267940" y="46875"/>
                  <a:pt x="9267940" y="0"/>
                </a:cubicBezTo>
                <a:close/>
                <a:moveTo>
                  <a:pt x="8425400" y="0"/>
                </a:moveTo>
                <a:lnTo>
                  <a:pt x="8595152" y="0"/>
                </a:lnTo>
                <a:cubicBezTo>
                  <a:pt x="8595152" y="46875"/>
                  <a:pt x="8557152" y="84875"/>
                  <a:pt x="8510276" y="84875"/>
                </a:cubicBezTo>
                <a:cubicBezTo>
                  <a:pt x="8463400" y="84875"/>
                  <a:pt x="8425400" y="46875"/>
                  <a:pt x="8425400" y="0"/>
                </a:cubicBezTo>
                <a:close/>
                <a:moveTo>
                  <a:pt x="7582860" y="0"/>
                </a:moveTo>
                <a:lnTo>
                  <a:pt x="7752612" y="0"/>
                </a:lnTo>
                <a:cubicBezTo>
                  <a:pt x="7752612" y="46875"/>
                  <a:pt x="7714612" y="84875"/>
                  <a:pt x="7667736" y="84875"/>
                </a:cubicBezTo>
                <a:cubicBezTo>
                  <a:pt x="7620860" y="84875"/>
                  <a:pt x="7582860" y="46875"/>
                  <a:pt x="7582860" y="0"/>
                </a:cubicBezTo>
                <a:close/>
                <a:moveTo>
                  <a:pt x="6740320" y="0"/>
                </a:moveTo>
                <a:lnTo>
                  <a:pt x="6910072" y="0"/>
                </a:lnTo>
                <a:cubicBezTo>
                  <a:pt x="6910072" y="46875"/>
                  <a:pt x="6872072" y="84875"/>
                  <a:pt x="6825196" y="84875"/>
                </a:cubicBezTo>
                <a:cubicBezTo>
                  <a:pt x="6778320" y="84875"/>
                  <a:pt x="6740320" y="46875"/>
                  <a:pt x="6740320" y="0"/>
                </a:cubicBezTo>
                <a:close/>
                <a:moveTo>
                  <a:pt x="5897780" y="0"/>
                </a:moveTo>
                <a:lnTo>
                  <a:pt x="6067532" y="0"/>
                </a:lnTo>
                <a:cubicBezTo>
                  <a:pt x="6067532" y="46875"/>
                  <a:pt x="6029532" y="84875"/>
                  <a:pt x="5982656" y="84875"/>
                </a:cubicBezTo>
                <a:cubicBezTo>
                  <a:pt x="5935780" y="84875"/>
                  <a:pt x="5897780" y="46875"/>
                  <a:pt x="5897780" y="0"/>
                </a:cubicBezTo>
                <a:close/>
                <a:moveTo>
                  <a:pt x="5055240" y="0"/>
                </a:moveTo>
                <a:lnTo>
                  <a:pt x="5224992" y="0"/>
                </a:lnTo>
                <a:cubicBezTo>
                  <a:pt x="5224992" y="46875"/>
                  <a:pt x="5186992" y="84875"/>
                  <a:pt x="5140116" y="84875"/>
                </a:cubicBezTo>
                <a:cubicBezTo>
                  <a:pt x="5093240" y="84875"/>
                  <a:pt x="5055240" y="46875"/>
                  <a:pt x="5055240" y="0"/>
                </a:cubicBezTo>
                <a:close/>
                <a:moveTo>
                  <a:pt x="4212700" y="0"/>
                </a:moveTo>
                <a:lnTo>
                  <a:pt x="4382452" y="0"/>
                </a:lnTo>
                <a:cubicBezTo>
                  <a:pt x="4382452" y="46875"/>
                  <a:pt x="4344452" y="84875"/>
                  <a:pt x="4297576" y="84875"/>
                </a:cubicBezTo>
                <a:cubicBezTo>
                  <a:pt x="4250700" y="84875"/>
                  <a:pt x="4212700" y="46875"/>
                  <a:pt x="4212700" y="0"/>
                </a:cubicBezTo>
                <a:close/>
                <a:moveTo>
                  <a:pt x="3370160" y="0"/>
                </a:moveTo>
                <a:lnTo>
                  <a:pt x="3539912" y="0"/>
                </a:lnTo>
                <a:cubicBezTo>
                  <a:pt x="3539912" y="46875"/>
                  <a:pt x="3501912" y="84875"/>
                  <a:pt x="3455036" y="84875"/>
                </a:cubicBezTo>
                <a:cubicBezTo>
                  <a:pt x="3408160" y="84875"/>
                  <a:pt x="3370160" y="46875"/>
                  <a:pt x="3370160" y="0"/>
                </a:cubicBezTo>
                <a:close/>
                <a:moveTo>
                  <a:pt x="2527620" y="0"/>
                </a:moveTo>
                <a:lnTo>
                  <a:pt x="2697372" y="0"/>
                </a:lnTo>
                <a:cubicBezTo>
                  <a:pt x="2697372" y="46875"/>
                  <a:pt x="2659372" y="84875"/>
                  <a:pt x="2612496" y="84875"/>
                </a:cubicBezTo>
                <a:cubicBezTo>
                  <a:pt x="2565620" y="84875"/>
                  <a:pt x="2527620" y="46875"/>
                  <a:pt x="2527620" y="0"/>
                </a:cubicBezTo>
                <a:close/>
                <a:moveTo>
                  <a:pt x="1685080" y="0"/>
                </a:moveTo>
                <a:lnTo>
                  <a:pt x="1854832" y="0"/>
                </a:lnTo>
                <a:cubicBezTo>
                  <a:pt x="1854832" y="46875"/>
                  <a:pt x="1816832" y="84875"/>
                  <a:pt x="1769956" y="84875"/>
                </a:cubicBezTo>
                <a:cubicBezTo>
                  <a:pt x="1723080" y="84875"/>
                  <a:pt x="1685080" y="46875"/>
                  <a:pt x="1685080" y="0"/>
                </a:cubicBezTo>
                <a:close/>
                <a:moveTo>
                  <a:pt x="842540" y="0"/>
                </a:moveTo>
                <a:lnTo>
                  <a:pt x="1012292" y="0"/>
                </a:lnTo>
                <a:cubicBezTo>
                  <a:pt x="1012292" y="46875"/>
                  <a:pt x="974292" y="84875"/>
                  <a:pt x="927416" y="84875"/>
                </a:cubicBezTo>
                <a:cubicBezTo>
                  <a:pt x="880540" y="84875"/>
                  <a:pt x="842540" y="46875"/>
                  <a:pt x="842540" y="0"/>
                </a:cubicBezTo>
                <a:close/>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5" name="Teardrop 3"/>
          <p:cNvSpPr/>
          <p:nvPr/>
        </p:nvSpPr>
        <p:spPr>
          <a:xfrm rot="5400000" flipH="1" flipV="1">
            <a:off x="64427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6" name="Teardrop 3"/>
          <p:cNvSpPr/>
          <p:nvPr/>
        </p:nvSpPr>
        <p:spPr>
          <a:xfrm rot="5400000" flipH="1" flipV="1">
            <a:off x="-148774" y="110381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7" name="Teardrop 3"/>
          <p:cNvSpPr/>
          <p:nvPr/>
        </p:nvSpPr>
        <p:spPr>
          <a:xfrm rot="5400000" flipH="1" flipV="1">
            <a:off x="13875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8" name="Teardrop 3"/>
          <p:cNvSpPr/>
          <p:nvPr/>
        </p:nvSpPr>
        <p:spPr>
          <a:xfrm rot="5400000" flipH="1" flipV="1">
            <a:off x="22300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9" name="Teardrop 3"/>
          <p:cNvSpPr/>
          <p:nvPr/>
        </p:nvSpPr>
        <p:spPr>
          <a:xfrm rot="5400000" flipH="1" flipV="1">
            <a:off x="30726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0" name="Teardrop 3"/>
          <p:cNvSpPr/>
          <p:nvPr/>
        </p:nvSpPr>
        <p:spPr>
          <a:xfrm rot="5400000" flipH="1" flipV="1">
            <a:off x="39151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1" name="Teardrop 3"/>
          <p:cNvSpPr/>
          <p:nvPr/>
        </p:nvSpPr>
        <p:spPr>
          <a:xfrm rot="5400000" flipH="1" flipV="1">
            <a:off x="47576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2" name="Teardrop 3"/>
          <p:cNvSpPr/>
          <p:nvPr/>
        </p:nvSpPr>
        <p:spPr>
          <a:xfrm rot="5400000" flipH="1" flipV="1">
            <a:off x="56002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3" name="Teardrop 3"/>
          <p:cNvSpPr/>
          <p:nvPr/>
        </p:nvSpPr>
        <p:spPr>
          <a:xfrm rot="5400000" flipH="1" flipV="1">
            <a:off x="81278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4" name="Teardrop 3"/>
          <p:cNvSpPr/>
          <p:nvPr/>
        </p:nvSpPr>
        <p:spPr>
          <a:xfrm rot="5400000" flipH="1" flipV="1">
            <a:off x="72853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5" name="Teardrop 3"/>
          <p:cNvSpPr/>
          <p:nvPr/>
        </p:nvSpPr>
        <p:spPr>
          <a:xfrm rot="5400000" flipH="1" flipV="1">
            <a:off x="98129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6" name="Teardrop 3"/>
          <p:cNvSpPr/>
          <p:nvPr/>
        </p:nvSpPr>
        <p:spPr>
          <a:xfrm rot="5400000" flipH="1" flipV="1">
            <a:off x="89703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7" name="Teardrop 3"/>
          <p:cNvSpPr/>
          <p:nvPr/>
        </p:nvSpPr>
        <p:spPr>
          <a:xfrm rot="5400000" flipH="1" flipV="1">
            <a:off x="11498011"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8" name="Teardrop 3"/>
          <p:cNvSpPr/>
          <p:nvPr/>
        </p:nvSpPr>
        <p:spPr>
          <a:xfrm rot="5400000" flipH="1" flipV="1">
            <a:off x="106554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9" name="Teardrop 3"/>
          <p:cNvSpPr/>
          <p:nvPr/>
        </p:nvSpPr>
        <p:spPr>
          <a:xfrm rot="5400000" flipH="1" flipV="1">
            <a:off x="5449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0" name="Oval 669"/>
          <p:cNvSpPr/>
          <p:nvPr/>
        </p:nvSpPr>
        <p:spPr>
          <a:xfrm>
            <a:off x="66645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1" name="Oval 670"/>
          <p:cNvSpPr/>
          <p:nvPr/>
        </p:nvSpPr>
        <p:spPr>
          <a:xfrm>
            <a:off x="7667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2" name="Oval 671"/>
          <p:cNvSpPr/>
          <p:nvPr/>
        </p:nvSpPr>
        <p:spPr>
          <a:xfrm>
            <a:off x="16092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3" name="Oval 672"/>
          <p:cNvSpPr/>
          <p:nvPr/>
        </p:nvSpPr>
        <p:spPr>
          <a:xfrm>
            <a:off x="24518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4" name="Oval 673"/>
          <p:cNvSpPr/>
          <p:nvPr/>
        </p:nvSpPr>
        <p:spPr>
          <a:xfrm>
            <a:off x="32943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5" name="Oval 674"/>
          <p:cNvSpPr/>
          <p:nvPr/>
        </p:nvSpPr>
        <p:spPr>
          <a:xfrm>
            <a:off x="41368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6" name="Oval 675"/>
          <p:cNvSpPr/>
          <p:nvPr/>
        </p:nvSpPr>
        <p:spPr>
          <a:xfrm>
            <a:off x="49794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7" name="Oval 676"/>
          <p:cNvSpPr/>
          <p:nvPr/>
        </p:nvSpPr>
        <p:spPr>
          <a:xfrm>
            <a:off x="58219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8" name="Oval 677"/>
          <p:cNvSpPr/>
          <p:nvPr/>
        </p:nvSpPr>
        <p:spPr>
          <a:xfrm>
            <a:off x="83495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9" name="Oval 678"/>
          <p:cNvSpPr/>
          <p:nvPr/>
        </p:nvSpPr>
        <p:spPr>
          <a:xfrm>
            <a:off x="75070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0" name="Oval 679"/>
          <p:cNvSpPr/>
          <p:nvPr/>
        </p:nvSpPr>
        <p:spPr>
          <a:xfrm>
            <a:off x="100346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1" name="Oval 680"/>
          <p:cNvSpPr/>
          <p:nvPr/>
        </p:nvSpPr>
        <p:spPr>
          <a:xfrm>
            <a:off x="91921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2" name="Oval 681"/>
          <p:cNvSpPr/>
          <p:nvPr/>
        </p:nvSpPr>
        <p:spPr>
          <a:xfrm>
            <a:off x="11719750"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3" name="Oval 682"/>
          <p:cNvSpPr/>
          <p:nvPr/>
        </p:nvSpPr>
        <p:spPr>
          <a:xfrm>
            <a:off x="108772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4" name="Teardrop 3"/>
          <p:cNvSpPr/>
          <p:nvPr/>
        </p:nvSpPr>
        <p:spPr>
          <a:xfrm rot="5400000" flipH="1" flipV="1">
            <a:off x="60211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5" name="Teardrop 3"/>
          <p:cNvSpPr/>
          <p:nvPr/>
        </p:nvSpPr>
        <p:spPr>
          <a:xfrm rot="5400000" flipH="1" flipV="1">
            <a:off x="9659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6" name="Teardrop 3"/>
          <p:cNvSpPr/>
          <p:nvPr/>
        </p:nvSpPr>
        <p:spPr>
          <a:xfrm rot="5400000" flipH="1" flipV="1">
            <a:off x="18084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7" name="Teardrop 3"/>
          <p:cNvSpPr/>
          <p:nvPr/>
        </p:nvSpPr>
        <p:spPr>
          <a:xfrm rot="5400000" flipH="1" flipV="1">
            <a:off x="26510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8" name="Teardrop 3"/>
          <p:cNvSpPr/>
          <p:nvPr/>
        </p:nvSpPr>
        <p:spPr>
          <a:xfrm rot="5400000" flipH="1" flipV="1">
            <a:off x="34935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9" name="Teardrop 3"/>
          <p:cNvSpPr/>
          <p:nvPr/>
        </p:nvSpPr>
        <p:spPr>
          <a:xfrm rot="5400000" flipH="1" flipV="1">
            <a:off x="43361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0" name="Teardrop 3"/>
          <p:cNvSpPr/>
          <p:nvPr/>
        </p:nvSpPr>
        <p:spPr>
          <a:xfrm rot="5400000" flipH="1" flipV="1">
            <a:off x="51786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1" name="Teardrop 3"/>
          <p:cNvSpPr/>
          <p:nvPr/>
        </p:nvSpPr>
        <p:spPr>
          <a:xfrm rot="5400000" flipH="1" flipV="1">
            <a:off x="77062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2" name="Teardrop 3"/>
          <p:cNvSpPr/>
          <p:nvPr/>
        </p:nvSpPr>
        <p:spPr>
          <a:xfrm rot="5400000" flipH="1" flipV="1">
            <a:off x="68637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3" name="Teardrop 3"/>
          <p:cNvSpPr/>
          <p:nvPr/>
        </p:nvSpPr>
        <p:spPr>
          <a:xfrm rot="5400000" flipH="1" flipV="1">
            <a:off x="93913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4" name="Teardrop 3"/>
          <p:cNvSpPr/>
          <p:nvPr/>
        </p:nvSpPr>
        <p:spPr>
          <a:xfrm rot="5400000" flipH="1" flipV="1">
            <a:off x="85488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5" name="Teardrop 3"/>
          <p:cNvSpPr/>
          <p:nvPr/>
        </p:nvSpPr>
        <p:spPr>
          <a:xfrm rot="5400000" flipH="1" flipV="1">
            <a:off x="11076421"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6" name="Teardrop 3"/>
          <p:cNvSpPr/>
          <p:nvPr/>
        </p:nvSpPr>
        <p:spPr>
          <a:xfrm rot="5400000" flipH="1" flipV="1">
            <a:off x="102338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7" name="Teardrop 3"/>
          <p:cNvSpPr/>
          <p:nvPr/>
        </p:nvSpPr>
        <p:spPr>
          <a:xfrm rot="5400000" flipH="1" flipV="1">
            <a:off x="1234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8" name="Teardrop 3"/>
          <p:cNvSpPr/>
          <p:nvPr/>
        </p:nvSpPr>
        <p:spPr>
          <a:xfrm rot="5400000" flipH="1" flipV="1">
            <a:off x="11760002" y="1531078"/>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9" name="Oval 698"/>
          <p:cNvSpPr/>
          <p:nvPr/>
        </p:nvSpPr>
        <p:spPr>
          <a:xfrm>
            <a:off x="70866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0" name="Oval 699"/>
          <p:cNvSpPr/>
          <p:nvPr/>
        </p:nvSpPr>
        <p:spPr>
          <a:xfrm>
            <a:off x="3463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1" name="Oval 700"/>
          <p:cNvSpPr/>
          <p:nvPr/>
        </p:nvSpPr>
        <p:spPr>
          <a:xfrm>
            <a:off x="11888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2" name="Oval 701"/>
          <p:cNvSpPr/>
          <p:nvPr/>
        </p:nvSpPr>
        <p:spPr>
          <a:xfrm>
            <a:off x="20314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3" name="Oval 702"/>
          <p:cNvSpPr/>
          <p:nvPr/>
        </p:nvSpPr>
        <p:spPr>
          <a:xfrm>
            <a:off x="28739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4" name="Oval 703"/>
          <p:cNvSpPr/>
          <p:nvPr/>
        </p:nvSpPr>
        <p:spPr>
          <a:xfrm>
            <a:off x="37164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5" name="Oval 704"/>
          <p:cNvSpPr/>
          <p:nvPr/>
        </p:nvSpPr>
        <p:spPr>
          <a:xfrm>
            <a:off x="45590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6" name="Oval 705"/>
          <p:cNvSpPr/>
          <p:nvPr/>
        </p:nvSpPr>
        <p:spPr>
          <a:xfrm>
            <a:off x="54015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7" name="Oval 706"/>
          <p:cNvSpPr/>
          <p:nvPr/>
        </p:nvSpPr>
        <p:spPr>
          <a:xfrm>
            <a:off x="62441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8" name="Oval 707"/>
          <p:cNvSpPr/>
          <p:nvPr/>
        </p:nvSpPr>
        <p:spPr>
          <a:xfrm>
            <a:off x="87717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9" name="Oval 708"/>
          <p:cNvSpPr/>
          <p:nvPr/>
        </p:nvSpPr>
        <p:spPr>
          <a:xfrm>
            <a:off x="79291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0" name="Oval 709"/>
          <p:cNvSpPr/>
          <p:nvPr/>
        </p:nvSpPr>
        <p:spPr>
          <a:xfrm>
            <a:off x="104568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1" name="Oval 710"/>
          <p:cNvSpPr/>
          <p:nvPr/>
        </p:nvSpPr>
        <p:spPr>
          <a:xfrm>
            <a:off x="96142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2" name="Oval 711"/>
          <p:cNvSpPr/>
          <p:nvPr/>
        </p:nvSpPr>
        <p:spPr>
          <a:xfrm>
            <a:off x="112993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3" name="Teardrop 3"/>
          <p:cNvSpPr/>
          <p:nvPr/>
        </p:nvSpPr>
        <p:spPr>
          <a:xfrm rot="5400000" flipH="1" flipV="1">
            <a:off x="64427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4" name="Teardrop 3"/>
          <p:cNvSpPr/>
          <p:nvPr/>
        </p:nvSpPr>
        <p:spPr>
          <a:xfrm rot="5400000" flipH="1" flipV="1">
            <a:off x="-148774" y="1946410"/>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5" name="Teardrop 3"/>
          <p:cNvSpPr/>
          <p:nvPr/>
        </p:nvSpPr>
        <p:spPr>
          <a:xfrm rot="5400000" flipH="1" flipV="1">
            <a:off x="13875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6" name="Teardrop 3"/>
          <p:cNvSpPr/>
          <p:nvPr/>
        </p:nvSpPr>
        <p:spPr>
          <a:xfrm rot="5400000" flipH="1" flipV="1">
            <a:off x="22300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7" name="Teardrop 3"/>
          <p:cNvSpPr/>
          <p:nvPr/>
        </p:nvSpPr>
        <p:spPr>
          <a:xfrm rot="5400000" flipH="1" flipV="1">
            <a:off x="30726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8" name="Teardrop 3"/>
          <p:cNvSpPr/>
          <p:nvPr/>
        </p:nvSpPr>
        <p:spPr>
          <a:xfrm rot="5400000" flipH="1" flipV="1">
            <a:off x="39151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9" name="Teardrop 3"/>
          <p:cNvSpPr/>
          <p:nvPr/>
        </p:nvSpPr>
        <p:spPr>
          <a:xfrm rot="5400000" flipH="1" flipV="1">
            <a:off x="47576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0" name="Teardrop 3"/>
          <p:cNvSpPr/>
          <p:nvPr/>
        </p:nvSpPr>
        <p:spPr>
          <a:xfrm rot="5400000" flipH="1" flipV="1">
            <a:off x="56002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1" name="Teardrop 3"/>
          <p:cNvSpPr/>
          <p:nvPr/>
        </p:nvSpPr>
        <p:spPr>
          <a:xfrm rot="5400000" flipH="1" flipV="1">
            <a:off x="81278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2" name="Teardrop 3"/>
          <p:cNvSpPr/>
          <p:nvPr/>
        </p:nvSpPr>
        <p:spPr>
          <a:xfrm rot="5400000" flipH="1" flipV="1">
            <a:off x="72853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3" name="Teardrop 3"/>
          <p:cNvSpPr/>
          <p:nvPr/>
        </p:nvSpPr>
        <p:spPr>
          <a:xfrm rot="5400000" flipH="1" flipV="1">
            <a:off x="98129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4" name="Teardrop 3"/>
          <p:cNvSpPr/>
          <p:nvPr/>
        </p:nvSpPr>
        <p:spPr>
          <a:xfrm rot="5400000" flipH="1" flipV="1">
            <a:off x="89703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5" name="Teardrop 3"/>
          <p:cNvSpPr/>
          <p:nvPr/>
        </p:nvSpPr>
        <p:spPr>
          <a:xfrm rot="5400000" flipH="1" flipV="1">
            <a:off x="11498011"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6" name="Teardrop 3"/>
          <p:cNvSpPr/>
          <p:nvPr/>
        </p:nvSpPr>
        <p:spPr>
          <a:xfrm rot="5400000" flipH="1" flipV="1">
            <a:off x="106554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7" name="Teardrop 3"/>
          <p:cNvSpPr/>
          <p:nvPr/>
        </p:nvSpPr>
        <p:spPr>
          <a:xfrm rot="5400000" flipH="1" flipV="1">
            <a:off x="5449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8" name="Oval 727"/>
          <p:cNvSpPr/>
          <p:nvPr/>
        </p:nvSpPr>
        <p:spPr>
          <a:xfrm>
            <a:off x="66645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9" name="Oval 728"/>
          <p:cNvSpPr/>
          <p:nvPr/>
        </p:nvSpPr>
        <p:spPr>
          <a:xfrm>
            <a:off x="7667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0" name="Oval 729"/>
          <p:cNvSpPr/>
          <p:nvPr/>
        </p:nvSpPr>
        <p:spPr>
          <a:xfrm>
            <a:off x="16092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1" name="Oval 730"/>
          <p:cNvSpPr/>
          <p:nvPr/>
        </p:nvSpPr>
        <p:spPr>
          <a:xfrm>
            <a:off x="24518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2" name="Oval 731"/>
          <p:cNvSpPr/>
          <p:nvPr/>
        </p:nvSpPr>
        <p:spPr>
          <a:xfrm>
            <a:off x="32943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3" name="Oval 732"/>
          <p:cNvSpPr/>
          <p:nvPr/>
        </p:nvSpPr>
        <p:spPr>
          <a:xfrm>
            <a:off x="41368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4" name="Oval 733"/>
          <p:cNvSpPr/>
          <p:nvPr/>
        </p:nvSpPr>
        <p:spPr>
          <a:xfrm>
            <a:off x="49794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5" name="Oval 734"/>
          <p:cNvSpPr/>
          <p:nvPr/>
        </p:nvSpPr>
        <p:spPr>
          <a:xfrm>
            <a:off x="58219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6" name="Oval 735"/>
          <p:cNvSpPr/>
          <p:nvPr/>
        </p:nvSpPr>
        <p:spPr>
          <a:xfrm>
            <a:off x="83495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7" name="Oval 736"/>
          <p:cNvSpPr/>
          <p:nvPr/>
        </p:nvSpPr>
        <p:spPr>
          <a:xfrm>
            <a:off x="75070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8" name="Oval 737"/>
          <p:cNvSpPr/>
          <p:nvPr/>
        </p:nvSpPr>
        <p:spPr>
          <a:xfrm>
            <a:off x="100346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9" name="Oval 738"/>
          <p:cNvSpPr/>
          <p:nvPr/>
        </p:nvSpPr>
        <p:spPr>
          <a:xfrm>
            <a:off x="91921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0" name="Oval 739"/>
          <p:cNvSpPr/>
          <p:nvPr/>
        </p:nvSpPr>
        <p:spPr>
          <a:xfrm>
            <a:off x="11719750"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1" name="Oval 740"/>
          <p:cNvSpPr/>
          <p:nvPr/>
        </p:nvSpPr>
        <p:spPr>
          <a:xfrm>
            <a:off x="108772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2" name="Teardrop 3"/>
          <p:cNvSpPr/>
          <p:nvPr/>
        </p:nvSpPr>
        <p:spPr>
          <a:xfrm rot="5400000" flipH="1" flipV="1">
            <a:off x="60211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3" name="Teardrop 3"/>
          <p:cNvSpPr/>
          <p:nvPr/>
        </p:nvSpPr>
        <p:spPr>
          <a:xfrm rot="5400000" flipH="1" flipV="1">
            <a:off x="9659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4" name="Teardrop 3"/>
          <p:cNvSpPr/>
          <p:nvPr/>
        </p:nvSpPr>
        <p:spPr>
          <a:xfrm rot="5400000" flipH="1" flipV="1">
            <a:off x="18084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5" name="Teardrop 3"/>
          <p:cNvSpPr/>
          <p:nvPr/>
        </p:nvSpPr>
        <p:spPr>
          <a:xfrm rot="5400000" flipH="1" flipV="1">
            <a:off x="26510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6" name="Teardrop 3"/>
          <p:cNvSpPr/>
          <p:nvPr/>
        </p:nvSpPr>
        <p:spPr>
          <a:xfrm rot="5400000" flipH="1" flipV="1">
            <a:off x="34935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7" name="Teardrop 3"/>
          <p:cNvSpPr/>
          <p:nvPr/>
        </p:nvSpPr>
        <p:spPr>
          <a:xfrm rot="5400000" flipH="1" flipV="1">
            <a:off x="43361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8" name="Teardrop 3"/>
          <p:cNvSpPr/>
          <p:nvPr/>
        </p:nvSpPr>
        <p:spPr>
          <a:xfrm rot="5400000" flipH="1" flipV="1">
            <a:off x="51786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9" name="Teardrop 3"/>
          <p:cNvSpPr/>
          <p:nvPr/>
        </p:nvSpPr>
        <p:spPr>
          <a:xfrm rot="5400000" flipH="1" flipV="1">
            <a:off x="77062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0" name="Teardrop 3"/>
          <p:cNvSpPr/>
          <p:nvPr/>
        </p:nvSpPr>
        <p:spPr>
          <a:xfrm rot="5400000" flipH="1" flipV="1">
            <a:off x="68637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1" name="Teardrop 3"/>
          <p:cNvSpPr/>
          <p:nvPr/>
        </p:nvSpPr>
        <p:spPr>
          <a:xfrm rot="5400000" flipH="1" flipV="1">
            <a:off x="93913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2" name="Teardrop 3"/>
          <p:cNvSpPr/>
          <p:nvPr/>
        </p:nvSpPr>
        <p:spPr>
          <a:xfrm rot="5400000" flipH="1" flipV="1">
            <a:off x="85488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3" name="Teardrop 3"/>
          <p:cNvSpPr/>
          <p:nvPr/>
        </p:nvSpPr>
        <p:spPr>
          <a:xfrm rot="5400000" flipH="1" flipV="1">
            <a:off x="11076421"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4" name="Teardrop 3"/>
          <p:cNvSpPr/>
          <p:nvPr/>
        </p:nvSpPr>
        <p:spPr>
          <a:xfrm rot="5400000" flipH="1" flipV="1">
            <a:off x="102338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5" name="Teardrop 3"/>
          <p:cNvSpPr/>
          <p:nvPr/>
        </p:nvSpPr>
        <p:spPr>
          <a:xfrm rot="5400000" flipH="1" flipV="1">
            <a:off x="1234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6" name="Teardrop 3"/>
          <p:cNvSpPr/>
          <p:nvPr/>
        </p:nvSpPr>
        <p:spPr>
          <a:xfrm rot="5400000" flipH="1" flipV="1">
            <a:off x="11760003" y="2373673"/>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7" name="Oval 756"/>
          <p:cNvSpPr/>
          <p:nvPr/>
        </p:nvSpPr>
        <p:spPr>
          <a:xfrm>
            <a:off x="70866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8" name="Oval 757"/>
          <p:cNvSpPr/>
          <p:nvPr/>
        </p:nvSpPr>
        <p:spPr>
          <a:xfrm>
            <a:off x="3463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9" name="Oval 758"/>
          <p:cNvSpPr/>
          <p:nvPr/>
        </p:nvSpPr>
        <p:spPr>
          <a:xfrm>
            <a:off x="11888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0" name="Oval 759"/>
          <p:cNvSpPr/>
          <p:nvPr/>
        </p:nvSpPr>
        <p:spPr>
          <a:xfrm>
            <a:off x="20314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1" name="Oval 760"/>
          <p:cNvSpPr/>
          <p:nvPr/>
        </p:nvSpPr>
        <p:spPr>
          <a:xfrm>
            <a:off x="28739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2" name="Oval 761"/>
          <p:cNvSpPr/>
          <p:nvPr/>
        </p:nvSpPr>
        <p:spPr>
          <a:xfrm>
            <a:off x="37164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3" name="Oval 762"/>
          <p:cNvSpPr/>
          <p:nvPr/>
        </p:nvSpPr>
        <p:spPr>
          <a:xfrm>
            <a:off x="45590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4" name="Oval 763"/>
          <p:cNvSpPr/>
          <p:nvPr/>
        </p:nvSpPr>
        <p:spPr>
          <a:xfrm>
            <a:off x="54015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5" name="Oval 764"/>
          <p:cNvSpPr/>
          <p:nvPr/>
        </p:nvSpPr>
        <p:spPr>
          <a:xfrm>
            <a:off x="62441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6" name="Oval 765"/>
          <p:cNvSpPr/>
          <p:nvPr/>
        </p:nvSpPr>
        <p:spPr>
          <a:xfrm>
            <a:off x="87717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7" name="Oval 766"/>
          <p:cNvSpPr/>
          <p:nvPr/>
        </p:nvSpPr>
        <p:spPr>
          <a:xfrm>
            <a:off x="79291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8" name="Oval 767"/>
          <p:cNvSpPr/>
          <p:nvPr/>
        </p:nvSpPr>
        <p:spPr>
          <a:xfrm>
            <a:off x="104568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9" name="Oval 768"/>
          <p:cNvSpPr/>
          <p:nvPr/>
        </p:nvSpPr>
        <p:spPr>
          <a:xfrm>
            <a:off x="96142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0" name="Oval 769"/>
          <p:cNvSpPr/>
          <p:nvPr/>
        </p:nvSpPr>
        <p:spPr>
          <a:xfrm>
            <a:off x="112993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1" name="Teardrop 3"/>
          <p:cNvSpPr/>
          <p:nvPr/>
        </p:nvSpPr>
        <p:spPr>
          <a:xfrm rot="5400000" flipH="1" flipV="1">
            <a:off x="64427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2" name="Teardrop 3"/>
          <p:cNvSpPr/>
          <p:nvPr/>
        </p:nvSpPr>
        <p:spPr>
          <a:xfrm rot="5400000" flipH="1" flipV="1">
            <a:off x="-148774" y="279508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3" name="Teardrop 3"/>
          <p:cNvSpPr/>
          <p:nvPr/>
        </p:nvSpPr>
        <p:spPr>
          <a:xfrm rot="5400000" flipH="1" flipV="1">
            <a:off x="13875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4" name="Teardrop 3"/>
          <p:cNvSpPr/>
          <p:nvPr/>
        </p:nvSpPr>
        <p:spPr>
          <a:xfrm rot="5400000" flipH="1" flipV="1">
            <a:off x="22300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5" name="Teardrop 3"/>
          <p:cNvSpPr/>
          <p:nvPr/>
        </p:nvSpPr>
        <p:spPr>
          <a:xfrm rot="5400000" flipH="1" flipV="1">
            <a:off x="30726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6" name="Teardrop 3"/>
          <p:cNvSpPr/>
          <p:nvPr/>
        </p:nvSpPr>
        <p:spPr>
          <a:xfrm rot="5400000" flipH="1" flipV="1">
            <a:off x="39151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7" name="Teardrop 3"/>
          <p:cNvSpPr/>
          <p:nvPr/>
        </p:nvSpPr>
        <p:spPr>
          <a:xfrm rot="5400000" flipH="1" flipV="1">
            <a:off x="47576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8" name="Teardrop 3"/>
          <p:cNvSpPr/>
          <p:nvPr/>
        </p:nvSpPr>
        <p:spPr>
          <a:xfrm rot="5400000" flipH="1" flipV="1">
            <a:off x="56002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9" name="Teardrop 3"/>
          <p:cNvSpPr/>
          <p:nvPr/>
        </p:nvSpPr>
        <p:spPr>
          <a:xfrm rot="5400000" flipH="1" flipV="1">
            <a:off x="81278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0" name="Teardrop 3"/>
          <p:cNvSpPr/>
          <p:nvPr/>
        </p:nvSpPr>
        <p:spPr>
          <a:xfrm rot="5400000" flipH="1" flipV="1">
            <a:off x="72853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1" name="Teardrop 3"/>
          <p:cNvSpPr/>
          <p:nvPr/>
        </p:nvSpPr>
        <p:spPr>
          <a:xfrm rot="5400000" flipH="1" flipV="1">
            <a:off x="98129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2" name="Teardrop 3"/>
          <p:cNvSpPr/>
          <p:nvPr/>
        </p:nvSpPr>
        <p:spPr>
          <a:xfrm rot="5400000" flipH="1" flipV="1">
            <a:off x="89703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3" name="Teardrop 3"/>
          <p:cNvSpPr/>
          <p:nvPr/>
        </p:nvSpPr>
        <p:spPr>
          <a:xfrm rot="5400000" flipH="1" flipV="1">
            <a:off x="11498011"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4" name="Teardrop 3"/>
          <p:cNvSpPr/>
          <p:nvPr/>
        </p:nvSpPr>
        <p:spPr>
          <a:xfrm rot="5400000" flipH="1" flipV="1">
            <a:off x="106554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5" name="Teardrop 3"/>
          <p:cNvSpPr/>
          <p:nvPr/>
        </p:nvSpPr>
        <p:spPr>
          <a:xfrm rot="5400000" flipH="1" flipV="1">
            <a:off x="5449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6" name="Oval 785"/>
          <p:cNvSpPr/>
          <p:nvPr/>
        </p:nvSpPr>
        <p:spPr>
          <a:xfrm>
            <a:off x="66645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7" name="Oval 786"/>
          <p:cNvSpPr/>
          <p:nvPr/>
        </p:nvSpPr>
        <p:spPr>
          <a:xfrm>
            <a:off x="7667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8" name="Oval 787"/>
          <p:cNvSpPr/>
          <p:nvPr/>
        </p:nvSpPr>
        <p:spPr>
          <a:xfrm>
            <a:off x="16092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9" name="Oval 788"/>
          <p:cNvSpPr/>
          <p:nvPr/>
        </p:nvSpPr>
        <p:spPr>
          <a:xfrm>
            <a:off x="24518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0" name="Oval 789"/>
          <p:cNvSpPr/>
          <p:nvPr/>
        </p:nvSpPr>
        <p:spPr>
          <a:xfrm>
            <a:off x="32943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1" name="Oval 790"/>
          <p:cNvSpPr/>
          <p:nvPr/>
        </p:nvSpPr>
        <p:spPr>
          <a:xfrm>
            <a:off x="41368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2" name="Oval 791"/>
          <p:cNvSpPr/>
          <p:nvPr/>
        </p:nvSpPr>
        <p:spPr>
          <a:xfrm>
            <a:off x="49794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3" name="Oval 792"/>
          <p:cNvSpPr/>
          <p:nvPr/>
        </p:nvSpPr>
        <p:spPr>
          <a:xfrm>
            <a:off x="58219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4" name="Oval 793"/>
          <p:cNvSpPr/>
          <p:nvPr/>
        </p:nvSpPr>
        <p:spPr>
          <a:xfrm>
            <a:off x="83495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5" name="Oval 794"/>
          <p:cNvSpPr/>
          <p:nvPr/>
        </p:nvSpPr>
        <p:spPr>
          <a:xfrm>
            <a:off x="75070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6" name="Oval 795"/>
          <p:cNvSpPr/>
          <p:nvPr/>
        </p:nvSpPr>
        <p:spPr>
          <a:xfrm>
            <a:off x="100346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7" name="Oval 796"/>
          <p:cNvSpPr/>
          <p:nvPr/>
        </p:nvSpPr>
        <p:spPr>
          <a:xfrm>
            <a:off x="91921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8" name="Oval 797"/>
          <p:cNvSpPr/>
          <p:nvPr/>
        </p:nvSpPr>
        <p:spPr>
          <a:xfrm>
            <a:off x="11719750"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9" name="Oval 798"/>
          <p:cNvSpPr/>
          <p:nvPr/>
        </p:nvSpPr>
        <p:spPr>
          <a:xfrm>
            <a:off x="108772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0" name="Teardrop 3"/>
          <p:cNvSpPr/>
          <p:nvPr/>
        </p:nvSpPr>
        <p:spPr>
          <a:xfrm rot="5400000" flipH="1" flipV="1">
            <a:off x="60211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1" name="Teardrop 3"/>
          <p:cNvSpPr/>
          <p:nvPr/>
        </p:nvSpPr>
        <p:spPr>
          <a:xfrm rot="5400000" flipH="1" flipV="1">
            <a:off x="9659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2" name="Teardrop 3"/>
          <p:cNvSpPr/>
          <p:nvPr/>
        </p:nvSpPr>
        <p:spPr>
          <a:xfrm rot="5400000" flipH="1" flipV="1">
            <a:off x="18084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3" name="Teardrop 3"/>
          <p:cNvSpPr/>
          <p:nvPr/>
        </p:nvSpPr>
        <p:spPr>
          <a:xfrm rot="5400000" flipH="1" flipV="1">
            <a:off x="26510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4" name="Teardrop 3"/>
          <p:cNvSpPr/>
          <p:nvPr/>
        </p:nvSpPr>
        <p:spPr>
          <a:xfrm rot="5400000" flipH="1" flipV="1">
            <a:off x="34935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5" name="Teardrop 3"/>
          <p:cNvSpPr/>
          <p:nvPr/>
        </p:nvSpPr>
        <p:spPr>
          <a:xfrm rot="5400000" flipH="1" flipV="1">
            <a:off x="43361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6" name="Teardrop 3"/>
          <p:cNvSpPr/>
          <p:nvPr/>
        </p:nvSpPr>
        <p:spPr>
          <a:xfrm rot="5400000" flipH="1" flipV="1">
            <a:off x="51786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7" name="Teardrop 3"/>
          <p:cNvSpPr/>
          <p:nvPr/>
        </p:nvSpPr>
        <p:spPr>
          <a:xfrm rot="5400000" flipH="1" flipV="1">
            <a:off x="77062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8" name="Teardrop 3"/>
          <p:cNvSpPr/>
          <p:nvPr/>
        </p:nvSpPr>
        <p:spPr>
          <a:xfrm rot="5400000" flipH="1" flipV="1">
            <a:off x="68637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9" name="Teardrop 3"/>
          <p:cNvSpPr/>
          <p:nvPr/>
        </p:nvSpPr>
        <p:spPr>
          <a:xfrm rot="5400000" flipH="1" flipV="1">
            <a:off x="93913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0" name="Teardrop 3"/>
          <p:cNvSpPr/>
          <p:nvPr/>
        </p:nvSpPr>
        <p:spPr>
          <a:xfrm rot="5400000" flipH="1" flipV="1">
            <a:off x="85488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1" name="Teardrop 3"/>
          <p:cNvSpPr/>
          <p:nvPr/>
        </p:nvSpPr>
        <p:spPr>
          <a:xfrm rot="5400000" flipH="1" flipV="1">
            <a:off x="11076421"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2" name="Teardrop 3"/>
          <p:cNvSpPr/>
          <p:nvPr/>
        </p:nvSpPr>
        <p:spPr>
          <a:xfrm rot="5400000" flipH="1" flipV="1">
            <a:off x="102338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3" name="Teardrop 3"/>
          <p:cNvSpPr/>
          <p:nvPr/>
        </p:nvSpPr>
        <p:spPr>
          <a:xfrm rot="5400000" flipH="1" flipV="1">
            <a:off x="1234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4" name="Teardrop 3"/>
          <p:cNvSpPr/>
          <p:nvPr/>
        </p:nvSpPr>
        <p:spPr>
          <a:xfrm rot="5400000" flipH="1" flipV="1">
            <a:off x="11760002" y="3223930"/>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5" name="Oval 814"/>
          <p:cNvSpPr/>
          <p:nvPr/>
        </p:nvSpPr>
        <p:spPr>
          <a:xfrm>
            <a:off x="70866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6" name="Oval 815"/>
          <p:cNvSpPr/>
          <p:nvPr/>
        </p:nvSpPr>
        <p:spPr>
          <a:xfrm>
            <a:off x="3463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7" name="Oval 816"/>
          <p:cNvSpPr/>
          <p:nvPr/>
        </p:nvSpPr>
        <p:spPr>
          <a:xfrm>
            <a:off x="11888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8" name="Oval 817"/>
          <p:cNvSpPr/>
          <p:nvPr/>
        </p:nvSpPr>
        <p:spPr>
          <a:xfrm>
            <a:off x="20314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9" name="Oval 818"/>
          <p:cNvSpPr/>
          <p:nvPr/>
        </p:nvSpPr>
        <p:spPr>
          <a:xfrm>
            <a:off x="28739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0" name="Oval 819"/>
          <p:cNvSpPr/>
          <p:nvPr/>
        </p:nvSpPr>
        <p:spPr>
          <a:xfrm>
            <a:off x="37164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1" name="Oval 820"/>
          <p:cNvSpPr/>
          <p:nvPr/>
        </p:nvSpPr>
        <p:spPr>
          <a:xfrm>
            <a:off x="45590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2" name="Oval 821"/>
          <p:cNvSpPr/>
          <p:nvPr/>
        </p:nvSpPr>
        <p:spPr>
          <a:xfrm>
            <a:off x="54015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3" name="Oval 822"/>
          <p:cNvSpPr/>
          <p:nvPr/>
        </p:nvSpPr>
        <p:spPr>
          <a:xfrm>
            <a:off x="62441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4" name="Oval 823"/>
          <p:cNvSpPr/>
          <p:nvPr/>
        </p:nvSpPr>
        <p:spPr>
          <a:xfrm>
            <a:off x="87717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5" name="Oval 824"/>
          <p:cNvSpPr/>
          <p:nvPr/>
        </p:nvSpPr>
        <p:spPr>
          <a:xfrm>
            <a:off x="79291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6" name="Oval 825"/>
          <p:cNvSpPr/>
          <p:nvPr/>
        </p:nvSpPr>
        <p:spPr>
          <a:xfrm>
            <a:off x="104568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7" name="Oval 826"/>
          <p:cNvSpPr/>
          <p:nvPr/>
        </p:nvSpPr>
        <p:spPr>
          <a:xfrm>
            <a:off x="96142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8" name="Oval 827"/>
          <p:cNvSpPr/>
          <p:nvPr/>
        </p:nvSpPr>
        <p:spPr>
          <a:xfrm>
            <a:off x="112993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9" name="Teardrop 3"/>
          <p:cNvSpPr/>
          <p:nvPr/>
        </p:nvSpPr>
        <p:spPr>
          <a:xfrm rot="5400000" flipH="1" flipV="1">
            <a:off x="64427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0" name="Teardrop 3"/>
          <p:cNvSpPr/>
          <p:nvPr/>
        </p:nvSpPr>
        <p:spPr>
          <a:xfrm rot="5400000" flipH="1" flipV="1">
            <a:off x="-148774" y="3639262"/>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1" name="Teardrop 3"/>
          <p:cNvSpPr/>
          <p:nvPr/>
        </p:nvSpPr>
        <p:spPr>
          <a:xfrm rot="5400000" flipH="1" flipV="1">
            <a:off x="13875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2" name="Teardrop 3"/>
          <p:cNvSpPr/>
          <p:nvPr/>
        </p:nvSpPr>
        <p:spPr>
          <a:xfrm rot="5400000" flipH="1" flipV="1">
            <a:off x="22300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3" name="Teardrop 3"/>
          <p:cNvSpPr/>
          <p:nvPr/>
        </p:nvSpPr>
        <p:spPr>
          <a:xfrm rot="5400000" flipH="1" flipV="1">
            <a:off x="30726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4" name="Teardrop 3"/>
          <p:cNvSpPr/>
          <p:nvPr/>
        </p:nvSpPr>
        <p:spPr>
          <a:xfrm rot="5400000" flipH="1" flipV="1">
            <a:off x="39151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5" name="Teardrop 3"/>
          <p:cNvSpPr/>
          <p:nvPr/>
        </p:nvSpPr>
        <p:spPr>
          <a:xfrm rot="5400000" flipH="1" flipV="1">
            <a:off x="47576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6" name="Teardrop 3"/>
          <p:cNvSpPr/>
          <p:nvPr/>
        </p:nvSpPr>
        <p:spPr>
          <a:xfrm rot="5400000" flipH="1" flipV="1">
            <a:off x="56002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7" name="Teardrop 3"/>
          <p:cNvSpPr/>
          <p:nvPr/>
        </p:nvSpPr>
        <p:spPr>
          <a:xfrm rot="5400000" flipH="1" flipV="1">
            <a:off x="81278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8" name="Teardrop 3"/>
          <p:cNvSpPr/>
          <p:nvPr/>
        </p:nvSpPr>
        <p:spPr>
          <a:xfrm rot="5400000" flipH="1" flipV="1">
            <a:off x="72853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9" name="Teardrop 3"/>
          <p:cNvSpPr/>
          <p:nvPr/>
        </p:nvSpPr>
        <p:spPr>
          <a:xfrm rot="5400000" flipH="1" flipV="1">
            <a:off x="98129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0" name="Teardrop 3"/>
          <p:cNvSpPr/>
          <p:nvPr/>
        </p:nvSpPr>
        <p:spPr>
          <a:xfrm rot="5400000" flipH="1" flipV="1">
            <a:off x="89703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1" name="Teardrop 3"/>
          <p:cNvSpPr/>
          <p:nvPr/>
        </p:nvSpPr>
        <p:spPr>
          <a:xfrm rot="5400000" flipH="1" flipV="1">
            <a:off x="11498011"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2" name="Teardrop 3"/>
          <p:cNvSpPr/>
          <p:nvPr/>
        </p:nvSpPr>
        <p:spPr>
          <a:xfrm rot="5400000" flipH="1" flipV="1">
            <a:off x="106554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3" name="Teardrop 3"/>
          <p:cNvSpPr/>
          <p:nvPr/>
        </p:nvSpPr>
        <p:spPr>
          <a:xfrm rot="5400000" flipH="1" flipV="1">
            <a:off x="5449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4" name="Oval 843"/>
          <p:cNvSpPr/>
          <p:nvPr/>
        </p:nvSpPr>
        <p:spPr>
          <a:xfrm>
            <a:off x="66645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5" name="Oval 844"/>
          <p:cNvSpPr/>
          <p:nvPr/>
        </p:nvSpPr>
        <p:spPr>
          <a:xfrm>
            <a:off x="7667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6" name="Oval 845"/>
          <p:cNvSpPr/>
          <p:nvPr/>
        </p:nvSpPr>
        <p:spPr>
          <a:xfrm>
            <a:off x="16092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7" name="Oval 846"/>
          <p:cNvSpPr/>
          <p:nvPr/>
        </p:nvSpPr>
        <p:spPr>
          <a:xfrm>
            <a:off x="24518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8" name="Oval 847"/>
          <p:cNvSpPr/>
          <p:nvPr/>
        </p:nvSpPr>
        <p:spPr>
          <a:xfrm>
            <a:off x="32943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9" name="Oval 848"/>
          <p:cNvSpPr/>
          <p:nvPr/>
        </p:nvSpPr>
        <p:spPr>
          <a:xfrm>
            <a:off x="41368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0" name="Oval 849"/>
          <p:cNvSpPr/>
          <p:nvPr/>
        </p:nvSpPr>
        <p:spPr>
          <a:xfrm>
            <a:off x="49794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1" name="Oval 850"/>
          <p:cNvSpPr/>
          <p:nvPr/>
        </p:nvSpPr>
        <p:spPr>
          <a:xfrm>
            <a:off x="58219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2" name="Oval 851"/>
          <p:cNvSpPr/>
          <p:nvPr/>
        </p:nvSpPr>
        <p:spPr>
          <a:xfrm>
            <a:off x="83495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3" name="Oval 852"/>
          <p:cNvSpPr/>
          <p:nvPr/>
        </p:nvSpPr>
        <p:spPr>
          <a:xfrm>
            <a:off x="75070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4" name="Oval 853"/>
          <p:cNvSpPr/>
          <p:nvPr/>
        </p:nvSpPr>
        <p:spPr>
          <a:xfrm>
            <a:off x="100346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5" name="Oval 854"/>
          <p:cNvSpPr/>
          <p:nvPr/>
        </p:nvSpPr>
        <p:spPr>
          <a:xfrm>
            <a:off x="91921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6" name="Oval 855"/>
          <p:cNvSpPr/>
          <p:nvPr/>
        </p:nvSpPr>
        <p:spPr>
          <a:xfrm>
            <a:off x="11719750"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7" name="Oval 856"/>
          <p:cNvSpPr/>
          <p:nvPr/>
        </p:nvSpPr>
        <p:spPr>
          <a:xfrm>
            <a:off x="108772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8" name="Teardrop 3"/>
          <p:cNvSpPr/>
          <p:nvPr/>
        </p:nvSpPr>
        <p:spPr>
          <a:xfrm rot="5400000" flipH="1" flipV="1">
            <a:off x="60211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9" name="Teardrop 3"/>
          <p:cNvSpPr/>
          <p:nvPr/>
        </p:nvSpPr>
        <p:spPr>
          <a:xfrm rot="5400000" flipH="1" flipV="1">
            <a:off x="9659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0" name="Teardrop 3"/>
          <p:cNvSpPr/>
          <p:nvPr/>
        </p:nvSpPr>
        <p:spPr>
          <a:xfrm rot="5400000" flipH="1" flipV="1">
            <a:off x="18084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1" name="Teardrop 3"/>
          <p:cNvSpPr/>
          <p:nvPr/>
        </p:nvSpPr>
        <p:spPr>
          <a:xfrm rot="5400000" flipH="1" flipV="1">
            <a:off x="26510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2" name="Teardrop 3"/>
          <p:cNvSpPr/>
          <p:nvPr/>
        </p:nvSpPr>
        <p:spPr>
          <a:xfrm rot="5400000" flipH="1" flipV="1">
            <a:off x="34935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3" name="Teardrop 3"/>
          <p:cNvSpPr/>
          <p:nvPr/>
        </p:nvSpPr>
        <p:spPr>
          <a:xfrm rot="5400000" flipH="1" flipV="1">
            <a:off x="43361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4" name="Teardrop 3"/>
          <p:cNvSpPr/>
          <p:nvPr/>
        </p:nvSpPr>
        <p:spPr>
          <a:xfrm rot="5400000" flipH="1" flipV="1">
            <a:off x="51786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5" name="Teardrop 3"/>
          <p:cNvSpPr/>
          <p:nvPr/>
        </p:nvSpPr>
        <p:spPr>
          <a:xfrm rot="5400000" flipH="1" flipV="1">
            <a:off x="77062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6" name="Teardrop 3"/>
          <p:cNvSpPr/>
          <p:nvPr/>
        </p:nvSpPr>
        <p:spPr>
          <a:xfrm rot="5400000" flipH="1" flipV="1">
            <a:off x="68637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7" name="Teardrop 3"/>
          <p:cNvSpPr/>
          <p:nvPr/>
        </p:nvSpPr>
        <p:spPr>
          <a:xfrm rot="5400000" flipH="1" flipV="1">
            <a:off x="93913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8" name="Teardrop 3"/>
          <p:cNvSpPr/>
          <p:nvPr/>
        </p:nvSpPr>
        <p:spPr>
          <a:xfrm rot="5400000" flipH="1" flipV="1">
            <a:off x="85488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9" name="Teardrop 3"/>
          <p:cNvSpPr/>
          <p:nvPr/>
        </p:nvSpPr>
        <p:spPr>
          <a:xfrm rot="5400000" flipH="1" flipV="1">
            <a:off x="11076421"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0" name="Teardrop 3"/>
          <p:cNvSpPr/>
          <p:nvPr/>
        </p:nvSpPr>
        <p:spPr>
          <a:xfrm rot="5400000" flipH="1" flipV="1">
            <a:off x="102338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1" name="Teardrop 3"/>
          <p:cNvSpPr/>
          <p:nvPr/>
        </p:nvSpPr>
        <p:spPr>
          <a:xfrm rot="5400000" flipH="1" flipV="1">
            <a:off x="1234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2" name="Teardrop 3"/>
          <p:cNvSpPr/>
          <p:nvPr/>
        </p:nvSpPr>
        <p:spPr>
          <a:xfrm rot="5400000" flipH="1" flipV="1">
            <a:off x="11760002" y="4069935"/>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8" y="250112"/>
                  <a:pt x="155376" y="250112"/>
                </a:cubicBezTo>
                <a:cubicBezTo>
                  <a:pt x="174455" y="249746"/>
                  <a:pt x="198601" y="254980"/>
                  <a:pt x="211458" y="268141"/>
                </a:cubicBezTo>
                <a:cubicBezTo>
                  <a:pt x="215886"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7"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60" y="254779"/>
                  <a:pt x="246352" y="254786"/>
                </a:cubicBezTo>
                <a:cubicBezTo>
                  <a:pt x="246345"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9"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90" y="195895"/>
                  <a:pt x="53000" y="178457"/>
                  <a:pt x="53000" y="159854"/>
                </a:cubicBezTo>
                <a:cubicBezTo>
                  <a:pt x="53000" y="132604"/>
                  <a:pt x="63706" y="107854"/>
                  <a:pt x="81286" y="89721"/>
                </a:cubicBez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3" name="Oval 872"/>
          <p:cNvSpPr/>
          <p:nvPr/>
        </p:nvSpPr>
        <p:spPr>
          <a:xfrm>
            <a:off x="70866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4" name="Oval 873"/>
          <p:cNvSpPr/>
          <p:nvPr/>
        </p:nvSpPr>
        <p:spPr>
          <a:xfrm>
            <a:off x="3463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5" name="Oval 874"/>
          <p:cNvSpPr/>
          <p:nvPr/>
        </p:nvSpPr>
        <p:spPr>
          <a:xfrm>
            <a:off x="11888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6" name="Oval 875"/>
          <p:cNvSpPr/>
          <p:nvPr/>
        </p:nvSpPr>
        <p:spPr>
          <a:xfrm>
            <a:off x="20314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7" name="Oval 876"/>
          <p:cNvSpPr/>
          <p:nvPr/>
        </p:nvSpPr>
        <p:spPr>
          <a:xfrm>
            <a:off x="28739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8" name="Oval 877"/>
          <p:cNvSpPr/>
          <p:nvPr/>
        </p:nvSpPr>
        <p:spPr>
          <a:xfrm>
            <a:off x="37164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9" name="Oval 878"/>
          <p:cNvSpPr/>
          <p:nvPr/>
        </p:nvSpPr>
        <p:spPr>
          <a:xfrm>
            <a:off x="45590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0" name="Oval 879"/>
          <p:cNvSpPr/>
          <p:nvPr/>
        </p:nvSpPr>
        <p:spPr>
          <a:xfrm>
            <a:off x="54015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1" name="Oval 880"/>
          <p:cNvSpPr/>
          <p:nvPr/>
        </p:nvSpPr>
        <p:spPr>
          <a:xfrm>
            <a:off x="62441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2" name="Oval 881"/>
          <p:cNvSpPr/>
          <p:nvPr/>
        </p:nvSpPr>
        <p:spPr>
          <a:xfrm>
            <a:off x="87717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3" name="Oval 882"/>
          <p:cNvSpPr/>
          <p:nvPr/>
        </p:nvSpPr>
        <p:spPr>
          <a:xfrm>
            <a:off x="79291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4" name="Oval 883"/>
          <p:cNvSpPr/>
          <p:nvPr/>
        </p:nvSpPr>
        <p:spPr>
          <a:xfrm>
            <a:off x="104568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5" name="Oval 884"/>
          <p:cNvSpPr/>
          <p:nvPr/>
        </p:nvSpPr>
        <p:spPr>
          <a:xfrm>
            <a:off x="96142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6" name="Oval 885"/>
          <p:cNvSpPr/>
          <p:nvPr/>
        </p:nvSpPr>
        <p:spPr>
          <a:xfrm>
            <a:off x="112993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7" name="Teardrop 3"/>
          <p:cNvSpPr/>
          <p:nvPr/>
        </p:nvSpPr>
        <p:spPr>
          <a:xfrm rot="5400000" flipH="1" flipV="1">
            <a:off x="663614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8" name="Teardrop 3"/>
          <p:cNvSpPr/>
          <p:nvPr/>
        </p:nvSpPr>
        <p:spPr>
          <a:xfrm rot="5400000" flipH="1" flipV="1">
            <a:off x="22905" y="4316257"/>
            <a:ext cx="232840" cy="278649"/>
          </a:xfrm>
          <a:custGeom>
            <a:avLst/>
            <a:gdLst/>
            <a:ahLst/>
            <a:cxnLst/>
            <a:rect l="l" t="t" r="r" b="b"/>
            <a:pathLst>
              <a:path w="232840" h="278649">
                <a:moveTo>
                  <a:pt x="232840" y="8776"/>
                </a:moveTo>
                <a:cubicBezTo>
                  <a:pt x="232449" y="34030"/>
                  <a:pt x="222519" y="59101"/>
                  <a:pt x="203250" y="78369"/>
                </a:cubicBezTo>
                <a:cubicBezTo>
                  <a:pt x="190082" y="91537"/>
                  <a:pt x="174206" y="100343"/>
                  <a:pt x="157326" y="104416"/>
                </a:cubicBezTo>
                <a:cubicBezTo>
                  <a:pt x="166417" y="119205"/>
                  <a:pt x="171406" y="136643"/>
                  <a:pt x="171406" y="155247"/>
                </a:cubicBezTo>
                <a:cubicBezTo>
                  <a:pt x="171406" y="182497"/>
                  <a:pt x="160701" y="207247"/>
                  <a:pt x="143120" y="225380"/>
                </a:cubicBezTo>
                <a:cubicBezTo>
                  <a:pt x="124986" y="242961"/>
                  <a:pt x="100237" y="253667"/>
                  <a:pt x="72986" y="253667"/>
                </a:cubicBezTo>
                <a:cubicBezTo>
                  <a:pt x="54383" y="253667"/>
                  <a:pt x="36945" y="248677"/>
                  <a:pt x="22156" y="239586"/>
                </a:cubicBezTo>
                <a:lnTo>
                  <a:pt x="0" y="278649"/>
                </a:lnTo>
                <a:lnTo>
                  <a:pt x="0" y="260595"/>
                </a:lnTo>
                <a:cubicBezTo>
                  <a:pt x="5973" y="252057"/>
                  <a:pt x="9654" y="242433"/>
                  <a:pt x="11467" y="232488"/>
                </a:cubicBezTo>
                <a:lnTo>
                  <a:pt x="0" y="218900"/>
                </a:lnTo>
                <a:lnTo>
                  <a:pt x="0" y="201603"/>
                </a:lnTo>
                <a:cubicBezTo>
                  <a:pt x="14950" y="226291"/>
                  <a:pt x="42305" y="241857"/>
                  <a:pt x="73296" y="241857"/>
                </a:cubicBezTo>
                <a:cubicBezTo>
                  <a:pt x="97207" y="241857"/>
                  <a:pt x="118953" y="232592"/>
                  <a:pt x="134965" y="217271"/>
                </a:cubicBezTo>
                <a:lnTo>
                  <a:pt x="0" y="82306"/>
                </a:lnTo>
                <a:lnTo>
                  <a:pt x="0" y="82216"/>
                </a:lnTo>
                <a:lnTo>
                  <a:pt x="135010" y="217225"/>
                </a:lnTo>
                <a:cubicBezTo>
                  <a:pt x="150331" y="201213"/>
                  <a:pt x="159597" y="179467"/>
                  <a:pt x="159597" y="155556"/>
                </a:cubicBezTo>
                <a:cubicBezTo>
                  <a:pt x="159597" y="105538"/>
                  <a:pt x="119048" y="64989"/>
                  <a:pt x="69030" y="64989"/>
                </a:cubicBezTo>
                <a:cubicBezTo>
                  <a:pt x="49952" y="65355"/>
                  <a:pt x="25806" y="60121"/>
                  <a:pt x="12948" y="46961"/>
                </a:cubicBezTo>
                <a:lnTo>
                  <a:pt x="0" y="66032"/>
                </a:lnTo>
                <a:lnTo>
                  <a:pt x="0" y="46474"/>
                </a:lnTo>
                <a:cubicBezTo>
                  <a:pt x="9193" y="32573"/>
                  <a:pt x="11853" y="16060"/>
                  <a:pt x="9334" y="0"/>
                </a:cubicBezTo>
                <a:lnTo>
                  <a:pt x="17529" y="0"/>
                </a:lnTo>
                <a:cubicBezTo>
                  <a:pt x="21671" y="11094"/>
                  <a:pt x="20740" y="22668"/>
                  <a:pt x="17673" y="33790"/>
                </a:cubicBezTo>
                <a:cubicBezTo>
                  <a:pt x="27631" y="50142"/>
                  <a:pt x="43609" y="53932"/>
                  <a:pt x="69593" y="53433"/>
                </a:cubicBezTo>
                <a:cubicBezTo>
                  <a:pt x="102600" y="53434"/>
                  <a:pt x="131938" y="69140"/>
                  <a:pt x="150227" y="93727"/>
                </a:cubicBezTo>
                <a:cubicBezTo>
                  <a:pt x="166735" y="90718"/>
                  <a:pt x="182357" y="82561"/>
                  <a:pt x="195118" y="69800"/>
                </a:cubicBezTo>
                <a:cubicBezTo>
                  <a:pt x="212026" y="52893"/>
                  <a:pt x="220851" y="30964"/>
                  <a:pt x="221339" y="8808"/>
                </a:cubicBezTo>
                <a:lnTo>
                  <a:pt x="136174" y="8808"/>
                </a:lnTo>
                <a:lnTo>
                  <a:pt x="136173" y="8744"/>
                </a:lnTo>
                <a:lnTo>
                  <a:pt x="221340" y="8744"/>
                </a:lnTo>
                <a:lnTo>
                  <a:pt x="219467" y="0"/>
                </a:lnTo>
                <a:lnTo>
                  <a:pt x="231012" y="0"/>
                </a:lnTo>
                <a:cubicBezTo>
                  <a:pt x="232616" y="2826"/>
                  <a:pt x="232794" y="5800"/>
                  <a:pt x="232840"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9" name="Teardrop 3"/>
          <p:cNvSpPr/>
          <p:nvPr/>
        </p:nvSpPr>
        <p:spPr>
          <a:xfrm rot="5400000" flipH="1" flipV="1">
            <a:off x="15809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6"/>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5"/>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0" name="Teardrop 3"/>
          <p:cNvSpPr/>
          <p:nvPr/>
        </p:nvSpPr>
        <p:spPr>
          <a:xfrm rot="5400000" flipH="1" flipV="1">
            <a:off x="24234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1" name="Teardrop 3"/>
          <p:cNvSpPr/>
          <p:nvPr/>
        </p:nvSpPr>
        <p:spPr>
          <a:xfrm rot="5400000" flipH="1" flipV="1">
            <a:off x="326598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2" name="Teardrop 3"/>
          <p:cNvSpPr/>
          <p:nvPr/>
        </p:nvSpPr>
        <p:spPr>
          <a:xfrm rot="5400000" flipH="1" flipV="1">
            <a:off x="4108522" y="4185695"/>
            <a:ext cx="232840" cy="539773"/>
          </a:xfrm>
          <a:custGeom>
            <a:avLst/>
            <a:gdLst/>
            <a:ahLst/>
            <a:cxnLst/>
            <a:rect l="l" t="t" r="r" b="b"/>
            <a:pathLst>
              <a:path w="232840" h="539773">
                <a:moveTo>
                  <a:pt x="221340" y="269867"/>
                </a:moveTo>
                <a:cubicBezTo>
                  <a:pt x="220851" y="247712"/>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3" name="Teardrop 3"/>
          <p:cNvSpPr/>
          <p:nvPr/>
        </p:nvSpPr>
        <p:spPr>
          <a:xfrm rot="5400000" flipH="1" flipV="1">
            <a:off x="495106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4" name="Teardrop 3"/>
          <p:cNvSpPr/>
          <p:nvPr/>
        </p:nvSpPr>
        <p:spPr>
          <a:xfrm rot="5400000" flipH="1" flipV="1">
            <a:off x="579360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5" name="Teardrop 3"/>
          <p:cNvSpPr/>
          <p:nvPr/>
        </p:nvSpPr>
        <p:spPr>
          <a:xfrm rot="5400000" flipH="1" flipV="1">
            <a:off x="832122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6" name="Teardrop 3"/>
          <p:cNvSpPr/>
          <p:nvPr/>
        </p:nvSpPr>
        <p:spPr>
          <a:xfrm rot="5400000" flipH="1" flipV="1">
            <a:off x="747868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7" name="Teardrop 3"/>
          <p:cNvSpPr/>
          <p:nvPr/>
        </p:nvSpPr>
        <p:spPr>
          <a:xfrm rot="5400000" flipH="1" flipV="1">
            <a:off x="100063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8" name="Teardrop 3"/>
          <p:cNvSpPr/>
          <p:nvPr/>
        </p:nvSpPr>
        <p:spPr>
          <a:xfrm rot="5400000" flipH="1" flipV="1">
            <a:off x="916376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7"/>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9" name="Teardrop 3"/>
          <p:cNvSpPr/>
          <p:nvPr/>
        </p:nvSpPr>
        <p:spPr>
          <a:xfrm rot="5400000" flipH="1" flipV="1">
            <a:off x="11691380"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0" name="Teardrop 3"/>
          <p:cNvSpPr/>
          <p:nvPr/>
        </p:nvSpPr>
        <p:spPr>
          <a:xfrm rot="5400000" flipH="1" flipV="1">
            <a:off x="108488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1" name="Teardrop 3"/>
          <p:cNvSpPr/>
          <p:nvPr/>
        </p:nvSpPr>
        <p:spPr>
          <a:xfrm rot="5400000" flipH="1" flipV="1">
            <a:off x="733383"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2"/>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8"/>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2" name="Oval 1651"/>
          <p:cNvSpPr/>
          <p:nvPr/>
        </p:nvSpPr>
        <p:spPr>
          <a:xfrm>
            <a:off x="812619" y="4561319"/>
            <a:ext cx="11030995" cy="10682"/>
          </a:xfrm>
          <a:custGeom>
            <a:avLst/>
            <a:gdLst/>
            <a:ahLst/>
            <a:cxnLst/>
            <a:rect l="l" t="t" r="r" b="b"/>
            <a:pathLst>
              <a:path w="11030995" h="10682">
                <a:moveTo>
                  <a:pt x="10992007" y="0"/>
                </a:moveTo>
                <a:cubicBezTo>
                  <a:pt x="11006265" y="0"/>
                  <a:pt x="11019702" y="3516"/>
                  <a:pt x="11030995" y="10682"/>
                </a:cubicBezTo>
                <a:lnTo>
                  <a:pt x="10953019" y="10682"/>
                </a:lnTo>
                <a:cubicBezTo>
                  <a:pt x="10964312" y="3516"/>
                  <a:pt x="10977749" y="0"/>
                  <a:pt x="10992007" y="0"/>
                </a:cubicBezTo>
                <a:close/>
                <a:moveTo>
                  <a:pt x="10149468" y="0"/>
                </a:moveTo>
                <a:cubicBezTo>
                  <a:pt x="10163726" y="0"/>
                  <a:pt x="10177163" y="3516"/>
                  <a:pt x="10188456" y="10682"/>
                </a:cubicBezTo>
                <a:lnTo>
                  <a:pt x="10110480" y="10682"/>
                </a:lnTo>
                <a:cubicBezTo>
                  <a:pt x="10121773" y="3516"/>
                  <a:pt x="10135210" y="0"/>
                  <a:pt x="10149468" y="0"/>
                </a:cubicBezTo>
                <a:close/>
                <a:moveTo>
                  <a:pt x="9306928" y="0"/>
                </a:moveTo>
                <a:cubicBezTo>
                  <a:pt x="9321186" y="0"/>
                  <a:pt x="9334623" y="3516"/>
                  <a:pt x="9345916" y="10682"/>
                </a:cubicBezTo>
                <a:lnTo>
                  <a:pt x="9267940" y="10682"/>
                </a:lnTo>
                <a:cubicBezTo>
                  <a:pt x="9279233" y="3516"/>
                  <a:pt x="9292670" y="0"/>
                  <a:pt x="9306928" y="0"/>
                </a:cubicBezTo>
                <a:close/>
                <a:moveTo>
                  <a:pt x="8464388" y="0"/>
                </a:moveTo>
                <a:cubicBezTo>
                  <a:pt x="8478646" y="0"/>
                  <a:pt x="8492083" y="3516"/>
                  <a:pt x="8503376" y="10682"/>
                </a:cubicBezTo>
                <a:lnTo>
                  <a:pt x="8425400" y="10682"/>
                </a:lnTo>
                <a:cubicBezTo>
                  <a:pt x="8436693" y="3516"/>
                  <a:pt x="8450130" y="0"/>
                  <a:pt x="8464388" y="0"/>
                </a:cubicBezTo>
                <a:close/>
                <a:moveTo>
                  <a:pt x="7621848" y="0"/>
                </a:moveTo>
                <a:cubicBezTo>
                  <a:pt x="7636106" y="0"/>
                  <a:pt x="7649543" y="3516"/>
                  <a:pt x="7660836" y="10682"/>
                </a:cubicBezTo>
                <a:lnTo>
                  <a:pt x="7582860" y="10682"/>
                </a:lnTo>
                <a:cubicBezTo>
                  <a:pt x="7594153" y="3516"/>
                  <a:pt x="7607590" y="0"/>
                  <a:pt x="7621848" y="0"/>
                </a:cubicBezTo>
                <a:close/>
                <a:moveTo>
                  <a:pt x="6779308" y="0"/>
                </a:moveTo>
                <a:cubicBezTo>
                  <a:pt x="6793566" y="0"/>
                  <a:pt x="6807003" y="3516"/>
                  <a:pt x="6818296" y="10682"/>
                </a:cubicBezTo>
                <a:lnTo>
                  <a:pt x="6740320" y="10682"/>
                </a:lnTo>
                <a:cubicBezTo>
                  <a:pt x="6751613" y="3516"/>
                  <a:pt x="6765050" y="0"/>
                  <a:pt x="6779308" y="0"/>
                </a:cubicBezTo>
                <a:close/>
                <a:moveTo>
                  <a:pt x="5936768" y="0"/>
                </a:moveTo>
                <a:cubicBezTo>
                  <a:pt x="5951026" y="0"/>
                  <a:pt x="5964463" y="3516"/>
                  <a:pt x="5975757" y="10682"/>
                </a:cubicBezTo>
                <a:lnTo>
                  <a:pt x="5897780" y="10682"/>
                </a:lnTo>
                <a:cubicBezTo>
                  <a:pt x="5909073" y="3516"/>
                  <a:pt x="5922510" y="0"/>
                  <a:pt x="5936768" y="0"/>
                </a:cubicBezTo>
                <a:close/>
                <a:moveTo>
                  <a:pt x="5094228" y="0"/>
                </a:moveTo>
                <a:cubicBezTo>
                  <a:pt x="5108486" y="0"/>
                  <a:pt x="5121923" y="3516"/>
                  <a:pt x="5133217" y="10682"/>
                </a:cubicBezTo>
                <a:lnTo>
                  <a:pt x="5055240" y="10682"/>
                </a:lnTo>
                <a:cubicBezTo>
                  <a:pt x="5066533" y="3516"/>
                  <a:pt x="5079970" y="0"/>
                  <a:pt x="5094228" y="0"/>
                </a:cubicBezTo>
                <a:close/>
                <a:moveTo>
                  <a:pt x="4251688" y="0"/>
                </a:moveTo>
                <a:cubicBezTo>
                  <a:pt x="4265946" y="0"/>
                  <a:pt x="4279383" y="3516"/>
                  <a:pt x="4290676" y="10682"/>
                </a:cubicBezTo>
                <a:lnTo>
                  <a:pt x="4212700" y="10682"/>
                </a:lnTo>
                <a:cubicBezTo>
                  <a:pt x="4223993" y="3516"/>
                  <a:pt x="4237430" y="0"/>
                  <a:pt x="4251688" y="0"/>
                </a:cubicBezTo>
                <a:close/>
                <a:moveTo>
                  <a:pt x="3409148" y="0"/>
                </a:moveTo>
                <a:cubicBezTo>
                  <a:pt x="3423406" y="0"/>
                  <a:pt x="3436843" y="3516"/>
                  <a:pt x="3448136" y="10682"/>
                </a:cubicBezTo>
                <a:lnTo>
                  <a:pt x="3370160" y="10682"/>
                </a:lnTo>
                <a:cubicBezTo>
                  <a:pt x="3381453" y="3516"/>
                  <a:pt x="3394890" y="0"/>
                  <a:pt x="3409148" y="0"/>
                </a:cubicBezTo>
                <a:close/>
                <a:moveTo>
                  <a:pt x="2566608" y="0"/>
                </a:moveTo>
                <a:cubicBezTo>
                  <a:pt x="2580866" y="0"/>
                  <a:pt x="2594303" y="3516"/>
                  <a:pt x="2605596" y="10682"/>
                </a:cubicBezTo>
                <a:lnTo>
                  <a:pt x="2527620" y="10682"/>
                </a:lnTo>
                <a:cubicBezTo>
                  <a:pt x="2538913" y="3516"/>
                  <a:pt x="2552350" y="0"/>
                  <a:pt x="2566608" y="0"/>
                </a:cubicBezTo>
                <a:close/>
                <a:moveTo>
                  <a:pt x="1724068" y="0"/>
                </a:moveTo>
                <a:cubicBezTo>
                  <a:pt x="1738326" y="0"/>
                  <a:pt x="1751763" y="3516"/>
                  <a:pt x="1763056" y="10682"/>
                </a:cubicBezTo>
                <a:lnTo>
                  <a:pt x="1685080" y="10682"/>
                </a:lnTo>
                <a:cubicBezTo>
                  <a:pt x="1696373" y="3516"/>
                  <a:pt x="1709810" y="0"/>
                  <a:pt x="1724068" y="0"/>
                </a:cubicBezTo>
                <a:close/>
                <a:moveTo>
                  <a:pt x="881528" y="0"/>
                </a:moveTo>
                <a:cubicBezTo>
                  <a:pt x="895786" y="0"/>
                  <a:pt x="909223" y="3516"/>
                  <a:pt x="920516" y="10682"/>
                </a:cubicBezTo>
                <a:lnTo>
                  <a:pt x="842540" y="10682"/>
                </a:lnTo>
                <a:cubicBezTo>
                  <a:pt x="853833" y="3516"/>
                  <a:pt x="867270" y="0"/>
                  <a:pt x="881528" y="0"/>
                </a:cubicBezTo>
                <a:close/>
                <a:moveTo>
                  <a:pt x="38988" y="0"/>
                </a:moveTo>
                <a:cubicBezTo>
                  <a:pt x="53246" y="0"/>
                  <a:pt x="66683" y="3516"/>
                  <a:pt x="77976" y="10682"/>
                </a:cubicBezTo>
                <a:lnTo>
                  <a:pt x="0" y="10682"/>
                </a:lnTo>
                <a:cubicBezTo>
                  <a:pt x="11293" y="3516"/>
                  <a:pt x="24730" y="0"/>
                  <a:pt x="389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3" name="Oval 902"/>
          <p:cNvSpPr/>
          <p:nvPr/>
        </p:nvSpPr>
        <p:spPr>
          <a:xfrm>
            <a:off x="71204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4" name="Oval 903"/>
          <p:cNvSpPr/>
          <p:nvPr/>
        </p:nvSpPr>
        <p:spPr>
          <a:xfrm>
            <a:off x="3774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5" name="Oval 904"/>
          <p:cNvSpPr/>
          <p:nvPr/>
        </p:nvSpPr>
        <p:spPr>
          <a:xfrm>
            <a:off x="12203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6" name="Oval 905"/>
          <p:cNvSpPr/>
          <p:nvPr/>
        </p:nvSpPr>
        <p:spPr>
          <a:xfrm>
            <a:off x="20632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7" name="Oval 906"/>
          <p:cNvSpPr/>
          <p:nvPr/>
        </p:nvSpPr>
        <p:spPr>
          <a:xfrm>
            <a:off x="29060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8" name="Oval 907"/>
          <p:cNvSpPr/>
          <p:nvPr/>
        </p:nvSpPr>
        <p:spPr>
          <a:xfrm>
            <a:off x="37489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9" name="Oval 908"/>
          <p:cNvSpPr/>
          <p:nvPr/>
        </p:nvSpPr>
        <p:spPr>
          <a:xfrm>
            <a:off x="45918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0" name="Oval 909"/>
          <p:cNvSpPr/>
          <p:nvPr/>
        </p:nvSpPr>
        <p:spPr>
          <a:xfrm>
            <a:off x="54347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1" name="Oval 910"/>
          <p:cNvSpPr/>
          <p:nvPr/>
        </p:nvSpPr>
        <p:spPr>
          <a:xfrm>
            <a:off x="62776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2" name="Oval 911"/>
          <p:cNvSpPr/>
          <p:nvPr/>
        </p:nvSpPr>
        <p:spPr>
          <a:xfrm>
            <a:off x="88062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3" name="Oval 912"/>
          <p:cNvSpPr/>
          <p:nvPr/>
        </p:nvSpPr>
        <p:spPr>
          <a:xfrm>
            <a:off x="79633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4" name="Oval 913"/>
          <p:cNvSpPr/>
          <p:nvPr/>
        </p:nvSpPr>
        <p:spPr>
          <a:xfrm>
            <a:off x="104920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5" name="Oval 914"/>
          <p:cNvSpPr/>
          <p:nvPr/>
        </p:nvSpPr>
        <p:spPr>
          <a:xfrm>
            <a:off x="96491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6" name="Oval 915"/>
          <p:cNvSpPr/>
          <p:nvPr/>
        </p:nvSpPr>
        <p:spPr>
          <a:xfrm>
            <a:off x="113348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7" name="Oval 916"/>
          <p:cNvSpPr/>
          <p:nvPr/>
        </p:nvSpPr>
        <p:spPr>
          <a:xfrm>
            <a:off x="71204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8" name="Oval 917"/>
          <p:cNvSpPr/>
          <p:nvPr/>
        </p:nvSpPr>
        <p:spPr>
          <a:xfrm>
            <a:off x="3774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9" name="Oval 918"/>
          <p:cNvSpPr/>
          <p:nvPr/>
        </p:nvSpPr>
        <p:spPr>
          <a:xfrm>
            <a:off x="12203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0" name="Oval 919"/>
          <p:cNvSpPr/>
          <p:nvPr/>
        </p:nvSpPr>
        <p:spPr>
          <a:xfrm>
            <a:off x="20632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1" name="Oval 920"/>
          <p:cNvSpPr/>
          <p:nvPr/>
        </p:nvSpPr>
        <p:spPr>
          <a:xfrm>
            <a:off x="29060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2" name="Oval 921"/>
          <p:cNvSpPr/>
          <p:nvPr/>
        </p:nvSpPr>
        <p:spPr>
          <a:xfrm>
            <a:off x="37489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3" name="Oval 922"/>
          <p:cNvSpPr/>
          <p:nvPr/>
        </p:nvSpPr>
        <p:spPr>
          <a:xfrm>
            <a:off x="45918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4" name="Oval 923"/>
          <p:cNvSpPr/>
          <p:nvPr/>
        </p:nvSpPr>
        <p:spPr>
          <a:xfrm>
            <a:off x="54347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5" name="Oval 924"/>
          <p:cNvSpPr/>
          <p:nvPr/>
        </p:nvSpPr>
        <p:spPr>
          <a:xfrm>
            <a:off x="62776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6" name="Oval 925"/>
          <p:cNvSpPr/>
          <p:nvPr/>
        </p:nvSpPr>
        <p:spPr>
          <a:xfrm>
            <a:off x="88062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7" name="Oval 926"/>
          <p:cNvSpPr/>
          <p:nvPr/>
        </p:nvSpPr>
        <p:spPr>
          <a:xfrm>
            <a:off x="79633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8" name="Oval 927"/>
          <p:cNvSpPr/>
          <p:nvPr/>
        </p:nvSpPr>
        <p:spPr>
          <a:xfrm>
            <a:off x="104920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9" name="Oval 928"/>
          <p:cNvSpPr/>
          <p:nvPr/>
        </p:nvSpPr>
        <p:spPr>
          <a:xfrm>
            <a:off x="96491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0" name="Oval 929"/>
          <p:cNvSpPr/>
          <p:nvPr/>
        </p:nvSpPr>
        <p:spPr>
          <a:xfrm>
            <a:off x="113348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1" name="Oval 930"/>
          <p:cNvSpPr/>
          <p:nvPr/>
        </p:nvSpPr>
        <p:spPr>
          <a:xfrm>
            <a:off x="71204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2" name="Oval 931"/>
          <p:cNvSpPr/>
          <p:nvPr/>
        </p:nvSpPr>
        <p:spPr>
          <a:xfrm>
            <a:off x="3774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3" name="Oval 932"/>
          <p:cNvSpPr/>
          <p:nvPr/>
        </p:nvSpPr>
        <p:spPr>
          <a:xfrm>
            <a:off x="12203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4" name="Oval 933"/>
          <p:cNvSpPr/>
          <p:nvPr/>
        </p:nvSpPr>
        <p:spPr>
          <a:xfrm>
            <a:off x="20632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5" name="Oval 934"/>
          <p:cNvSpPr/>
          <p:nvPr/>
        </p:nvSpPr>
        <p:spPr>
          <a:xfrm>
            <a:off x="29060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6" name="Oval 935"/>
          <p:cNvSpPr/>
          <p:nvPr/>
        </p:nvSpPr>
        <p:spPr>
          <a:xfrm>
            <a:off x="37489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7" name="Oval 936"/>
          <p:cNvSpPr/>
          <p:nvPr/>
        </p:nvSpPr>
        <p:spPr>
          <a:xfrm>
            <a:off x="45918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8" name="Oval 937"/>
          <p:cNvSpPr/>
          <p:nvPr/>
        </p:nvSpPr>
        <p:spPr>
          <a:xfrm>
            <a:off x="54347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9" name="Oval 938"/>
          <p:cNvSpPr/>
          <p:nvPr/>
        </p:nvSpPr>
        <p:spPr>
          <a:xfrm>
            <a:off x="62776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0" name="Oval 939"/>
          <p:cNvSpPr/>
          <p:nvPr/>
        </p:nvSpPr>
        <p:spPr>
          <a:xfrm>
            <a:off x="88062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1" name="Oval 940"/>
          <p:cNvSpPr/>
          <p:nvPr/>
        </p:nvSpPr>
        <p:spPr>
          <a:xfrm>
            <a:off x="79633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2" name="Oval 941"/>
          <p:cNvSpPr/>
          <p:nvPr/>
        </p:nvSpPr>
        <p:spPr>
          <a:xfrm>
            <a:off x="104920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3" name="Oval 942"/>
          <p:cNvSpPr/>
          <p:nvPr/>
        </p:nvSpPr>
        <p:spPr>
          <a:xfrm>
            <a:off x="96491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4" name="Oval 943"/>
          <p:cNvSpPr/>
          <p:nvPr/>
        </p:nvSpPr>
        <p:spPr>
          <a:xfrm>
            <a:off x="113348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5" name="Oval 944"/>
          <p:cNvSpPr/>
          <p:nvPr/>
        </p:nvSpPr>
        <p:spPr>
          <a:xfrm>
            <a:off x="71204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6" name="Oval 945"/>
          <p:cNvSpPr/>
          <p:nvPr/>
        </p:nvSpPr>
        <p:spPr>
          <a:xfrm>
            <a:off x="3774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7" name="Oval 946"/>
          <p:cNvSpPr/>
          <p:nvPr/>
        </p:nvSpPr>
        <p:spPr>
          <a:xfrm>
            <a:off x="12203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8" name="Oval 947"/>
          <p:cNvSpPr/>
          <p:nvPr/>
        </p:nvSpPr>
        <p:spPr>
          <a:xfrm>
            <a:off x="20632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9" name="Oval 948"/>
          <p:cNvSpPr/>
          <p:nvPr/>
        </p:nvSpPr>
        <p:spPr>
          <a:xfrm>
            <a:off x="29060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0" name="Oval 949"/>
          <p:cNvSpPr/>
          <p:nvPr/>
        </p:nvSpPr>
        <p:spPr>
          <a:xfrm>
            <a:off x="37489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1" name="Oval 950"/>
          <p:cNvSpPr/>
          <p:nvPr/>
        </p:nvSpPr>
        <p:spPr>
          <a:xfrm>
            <a:off x="45918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2" name="Oval 951"/>
          <p:cNvSpPr/>
          <p:nvPr/>
        </p:nvSpPr>
        <p:spPr>
          <a:xfrm>
            <a:off x="54347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3" name="Oval 952"/>
          <p:cNvSpPr/>
          <p:nvPr/>
        </p:nvSpPr>
        <p:spPr>
          <a:xfrm>
            <a:off x="62776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4" name="Oval 953"/>
          <p:cNvSpPr/>
          <p:nvPr/>
        </p:nvSpPr>
        <p:spPr>
          <a:xfrm>
            <a:off x="88062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5" name="Oval 954"/>
          <p:cNvSpPr/>
          <p:nvPr/>
        </p:nvSpPr>
        <p:spPr>
          <a:xfrm>
            <a:off x="79633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6" name="Oval 955"/>
          <p:cNvSpPr/>
          <p:nvPr/>
        </p:nvSpPr>
        <p:spPr>
          <a:xfrm>
            <a:off x="104920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7" name="Oval 956"/>
          <p:cNvSpPr/>
          <p:nvPr/>
        </p:nvSpPr>
        <p:spPr>
          <a:xfrm>
            <a:off x="96491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8" name="Oval 957"/>
          <p:cNvSpPr/>
          <p:nvPr/>
        </p:nvSpPr>
        <p:spPr>
          <a:xfrm>
            <a:off x="113348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9" name="Oval 958"/>
          <p:cNvSpPr/>
          <p:nvPr/>
        </p:nvSpPr>
        <p:spPr>
          <a:xfrm>
            <a:off x="71204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0" name="Oval 959"/>
          <p:cNvSpPr/>
          <p:nvPr/>
        </p:nvSpPr>
        <p:spPr>
          <a:xfrm>
            <a:off x="3774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1" name="Oval 960"/>
          <p:cNvSpPr/>
          <p:nvPr/>
        </p:nvSpPr>
        <p:spPr>
          <a:xfrm>
            <a:off x="12203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2" name="Oval 961"/>
          <p:cNvSpPr/>
          <p:nvPr/>
        </p:nvSpPr>
        <p:spPr>
          <a:xfrm>
            <a:off x="20632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3" name="Oval 962"/>
          <p:cNvSpPr/>
          <p:nvPr/>
        </p:nvSpPr>
        <p:spPr>
          <a:xfrm>
            <a:off x="29060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4" name="Oval 963"/>
          <p:cNvSpPr/>
          <p:nvPr/>
        </p:nvSpPr>
        <p:spPr>
          <a:xfrm>
            <a:off x="37489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5" name="Oval 964"/>
          <p:cNvSpPr/>
          <p:nvPr/>
        </p:nvSpPr>
        <p:spPr>
          <a:xfrm>
            <a:off x="45918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6" name="Oval 965"/>
          <p:cNvSpPr/>
          <p:nvPr/>
        </p:nvSpPr>
        <p:spPr>
          <a:xfrm>
            <a:off x="54347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7" name="Oval 966"/>
          <p:cNvSpPr/>
          <p:nvPr/>
        </p:nvSpPr>
        <p:spPr>
          <a:xfrm>
            <a:off x="62776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8" name="Oval 967"/>
          <p:cNvSpPr/>
          <p:nvPr/>
        </p:nvSpPr>
        <p:spPr>
          <a:xfrm>
            <a:off x="88062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9" name="Oval 968"/>
          <p:cNvSpPr/>
          <p:nvPr/>
        </p:nvSpPr>
        <p:spPr>
          <a:xfrm>
            <a:off x="79633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0" name="Oval 969"/>
          <p:cNvSpPr/>
          <p:nvPr/>
        </p:nvSpPr>
        <p:spPr>
          <a:xfrm>
            <a:off x="104920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1" name="Oval 970"/>
          <p:cNvSpPr/>
          <p:nvPr/>
        </p:nvSpPr>
        <p:spPr>
          <a:xfrm>
            <a:off x="96491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2" name="Oval 971"/>
          <p:cNvSpPr/>
          <p:nvPr/>
        </p:nvSpPr>
        <p:spPr>
          <a:xfrm>
            <a:off x="113348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tIns="45720" rIns="91440" bIns="4572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1190.004\683618(pptx)-E2 8-5-24</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2" y="5264106"/>
            <a:ext cx="0" cy="9144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3488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BB081B-2DC5-40D8-8E6C-2939DA7424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4" name="Text Placeholder 23">
            <a:extLst>
              <a:ext uri="{FF2B5EF4-FFF2-40B4-BE49-F238E27FC236}">
                <a16:creationId xmlns:a16="http://schemas.microsoft.com/office/drawing/2014/main" id="{7A1C55E9-25C9-406A-B47C-F099877A3480}"/>
              </a:ext>
            </a:extLst>
          </p:cNvPr>
          <p:cNvSpPr>
            <a:spLocks noGrp="1"/>
          </p:cNvSpPr>
          <p:nvPr>
            <p:ph type="body" sz="quarter" idx="11" hasCustomPrompt="1"/>
          </p:nvPr>
        </p:nvSpPr>
        <p:spPr>
          <a:xfrm>
            <a:off x="2986088" y="1173164"/>
            <a:ext cx="8939212" cy="4290658"/>
          </a:xfrm>
          <a:solidFill>
            <a:schemeClr val="accent3">
              <a:lumMod val="40000"/>
              <a:lumOff val="60000"/>
            </a:schemeClr>
          </a:solidFill>
        </p:spPr>
        <p:txBody>
          <a:bodyPr lIns="274320" tIns="91440" rIns="274320" bIns="91440" anchor="ctr" anchorCtr="0"/>
          <a:lstStyle>
            <a:lvl1pPr marL="274320" indent="-274320">
              <a:spcBef>
                <a:spcPts val="1800"/>
              </a:spcBef>
              <a:defRPr/>
            </a:lvl1pPr>
            <a:lvl2pPr marL="457200" indent="0">
              <a:buNone/>
              <a:defRPr/>
            </a:lvl2pPr>
          </a:lstStyle>
          <a:p>
            <a:pPr lvl="0"/>
            <a:r>
              <a:rPr lang="en-US"/>
              <a:t>Next Step One goes here</a:t>
            </a:r>
          </a:p>
          <a:p>
            <a:pPr lvl="0"/>
            <a:r>
              <a:rPr lang="en-US"/>
              <a:t>Next Step Two goes here</a:t>
            </a:r>
          </a:p>
          <a:p>
            <a:pPr lvl="0"/>
            <a:r>
              <a:rPr lang="en-US"/>
              <a:t>Next Step Three goes here</a:t>
            </a:r>
          </a:p>
        </p:txBody>
      </p:sp>
      <p:sp>
        <p:nvSpPr>
          <p:cNvPr id="43" name="Rectangle 42">
            <a:extLst>
              <a:ext uri="{FF2B5EF4-FFF2-40B4-BE49-F238E27FC236}">
                <a16:creationId xmlns:a16="http://schemas.microsoft.com/office/drawing/2014/main" id="{3B52B253-7D42-4E85-A8CD-4067AADE30DE}"/>
              </a:ext>
            </a:extLst>
          </p:cNvPr>
          <p:cNvSpPr/>
          <p:nvPr userDrawn="1"/>
        </p:nvSpPr>
        <p:spPr>
          <a:xfrm>
            <a:off x="266700" y="1173479"/>
            <a:ext cx="2720035" cy="4290659"/>
          </a:xfrm>
          <a:prstGeom prst="rect">
            <a:avLst/>
          </a:prstGeom>
          <a:solidFill>
            <a:schemeClr val="accent1"/>
          </a:solidFill>
          <a:ln>
            <a:noFill/>
          </a:ln>
          <a:effectLst>
            <a:outerShdw blurRad="1143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NEX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STEPS</a:t>
            </a:r>
          </a:p>
        </p:txBody>
      </p:sp>
      <p:grpSp>
        <p:nvGrpSpPr>
          <p:cNvPr id="4" name="Group 3">
            <a:extLst>
              <a:ext uri="{FF2B5EF4-FFF2-40B4-BE49-F238E27FC236}">
                <a16:creationId xmlns:a16="http://schemas.microsoft.com/office/drawing/2014/main" id="{6BA1CD3B-28EB-AFBE-F777-520931449940}"/>
              </a:ext>
            </a:extLst>
          </p:cNvPr>
          <p:cNvGrpSpPr/>
          <p:nvPr userDrawn="1"/>
        </p:nvGrpSpPr>
        <p:grpSpPr>
          <a:xfrm>
            <a:off x="626330" y="3038060"/>
            <a:ext cx="2000775" cy="1034830"/>
            <a:chOff x="588263" y="3038060"/>
            <a:chExt cx="2000775" cy="1034830"/>
          </a:xfrm>
        </p:grpSpPr>
        <p:sp>
          <p:nvSpPr>
            <p:cNvPr id="44" name="Arrow: Chevron 43">
              <a:extLst>
                <a:ext uri="{FF2B5EF4-FFF2-40B4-BE49-F238E27FC236}">
                  <a16:creationId xmlns:a16="http://schemas.microsoft.com/office/drawing/2014/main" id="{9CE28639-56AB-4B7D-B323-4864EB1AB83F}"/>
                </a:ext>
              </a:extLst>
            </p:cNvPr>
            <p:cNvSpPr/>
            <p:nvPr userDrawn="1"/>
          </p:nvSpPr>
          <p:spPr>
            <a:xfrm>
              <a:off x="2037392"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Arrow: Chevron 44">
              <a:extLst>
                <a:ext uri="{FF2B5EF4-FFF2-40B4-BE49-F238E27FC236}">
                  <a16:creationId xmlns:a16="http://schemas.microsoft.com/office/drawing/2014/main" id="{D3E12F6D-0F8F-4C19-A4ED-604BACED5DE5}"/>
                </a:ext>
              </a:extLst>
            </p:cNvPr>
            <p:cNvSpPr/>
            <p:nvPr userDrawn="1"/>
          </p:nvSpPr>
          <p:spPr>
            <a:xfrm>
              <a:off x="1554349"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Arrow: Chevron 45">
              <a:extLst>
                <a:ext uri="{FF2B5EF4-FFF2-40B4-BE49-F238E27FC236}">
                  <a16:creationId xmlns:a16="http://schemas.microsoft.com/office/drawing/2014/main" id="{3D49C03D-6243-4E54-AF1D-66175C54DD28}"/>
                </a:ext>
              </a:extLst>
            </p:cNvPr>
            <p:cNvSpPr/>
            <p:nvPr userDrawn="1"/>
          </p:nvSpPr>
          <p:spPr>
            <a:xfrm>
              <a:off x="1071306"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Arrow: Chevron 46">
              <a:extLst>
                <a:ext uri="{FF2B5EF4-FFF2-40B4-BE49-F238E27FC236}">
                  <a16:creationId xmlns:a16="http://schemas.microsoft.com/office/drawing/2014/main" id="{F1D32012-5B20-4721-910B-6BCF03A7318A}"/>
                </a:ext>
              </a:extLst>
            </p:cNvPr>
            <p:cNvSpPr/>
            <p:nvPr userDrawn="1"/>
          </p:nvSpPr>
          <p:spPr>
            <a:xfrm>
              <a:off x="588263" y="3038060"/>
              <a:ext cx="551646" cy="1034830"/>
            </a:xfrm>
            <a:prstGeom prst="chevron">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Footer Placeholder 1">
            <a:extLst>
              <a:ext uri="{FF2B5EF4-FFF2-40B4-BE49-F238E27FC236}">
                <a16:creationId xmlns:a16="http://schemas.microsoft.com/office/drawing/2014/main" id="{F8C297A0-4453-5642-C15F-E6AAE7FC71B6}"/>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21527072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3.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4.xml"/><Relationship Id="rId17" Type="http://schemas.openxmlformats.org/officeDocument/2006/relationships/image" Target="../media/image4.svg"/><Relationship Id="rId2" Type="http://schemas.openxmlformats.org/officeDocument/2006/relationships/slideLayout" Target="../slideLayouts/slideLayout14.xml"/><Relationship Id="rId16"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6.xml"/><Relationship Id="rId18" Type="http://schemas.openxmlformats.org/officeDocument/2006/relationships/image" Target="../media/image4.sv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34.xml"/><Relationship Id="rId5" Type="http://schemas.openxmlformats.org/officeDocument/2006/relationships/image" Target="../media/image7.emf"/><Relationship Id="rId4"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image" Target="../media/image4.sv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3.pn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heme" Target="../theme/theme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8.emf"/><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oleObject" Target="../embeddings/oleObject8.bin"/><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ags" Target="../tags/tag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6.xml"/><Relationship Id="rId18" Type="http://schemas.openxmlformats.org/officeDocument/2006/relationships/image" Target="../media/image4.sv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3.png"/><Relationship Id="rId2" Type="http://schemas.openxmlformats.org/officeDocument/2006/relationships/slideLayout" Target="../slideLayouts/slideLayout64.xml"/><Relationship Id="rId16" Type="http://schemas.openxmlformats.org/officeDocument/2006/relationships/image" Target="../media/image1.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oleObject" Target="../embeddings/oleObject9.bin"/><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0.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7.xml"/><Relationship Id="rId1" Type="http://schemas.openxmlformats.org/officeDocument/2006/relationships/slideLayout" Target="../slideLayouts/slideLayout75.xml"/><Relationship Id="rId5" Type="http://schemas.openxmlformats.org/officeDocument/2006/relationships/image" Target="../media/image7.emf"/><Relationship Id="rId4" Type="http://schemas.openxmlformats.org/officeDocument/2006/relationships/oleObject" Target="../embeddings/oleObject1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image" Target="../media/image3.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1.emf"/><Relationship Id="rId2" Type="http://schemas.openxmlformats.org/officeDocument/2006/relationships/slideLayout" Target="../slideLayouts/slideLayout77.xml"/><Relationship Id="rId16" Type="http://schemas.openxmlformats.org/officeDocument/2006/relationships/oleObject" Target="../embeddings/oleObject12.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tags" Target="../tags/tag13.xml"/><Relationship Id="rId10" Type="http://schemas.openxmlformats.org/officeDocument/2006/relationships/slideLayout" Target="../slideLayouts/slideLayout85.xml"/><Relationship Id="rId19" Type="http://schemas.openxmlformats.org/officeDocument/2006/relationships/image" Target="../media/image4.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B06881-379F-B281-B966-C0DFC7E61CED}"/>
              </a:ext>
            </a:extLst>
          </p:cNvPr>
          <p:cNvGraphicFramePr>
            <a:graphicFrameLocks noChangeAspect="1"/>
          </p:cNvGraphicFramePr>
          <p:nvPr userDrawn="1">
            <p:custDataLst>
              <p:tags r:id="rId14"/>
            </p:custDataLst>
            <p:extLst>
              <p:ext uri="{D42A27DB-BD31-4B8C-83A1-F6EECF244321}">
                <p14:modId xmlns:p14="http://schemas.microsoft.com/office/powerpoint/2010/main" val="399144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38" imgH="338" progId="TCLayout.ActiveDocument.1">
                  <p:embed/>
                </p:oleObj>
              </mc:Choice>
              <mc:Fallback>
                <p:oleObj name="think-cell Slide" r:id="rId15" imgW="338" imgH="338" progId="TCLayout.ActiveDocument.1">
                  <p:embed/>
                  <p:pic>
                    <p:nvPicPr>
                      <p:cNvPr id="9" name="Object 8" hidden="1">
                        <a:extLst>
                          <a:ext uri="{FF2B5EF4-FFF2-40B4-BE49-F238E27FC236}">
                            <a16:creationId xmlns:a16="http://schemas.microsoft.com/office/drawing/2014/main" id="{C5B06881-379F-B281-B966-C0DFC7E61CE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C49042-AF2C-4F46-826E-DE794A64D421}"/>
              </a:ext>
            </a:extLst>
          </p:cNvPr>
          <p:cNvSpPr>
            <a:spLocks noGrp="1"/>
          </p:cNvSpPr>
          <p:nvPr>
            <p:ph type="title"/>
          </p:nvPr>
        </p:nvSpPr>
        <p:spPr>
          <a:xfrm>
            <a:off x="266700" y="235313"/>
            <a:ext cx="11658600" cy="87782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9E29BA-39A3-4DAE-95D6-735489766F5E}"/>
              </a:ext>
            </a:extLst>
          </p:cNvPr>
          <p:cNvSpPr>
            <a:spLocks noGrp="1"/>
          </p:cNvSpPr>
          <p:nvPr>
            <p:ph type="body" idx="1"/>
          </p:nvPr>
        </p:nvSpPr>
        <p:spPr>
          <a:xfrm>
            <a:off x="266700" y="1173164"/>
            <a:ext cx="11658600" cy="48893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AE5EB9A-3810-4459-A308-D9C0D2B47CDE}"/>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6" name="Footer Placeholder 1">
            <a:extLst>
              <a:ext uri="{FF2B5EF4-FFF2-40B4-BE49-F238E27FC236}">
                <a16:creationId xmlns:a16="http://schemas.microsoft.com/office/drawing/2014/main" id="{AF168DD6-DC04-4AB8-810E-3849078F6C60}"/>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pic>
        <p:nvPicPr>
          <p:cNvPr id="10" name="Picture 9" descr="A close up of a sign&#10;&#10;Description automatically generated">
            <a:extLst>
              <a:ext uri="{FF2B5EF4-FFF2-40B4-BE49-F238E27FC236}">
                <a16:creationId xmlns:a16="http://schemas.microsoft.com/office/drawing/2014/main" id="{69415F4D-BC44-1FF8-D172-9C13B61AB2A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006866" y="6200871"/>
            <a:ext cx="1291513" cy="420624"/>
          </a:xfrm>
          <a:prstGeom prst="rect">
            <a:avLst/>
          </a:prstGeom>
        </p:spPr>
      </p:pic>
      <p:pic>
        <p:nvPicPr>
          <p:cNvPr id="4" name="Graphic 3">
            <a:extLst>
              <a:ext uri="{FF2B5EF4-FFF2-40B4-BE49-F238E27FC236}">
                <a16:creationId xmlns:a16="http://schemas.microsoft.com/office/drawing/2014/main" id="{91BF1707-1D67-53E4-48AF-F159B14FB87D}"/>
              </a:ext>
              <a:ext uri="{C183D7F6-B498-43B3-948B-1728B52AA6E4}">
                <adec:decorative xmlns:adec="http://schemas.microsoft.com/office/drawing/2017/decorative" val="1"/>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6938004" y="6306799"/>
            <a:ext cx="2926080" cy="188002"/>
          </a:xfrm>
          <a:prstGeom prst="rect">
            <a:avLst/>
          </a:prstGeom>
        </p:spPr>
      </p:pic>
      <p:sp>
        <p:nvSpPr>
          <p:cNvPr id="5" name="Footer Placeholder 3">
            <a:extLst>
              <a:ext uri="{FF2B5EF4-FFF2-40B4-BE49-F238E27FC236}">
                <a16:creationId xmlns:a16="http://schemas.microsoft.com/office/drawing/2014/main" id="{BA834C8B-1F9A-C7C6-CA96-7994C3509310}"/>
              </a:ext>
            </a:extLst>
          </p:cNvPr>
          <p:cNvSpPr txBox="1">
            <a:spLocks/>
          </p:cNvSpPr>
          <p:nvPr userDrawn="1"/>
        </p:nvSpPr>
        <p:spPr>
          <a:xfrm>
            <a:off x="274320" y="6216134"/>
            <a:ext cx="4052020" cy="415498"/>
          </a:xfrm>
          <a:prstGeom prst="rect">
            <a:avLst/>
          </a:prstGeom>
        </p:spPr>
        <p:txBody>
          <a:bodyPr wrap="square" lIns="0" bIns="0" anchor="b">
            <a:spAutoFit/>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FOR DISCUSSION PURPOSES </a:t>
            </a:r>
          </a:p>
        </p:txBody>
      </p:sp>
    </p:spTree>
    <p:extLst>
      <p:ext uri="{BB962C8B-B14F-4D97-AF65-F5344CB8AC3E}">
        <p14:creationId xmlns:p14="http://schemas.microsoft.com/office/powerpoint/2010/main" val="294779629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97" r:id="rId11"/>
    <p:sldLayoutId id="2147483699" r:id="rId12"/>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44">
          <p15:clr>
            <a:srgbClr val="A4A3A4"/>
          </p15:clr>
        </p15:guide>
        <p15:guide id="3" pos="168">
          <p15:clr>
            <a:srgbClr val="F26B43"/>
          </p15:clr>
        </p15:guide>
        <p15:guide id="4" pos="7512">
          <p15:clr>
            <a:srgbClr val="F26B43"/>
          </p15:clr>
        </p15:guide>
        <p15:guide id="6" orient="horz" pos="4176">
          <p15:clr>
            <a:srgbClr val="A4A3A4"/>
          </p15:clr>
        </p15:guide>
        <p15:guide id="11" orient="horz" pos="739">
          <p15:clr>
            <a:srgbClr val="C35EA4"/>
          </p15:clr>
        </p15:guide>
        <p15:guide id="13" orient="horz" pos="3816">
          <p15:clr>
            <a:srgbClr val="C35EA4"/>
          </p15:clr>
        </p15:guide>
        <p15:guide id="15" pos="3840">
          <p15:clr>
            <a:srgbClr val="F26B43"/>
          </p15:clr>
        </p15:guide>
        <p15:guide id="17" pos="3694">
          <p15:clr>
            <a:srgbClr val="F26B43"/>
          </p15:clr>
        </p15:guide>
        <p15:guide id="18" pos="39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B06881-379F-B281-B966-C0DFC7E61CED}"/>
              </a:ext>
            </a:extLst>
          </p:cNvPr>
          <p:cNvGraphicFramePr>
            <a:graphicFrameLocks noChangeAspect="1"/>
          </p:cNvGraphicFramePr>
          <p:nvPr userDrawn="1">
            <p:custDataLst>
              <p:tags r:id="rId12"/>
            </p:custDataLst>
            <p:extLst>
              <p:ext uri="{D42A27DB-BD31-4B8C-83A1-F6EECF244321}">
                <p14:modId xmlns:p14="http://schemas.microsoft.com/office/powerpoint/2010/main" val="399144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38" imgH="338" progId="TCLayout.ActiveDocument.1">
                  <p:embed/>
                </p:oleObj>
              </mc:Choice>
              <mc:Fallback>
                <p:oleObj name="think-cell Slide" r:id="rId13" imgW="338" imgH="338" progId="TCLayout.ActiveDocument.1">
                  <p:embed/>
                  <p:pic>
                    <p:nvPicPr>
                      <p:cNvPr id="9" name="Object 8" hidden="1">
                        <a:extLst>
                          <a:ext uri="{FF2B5EF4-FFF2-40B4-BE49-F238E27FC236}">
                            <a16:creationId xmlns:a16="http://schemas.microsoft.com/office/drawing/2014/main" id="{C5B06881-379F-B281-B966-C0DFC7E61CE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C49042-AF2C-4F46-826E-DE794A64D421}"/>
              </a:ext>
            </a:extLst>
          </p:cNvPr>
          <p:cNvSpPr>
            <a:spLocks noGrp="1"/>
          </p:cNvSpPr>
          <p:nvPr>
            <p:ph type="title"/>
          </p:nvPr>
        </p:nvSpPr>
        <p:spPr>
          <a:xfrm>
            <a:off x="266700" y="235313"/>
            <a:ext cx="11658600" cy="87782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9E29BA-39A3-4DAE-95D6-735489766F5E}"/>
              </a:ext>
            </a:extLst>
          </p:cNvPr>
          <p:cNvSpPr>
            <a:spLocks noGrp="1"/>
          </p:cNvSpPr>
          <p:nvPr>
            <p:ph type="body" idx="1"/>
          </p:nvPr>
        </p:nvSpPr>
        <p:spPr>
          <a:xfrm>
            <a:off x="266700" y="1173164"/>
            <a:ext cx="11658600" cy="48893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AE5EB9A-3810-4459-A308-D9C0D2B47CDE}"/>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6" name="Footer Placeholder 1">
            <a:extLst>
              <a:ext uri="{FF2B5EF4-FFF2-40B4-BE49-F238E27FC236}">
                <a16:creationId xmlns:a16="http://schemas.microsoft.com/office/drawing/2014/main" id="{AF168DD6-DC04-4AB8-810E-3849078F6C60}"/>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pic>
        <p:nvPicPr>
          <p:cNvPr id="10" name="Picture 9" descr="A close up of a sign&#10;&#10;Description automatically generated">
            <a:extLst>
              <a:ext uri="{FF2B5EF4-FFF2-40B4-BE49-F238E27FC236}">
                <a16:creationId xmlns:a16="http://schemas.microsoft.com/office/drawing/2014/main" id="{69415F4D-BC44-1FF8-D172-9C13B61AB2A8}"/>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006866" y="6200871"/>
            <a:ext cx="1291513" cy="420624"/>
          </a:xfrm>
          <a:prstGeom prst="rect">
            <a:avLst/>
          </a:prstGeom>
        </p:spPr>
      </p:pic>
      <p:pic>
        <p:nvPicPr>
          <p:cNvPr id="4" name="Graphic 3">
            <a:extLst>
              <a:ext uri="{FF2B5EF4-FFF2-40B4-BE49-F238E27FC236}">
                <a16:creationId xmlns:a16="http://schemas.microsoft.com/office/drawing/2014/main" id="{91BF1707-1D67-53E4-48AF-F159B14FB87D}"/>
              </a:ext>
              <a:ext uri="{C183D7F6-B498-43B3-948B-1728B52AA6E4}">
                <adec:decorative xmlns:adec="http://schemas.microsoft.com/office/drawing/2017/decorative" val="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38004" y="6306799"/>
            <a:ext cx="2926080" cy="188002"/>
          </a:xfrm>
          <a:prstGeom prst="rect">
            <a:avLst/>
          </a:prstGeom>
        </p:spPr>
      </p:pic>
      <p:sp>
        <p:nvSpPr>
          <p:cNvPr id="5" name="Footer Placeholder 3">
            <a:extLst>
              <a:ext uri="{FF2B5EF4-FFF2-40B4-BE49-F238E27FC236}">
                <a16:creationId xmlns:a16="http://schemas.microsoft.com/office/drawing/2014/main" id="{BA834C8B-1F9A-C7C6-CA96-7994C3509310}"/>
              </a:ext>
            </a:extLst>
          </p:cNvPr>
          <p:cNvSpPr txBox="1">
            <a:spLocks/>
          </p:cNvSpPr>
          <p:nvPr userDrawn="1"/>
        </p:nvSpPr>
        <p:spPr>
          <a:xfrm>
            <a:off x="274320" y="6216134"/>
            <a:ext cx="4052020" cy="415498"/>
          </a:xfrm>
          <a:prstGeom prst="rect">
            <a:avLst/>
          </a:prstGeom>
        </p:spPr>
        <p:txBody>
          <a:bodyPr wrap="square" lIns="0" bIns="0" anchor="b">
            <a:spAutoFit/>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FOR DISCUSSION PURPOSES </a:t>
            </a:r>
          </a:p>
        </p:txBody>
      </p:sp>
    </p:spTree>
    <p:extLst>
      <p:ext uri="{BB962C8B-B14F-4D97-AF65-F5344CB8AC3E}">
        <p14:creationId xmlns:p14="http://schemas.microsoft.com/office/powerpoint/2010/main" val="138737511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44">
          <p15:clr>
            <a:srgbClr val="A4A3A4"/>
          </p15:clr>
        </p15:guide>
        <p15:guide id="3" pos="168">
          <p15:clr>
            <a:srgbClr val="F26B43"/>
          </p15:clr>
        </p15:guide>
        <p15:guide id="4" pos="7512">
          <p15:clr>
            <a:srgbClr val="F26B43"/>
          </p15:clr>
        </p15:guide>
        <p15:guide id="6" orient="horz" pos="4176">
          <p15:clr>
            <a:srgbClr val="A4A3A4"/>
          </p15:clr>
        </p15:guide>
        <p15:guide id="11" orient="horz" pos="739">
          <p15:clr>
            <a:srgbClr val="C35EA4"/>
          </p15:clr>
        </p15:guide>
        <p15:guide id="13" orient="horz" pos="3816">
          <p15:clr>
            <a:srgbClr val="C35EA4"/>
          </p15:clr>
        </p15:guide>
        <p15:guide id="15" pos="3840">
          <p15:clr>
            <a:srgbClr val="F26B43"/>
          </p15:clr>
        </p15:guide>
        <p15:guide id="17" pos="3694">
          <p15:clr>
            <a:srgbClr val="F26B43"/>
          </p15:clr>
        </p15:guide>
        <p15:guide id="18" pos="39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B06881-379F-B281-B966-C0DFC7E61CED}"/>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9" name="Object 8" hidden="1">
                        <a:extLst>
                          <a:ext uri="{FF2B5EF4-FFF2-40B4-BE49-F238E27FC236}">
                            <a16:creationId xmlns:a16="http://schemas.microsoft.com/office/drawing/2014/main" id="{C5B06881-379F-B281-B966-C0DFC7E61CE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C49042-AF2C-4F46-826E-DE794A64D421}"/>
              </a:ext>
            </a:extLst>
          </p:cNvPr>
          <p:cNvSpPr>
            <a:spLocks noGrp="1"/>
          </p:cNvSpPr>
          <p:nvPr>
            <p:ph type="title"/>
          </p:nvPr>
        </p:nvSpPr>
        <p:spPr>
          <a:xfrm>
            <a:off x="266700" y="235313"/>
            <a:ext cx="11658600" cy="87782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9E29BA-39A3-4DAE-95D6-735489766F5E}"/>
              </a:ext>
            </a:extLst>
          </p:cNvPr>
          <p:cNvSpPr>
            <a:spLocks noGrp="1"/>
          </p:cNvSpPr>
          <p:nvPr>
            <p:ph type="body" idx="1"/>
          </p:nvPr>
        </p:nvSpPr>
        <p:spPr>
          <a:xfrm>
            <a:off x="266700" y="1173164"/>
            <a:ext cx="11658600" cy="48893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AE5EB9A-3810-4459-A308-D9C0D2B47CDE}"/>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6" name="Footer Placeholder 1">
            <a:extLst>
              <a:ext uri="{FF2B5EF4-FFF2-40B4-BE49-F238E27FC236}">
                <a16:creationId xmlns:a16="http://schemas.microsoft.com/office/drawing/2014/main" id="{AF168DD6-DC04-4AB8-810E-3849078F6C60}"/>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pic>
        <p:nvPicPr>
          <p:cNvPr id="10" name="Picture 9" descr="A close up of a sign&#10;&#10;Description automatically generated">
            <a:extLst>
              <a:ext uri="{FF2B5EF4-FFF2-40B4-BE49-F238E27FC236}">
                <a16:creationId xmlns:a16="http://schemas.microsoft.com/office/drawing/2014/main" id="{69415F4D-BC44-1FF8-D172-9C13B61AB2A8}"/>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006866" y="6200871"/>
            <a:ext cx="1291513" cy="420624"/>
          </a:xfrm>
          <a:prstGeom prst="rect">
            <a:avLst/>
          </a:prstGeom>
        </p:spPr>
      </p:pic>
      <p:pic>
        <p:nvPicPr>
          <p:cNvPr id="4" name="Graphic 3">
            <a:extLst>
              <a:ext uri="{FF2B5EF4-FFF2-40B4-BE49-F238E27FC236}">
                <a16:creationId xmlns:a16="http://schemas.microsoft.com/office/drawing/2014/main" id="{91BF1707-1D67-53E4-48AF-F159B14FB87D}"/>
              </a:ext>
              <a:ext uri="{C183D7F6-B498-43B3-948B-1728B52AA6E4}">
                <adec:decorative xmlns:adec="http://schemas.microsoft.com/office/drawing/2017/decorative" val="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6938004" y="6306799"/>
            <a:ext cx="2926080" cy="188002"/>
          </a:xfrm>
          <a:prstGeom prst="rect">
            <a:avLst/>
          </a:prstGeom>
        </p:spPr>
      </p:pic>
      <p:sp>
        <p:nvSpPr>
          <p:cNvPr id="5" name="Footer Placeholder 3">
            <a:extLst>
              <a:ext uri="{FF2B5EF4-FFF2-40B4-BE49-F238E27FC236}">
                <a16:creationId xmlns:a16="http://schemas.microsoft.com/office/drawing/2014/main" id="{BA834C8B-1F9A-C7C6-CA96-7994C3509310}"/>
              </a:ext>
            </a:extLst>
          </p:cNvPr>
          <p:cNvSpPr txBox="1">
            <a:spLocks/>
          </p:cNvSpPr>
          <p:nvPr userDrawn="1"/>
        </p:nvSpPr>
        <p:spPr>
          <a:xfrm>
            <a:off x="274320" y="6216134"/>
            <a:ext cx="4052020" cy="415498"/>
          </a:xfrm>
          <a:prstGeom prst="rect">
            <a:avLst/>
          </a:prstGeom>
        </p:spPr>
        <p:txBody>
          <a:bodyPr wrap="square" lIns="0" bIns="0" anchor="b">
            <a:spAutoFit/>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FOR DISCUSSION PURPOSES </a:t>
            </a:r>
          </a:p>
        </p:txBody>
      </p:sp>
    </p:spTree>
    <p:extLst>
      <p:ext uri="{BB962C8B-B14F-4D97-AF65-F5344CB8AC3E}">
        <p14:creationId xmlns:p14="http://schemas.microsoft.com/office/powerpoint/2010/main" val="44191420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700" r:id="rId11"/>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44">
          <p15:clr>
            <a:srgbClr val="A4A3A4"/>
          </p15:clr>
        </p15:guide>
        <p15:guide id="3" pos="168">
          <p15:clr>
            <a:srgbClr val="F26B43"/>
          </p15:clr>
        </p15:guide>
        <p15:guide id="4" pos="7512">
          <p15:clr>
            <a:srgbClr val="F26B43"/>
          </p15:clr>
        </p15:guide>
        <p15:guide id="6" orient="horz" pos="4176">
          <p15:clr>
            <a:srgbClr val="A4A3A4"/>
          </p15:clr>
        </p15:guide>
        <p15:guide id="11" orient="horz" pos="739">
          <p15:clr>
            <a:srgbClr val="C35EA4"/>
          </p15:clr>
        </p15:guide>
        <p15:guide id="13" orient="horz" pos="3816">
          <p15:clr>
            <a:srgbClr val="C35EA4"/>
          </p15:clr>
        </p15:guide>
        <p15:guide id="15" pos="3840">
          <p15:clr>
            <a:srgbClr val="F26B43"/>
          </p15:clr>
        </p15:guide>
        <p15:guide id="17" pos="3694">
          <p15:clr>
            <a:srgbClr val="F26B43"/>
          </p15:clr>
        </p15:guide>
        <p15:guide id="18" pos="39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07F546-3C56-E78C-BDC3-AB5571BB5356}"/>
              </a:ext>
            </a:extLst>
          </p:cNvPr>
          <p:cNvGraphicFramePr>
            <a:graphicFrameLocks noChangeAspect="1"/>
          </p:cNvGraphicFramePr>
          <p:nvPr userDrawn="1">
            <p:custDataLst>
              <p:tags r:id="rId3"/>
            </p:custDataLst>
            <p:extLst>
              <p:ext uri="{D42A27DB-BD31-4B8C-83A1-F6EECF244321}">
                <p14:modId xmlns:p14="http://schemas.microsoft.com/office/powerpoint/2010/main" val="2670199210"/>
              </p:ext>
            </p:extLst>
          </p:nvPr>
        </p:nvGraphicFramePr>
        <p:xfrm>
          <a:off x="2823" y="893"/>
          <a:ext cx="2824" cy="893"/>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8507F546-3C56-E78C-BDC3-AB5571BB5356}"/>
                          </a:ext>
                        </a:extLst>
                      </p:cNvPr>
                      <p:cNvPicPr/>
                      <p:nvPr/>
                    </p:nvPicPr>
                    <p:blipFill>
                      <a:blip r:embed="rId5"/>
                      <a:stretch>
                        <a:fillRect/>
                      </a:stretch>
                    </p:blipFill>
                    <p:spPr>
                      <a:xfrm>
                        <a:off x="2823" y="893"/>
                        <a:ext cx="2824" cy="893"/>
                      </a:xfrm>
                      <a:prstGeom prst="rect">
                        <a:avLst/>
                      </a:prstGeom>
                    </p:spPr>
                  </p:pic>
                </p:oleObj>
              </mc:Fallback>
            </mc:AlternateContent>
          </a:graphicData>
        </a:graphic>
      </p:graphicFrame>
      <p:sp>
        <p:nvSpPr>
          <p:cNvPr id="2" name="Title Placeholder 1"/>
          <p:cNvSpPr>
            <a:spLocks noGrp="1"/>
          </p:cNvSpPr>
          <p:nvPr>
            <p:ph type="title"/>
          </p:nvPr>
        </p:nvSpPr>
        <p:spPr>
          <a:xfrm>
            <a:off x="838202"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0422" y="6858002"/>
            <a:ext cx="7480549" cy="203487"/>
          </a:xfrm>
          <a:prstGeom prst="rect">
            <a:avLst/>
          </a:prstGeom>
        </p:spPr>
        <p:txBody>
          <a:bodyPr vert="horz" lIns="91440" tIns="45720" rIns="91440" bIns="45720" rtlCol="0" anchor="ctr"/>
          <a:lstStyle>
            <a:lvl1pPr algn="l">
              <a:defRPr sz="682" b="0">
                <a:solidFill>
                  <a:schemeClr val="bg1">
                    <a:lumMod val="65000"/>
                  </a:schemeClr>
                </a:solidFill>
              </a:defRPr>
            </a:lvl1pPr>
          </a:lstStyle>
          <a:p>
            <a:r>
              <a:rPr lang="en-US" dirty="0"/>
              <a:t>1190.004\678197(pptx)-E2 5-9-24</a:t>
            </a:r>
          </a:p>
        </p:txBody>
      </p:sp>
    </p:spTree>
    <p:extLst>
      <p:ext uri="{BB962C8B-B14F-4D97-AF65-F5344CB8AC3E}">
        <p14:creationId xmlns:p14="http://schemas.microsoft.com/office/powerpoint/2010/main" val="3607664787"/>
      </p:ext>
    </p:extLst>
  </p:cSld>
  <p:clrMap bg1="lt1" tx1="dk1" bg2="lt2" tx2="dk2" accent1="accent1" accent2="accent2" accent3="accent3" accent4="accent4" accent5="accent5" accent6="accent6" hlink="hlink" folHlink="folHlink"/>
  <p:sldLayoutIdLst>
    <p:sldLayoutId id="2147483702" r:id="rId1"/>
  </p:sldLayoutIdLst>
  <p:hf sldNum="0" hdr="0" dt="0"/>
  <p:txStyles>
    <p:titleStyle>
      <a:lvl1pPr algn="l" defTabSz="529922" rtl="0" eaLnBrk="1" latinLnBrk="0" hangingPunct="1">
        <a:lnSpc>
          <a:spcPct val="90000"/>
        </a:lnSpc>
        <a:spcBef>
          <a:spcPct val="0"/>
        </a:spcBef>
        <a:buNone/>
        <a:defRPr sz="2550" kern="1200">
          <a:solidFill>
            <a:schemeClr val="tx1"/>
          </a:solidFill>
          <a:latin typeface="+mj-lt"/>
          <a:ea typeface="+mj-ea"/>
          <a:cs typeface="+mj-cs"/>
        </a:defRPr>
      </a:lvl1pPr>
    </p:titleStyle>
    <p:bodyStyle>
      <a:lvl1pPr marL="132481" indent="-132481" algn="l" defTabSz="529922" rtl="0" eaLnBrk="1" latinLnBrk="0" hangingPunct="1">
        <a:lnSpc>
          <a:spcPct val="90000"/>
        </a:lnSpc>
        <a:spcBef>
          <a:spcPts val="580"/>
        </a:spcBef>
        <a:buFont typeface="Arial" panose="020B0604020202020204" pitchFamily="34" charset="0"/>
        <a:buChar char="•"/>
        <a:defRPr sz="1623" kern="1200">
          <a:solidFill>
            <a:schemeClr val="tx1"/>
          </a:solidFill>
          <a:latin typeface="+mn-lt"/>
          <a:ea typeface="+mn-ea"/>
          <a:cs typeface="+mn-cs"/>
        </a:defRPr>
      </a:lvl1pPr>
      <a:lvl2pPr marL="397442" indent="-132481" algn="l" defTabSz="529922" rtl="0" eaLnBrk="1" latinLnBrk="0" hangingPunct="1">
        <a:lnSpc>
          <a:spcPct val="90000"/>
        </a:lnSpc>
        <a:spcBef>
          <a:spcPts val="290"/>
        </a:spcBef>
        <a:buFont typeface="Arial" panose="020B0604020202020204" pitchFamily="34" charset="0"/>
        <a:buChar char="•"/>
        <a:defRPr sz="1391" kern="1200">
          <a:solidFill>
            <a:schemeClr val="tx1"/>
          </a:solidFill>
          <a:latin typeface="+mn-lt"/>
          <a:ea typeface="+mn-ea"/>
          <a:cs typeface="+mn-cs"/>
        </a:defRPr>
      </a:lvl2pPr>
      <a:lvl3pPr marL="662403" indent="-132481" algn="l" defTabSz="529922" rtl="0" eaLnBrk="1" latinLnBrk="0" hangingPunct="1">
        <a:lnSpc>
          <a:spcPct val="90000"/>
        </a:lnSpc>
        <a:spcBef>
          <a:spcPts val="290"/>
        </a:spcBef>
        <a:buFont typeface="Arial" panose="020B0604020202020204" pitchFamily="34" charset="0"/>
        <a:buChar char="•"/>
        <a:defRPr sz="1159" kern="1200">
          <a:solidFill>
            <a:schemeClr val="tx1"/>
          </a:solidFill>
          <a:latin typeface="+mn-lt"/>
          <a:ea typeface="+mn-ea"/>
          <a:cs typeface="+mn-cs"/>
        </a:defRPr>
      </a:lvl3pPr>
      <a:lvl4pPr marL="927364"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4pPr>
      <a:lvl5pPr marL="1192325"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5pPr>
      <a:lvl6pPr marL="1457286"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6pPr>
      <a:lvl7pPr marL="1722247"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7pPr>
      <a:lvl8pPr marL="1987208"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8pPr>
      <a:lvl9pPr marL="2252169"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9pPr>
    </p:bodyStyle>
    <p:otherStyle>
      <a:defPPr>
        <a:defRPr lang="en-US"/>
      </a:defPPr>
      <a:lvl1pPr marL="0" algn="l" defTabSz="529922" rtl="0" eaLnBrk="1" latinLnBrk="0" hangingPunct="1">
        <a:defRPr sz="1043" kern="1200">
          <a:solidFill>
            <a:schemeClr val="tx1"/>
          </a:solidFill>
          <a:latin typeface="+mn-lt"/>
          <a:ea typeface="+mn-ea"/>
          <a:cs typeface="+mn-cs"/>
        </a:defRPr>
      </a:lvl1pPr>
      <a:lvl2pPr marL="264961" algn="l" defTabSz="529922" rtl="0" eaLnBrk="1" latinLnBrk="0" hangingPunct="1">
        <a:defRPr sz="1043" kern="1200">
          <a:solidFill>
            <a:schemeClr val="tx1"/>
          </a:solidFill>
          <a:latin typeface="+mn-lt"/>
          <a:ea typeface="+mn-ea"/>
          <a:cs typeface="+mn-cs"/>
        </a:defRPr>
      </a:lvl2pPr>
      <a:lvl3pPr marL="529922" algn="l" defTabSz="529922" rtl="0" eaLnBrk="1" latinLnBrk="0" hangingPunct="1">
        <a:defRPr sz="1043" kern="1200">
          <a:solidFill>
            <a:schemeClr val="tx1"/>
          </a:solidFill>
          <a:latin typeface="+mn-lt"/>
          <a:ea typeface="+mn-ea"/>
          <a:cs typeface="+mn-cs"/>
        </a:defRPr>
      </a:lvl3pPr>
      <a:lvl4pPr marL="794883" algn="l" defTabSz="529922" rtl="0" eaLnBrk="1" latinLnBrk="0" hangingPunct="1">
        <a:defRPr sz="1043" kern="1200">
          <a:solidFill>
            <a:schemeClr val="tx1"/>
          </a:solidFill>
          <a:latin typeface="+mn-lt"/>
          <a:ea typeface="+mn-ea"/>
          <a:cs typeface="+mn-cs"/>
        </a:defRPr>
      </a:lvl4pPr>
      <a:lvl5pPr marL="1059844" algn="l" defTabSz="529922" rtl="0" eaLnBrk="1" latinLnBrk="0" hangingPunct="1">
        <a:defRPr sz="1043" kern="1200">
          <a:solidFill>
            <a:schemeClr val="tx1"/>
          </a:solidFill>
          <a:latin typeface="+mn-lt"/>
          <a:ea typeface="+mn-ea"/>
          <a:cs typeface="+mn-cs"/>
        </a:defRPr>
      </a:lvl5pPr>
      <a:lvl6pPr marL="1324806" algn="l" defTabSz="529922" rtl="0" eaLnBrk="1" latinLnBrk="0" hangingPunct="1">
        <a:defRPr sz="1043" kern="1200">
          <a:solidFill>
            <a:schemeClr val="tx1"/>
          </a:solidFill>
          <a:latin typeface="+mn-lt"/>
          <a:ea typeface="+mn-ea"/>
          <a:cs typeface="+mn-cs"/>
        </a:defRPr>
      </a:lvl6pPr>
      <a:lvl7pPr marL="1589767" algn="l" defTabSz="529922" rtl="0" eaLnBrk="1" latinLnBrk="0" hangingPunct="1">
        <a:defRPr sz="1043" kern="1200">
          <a:solidFill>
            <a:schemeClr val="tx1"/>
          </a:solidFill>
          <a:latin typeface="+mn-lt"/>
          <a:ea typeface="+mn-ea"/>
          <a:cs typeface="+mn-cs"/>
        </a:defRPr>
      </a:lvl7pPr>
      <a:lvl8pPr marL="1854728" algn="l" defTabSz="529922" rtl="0" eaLnBrk="1" latinLnBrk="0" hangingPunct="1">
        <a:defRPr sz="1043" kern="1200">
          <a:solidFill>
            <a:schemeClr val="tx1"/>
          </a:solidFill>
          <a:latin typeface="+mn-lt"/>
          <a:ea typeface="+mn-ea"/>
          <a:cs typeface="+mn-cs"/>
        </a:defRPr>
      </a:lvl8pPr>
      <a:lvl9pPr marL="2119689" algn="l" defTabSz="529922" rtl="0" eaLnBrk="1" latinLnBrk="0" hangingPunct="1">
        <a:defRPr sz="10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p15:clr>
            <a:srgbClr val="F26B43"/>
          </p15:clr>
        </p15:guide>
        <p15:guide id="2" pos="2448">
          <p15:clr>
            <a:srgbClr val="F26B43"/>
          </p15:clr>
        </p15:guide>
        <p15:guide id="3" pos="96">
          <p15:clr>
            <a:srgbClr val="F26B43"/>
          </p15:clr>
        </p15:guide>
        <p15:guide id="4" pos="480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D55B28-D13D-2135-EDAC-E3E9D348A6F3}"/>
              </a:ext>
            </a:extLst>
          </p:cNvPr>
          <p:cNvGraphicFramePr>
            <a:graphicFrameLocks noChangeAspect="1"/>
          </p:cNvGraphicFramePr>
          <p:nvPr userDrawn="1">
            <p:custDataLst>
              <p:tags r:id="rId30"/>
            </p:custDataLst>
            <p:extLst>
              <p:ext uri="{D42A27DB-BD31-4B8C-83A1-F6EECF244321}">
                <p14:modId xmlns:p14="http://schemas.microsoft.com/office/powerpoint/2010/main" val="67852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11" name="think-cell data - do not delete" hidden="1">
                        <a:extLst>
                          <a:ext uri="{FF2B5EF4-FFF2-40B4-BE49-F238E27FC236}">
                            <a16:creationId xmlns:a16="http://schemas.microsoft.com/office/drawing/2014/main" id="{D7D55B28-D13D-2135-EDAC-E3E9D348A6F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5545F3-D1DA-4899-880B-CF7271D10A14}"/>
              </a:ext>
            </a:extLst>
          </p:cNvPr>
          <p:cNvSpPr>
            <a:spLocks noGrp="1"/>
          </p:cNvSpPr>
          <p:nvPr>
            <p:ph type="title"/>
          </p:nvPr>
        </p:nvSpPr>
        <p:spPr>
          <a:xfrm>
            <a:off x="495300" y="0"/>
            <a:ext cx="10972800" cy="1463040"/>
          </a:xfrm>
          <a:prstGeom prst="rect">
            <a:avLst/>
          </a:prstGeom>
        </p:spPr>
        <p:txBody>
          <a:bodyPr vert="horz" lIns="0" tIns="0" rIns="0" bIns="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4849E622-37C3-45FE-BD5E-9772707D1940}"/>
              </a:ext>
            </a:extLst>
          </p:cNvPr>
          <p:cNvSpPr>
            <a:spLocks noGrp="1"/>
          </p:cNvSpPr>
          <p:nvPr>
            <p:ph type="body" idx="1"/>
          </p:nvPr>
        </p:nvSpPr>
        <p:spPr>
          <a:xfrm>
            <a:off x="495300" y="1737360"/>
            <a:ext cx="10972800" cy="438912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87827D-749A-4A87-ACB2-1F9F32D05978}"/>
              </a:ext>
            </a:extLst>
          </p:cNvPr>
          <p:cNvSpPr>
            <a:spLocks noGrp="1"/>
          </p:cNvSpPr>
          <p:nvPr>
            <p:ph type="dt" sz="half" idx="2"/>
          </p:nvPr>
        </p:nvSpPr>
        <p:spPr>
          <a:xfrm>
            <a:off x="5295900" y="6464808"/>
            <a:ext cx="1371600" cy="393192"/>
          </a:xfrm>
          <a:prstGeom prst="rect">
            <a:avLst/>
          </a:prstGeom>
        </p:spPr>
        <p:txBody>
          <a:bodyPr vert="horz" lIns="0" tIns="0" rIns="0" bIns="0" rtlCol="0" anchor="t" anchorCtr="0">
            <a:noAutofit/>
          </a:bodyPr>
          <a:lstStyle>
            <a:lvl1pPr algn="ctr">
              <a:defRPr sz="1000">
                <a:solidFill>
                  <a:srgbClr val="585858"/>
                </a:solidFill>
              </a:defRPr>
            </a:lvl1pPr>
          </a:lstStyle>
          <a:p>
            <a:fld id="{44447170-F1AC-4F6F-97CD-3085A335B429}" type="datetimeFigureOut">
              <a:rPr lang="en-US" smtClean="0"/>
              <a:pPr/>
              <a:t>10/30/2024</a:t>
            </a:fld>
            <a:endParaRPr lang="en-US"/>
          </a:p>
        </p:txBody>
      </p:sp>
      <p:sp>
        <p:nvSpPr>
          <p:cNvPr id="5" name="Footer Placeholder 4">
            <a:extLst>
              <a:ext uri="{FF2B5EF4-FFF2-40B4-BE49-F238E27FC236}">
                <a16:creationId xmlns:a16="http://schemas.microsoft.com/office/drawing/2014/main" id="{E5B5ECF6-67B8-4420-97E6-009723E1F530}"/>
              </a:ext>
            </a:extLst>
          </p:cNvPr>
          <p:cNvSpPr>
            <a:spLocks noGrp="1"/>
          </p:cNvSpPr>
          <p:nvPr>
            <p:ph type="ftr" sz="quarter" idx="3"/>
          </p:nvPr>
        </p:nvSpPr>
        <p:spPr>
          <a:xfrm>
            <a:off x="7635240" y="6464808"/>
            <a:ext cx="3840480" cy="393192"/>
          </a:xfrm>
          <a:prstGeom prst="rect">
            <a:avLst/>
          </a:prstGeom>
        </p:spPr>
        <p:txBody>
          <a:bodyPr vert="horz" lIns="0" tIns="0" rIns="0" bIns="0" rtlCol="0" anchor="t" anchorCtr="0">
            <a:noAutofit/>
          </a:bodyPr>
          <a:lstStyle>
            <a:lvl1pPr algn="l">
              <a:defRPr sz="1000">
                <a:solidFill>
                  <a:srgbClr val="585858"/>
                </a:solidFill>
              </a:defRPr>
            </a:lvl1pPr>
          </a:lstStyle>
          <a:p>
            <a:endParaRPr lang="en-US"/>
          </a:p>
        </p:txBody>
      </p:sp>
      <p:sp>
        <p:nvSpPr>
          <p:cNvPr id="9" name="Rectangle 8">
            <a:extLst>
              <a:ext uri="{FF2B5EF4-FFF2-40B4-BE49-F238E27FC236}">
                <a16:creationId xmlns:a16="http://schemas.microsoft.com/office/drawing/2014/main" id="{9316DDB9-C413-4733-9689-A892C22A9859}"/>
              </a:ext>
              <a:ext uri="{C183D7F6-B498-43B3-948B-1728B52AA6E4}">
                <adec:decorative xmlns:adec="http://schemas.microsoft.com/office/drawing/2017/decorative" val="1"/>
              </a:ext>
            </a:extLst>
          </p:cNvPr>
          <p:cNvSpPr/>
          <p:nvPr userDrawn="1"/>
        </p:nvSpPr>
        <p:spPr bwMode="ltGray">
          <a:xfrm>
            <a:off x="11679936" y="0"/>
            <a:ext cx="512064"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pex New Book" panose="02010600040501010103" pitchFamily="2" charset="0"/>
              <a:ea typeface="Apex New Book" panose="02010600040501010103" pitchFamily="2" charset="0"/>
              <a:cs typeface="Apex New Book" panose="02010600040501010103" pitchFamily="2" charset="0"/>
            </a:endParaRPr>
          </a:p>
        </p:txBody>
      </p:sp>
      <p:pic>
        <p:nvPicPr>
          <p:cNvPr id="12" name="Graphic 11">
            <a:extLst>
              <a:ext uri="{FF2B5EF4-FFF2-40B4-BE49-F238E27FC236}">
                <a16:creationId xmlns:a16="http://schemas.microsoft.com/office/drawing/2014/main" id="{4F9CEADD-6ED1-40D4-8513-C794C18168EB}"/>
              </a:ext>
              <a:ext uri="{C183D7F6-B498-43B3-948B-1728B52AA6E4}">
                <adec:decorative xmlns:adec="http://schemas.microsoft.com/office/drawing/2017/decorative" val="1"/>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38912" y="6400800"/>
            <a:ext cx="2926080" cy="188002"/>
          </a:xfrm>
          <a:prstGeom prst="rect">
            <a:avLst/>
          </a:prstGeom>
        </p:spPr>
      </p:pic>
      <p:sp>
        <p:nvSpPr>
          <p:cNvPr id="6" name="Slide Number Placeholder 5">
            <a:extLst>
              <a:ext uri="{FF2B5EF4-FFF2-40B4-BE49-F238E27FC236}">
                <a16:creationId xmlns:a16="http://schemas.microsoft.com/office/drawing/2014/main" id="{B47DBFDB-C705-401A-B5DC-65A4AD843112}"/>
              </a:ext>
            </a:extLst>
          </p:cNvPr>
          <p:cNvSpPr>
            <a:spLocks noGrp="1"/>
          </p:cNvSpPr>
          <p:nvPr>
            <p:ph type="sldNum" sz="quarter" idx="4"/>
          </p:nvPr>
        </p:nvSpPr>
        <p:spPr>
          <a:xfrm>
            <a:off x="11679936" y="6464808"/>
            <a:ext cx="512064" cy="393192"/>
          </a:xfrm>
          <a:prstGeom prst="rect">
            <a:avLst/>
          </a:prstGeom>
        </p:spPr>
        <p:txBody>
          <a:bodyPr vert="horz" lIns="0" tIns="0" rIns="0" bIns="0" rtlCol="0" anchor="t" anchorCtr="0">
            <a:noAutofit/>
          </a:bodyPr>
          <a:lstStyle>
            <a:lvl1pPr algn="ctr">
              <a:defRPr sz="1000">
                <a:solidFill>
                  <a:schemeClr val="bg1"/>
                </a:solidFill>
              </a:defRPr>
            </a:lvl1pPr>
          </a:lstStyle>
          <a:p>
            <a:fld id="{E1F70E87-4818-48F4-88E2-E301CB903448}" type="slidenum">
              <a:rPr lang="en-US" smtClean="0"/>
              <a:pPr/>
              <a:t>‹#›</a:t>
            </a:fld>
            <a:endParaRPr lang="en-US"/>
          </a:p>
        </p:txBody>
      </p:sp>
    </p:spTree>
    <p:extLst>
      <p:ext uri="{BB962C8B-B14F-4D97-AF65-F5344CB8AC3E}">
        <p14:creationId xmlns:p14="http://schemas.microsoft.com/office/powerpoint/2010/main" val="28044212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Lst>
  <p:hf hdr="0" dt="0"/>
  <p:txStyles>
    <p:titleStyle>
      <a:lvl1pPr algn="l" defTabSz="914400" rtl="0" eaLnBrk="1" latinLnBrk="0" hangingPunct="1">
        <a:lnSpc>
          <a:spcPct val="90000"/>
        </a:lnSpc>
        <a:spcBef>
          <a:spcPct val="0"/>
        </a:spcBef>
        <a:buNone/>
        <a:defRPr sz="3600" b="0" kern="1200">
          <a:solidFill>
            <a:schemeClr val="accent3"/>
          </a:solidFill>
          <a:latin typeface="+mn-lt"/>
          <a:ea typeface="Apex New Medium" panose="02010600040501010103" pitchFamily="2" charset="0"/>
          <a:cs typeface="Apex New Medium" panose="02010600040501010103" pitchFamily="2" charset="0"/>
        </a:defRPr>
      </a:lvl1pPr>
    </p:titleStyle>
    <p:bodyStyle>
      <a:lvl1pPr marL="171450" indent="-171450" algn="l" defTabSz="914400" rtl="0" eaLnBrk="1" latinLnBrk="0" hangingPunct="1">
        <a:lnSpc>
          <a:spcPct val="110000"/>
        </a:lnSpc>
        <a:spcBef>
          <a:spcPts val="900"/>
        </a:spcBef>
        <a:buFont typeface="Arial" panose="020B0604020202020204" pitchFamily="34" charset="0"/>
        <a:buChar char="•"/>
        <a:defRPr sz="1800" b="0" kern="1200">
          <a:solidFill>
            <a:srgbClr val="585858"/>
          </a:solidFill>
          <a:latin typeface="+mj-lt"/>
          <a:ea typeface="Apex New Book" panose="02010600040501010103" pitchFamily="2" charset="0"/>
          <a:cs typeface="Apex New Book" panose="02010600040501010103" pitchFamily="2" charset="0"/>
        </a:defRPr>
      </a:lvl1pPr>
      <a:lvl2pPr marL="341313" indent="-169863" algn="l" defTabSz="914400" rtl="0" eaLnBrk="1" latinLnBrk="0" hangingPunct="1">
        <a:lnSpc>
          <a:spcPct val="130000"/>
        </a:lnSpc>
        <a:spcBef>
          <a:spcPts val="900"/>
        </a:spcBef>
        <a:buFont typeface="Verdana" panose="020B0604030504040204" pitchFamily="34" charset="0"/>
        <a:buChar char="–"/>
        <a:defRPr sz="1600" kern="1200">
          <a:solidFill>
            <a:srgbClr val="585858"/>
          </a:solidFill>
          <a:latin typeface="+mn-lt"/>
          <a:ea typeface="Apex New Book" panose="02010600040501010103" pitchFamily="2" charset="0"/>
          <a:cs typeface="Apex New Book" panose="02010600040501010103" pitchFamily="2" charset="0"/>
        </a:defRPr>
      </a:lvl2pPr>
      <a:lvl3pPr marL="512763" indent="-171450" algn="l" defTabSz="914400" rtl="0" eaLnBrk="1" latinLnBrk="0" hangingPunct="1">
        <a:lnSpc>
          <a:spcPct val="130000"/>
        </a:lnSpc>
        <a:spcBef>
          <a:spcPts val="500"/>
        </a:spcBef>
        <a:buFont typeface="Arial" panose="020B0604020202020204" pitchFamily="34" charset="0"/>
        <a:buChar char="•"/>
        <a:defRPr sz="1400" kern="1200">
          <a:solidFill>
            <a:srgbClr val="585858"/>
          </a:solidFill>
          <a:latin typeface="+mn-lt"/>
          <a:ea typeface="Apex New Book" panose="02010600040501010103" pitchFamily="2" charset="0"/>
          <a:cs typeface="Apex New Book" panose="02010600040501010103" pitchFamily="2" charset="0"/>
        </a:defRPr>
      </a:lvl3pPr>
      <a:lvl4pPr marL="688975" indent="-171450" algn="l" defTabSz="914400" rtl="0" eaLnBrk="1" latinLnBrk="0" hangingPunct="1">
        <a:lnSpc>
          <a:spcPct val="130000"/>
        </a:lnSpc>
        <a:spcBef>
          <a:spcPts val="500"/>
        </a:spcBef>
        <a:buFont typeface="Verdana" panose="020B0604030504040204" pitchFamily="34" charset="0"/>
        <a:buChar char="–"/>
        <a:defRPr sz="1400" kern="1200">
          <a:solidFill>
            <a:srgbClr val="585858"/>
          </a:solidFill>
          <a:latin typeface="+mn-lt"/>
          <a:ea typeface="Apex New Book" panose="02010600040501010103" pitchFamily="2" charset="0"/>
          <a:cs typeface="Apex New Book" panose="02010600040501010103" pitchFamily="2" charset="0"/>
        </a:defRPr>
      </a:lvl4pPr>
      <a:lvl5pPr marL="858838" indent="-169863" algn="l" defTabSz="914400" rtl="0" eaLnBrk="1" latinLnBrk="0" hangingPunct="1">
        <a:lnSpc>
          <a:spcPct val="130000"/>
        </a:lnSpc>
        <a:spcBef>
          <a:spcPts val="500"/>
        </a:spcBef>
        <a:buFont typeface="Arial" panose="020B0604020202020204" pitchFamily="34" charset="0"/>
        <a:buChar char="•"/>
        <a:defRPr sz="1400" kern="1200">
          <a:solidFill>
            <a:srgbClr val="585858"/>
          </a:solidFill>
          <a:latin typeface="+mn-lt"/>
          <a:ea typeface="Apex New Book" panose="02010600040501010103" pitchFamily="2" charset="0"/>
          <a:cs typeface="Apex New Book" panose="02010600040501010103"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773">
          <p15:clr>
            <a:srgbClr val="547EBF"/>
          </p15:clr>
        </p15:guide>
        <p15:guide id="3" pos="312">
          <p15:clr>
            <a:srgbClr val="F26B43"/>
          </p15:clr>
        </p15:guide>
        <p15:guide id="4" pos="7224">
          <p15:clr>
            <a:srgbClr val="F26B43"/>
          </p15:clr>
        </p15:guide>
        <p15:guide id="5" orient="horz" pos="4143">
          <p15:clr>
            <a:srgbClr val="F26B43"/>
          </p15:clr>
        </p15:guide>
        <p15:guide id="6" orient="horz" pos="828">
          <p15:clr>
            <a:srgbClr val="F26B43"/>
          </p15:clr>
        </p15:guide>
        <p15:guide id="7" orient="horz" pos="1262">
          <p15:clr>
            <a:srgbClr val="F26B43"/>
          </p15:clr>
        </p15:guide>
        <p15:guide id="8" orient="horz" pos="3860">
          <p15:clr>
            <a:srgbClr val="F26B43"/>
          </p15:clr>
        </p15:guide>
        <p15:guide id="9" pos="3888">
          <p15:clr>
            <a:srgbClr val="9FCC3B"/>
          </p15:clr>
        </p15:guide>
        <p15:guide id="10" pos="3653">
          <p15:clr>
            <a:srgbClr val="9FCC3B"/>
          </p15:clr>
        </p15:guide>
        <p15:guide id="11" pos="2482">
          <p15:clr>
            <a:srgbClr val="5ACBF0"/>
          </p15:clr>
        </p15:guide>
        <p15:guide id="12" pos="2685">
          <p15:clr>
            <a:srgbClr val="5ACBF0"/>
          </p15:clr>
        </p15:guide>
        <p15:guide id="13" pos="4851">
          <p15:clr>
            <a:srgbClr val="5ACBF0"/>
          </p15:clr>
        </p15:guide>
        <p15:guide id="14" pos="505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B06881-379F-B281-B966-C0DFC7E61CED}"/>
              </a:ext>
            </a:extLst>
          </p:cNvPr>
          <p:cNvGraphicFramePr>
            <a:graphicFrameLocks noChangeAspect="1"/>
          </p:cNvGraphicFramePr>
          <p:nvPr userDrawn="1">
            <p:custDataLst>
              <p:tags r:id="rId14"/>
            </p:custDataLst>
            <p:extLst>
              <p:ext uri="{D42A27DB-BD31-4B8C-83A1-F6EECF244321}">
                <p14:modId xmlns:p14="http://schemas.microsoft.com/office/powerpoint/2010/main" val="399144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38" imgH="338" progId="TCLayout.ActiveDocument.1">
                  <p:embed/>
                </p:oleObj>
              </mc:Choice>
              <mc:Fallback>
                <p:oleObj name="think-cell Slide" r:id="rId15" imgW="338" imgH="338" progId="TCLayout.ActiveDocument.1">
                  <p:embed/>
                  <p:pic>
                    <p:nvPicPr>
                      <p:cNvPr id="9" name="Object 8" hidden="1">
                        <a:extLst>
                          <a:ext uri="{FF2B5EF4-FFF2-40B4-BE49-F238E27FC236}">
                            <a16:creationId xmlns:a16="http://schemas.microsoft.com/office/drawing/2014/main" id="{C5B06881-379F-B281-B966-C0DFC7E61CE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C49042-AF2C-4F46-826E-DE794A64D421}"/>
              </a:ext>
            </a:extLst>
          </p:cNvPr>
          <p:cNvSpPr>
            <a:spLocks noGrp="1"/>
          </p:cNvSpPr>
          <p:nvPr>
            <p:ph type="title"/>
          </p:nvPr>
        </p:nvSpPr>
        <p:spPr>
          <a:xfrm>
            <a:off x="266700" y="235313"/>
            <a:ext cx="11658600" cy="87782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9E29BA-39A3-4DAE-95D6-735489766F5E}"/>
              </a:ext>
            </a:extLst>
          </p:cNvPr>
          <p:cNvSpPr>
            <a:spLocks noGrp="1"/>
          </p:cNvSpPr>
          <p:nvPr>
            <p:ph type="body" idx="1"/>
          </p:nvPr>
        </p:nvSpPr>
        <p:spPr>
          <a:xfrm>
            <a:off x="266700" y="1173164"/>
            <a:ext cx="11658600" cy="48893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AE5EB9A-3810-4459-A308-D9C0D2B47CDE}"/>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6" name="Footer Placeholder 1">
            <a:extLst>
              <a:ext uri="{FF2B5EF4-FFF2-40B4-BE49-F238E27FC236}">
                <a16:creationId xmlns:a16="http://schemas.microsoft.com/office/drawing/2014/main" id="{AF168DD6-DC04-4AB8-810E-3849078F6C60}"/>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pic>
        <p:nvPicPr>
          <p:cNvPr id="4" name="Graphic 3">
            <a:extLst>
              <a:ext uri="{FF2B5EF4-FFF2-40B4-BE49-F238E27FC236}">
                <a16:creationId xmlns:a16="http://schemas.microsoft.com/office/drawing/2014/main" id="{91BF1707-1D67-53E4-48AF-F159B14FB87D}"/>
              </a:ext>
              <a:ext uri="{C183D7F6-B498-43B3-948B-1728B52AA6E4}">
                <adec:decorative xmlns:adec="http://schemas.microsoft.com/office/drawing/2017/decorative" val="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8372299" y="6306799"/>
            <a:ext cx="2926080" cy="188002"/>
          </a:xfrm>
          <a:prstGeom prst="rect">
            <a:avLst/>
          </a:prstGeom>
        </p:spPr>
      </p:pic>
    </p:spTree>
    <p:extLst>
      <p:ext uri="{BB962C8B-B14F-4D97-AF65-F5344CB8AC3E}">
        <p14:creationId xmlns:p14="http://schemas.microsoft.com/office/powerpoint/2010/main" val="403108736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44">
          <p15:clr>
            <a:srgbClr val="A4A3A4"/>
          </p15:clr>
        </p15:guide>
        <p15:guide id="3" pos="168">
          <p15:clr>
            <a:srgbClr val="F26B43"/>
          </p15:clr>
        </p15:guide>
        <p15:guide id="4" pos="7512">
          <p15:clr>
            <a:srgbClr val="F26B43"/>
          </p15:clr>
        </p15:guide>
        <p15:guide id="6" orient="horz" pos="4176">
          <p15:clr>
            <a:srgbClr val="A4A3A4"/>
          </p15:clr>
        </p15:guide>
        <p15:guide id="11" orient="horz" pos="739">
          <p15:clr>
            <a:srgbClr val="C35EA4"/>
          </p15:clr>
        </p15:guide>
        <p15:guide id="13" orient="horz" pos="3816">
          <p15:clr>
            <a:srgbClr val="C35EA4"/>
          </p15:clr>
        </p15:guide>
        <p15:guide id="15" pos="3840">
          <p15:clr>
            <a:srgbClr val="F26B43"/>
          </p15:clr>
        </p15:guide>
        <p15:guide id="17" pos="3694">
          <p15:clr>
            <a:srgbClr val="F26B43"/>
          </p15:clr>
        </p15:guide>
        <p15:guide id="18" pos="39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07F546-3C56-E78C-BDC3-AB5571BB5356}"/>
              </a:ext>
            </a:extLst>
          </p:cNvPr>
          <p:cNvGraphicFramePr>
            <a:graphicFrameLocks noChangeAspect="1"/>
          </p:cNvGraphicFramePr>
          <p:nvPr userDrawn="1">
            <p:custDataLst>
              <p:tags r:id="rId3"/>
            </p:custDataLst>
            <p:extLst>
              <p:ext uri="{D42A27DB-BD31-4B8C-83A1-F6EECF244321}">
                <p14:modId xmlns:p14="http://schemas.microsoft.com/office/powerpoint/2010/main" val="3405858968"/>
              </p:ext>
            </p:extLst>
          </p:nvPr>
        </p:nvGraphicFramePr>
        <p:xfrm>
          <a:off x="2823" y="893"/>
          <a:ext cx="2824" cy="893"/>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8507F546-3C56-E78C-BDC3-AB5571BB5356}"/>
                          </a:ext>
                        </a:extLst>
                      </p:cNvPr>
                      <p:cNvPicPr/>
                      <p:nvPr/>
                    </p:nvPicPr>
                    <p:blipFill>
                      <a:blip r:embed="rId5"/>
                      <a:stretch>
                        <a:fillRect/>
                      </a:stretch>
                    </p:blipFill>
                    <p:spPr>
                      <a:xfrm>
                        <a:off x="2823" y="893"/>
                        <a:ext cx="2824" cy="893"/>
                      </a:xfrm>
                      <a:prstGeom prst="rect">
                        <a:avLst/>
                      </a:prstGeom>
                    </p:spPr>
                  </p:pic>
                </p:oleObj>
              </mc:Fallback>
            </mc:AlternateContent>
          </a:graphicData>
        </a:graphic>
      </p:graphicFrame>
      <p:sp>
        <p:nvSpPr>
          <p:cNvPr id="2" name="Title Placeholder 1"/>
          <p:cNvSpPr>
            <a:spLocks noGrp="1"/>
          </p:cNvSpPr>
          <p:nvPr>
            <p:ph type="title"/>
          </p:nvPr>
        </p:nvSpPr>
        <p:spPr>
          <a:xfrm>
            <a:off x="838202"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0422" y="6858002"/>
            <a:ext cx="7480549" cy="203487"/>
          </a:xfrm>
          <a:prstGeom prst="rect">
            <a:avLst/>
          </a:prstGeom>
        </p:spPr>
        <p:txBody>
          <a:bodyPr vert="horz" lIns="91440" tIns="45720" rIns="91440" bIns="45720" rtlCol="0" anchor="ctr"/>
          <a:lstStyle>
            <a:lvl1pPr algn="l">
              <a:defRPr sz="682" b="0">
                <a:solidFill>
                  <a:schemeClr val="bg1">
                    <a:lumMod val="65000"/>
                  </a:schemeClr>
                </a:solidFill>
              </a:defRPr>
            </a:lvl1pPr>
          </a:lstStyle>
          <a:p>
            <a:r>
              <a:rPr lang="en-US" dirty="0"/>
              <a:t>1190.004\678197(pptx)-E2 5-9-24</a:t>
            </a:r>
          </a:p>
        </p:txBody>
      </p:sp>
    </p:spTree>
    <p:extLst>
      <p:ext uri="{BB962C8B-B14F-4D97-AF65-F5344CB8AC3E}">
        <p14:creationId xmlns:p14="http://schemas.microsoft.com/office/powerpoint/2010/main" val="3414501643"/>
      </p:ext>
    </p:extLst>
  </p:cSld>
  <p:clrMap bg1="lt1" tx1="dk1" bg2="lt2" tx2="dk2" accent1="accent1" accent2="accent2" accent3="accent3" accent4="accent4" accent5="accent5" accent6="accent6" hlink="hlink" folHlink="folHlink"/>
  <p:sldLayoutIdLst>
    <p:sldLayoutId id="2147483774" r:id="rId1"/>
  </p:sldLayoutIdLst>
  <p:hf sldNum="0" hdr="0" dt="0"/>
  <p:txStyles>
    <p:titleStyle>
      <a:lvl1pPr algn="l" defTabSz="529922" rtl="0" eaLnBrk="1" latinLnBrk="0" hangingPunct="1">
        <a:lnSpc>
          <a:spcPct val="90000"/>
        </a:lnSpc>
        <a:spcBef>
          <a:spcPct val="0"/>
        </a:spcBef>
        <a:buNone/>
        <a:defRPr sz="2550" kern="1200">
          <a:solidFill>
            <a:schemeClr val="tx1"/>
          </a:solidFill>
          <a:latin typeface="+mj-lt"/>
          <a:ea typeface="+mj-ea"/>
          <a:cs typeface="+mj-cs"/>
        </a:defRPr>
      </a:lvl1pPr>
    </p:titleStyle>
    <p:bodyStyle>
      <a:lvl1pPr marL="132481" indent="-132481" algn="l" defTabSz="529922" rtl="0" eaLnBrk="1" latinLnBrk="0" hangingPunct="1">
        <a:lnSpc>
          <a:spcPct val="90000"/>
        </a:lnSpc>
        <a:spcBef>
          <a:spcPts val="580"/>
        </a:spcBef>
        <a:buFont typeface="Arial" panose="020B0604020202020204" pitchFamily="34" charset="0"/>
        <a:buChar char="•"/>
        <a:defRPr sz="1623" kern="1200">
          <a:solidFill>
            <a:schemeClr val="tx1"/>
          </a:solidFill>
          <a:latin typeface="+mn-lt"/>
          <a:ea typeface="+mn-ea"/>
          <a:cs typeface="+mn-cs"/>
        </a:defRPr>
      </a:lvl1pPr>
      <a:lvl2pPr marL="397442" indent="-132481" algn="l" defTabSz="529922" rtl="0" eaLnBrk="1" latinLnBrk="0" hangingPunct="1">
        <a:lnSpc>
          <a:spcPct val="90000"/>
        </a:lnSpc>
        <a:spcBef>
          <a:spcPts val="290"/>
        </a:spcBef>
        <a:buFont typeface="Arial" panose="020B0604020202020204" pitchFamily="34" charset="0"/>
        <a:buChar char="•"/>
        <a:defRPr sz="1391" kern="1200">
          <a:solidFill>
            <a:schemeClr val="tx1"/>
          </a:solidFill>
          <a:latin typeface="+mn-lt"/>
          <a:ea typeface="+mn-ea"/>
          <a:cs typeface="+mn-cs"/>
        </a:defRPr>
      </a:lvl2pPr>
      <a:lvl3pPr marL="662403" indent="-132481" algn="l" defTabSz="529922" rtl="0" eaLnBrk="1" latinLnBrk="0" hangingPunct="1">
        <a:lnSpc>
          <a:spcPct val="90000"/>
        </a:lnSpc>
        <a:spcBef>
          <a:spcPts val="290"/>
        </a:spcBef>
        <a:buFont typeface="Arial" panose="020B0604020202020204" pitchFamily="34" charset="0"/>
        <a:buChar char="•"/>
        <a:defRPr sz="1159" kern="1200">
          <a:solidFill>
            <a:schemeClr val="tx1"/>
          </a:solidFill>
          <a:latin typeface="+mn-lt"/>
          <a:ea typeface="+mn-ea"/>
          <a:cs typeface="+mn-cs"/>
        </a:defRPr>
      </a:lvl3pPr>
      <a:lvl4pPr marL="927364"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4pPr>
      <a:lvl5pPr marL="1192325"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5pPr>
      <a:lvl6pPr marL="1457286"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6pPr>
      <a:lvl7pPr marL="1722247"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7pPr>
      <a:lvl8pPr marL="1987208"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8pPr>
      <a:lvl9pPr marL="2252169"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9pPr>
    </p:bodyStyle>
    <p:otherStyle>
      <a:defPPr>
        <a:defRPr lang="en-US"/>
      </a:defPPr>
      <a:lvl1pPr marL="0" algn="l" defTabSz="529922" rtl="0" eaLnBrk="1" latinLnBrk="0" hangingPunct="1">
        <a:defRPr sz="1043" kern="1200">
          <a:solidFill>
            <a:schemeClr val="tx1"/>
          </a:solidFill>
          <a:latin typeface="+mn-lt"/>
          <a:ea typeface="+mn-ea"/>
          <a:cs typeface="+mn-cs"/>
        </a:defRPr>
      </a:lvl1pPr>
      <a:lvl2pPr marL="264961" algn="l" defTabSz="529922" rtl="0" eaLnBrk="1" latinLnBrk="0" hangingPunct="1">
        <a:defRPr sz="1043" kern="1200">
          <a:solidFill>
            <a:schemeClr val="tx1"/>
          </a:solidFill>
          <a:latin typeface="+mn-lt"/>
          <a:ea typeface="+mn-ea"/>
          <a:cs typeface="+mn-cs"/>
        </a:defRPr>
      </a:lvl2pPr>
      <a:lvl3pPr marL="529922" algn="l" defTabSz="529922" rtl="0" eaLnBrk="1" latinLnBrk="0" hangingPunct="1">
        <a:defRPr sz="1043" kern="1200">
          <a:solidFill>
            <a:schemeClr val="tx1"/>
          </a:solidFill>
          <a:latin typeface="+mn-lt"/>
          <a:ea typeface="+mn-ea"/>
          <a:cs typeface="+mn-cs"/>
        </a:defRPr>
      </a:lvl3pPr>
      <a:lvl4pPr marL="794883" algn="l" defTabSz="529922" rtl="0" eaLnBrk="1" latinLnBrk="0" hangingPunct="1">
        <a:defRPr sz="1043" kern="1200">
          <a:solidFill>
            <a:schemeClr val="tx1"/>
          </a:solidFill>
          <a:latin typeface="+mn-lt"/>
          <a:ea typeface="+mn-ea"/>
          <a:cs typeface="+mn-cs"/>
        </a:defRPr>
      </a:lvl4pPr>
      <a:lvl5pPr marL="1059844" algn="l" defTabSz="529922" rtl="0" eaLnBrk="1" latinLnBrk="0" hangingPunct="1">
        <a:defRPr sz="1043" kern="1200">
          <a:solidFill>
            <a:schemeClr val="tx1"/>
          </a:solidFill>
          <a:latin typeface="+mn-lt"/>
          <a:ea typeface="+mn-ea"/>
          <a:cs typeface="+mn-cs"/>
        </a:defRPr>
      </a:lvl5pPr>
      <a:lvl6pPr marL="1324806" algn="l" defTabSz="529922" rtl="0" eaLnBrk="1" latinLnBrk="0" hangingPunct="1">
        <a:defRPr sz="1043" kern="1200">
          <a:solidFill>
            <a:schemeClr val="tx1"/>
          </a:solidFill>
          <a:latin typeface="+mn-lt"/>
          <a:ea typeface="+mn-ea"/>
          <a:cs typeface="+mn-cs"/>
        </a:defRPr>
      </a:lvl6pPr>
      <a:lvl7pPr marL="1589767" algn="l" defTabSz="529922" rtl="0" eaLnBrk="1" latinLnBrk="0" hangingPunct="1">
        <a:defRPr sz="1043" kern="1200">
          <a:solidFill>
            <a:schemeClr val="tx1"/>
          </a:solidFill>
          <a:latin typeface="+mn-lt"/>
          <a:ea typeface="+mn-ea"/>
          <a:cs typeface="+mn-cs"/>
        </a:defRPr>
      </a:lvl7pPr>
      <a:lvl8pPr marL="1854728" algn="l" defTabSz="529922" rtl="0" eaLnBrk="1" latinLnBrk="0" hangingPunct="1">
        <a:defRPr sz="1043" kern="1200">
          <a:solidFill>
            <a:schemeClr val="tx1"/>
          </a:solidFill>
          <a:latin typeface="+mn-lt"/>
          <a:ea typeface="+mn-ea"/>
          <a:cs typeface="+mn-cs"/>
        </a:defRPr>
      </a:lvl8pPr>
      <a:lvl9pPr marL="2119689" algn="l" defTabSz="529922" rtl="0" eaLnBrk="1" latinLnBrk="0" hangingPunct="1">
        <a:defRPr sz="10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p15:clr>
            <a:srgbClr val="F26B43"/>
          </p15:clr>
        </p15:guide>
        <p15:guide id="2" pos="2448">
          <p15:clr>
            <a:srgbClr val="F26B43"/>
          </p15:clr>
        </p15:guide>
        <p15:guide id="3" pos="96">
          <p15:clr>
            <a:srgbClr val="F26B43"/>
          </p15:clr>
        </p15:guide>
        <p15:guide id="4" pos="480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B06881-379F-B281-B966-C0DFC7E61CED}"/>
              </a:ext>
            </a:extLst>
          </p:cNvPr>
          <p:cNvGraphicFramePr>
            <a:graphicFrameLocks noChangeAspect="1"/>
          </p:cNvGraphicFramePr>
          <p:nvPr userDrawn="1">
            <p:custDataLst>
              <p:tags r:id="rId15"/>
            </p:custDataLst>
            <p:extLst>
              <p:ext uri="{D42A27DB-BD31-4B8C-83A1-F6EECF244321}">
                <p14:modId xmlns:p14="http://schemas.microsoft.com/office/powerpoint/2010/main" val="399144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38" imgH="338" progId="TCLayout.ActiveDocument.1">
                  <p:embed/>
                </p:oleObj>
              </mc:Choice>
              <mc:Fallback>
                <p:oleObj name="think-cell Slide" r:id="rId16" imgW="338" imgH="338" progId="TCLayout.ActiveDocument.1">
                  <p:embed/>
                  <p:pic>
                    <p:nvPicPr>
                      <p:cNvPr id="9" name="Object 8" hidden="1">
                        <a:extLst>
                          <a:ext uri="{FF2B5EF4-FFF2-40B4-BE49-F238E27FC236}">
                            <a16:creationId xmlns:a16="http://schemas.microsoft.com/office/drawing/2014/main" id="{C5B06881-379F-B281-B966-C0DFC7E61CE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C49042-AF2C-4F46-826E-DE794A64D421}"/>
              </a:ext>
            </a:extLst>
          </p:cNvPr>
          <p:cNvSpPr>
            <a:spLocks noGrp="1"/>
          </p:cNvSpPr>
          <p:nvPr>
            <p:ph type="title"/>
          </p:nvPr>
        </p:nvSpPr>
        <p:spPr>
          <a:xfrm>
            <a:off x="266700" y="235313"/>
            <a:ext cx="11658600" cy="87782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49E29BA-39A3-4DAE-95D6-735489766F5E}"/>
              </a:ext>
            </a:extLst>
          </p:cNvPr>
          <p:cNvSpPr>
            <a:spLocks noGrp="1"/>
          </p:cNvSpPr>
          <p:nvPr>
            <p:ph type="body" idx="1"/>
          </p:nvPr>
        </p:nvSpPr>
        <p:spPr>
          <a:xfrm>
            <a:off x="266700" y="1173164"/>
            <a:ext cx="11658600" cy="48893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AE5EB9A-3810-4459-A308-D9C0D2B47CDE}"/>
              </a:ext>
            </a:extLst>
          </p:cNvPr>
          <p:cNvSpPr>
            <a:spLocks noGrp="1"/>
          </p:cNvSpPr>
          <p:nvPr>
            <p:ph type="sldNum" sz="quarter" idx="4"/>
          </p:nvPr>
        </p:nvSpPr>
        <p:spPr>
          <a:xfrm>
            <a:off x="11441161" y="6192967"/>
            <a:ext cx="598439" cy="436433"/>
          </a:xfrm>
          <a:prstGeom prst="rect">
            <a:avLst/>
          </a:prstGeom>
        </p:spPr>
        <p:txBody>
          <a:bodyPr lIns="0" rIns="0" anchor="ctr" anchorCtr="0"/>
          <a:lstStyle>
            <a:lvl1pPr>
              <a:defRPr sz="16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6" name="Footer Placeholder 1">
            <a:extLst>
              <a:ext uri="{FF2B5EF4-FFF2-40B4-BE49-F238E27FC236}">
                <a16:creationId xmlns:a16="http://schemas.microsoft.com/office/drawing/2014/main" id="{AF168DD6-DC04-4AB8-810E-3849078F6C60}"/>
              </a:ext>
            </a:extLst>
          </p:cNvPr>
          <p:cNvSpPr>
            <a:spLocks noGrp="1"/>
          </p:cNvSpPr>
          <p:nvPr>
            <p:ph type="ftr" sz="quarter" idx="3"/>
          </p:nvPr>
        </p:nvSpPr>
        <p:spPr>
          <a:xfrm>
            <a:off x="274320" y="6633927"/>
            <a:ext cx="2895600" cy="224073"/>
          </a:xfrm>
          <a:prstGeom prst="rect">
            <a:avLst/>
          </a:prstGeom>
        </p:spPr>
        <p:txBody>
          <a:bodyPr lIns="0"/>
          <a:lstStyle>
            <a:lvl1pPr>
              <a:defRPr sz="900">
                <a:solidFill>
                  <a:schemeClr val="bg1">
                    <a:lumMod val="8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3618(pptx)-E2 8-5-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pic>
        <p:nvPicPr>
          <p:cNvPr id="4" name="Graphic 3">
            <a:extLst>
              <a:ext uri="{FF2B5EF4-FFF2-40B4-BE49-F238E27FC236}">
                <a16:creationId xmlns:a16="http://schemas.microsoft.com/office/drawing/2014/main" id="{91BF1707-1D67-53E4-48AF-F159B14FB87D}"/>
              </a:ext>
              <a:ext uri="{C183D7F6-B498-43B3-948B-1728B52AA6E4}">
                <adec:decorative xmlns:adec="http://schemas.microsoft.com/office/drawing/2017/decorative" val="1"/>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372299" y="6306799"/>
            <a:ext cx="2926080" cy="188002"/>
          </a:xfrm>
          <a:prstGeom prst="rect">
            <a:avLst/>
          </a:prstGeom>
        </p:spPr>
      </p:pic>
      <p:sp>
        <p:nvSpPr>
          <p:cNvPr id="5" name="Footer Placeholder 3">
            <a:extLst>
              <a:ext uri="{FF2B5EF4-FFF2-40B4-BE49-F238E27FC236}">
                <a16:creationId xmlns:a16="http://schemas.microsoft.com/office/drawing/2014/main" id="{B619EA6F-2DB7-182B-B56E-167257428387}"/>
              </a:ext>
            </a:extLst>
          </p:cNvPr>
          <p:cNvSpPr txBox="1">
            <a:spLocks/>
          </p:cNvSpPr>
          <p:nvPr userDrawn="1"/>
        </p:nvSpPr>
        <p:spPr>
          <a:xfrm>
            <a:off x="274320" y="6216134"/>
            <a:ext cx="4052020" cy="415498"/>
          </a:xfrm>
          <a:prstGeom prst="rect">
            <a:avLst/>
          </a:prstGeom>
        </p:spPr>
        <p:txBody>
          <a:bodyPr wrap="square" lIns="0" bIns="0" anchor="b">
            <a:spAutoFit/>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chemeClr val="tx1"/>
                </a:solidFill>
              </a:rPr>
              <a:t>CONFIDENTIAL</a:t>
            </a:r>
          </a:p>
          <a:p>
            <a:r>
              <a:rPr lang="en-US" sz="1200" b="1" dirty="0">
                <a:solidFill>
                  <a:schemeClr val="tx1"/>
                </a:solidFill>
              </a:rPr>
              <a:t>FOR DISCUSSION PURPOSES</a:t>
            </a:r>
          </a:p>
        </p:txBody>
      </p:sp>
    </p:spTree>
    <p:extLst>
      <p:ext uri="{BB962C8B-B14F-4D97-AF65-F5344CB8AC3E}">
        <p14:creationId xmlns:p14="http://schemas.microsoft.com/office/powerpoint/2010/main" val="62559675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44">
          <p15:clr>
            <a:srgbClr val="A4A3A4"/>
          </p15:clr>
        </p15:guide>
        <p15:guide id="3" pos="168">
          <p15:clr>
            <a:srgbClr val="F26B43"/>
          </p15:clr>
        </p15:guide>
        <p15:guide id="4" pos="7512">
          <p15:clr>
            <a:srgbClr val="F26B43"/>
          </p15:clr>
        </p15:guide>
        <p15:guide id="6" orient="horz" pos="4176">
          <p15:clr>
            <a:srgbClr val="A4A3A4"/>
          </p15:clr>
        </p15:guide>
        <p15:guide id="11" orient="horz" pos="739">
          <p15:clr>
            <a:srgbClr val="C35EA4"/>
          </p15:clr>
        </p15:guide>
        <p15:guide id="13" orient="horz" pos="3816">
          <p15:clr>
            <a:srgbClr val="C35EA4"/>
          </p15:clr>
        </p15:guide>
        <p15:guide id="15" pos="3840">
          <p15:clr>
            <a:srgbClr val="F26B43"/>
          </p15:clr>
        </p15:guide>
        <p15:guide id="17" pos="3694">
          <p15:clr>
            <a:srgbClr val="F26B43"/>
          </p15:clr>
        </p15:guide>
        <p15:guide id="18" pos="398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7.xml"/><Relationship Id="rId7" Type="http://schemas.openxmlformats.org/officeDocument/2006/relationships/notesSlide" Target="../notesSlides/notesSlide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63.xml"/><Relationship Id="rId5" Type="http://schemas.openxmlformats.org/officeDocument/2006/relationships/tags" Target="../tags/tag19.xml"/><Relationship Id="rId10" Type="http://schemas.openxmlformats.org/officeDocument/2006/relationships/image" Target="../media/image14.png"/><Relationship Id="rId4" Type="http://schemas.openxmlformats.org/officeDocument/2006/relationships/tags" Target="../tags/tag18.xml"/><Relationship Id="rId9" Type="http://schemas.openxmlformats.org/officeDocument/2006/relationships/image" Target="../media/image13.emf"/></Relationships>
</file>

<file path=ppt/slides/_rels/slide10.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5.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22.bin"/><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notesSlide" Target="../notesSlides/notesSlide4.xml"/><Relationship Id="rId5" Type="http://schemas.openxmlformats.org/officeDocument/2006/relationships/tags" Target="../tags/tag85.xml"/><Relationship Id="rId10" Type="http://schemas.openxmlformats.org/officeDocument/2006/relationships/slideLayout" Target="../slideLayouts/slideLayout66.xml"/><Relationship Id="rId4" Type="http://schemas.openxmlformats.org/officeDocument/2006/relationships/tags" Target="../tags/tag84.xml"/><Relationship Id="rId9" Type="http://schemas.openxmlformats.org/officeDocument/2006/relationships/tags" Target="../tags/tag89.xml"/></Relationships>
</file>

<file path=ppt/slides/_rels/slide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18.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8.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oleObject" Target="../embeddings/oleObject23.bin"/><Relationship Id="rId5" Type="http://schemas.openxmlformats.org/officeDocument/2006/relationships/tags" Target="../tags/tag94.xml"/><Relationship Id="rId10" Type="http://schemas.openxmlformats.org/officeDocument/2006/relationships/slideLayout" Target="../slideLayouts/slideLayout66.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8.emf"/><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oleObject" Target="../embeddings/oleObject24.bin"/><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slideLayout" Target="../slideLayouts/slideLayout66.xml"/><Relationship Id="rId5" Type="http://schemas.openxmlformats.org/officeDocument/2006/relationships/tags" Target="../tags/tag103.xml"/><Relationship Id="rId15" Type="http://schemas.openxmlformats.org/officeDocument/2006/relationships/hyperlink" Target="https://onehenry.hfhs.org/documentcenter/Business%20Units%20%20Departments/VerbalAuthorizationOfDecisionMaker.pdf" TargetMode="Externa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21.pn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20.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5.emf"/><Relationship Id="rId5" Type="http://schemas.openxmlformats.org/officeDocument/2006/relationships/tags" Target="../tags/tag113.xml"/><Relationship Id="rId10" Type="http://schemas.openxmlformats.org/officeDocument/2006/relationships/oleObject" Target="../embeddings/oleObject25.bin"/><Relationship Id="rId4" Type="http://schemas.openxmlformats.org/officeDocument/2006/relationships/tags" Target="../tags/tag112.xml"/><Relationship Id="rId9"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image" Target="../media/image23.png"/><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22.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image" Target="../media/image8.emf"/><Relationship Id="rId5" Type="http://schemas.openxmlformats.org/officeDocument/2006/relationships/tags" Target="../tags/tag121.xml"/><Relationship Id="rId10" Type="http://schemas.openxmlformats.org/officeDocument/2006/relationships/oleObject" Target="../embeddings/oleObject26.bin"/><Relationship Id="rId4" Type="http://schemas.openxmlformats.org/officeDocument/2006/relationships/tags" Target="../tags/tag120.xml"/><Relationship Id="rId9" Type="http://schemas.openxmlformats.org/officeDocument/2006/relationships/slideLayout" Target="../slideLayouts/slideLayout66.xml"/><Relationship Id="rId1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6.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tags" Target="../tags/tag132.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5.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oleObject" Target="../embeddings/oleObject27.bin"/><Relationship Id="rId5" Type="http://schemas.openxmlformats.org/officeDocument/2006/relationships/tags" Target="../tags/tag129.xml"/><Relationship Id="rId10" Type="http://schemas.openxmlformats.org/officeDocument/2006/relationships/slideLayout" Target="../slideLayouts/slideLayout65.xml"/><Relationship Id="rId4" Type="http://schemas.openxmlformats.org/officeDocument/2006/relationships/tags" Target="../tags/tag128.xml"/><Relationship Id="rId9" Type="http://schemas.openxmlformats.org/officeDocument/2006/relationships/tags" Target="../tags/tag133.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36.xml"/><Relationship Id="rId7" Type="http://schemas.openxmlformats.org/officeDocument/2006/relationships/slideLayout" Target="../slideLayouts/slideLayout7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4" Type="http://schemas.openxmlformats.org/officeDocument/2006/relationships/tags" Target="../tags/tag137.xml"/><Relationship Id="rId9" Type="http://schemas.openxmlformats.org/officeDocument/2006/relationships/image" Target="../media/image8.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42.xml"/><Relationship Id="rId7" Type="http://schemas.openxmlformats.org/officeDocument/2006/relationships/slideLayout" Target="../slideLayouts/slideLayout6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8.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oleObject" Target="../embeddings/oleObject30.bin"/><Relationship Id="rId5" Type="http://schemas.openxmlformats.org/officeDocument/2006/relationships/tags" Target="../tags/tag150.xml"/><Relationship Id="rId10" Type="http://schemas.openxmlformats.org/officeDocument/2006/relationships/slideLayout" Target="../slideLayouts/slideLayout66.xml"/><Relationship Id="rId4" Type="http://schemas.openxmlformats.org/officeDocument/2006/relationships/tags" Target="../tags/tag149.xml"/><Relationship Id="rId9" Type="http://schemas.openxmlformats.org/officeDocument/2006/relationships/tags" Target="../tags/tag1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slideLayout" Target="../slideLayouts/slideLayout66.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tags" Target="../tags/tag166.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image" Target="../media/image5.emf"/><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8.emf"/><Relationship Id="rId4" Type="http://schemas.openxmlformats.org/officeDocument/2006/relationships/tags" Target="../tags/tag170.xml"/><Relationship Id="rId9" Type="http://schemas.openxmlformats.org/officeDocument/2006/relationships/oleObject" Target="../embeddings/oleObject32.bin"/></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76.xml"/><Relationship Id="rId7" Type="http://schemas.openxmlformats.org/officeDocument/2006/relationships/slideLayout" Target="../slideLayouts/slideLayout6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image" Target="../media/image30.png"/><Relationship Id="rId3" Type="http://schemas.openxmlformats.org/officeDocument/2006/relationships/tags" Target="../tags/tag182.xml"/><Relationship Id="rId21" Type="http://schemas.openxmlformats.org/officeDocument/2006/relationships/slideLayout" Target="../slideLayouts/slideLayout64.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image" Target="../media/image29.sv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image" Target="../media/image33.svg"/><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image" Target="../media/image28.png"/><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image" Target="../media/image8.emf"/><Relationship Id="rId28" Type="http://schemas.openxmlformats.org/officeDocument/2006/relationships/image" Target="../media/image32.png"/><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oleObject" Target="../embeddings/oleObject34.bin"/><Relationship Id="rId27" Type="http://schemas.openxmlformats.org/officeDocument/2006/relationships/image" Target="../media/image31.sv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02.xml"/><Relationship Id="rId7" Type="http://schemas.openxmlformats.org/officeDocument/2006/relationships/slideLayout" Target="../slideLayouts/slideLayout70.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8.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tags" Target="../tags/tag208.xml"/><Relationship Id="rId7" Type="http://schemas.openxmlformats.org/officeDocument/2006/relationships/tags" Target="../tags/tag21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5" Type="http://schemas.openxmlformats.org/officeDocument/2006/relationships/tags" Target="../tags/tag210.xml"/><Relationship Id="rId10" Type="http://schemas.openxmlformats.org/officeDocument/2006/relationships/image" Target="../media/image5.emf"/><Relationship Id="rId4" Type="http://schemas.openxmlformats.org/officeDocument/2006/relationships/tags" Target="../tags/tag209.xml"/><Relationship Id="rId9"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5.xml"/><Relationship Id="rId7" Type="http://schemas.openxmlformats.org/officeDocument/2006/relationships/oleObject" Target="../embeddings/oleObject37.bin"/><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slideLayout" Target="../slideLayouts/slideLayout68.xml"/><Relationship Id="rId5" Type="http://schemas.openxmlformats.org/officeDocument/2006/relationships/tags" Target="../tags/tag217.xml"/><Relationship Id="rId4" Type="http://schemas.openxmlformats.org/officeDocument/2006/relationships/tags" Target="../tags/tag216.xml"/><Relationship Id="rId9" Type="http://schemas.openxmlformats.org/officeDocument/2006/relationships/image" Target="../media/image35.png"/></Relationships>
</file>

<file path=ppt/slides/_rels/slide29.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oleObject" Target="../embeddings/oleObject38.bin"/><Relationship Id="rId18" Type="http://schemas.openxmlformats.org/officeDocument/2006/relationships/image" Target="../media/image4.svg"/><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slideLayout" Target="../slideLayouts/slideLayout75.xml"/><Relationship Id="rId17" Type="http://schemas.openxmlformats.org/officeDocument/2006/relationships/image" Target="../media/image3.png"/><Relationship Id="rId2" Type="http://schemas.openxmlformats.org/officeDocument/2006/relationships/tags" Target="../tags/tag219.xml"/><Relationship Id="rId16" Type="http://schemas.openxmlformats.org/officeDocument/2006/relationships/image" Target="../media/image16.png"/><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5" Type="http://schemas.openxmlformats.org/officeDocument/2006/relationships/tags" Target="../tags/tag222.xml"/><Relationship Id="rId15" Type="http://schemas.openxmlformats.org/officeDocument/2006/relationships/image" Target="../media/image15.png"/><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image" Target="../media/image13.emf"/></Relationships>
</file>

<file path=ppt/slides/_rels/slide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15.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67.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66.xml"/><Relationship Id="rId1" Type="http://schemas.openxmlformats.org/officeDocument/2006/relationships/tags" Target="../tags/tag229.xml"/><Relationship Id="rId5" Type="http://schemas.openxmlformats.org/officeDocument/2006/relationships/hyperlink" Target="https://www.youtube.com/watch?v=31pv2Rlp6R4" TargetMode="Externa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7.png"/><Relationship Id="rId2" Type="http://schemas.openxmlformats.org/officeDocument/2006/relationships/slideLayout" Target="../slideLayouts/slideLayout66.xml"/><Relationship Id="rId1" Type="http://schemas.openxmlformats.org/officeDocument/2006/relationships/tags" Target="../tags/tag230.xml"/><Relationship Id="rId6" Type="http://schemas.openxmlformats.org/officeDocument/2006/relationships/image" Target="../media/image36.jpeg"/><Relationship Id="rId5" Type="http://schemas.openxmlformats.org/officeDocument/2006/relationships/image" Target="../media/image8.emf"/><Relationship Id="rId4" Type="http://schemas.openxmlformats.org/officeDocument/2006/relationships/oleObject" Target="../embeddings/oleObject40.bin"/></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41.bin"/><Relationship Id="rId13" Type="http://schemas.openxmlformats.org/officeDocument/2006/relationships/hyperlink" Target="https://henryford.policystat.com/policy/10534842/latest" TargetMode="External"/><Relationship Id="rId3" Type="http://schemas.openxmlformats.org/officeDocument/2006/relationships/tags" Target="../tags/tag233.xml"/><Relationship Id="rId7" Type="http://schemas.openxmlformats.org/officeDocument/2006/relationships/slideLayout" Target="../slideLayouts/slideLayout64.xml"/><Relationship Id="rId12" Type="http://schemas.openxmlformats.org/officeDocument/2006/relationships/hyperlink" Target="https://henryford.policystat.com/policy/8136858/latest/" TargetMode="External"/><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hyperlink" Target="https://henryford.policystat.com/policy/14316362/latest/" TargetMode="External"/><Relationship Id="rId5" Type="http://schemas.openxmlformats.org/officeDocument/2006/relationships/tags" Target="../tags/tag235.xml"/><Relationship Id="rId10" Type="http://schemas.openxmlformats.org/officeDocument/2006/relationships/hyperlink" Target="https://henryford.policystat.com/policy/14359973/latest" TargetMode="External"/><Relationship Id="rId4" Type="http://schemas.openxmlformats.org/officeDocument/2006/relationships/tags" Target="../tags/tag234.xml"/><Relationship Id="rId9" Type="http://schemas.openxmlformats.org/officeDocument/2006/relationships/image" Target="../media/image8.emf"/></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39.xml"/><Relationship Id="rId7" Type="http://schemas.openxmlformats.org/officeDocument/2006/relationships/slideLayout" Target="../slideLayouts/slideLayout64.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5" Type="http://schemas.openxmlformats.org/officeDocument/2006/relationships/tags" Target="../tags/tag241.xml"/><Relationship Id="rId4" Type="http://schemas.openxmlformats.org/officeDocument/2006/relationships/tags" Target="../tags/tag240.xml"/><Relationship Id="rId9"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image" Target="../media/image5.emf"/><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oleObject" Target="../embeddings/oleObject16.bin"/><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slideLayout" Target="../slideLayouts/slideLayout66.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6.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5.png"/><Relationship Id="rId5" Type="http://schemas.openxmlformats.org/officeDocument/2006/relationships/tags" Target="../tags/tag59.xml"/><Relationship Id="rId10" Type="http://schemas.openxmlformats.org/officeDocument/2006/relationships/image" Target="../media/image13.emf"/><Relationship Id="rId4" Type="http://schemas.openxmlformats.org/officeDocument/2006/relationships/tags" Target="../tags/tag58.xml"/><Relationship Id="rId9"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67.xml"/><Relationship Id="rId1" Type="http://schemas.openxmlformats.org/officeDocument/2006/relationships/tags" Target="../tags/tag62.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oleObject" Target="../embeddings/oleObject20.bin"/><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slideLayout" Target="../slideLayouts/slideLayout66.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7.png"/><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6.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5.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3.emf"/><Relationship Id="rId5" Type="http://schemas.openxmlformats.org/officeDocument/2006/relationships/tags" Target="../tags/tag78.xml"/><Relationship Id="rId10" Type="http://schemas.openxmlformats.org/officeDocument/2006/relationships/oleObject" Target="../embeddings/oleObject21.bin"/><Relationship Id="rId4" Type="http://schemas.openxmlformats.org/officeDocument/2006/relationships/tags" Target="../tags/tag77.xml"/><Relationship Id="rId9"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4A0BF5-EF09-4597-A966-2453E26810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24" imgH="623" progId="TCLayout.ActiveDocument.1">
                  <p:embed/>
                </p:oleObj>
              </mc:Choice>
              <mc:Fallback>
                <p:oleObj name="think-cell Slide" r:id="rId8" imgW="624" imgH="623" progId="TCLayout.ActiveDocument.1">
                  <p:embed/>
                  <p:pic>
                    <p:nvPicPr>
                      <p:cNvPr id="2" name="Object 1" hidden="1">
                        <a:extLst>
                          <a:ext uri="{FF2B5EF4-FFF2-40B4-BE49-F238E27FC236}">
                            <a16:creationId xmlns:a16="http://schemas.microsoft.com/office/drawing/2014/main" id="{2A4A0BF5-EF09-4597-A966-2453E26810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8" name="Picture 2" descr="Fundamental rebranding of Henry Ford Health System">
            <a:extLst>
              <a:ext uri="{FF2B5EF4-FFF2-40B4-BE49-F238E27FC236}">
                <a16:creationId xmlns:a16="http://schemas.microsoft.com/office/drawing/2014/main" id="{6B6C5057-AE6A-0A37-A680-95A9B737CAA3}"/>
              </a:ext>
            </a:extLst>
          </p:cNvPr>
          <p:cNvPicPr>
            <a:picLocks noGrp="1" noChangeAspect="1" noChangeArrowheads="1"/>
          </p:cNvPicPr>
          <p:nvPr>
            <p:ph sz="quarter" idx="16"/>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9090025" y="714673"/>
            <a:ext cx="2835275" cy="1594842"/>
          </a:xfrm>
        </p:spPr>
      </p:pic>
      <p:sp>
        <p:nvSpPr>
          <p:cNvPr id="3" name="Subtitle 2">
            <a:extLst>
              <a:ext uri="{FF2B5EF4-FFF2-40B4-BE49-F238E27FC236}">
                <a16:creationId xmlns:a16="http://schemas.microsoft.com/office/drawing/2014/main" id="{364582DD-4543-4E22-A038-5ECC0F29E320}"/>
              </a:ext>
            </a:extLst>
          </p:cNvPr>
          <p:cNvSpPr>
            <a:spLocks noGrp="1"/>
          </p:cNvSpPr>
          <p:nvPr>
            <p:ph type="subTitle" idx="1"/>
            <p:custDataLst>
              <p:tags r:id="rId4"/>
            </p:custDataLst>
          </p:nvPr>
        </p:nvSpPr>
        <p:spPr>
          <a:xfrm>
            <a:off x="7296912" y="3944141"/>
            <a:ext cx="4632766" cy="428948"/>
          </a:xfrm>
        </p:spPr>
        <p:txBody>
          <a:bodyPr/>
          <a:lstStyle/>
          <a:p>
            <a:r>
              <a:rPr lang="en-US" dirty="0"/>
              <a:t> Advance Care Planning Education</a:t>
            </a:r>
          </a:p>
          <a:p>
            <a:endParaRPr lang="en-US" dirty="0"/>
          </a:p>
        </p:txBody>
      </p:sp>
      <p:sp>
        <p:nvSpPr>
          <p:cNvPr id="5" name="Text Placeholder 4">
            <a:extLst>
              <a:ext uri="{FF2B5EF4-FFF2-40B4-BE49-F238E27FC236}">
                <a16:creationId xmlns:a16="http://schemas.microsoft.com/office/drawing/2014/main" id="{50DAA94E-2DFF-4336-AB5D-A035C683BC76}"/>
              </a:ext>
            </a:extLst>
          </p:cNvPr>
          <p:cNvSpPr>
            <a:spLocks noGrp="1"/>
          </p:cNvSpPr>
          <p:nvPr>
            <p:ph type="body" sz="quarter" idx="15"/>
            <p:custDataLst>
              <p:tags r:id="rId5"/>
            </p:custDataLst>
          </p:nvPr>
        </p:nvSpPr>
        <p:spPr>
          <a:xfrm>
            <a:off x="7296912" y="3112037"/>
            <a:ext cx="4895088" cy="832104"/>
          </a:xfrm>
        </p:spPr>
        <p:txBody>
          <a:bodyPr/>
          <a:lstStyle/>
          <a:p>
            <a:r>
              <a:rPr lang="en-US" sz="2400" dirty="0"/>
              <a:t>Early Integration of Serious Illness Conversations in the ICU</a:t>
            </a:r>
          </a:p>
        </p:txBody>
      </p:sp>
    </p:spTree>
    <p:custDataLst>
      <p:tags r:id="rId1"/>
    </p:custDataLst>
    <p:extLst>
      <p:ext uri="{BB962C8B-B14F-4D97-AF65-F5344CB8AC3E}">
        <p14:creationId xmlns:p14="http://schemas.microsoft.com/office/powerpoint/2010/main" val="1805462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75" name="think-cell data - do not delete" hidden="1">
            <a:extLst>
              <a:ext uri="{FF2B5EF4-FFF2-40B4-BE49-F238E27FC236}">
                <a16:creationId xmlns:a16="http://schemas.microsoft.com/office/drawing/2014/main" id="{70CA2CA2-B90D-9227-8714-3724D0B5DE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8" progId="TCLayout.ActiveDocument.1">
                  <p:embed/>
                </p:oleObj>
              </mc:Choice>
              <mc:Fallback>
                <p:oleObj name="think-cell Slide" r:id="rId12" imgW="347" imgH="348" progId="TCLayout.ActiveDocument.1">
                  <p:embed/>
                  <p:pic>
                    <p:nvPicPr>
                      <p:cNvPr id="1875" name="think-cell data - do not delete" hidden="1">
                        <a:extLst>
                          <a:ext uri="{FF2B5EF4-FFF2-40B4-BE49-F238E27FC236}">
                            <a16:creationId xmlns:a16="http://schemas.microsoft.com/office/drawing/2014/main" id="{70CA2CA2-B90D-9227-8714-3724D0B5D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72" name="Title 1071">
            <a:extLst>
              <a:ext uri="{FF2B5EF4-FFF2-40B4-BE49-F238E27FC236}">
                <a16:creationId xmlns:a16="http://schemas.microsoft.com/office/drawing/2014/main" id="{595CD959-E303-7DE8-C43A-7D1F1A51B413}"/>
              </a:ext>
            </a:extLst>
          </p:cNvPr>
          <p:cNvSpPr>
            <a:spLocks noGrp="1"/>
          </p:cNvSpPr>
          <p:nvPr>
            <p:ph type="title"/>
            <p:custDataLst>
              <p:tags r:id="rId3"/>
            </p:custDataLst>
          </p:nvPr>
        </p:nvSpPr>
        <p:spPr/>
        <p:txBody>
          <a:bodyPr vert="horz"/>
          <a:lstStyle/>
          <a:p>
            <a:r>
              <a:rPr lang="en-US" dirty="0"/>
              <a:t>Debrief</a:t>
            </a:r>
          </a:p>
        </p:txBody>
      </p:sp>
      <p:sp>
        <p:nvSpPr>
          <p:cNvPr id="3" name="Footer Placeholder 2">
            <a:extLst>
              <a:ext uri="{FF2B5EF4-FFF2-40B4-BE49-F238E27FC236}">
                <a16:creationId xmlns:a16="http://schemas.microsoft.com/office/drawing/2014/main" id="{EB37770E-9B28-0462-FA87-1123D8CA7A70}"/>
              </a:ext>
            </a:extLst>
          </p:cNvPr>
          <p:cNvSpPr>
            <a:spLocks noGrp="1"/>
          </p:cNvSpPr>
          <p:nvPr>
            <p:ph type="ftr" sz="quarter" idx="3"/>
            <p:custDataLst>
              <p:tags r:id="rId4"/>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4" name="Rectangle 3">
            <a:extLst>
              <a:ext uri="{FF2B5EF4-FFF2-40B4-BE49-F238E27FC236}">
                <a16:creationId xmlns:a16="http://schemas.microsoft.com/office/drawing/2014/main" id="{D4750284-80ED-61FD-FDFA-44C1024932F0}"/>
              </a:ext>
            </a:extLst>
          </p:cNvPr>
          <p:cNvSpPr/>
          <p:nvPr>
            <p:custDataLst>
              <p:tags r:id="rId5"/>
            </p:custDataLst>
          </p:nvPr>
        </p:nvSpPr>
        <p:spPr bwMode="auto">
          <a:xfrm>
            <a:off x="270553" y="1182590"/>
            <a:ext cx="11657075" cy="4235573"/>
          </a:xfrm>
          <a:prstGeom prst="rect">
            <a:avLst/>
          </a:prstGeom>
          <a:solidFill>
            <a:srgbClr val="C7C7C7">
              <a:lumMod val="20000"/>
              <a:lumOff val="80000"/>
            </a:srgb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r"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grpSp>
        <p:nvGrpSpPr>
          <p:cNvPr id="2319" name="Group 2318">
            <a:extLst>
              <a:ext uri="{FF2B5EF4-FFF2-40B4-BE49-F238E27FC236}">
                <a16:creationId xmlns:a16="http://schemas.microsoft.com/office/drawing/2014/main" id="{04D74929-3F86-6188-C310-C46933B27FA9}"/>
              </a:ext>
            </a:extLst>
          </p:cNvPr>
          <p:cNvGrpSpPr/>
          <p:nvPr>
            <p:custDataLst>
              <p:tags r:id="rId6"/>
            </p:custDataLst>
          </p:nvPr>
        </p:nvGrpSpPr>
        <p:grpSpPr>
          <a:xfrm>
            <a:off x="470026" y="1576909"/>
            <a:ext cx="6956238" cy="3764134"/>
            <a:chOff x="2320118" y="1770985"/>
            <a:chExt cx="6956238" cy="3764134"/>
          </a:xfrm>
        </p:grpSpPr>
        <p:grpSp>
          <p:nvGrpSpPr>
            <p:cNvPr id="16" name="Graphic 3200">
              <a:extLst>
                <a:ext uri="{FF2B5EF4-FFF2-40B4-BE49-F238E27FC236}">
                  <a16:creationId xmlns:a16="http://schemas.microsoft.com/office/drawing/2014/main" id="{35BFB264-48CA-1830-3AAE-FCF53A68BF32}"/>
                </a:ext>
              </a:extLst>
            </p:cNvPr>
            <p:cNvGrpSpPr/>
            <p:nvPr/>
          </p:nvGrpSpPr>
          <p:grpSpPr>
            <a:xfrm>
              <a:off x="2320118" y="2158868"/>
              <a:ext cx="1417601" cy="2912718"/>
              <a:chOff x="2168335" y="2502109"/>
              <a:chExt cx="1322234" cy="2716769"/>
            </a:xfrm>
          </p:grpSpPr>
          <p:sp>
            <p:nvSpPr>
              <p:cNvPr id="2688" name="Freeform: Shape 2687">
                <a:extLst>
                  <a:ext uri="{FF2B5EF4-FFF2-40B4-BE49-F238E27FC236}">
                    <a16:creationId xmlns:a16="http://schemas.microsoft.com/office/drawing/2014/main" id="{CFA9E23A-121A-5A34-B50B-6B5482E0A129}"/>
                  </a:ext>
                </a:extLst>
              </p:cNvPr>
              <p:cNvSpPr/>
              <p:nvPr/>
            </p:nvSpPr>
            <p:spPr>
              <a:xfrm>
                <a:off x="2168335" y="2604177"/>
                <a:ext cx="707090" cy="2376476"/>
              </a:xfrm>
              <a:custGeom>
                <a:avLst/>
                <a:gdLst>
                  <a:gd name="connsiteX0" fmla="*/ 25745 w 707090"/>
                  <a:gd name="connsiteY0" fmla="*/ 2375904 h 2376476"/>
                  <a:gd name="connsiteX1" fmla="*/ 573 w 707090"/>
                  <a:gd name="connsiteY1" fmla="*/ 2338762 h 2376476"/>
                  <a:gd name="connsiteX2" fmla="*/ 449799 w 707090"/>
                  <a:gd name="connsiteY2" fmla="*/ 0 h 2376476"/>
                  <a:gd name="connsiteX3" fmla="*/ 706859 w 707090"/>
                  <a:gd name="connsiteY3" fmla="*/ 2124904 h 2376476"/>
                  <a:gd name="connsiteX4" fmla="*/ 679181 w 707090"/>
                  <a:gd name="connsiteY4" fmla="*/ 2160208 h 2376476"/>
                  <a:gd name="connsiteX5" fmla="*/ 643893 w 707090"/>
                  <a:gd name="connsiteY5" fmla="*/ 2132530 h 2376476"/>
                  <a:gd name="connsiteX6" fmla="*/ 435565 w 707090"/>
                  <a:gd name="connsiteY6" fmla="*/ 410474 h 2376476"/>
                  <a:gd name="connsiteX7" fmla="*/ 62886 w 707090"/>
                  <a:gd name="connsiteY7" fmla="*/ 2350732 h 2376476"/>
                  <a:gd name="connsiteX8" fmla="*/ 25760 w 707090"/>
                  <a:gd name="connsiteY8" fmla="*/ 2375904 h 237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090" h="2376476">
                    <a:moveTo>
                      <a:pt x="25745" y="2375904"/>
                    </a:moveTo>
                    <a:cubicBezTo>
                      <a:pt x="8533" y="2372607"/>
                      <a:pt x="-2723" y="2355973"/>
                      <a:pt x="573" y="2338762"/>
                    </a:cubicBezTo>
                    <a:lnTo>
                      <a:pt x="449799" y="0"/>
                    </a:lnTo>
                    <a:lnTo>
                      <a:pt x="706859" y="2124904"/>
                    </a:lnTo>
                    <a:cubicBezTo>
                      <a:pt x="708956" y="2142298"/>
                      <a:pt x="696575" y="2158097"/>
                      <a:pt x="679181" y="2160208"/>
                    </a:cubicBezTo>
                    <a:cubicBezTo>
                      <a:pt x="661788" y="2162304"/>
                      <a:pt x="645989" y="2149924"/>
                      <a:pt x="643893" y="2132530"/>
                    </a:cubicBezTo>
                    <a:lnTo>
                      <a:pt x="435565" y="410474"/>
                    </a:lnTo>
                    <a:lnTo>
                      <a:pt x="62886" y="2350732"/>
                    </a:lnTo>
                    <a:cubicBezTo>
                      <a:pt x="59575" y="2367928"/>
                      <a:pt x="42956" y="2379200"/>
                      <a:pt x="25760" y="2375904"/>
                    </a:cubicBezTo>
                    <a:close/>
                  </a:path>
                </a:pathLst>
              </a:custGeom>
              <a:solidFill>
                <a:srgbClr val="BD995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89" name="Graphic 3200">
                <a:extLst>
                  <a:ext uri="{FF2B5EF4-FFF2-40B4-BE49-F238E27FC236}">
                    <a16:creationId xmlns:a16="http://schemas.microsoft.com/office/drawing/2014/main" id="{E0977276-C170-D39B-D582-D2D1E1EE1436}"/>
                  </a:ext>
                </a:extLst>
              </p:cNvPr>
              <p:cNvGrpSpPr/>
              <p:nvPr/>
            </p:nvGrpSpPr>
            <p:grpSpPr>
              <a:xfrm>
                <a:off x="2229444" y="2502109"/>
                <a:ext cx="1261125" cy="2716769"/>
                <a:chOff x="2229444" y="2502109"/>
                <a:chExt cx="1261125" cy="2716769"/>
              </a:xfrm>
            </p:grpSpPr>
            <p:grpSp>
              <p:nvGrpSpPr>
                <p:cNvPr id="2690" name="Graphic 3200">
                  <a:extLst>
                    <a:ext uri="{FF2B5EF4-FFF2-40B4-BE49-F238E27FC236}">
                      <a16:creationId xmlns:a16="http://schemas.microsoft.com/office/drawing/2014/main" id="{D0F33397-FB94-0101-8210-BAFDAE50FDCD}"/>
                    </a:ext>
                  </a:extLst>
                </p:cNvPr>
                <p:cNvGrpSpPr/>
                <p:nvPr/>
              </p:nvGrpSpPr>
              <p:grpSpPr>
                <a:xfrm>
                  <a:off x="2229444" y="2502109"/>
                  <a:ext cx="1261125" cy="2716769"/>
                  <a:chOff x="2229444" y="2502109"/>
                  <a:chExt cx="1261125" cy="2716769"/>
                </a:xfrm>
              </p:grpSpPr>
              <p:sp>
                <p:nvSpPr>
                  <p:cNvPr id="2692" name="Freeform: Shape 2691">
                    <a:extLst>
                      <a:ext uri="{FF2B5EF4-FFF2-40B4-BE49-F238E27FC236}">
                        <a16:creationId xmlns:a16="http://schemas.microsoft.com/office/drawing/2014/main" id="{628FF7EB-986B-B3E5-5131-10B09DC7B83A}"/>
                      </a:ext>
                    </a:extLst>
                  </p:cNvPr>
                  <p:cNvSpPr/>
                  <p:nvPr/>
                </p:nvSpPr>
                <p:spPr>
                  <a:xfrm>
                    <a:off x="3085740" y="2508125"/>
                    <a:ext cx="404829" cy="2364152"/>
                  </a:xfrm>
                  <a:custGeom>
                    <a:avLst/>
                    <a:gdLst>
                      <a:gd name="connsiteX0" fmla="*/ 349315 w 404829"/>
                      <a:gd name="connsiteY0" fmla="*/ 2340372 h 2364152"/>
                      <a:gd name="connsiteX1" fmla="*/ 0 w 404829"/>
                      <a:gd name="connsiteY1" fmla="*/ 8264 h 2364152"/>
                      <a:gd name="connsiteX2" fmla="*/ 55204 w 404829"/>
                      <a:gd name="connsiteY2" fmla="*/ 0 h 2364152"/>
                      <a:gd name="connsiteX3" fmla="*/ 404519 w 404829"/>
                      <a:gd name="connsiteY3" fmla="*/ 2332108 h 2364152"/>
                      <a:gd name="connsiteX4" fmla="*/ 381049 w 404829"/>
                      <a:gd name="connsiteY4" fmla="*/ 2363842 h 2364152"/>
                      <a:gd name="connsiteX5" fmla="*/ 349315 w 404829"/>
                      <a:gd name="connsiteY5" fmla="*/ 2340372 h 236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29" h="2364152">
                        <a:moveTo>
                          <a:pt x="349315" y="2340372"/>
                        </a:moveTo>
                        <a:lnTo>
                          <a:pt x="0" y="8264"/>
                        </a:lnTo>
                        <a:lnTo>
                          <a:pt x="55204" y="0"/>
                        </a:lnTo>
                        <a:lnTo>
                          <a:pt x="404519" y="2332108"/>
                        </a:lnTo>
                        <a:cubicBezTo>
                          <a:pt x="406797" y="2347345"/>
                          <a:pt x="396300" y="2361564"/>
                          <a:pt x="381049" y="2363842"/>
                        </a:cubicBezTo>
                        <a:cubicBezTo>
                          <a:pt x="365812" y="2366121"/>
                          <a:pt x="351594" y="2355624"/>
                          <a:pt x="349315" y="2340372"/>
                        </a:cubicBezTo>
                        <a:close/>
                      </a:path>
                    </a:pathLst>
                  </a:custGeom>
                  <a:solidFill>
                    <a:srgbClr val="B38D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3" name="Freeform: Shape 2692">
                    <a:extLst>
                      <a:ext uri="{FF2B5EF4-FFF2-40B4-BE49-F238E27FC236}">
                        <a16:creationId xmlns:a16="http://schemas.microsoft.com/office/drawing/2014/main" id="{E5770181-20CA-4AC4-1CB5-8BF6B2EBBB74}"/>
                      </a:ext>
                    </a:extLst>
                  </p:cNvPr>
                  <p:cNvSpPr/>
                  <p:nvPr/>
                </p:nvSpPr>
                <p:spPr>
                  <a:xfrm>
                    <a:off x="2260798" y="2502109"/>
                    <a:ext cx="1009375" cy="1817880"/>
                  </a:xfrm>
                  <a:custGeom>
                    <a:avLst/>
                    <a:gdLst>
                      <a:gd name="connsiteX0" fmla="*/ 0 w 1009375"/>
                      <a:gd name="connsiteY0" fmla="*/ 118611 h 1817880"/>
                      <a:gd name="connsiteX1" fmla="*/ 246867 w 1009375"/>
                      <a:gd name="connsiteY1" fmla="*/ 1810863 h 1817880"/>
                      <a:gd name="connsiteX2" fmla="*/ 291119 w 1009375"/>
                      <a:gd name="connsiteY2" fmla="*/ 1817881 h 1817880"/>
                      <a:gd name="connsiteX3" fmla="*/ 1009375 w 1009375"/>
                      <a:gd name="connsiteY3" fmla="*/ 1442331 h 1817880"/>
                      <a:gd name="connsiteX4" fmla="*/ 879888 w 1009375"/>
                      <a:gd name="connsiteY4" fmla="*/ 6532 h 1817880"/>
                      <a:gd name="connsiteX5" fmla="*/ 841470 w 1009375"/>
                      <a:gd name="connsiteY5" fmla="*/ 0 h 1817880"/>
                      <a:gd name="connsiteX6" fmla="*/ 0 w 1009375"/>
                      <a:gd name="connsiteY6" fmla="*/ 118611 h 181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9375" h="1817880">
                        <a:moveTo>
                          <a:pt x="0" y="118611"/>
                        </a:moveTo>
                        <a:lnTo>
                          <a:pt x="246867" y="1810863"/>
                        </a:lnTo>
                        <a:lnTo>
                          <a:pt x="291119" y="1817881"/>
                        </a:lnTo>
                        <a:lnTo>
                          <a:pt x="1009375" y="1442331"/>
                        </a:lnTo>
                        <a:lnTo>
                          <a:pt x="879888" y="6532"/>
                        </a:lnTo>
                        <a:lnTo>
                          <a:pt x="841470" y="0"/>
                        </a:lnTo>
                        <a:lnTo>
                          <a:pt x="0" y="118611"/>
                        </a:lnTo>
                        <a:close/>
                      </a:path>
                    </a:pathLst>
                  </a:custGeom>
                  <a:solidFill>
                    <a:srgbClr val="9677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4" name="Freeform: Shape 2693">
                    <a:extLst>
                      <a:ext uri="{FF2B5EF4-FFF2-40B4-BE49-F238E27FC236}">
                        <a16:creationId xmlns:a16="http://schemas.microsoft.com/office/drawing/2014/main" id="{0D29C660-2C50-B0F0-D2A7-70D125F22BFB}"/>
                      </a:ext>
                    </a:extLst>
                  </p:cNvPr>
                  <p:cNvSpPr/>
                  <p:nvPr/>
                </p:nvSpPr>
                <p:spPr>
                  <a:xfrm>
                    <a:off x="2229444" y="2615874"/>
                    <a:ext cx="460372" cy="2603004"/>
                  </a:xfrm>
                  <a:custGeom>
                    <a:avLst/>
                    <a:gdLst>
                      <a:gd name="connsiteX0" fmla="*/ 397303 w 460372"/>
                      <a:gd name="connsiteY0" fmla="*/ 2576135 h 2603004"/>
                      <a:gd name="connsiteX1" fmla="*/ 0 w 460372"/>
                      <a:gd name="connsiteY1" fmla="*/ 9707 h 2603004"/>
                      <a:gd name="connsiteX2" fmla="*/ 62693 w 460372"/>
                      <a:gd name="connsiteY2" fmla="*/ 0 h 2603004"/>
                      <a:gd name="connsiteX3" fmla="*/ 459996 w 460372"/>
                      <a:gd name="connsiteY3" fmla="*/ 2566428 h 2603004"/>
                      <a:gd name="connsiteX4" fmla="*/ 433503 w 460372"/>
                      <a:gd name="connsiteY4" fmla="*/ 2602628 h 2603004"/>
                      <a:gd name="connsiteX5" fmla="*/ 397303 w 460372"/>
                      <a:gd name="connsiteY5" fmla="*/ 2576135 h 260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72" h="2603004">
                        <a:moveTo>
                          <a:pt x="397303" y="2576135"/>
                        </a:moveTo>
                        <a:lnTo>
                          <a:pt x="0" y="9707"/>
                        </a:lnTo>
                        <a:lnTo>
                          <a:pt x="62693" y="0"/>
                        </a:lnTo>
                        <a:lnTo>
                          <a:pt x="459996" y="2566428"/>
                        </a:lnTo>
                        <a:cubicBezTo>
                          <a:pt x="462670" y="2583746"/>
                          <a:pt x="450821" y="2599954"/>
                          <a:pt x="433503" y="2602628"/>
                        </a:cubicBezTo>
                        <a:cubicBezTo>
                          <a:pt x="416185" y="2605301"/>
                          <a:pt x="399977" y="2593452"/>
                          <a:pt x="397303" y="2576135"/>
                        </a:cubicBezTo>
                        <a:close/>
                      </a:path>
                    </a:pathLst>
                  </a:custGeom>
                  <a:solidFill>
                    <a:srgbClr val="B38D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5" name="Freeform: Shape 2694">
                    <a:extLst>
                      <a:ext uri="{FF2B5EF4-FFF2-40B4-BE49-F238E27FC236}">
                        <a16:creationId xmlns:a16="http://schemas.microsoft.com/office/drawing/2014/main" id="{EE27D6FC-967B-9847-2F17-54BC5D35BF0E}"/>
                      </a:ext>
                    </a:extLst>
                  </p:cNvPr>
                  <p:cNvSpPr/>
                  <p:nvPr/>
                </p:nvSpPr>
                <p:spPr>
                  <a:xfrm>
                    <a:off x="2532062" y="3871175"/>
                    <a:ext cx="821843" cy="489998"/>
                  </a:xfrm>
                  <a:custGeom>
                    <a:avLst/>
                    <a:gdLst>
                      <a:gd name="connsiteX0" fmla="*/ 0 w 821843"/>
                      <a:gd name="connsiteY0" fmla="*/ 372481 h 489998"/>
                      <a:gd name="connsiteX1" fmla="*/ 804526 w 821843"/>
                      <a:gd name="connsiteY1" fmla="*/ 0 h 489998"/>
                      <a:gd name="connsiteX2" fmla="*/ 821843 w 821843"/>
                      <a:gd name="connsiteY2" fmla="*/ 102387 h 489998"/>
                      <a:gd name="connsiteX3" fmla="*/ 30260 w 821843"/>
                      <a:gd name="connsiteY3" fmla="*/ 489998 h 489998"/>
                      <a:gd name="connsiteX4" fmla="*/ 0 w 821843"/>
                      <a:gd name="connsiteY4" fmla="*/ 372481 h 489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843" h="489998">
                        <a:moveTo>
                          <a:pt x="0" y="372481"/>
                        </a:moveTo>
                        <a:lnTo>
                          <a:pt x="804526" y="0"/>
                        </a:lnTo>
                        <a:lnTo>
                          <a:pt x="821843" y="102387"/>
                        </a:lnTo>
                        <a:lnTo>
                          <a:pt x="30260" y="489998"/>
                        </a:lnTo>
                        <a:lnTo>
                          <a:pt x="0" y="372481"/>
                        </a:lnTo>
                        <a:close/>
                      </a:path>
                    </a:pathLst>
                  </a:custGeom>
                  <a:solidFill>
                    <a:srgbClr val="B38D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91" name="Freeform: Shape 2690">
                  <a:extLst>
                    <a:ext uri="{FF2B5EF4-FFF2-40B4-BE49-F238E27FC236}">
                      <a16:creationId xmlns:a16="http://schemas.microsoft.com/office/drawing/2014/main" id="{A0863F36-FA30-D089-4A06-9904D9C63D40}"/>
                    </a:ext>
                  </a:extLst>
                </p:cNvPr>
                <p:cNvSpPr/>
                <p:nvPr/>
              </p:nvSpPr>
              <p:spPr>
                <a:xfrm>
                  <a:off x="2306204" y="2521812"/>
                  <a:ext cx="1026556" cy="1798178"/>
                </a:xfrm>
                <a:custGeom>
                  <a:avLst/>
                  <a:gdLst>
                    <a:gd name="connsiteX0" fmla="*/ 0 w 1026556"/>
                    <a:gd name="connsiteY0" fmla="*/ 121710 h 1798178"/>
                    <a:gd name="connsiteX1" fmla="*/ 245713 w 1026556"/>
                    <a:gd name="connsiteY1" fmla="*/ 1798178 h 1798178"/>
                    <a:gd name="connsiteX2" fmla="*/ 1026556 w 1026556"/>
                    <a:gd name="connsiteY2" fmla="*/ 1408562 h 1798178"/>
                    <a:gd name="connsiteX3" fmla="*/ 807123 w 1026556"/>
                    <a:gd name="connsiteY3" fmla="*/ 0 h 1798178"/>
                    <a:gd name="connsiteX4" fmla="*/ 0 w 1026556"/>
                    <a:gd name="connsiteY4" fmla="*/ 121710 h 179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556" h="1798178">
                      <a:moveTo>
                        <a:pt x="0" y="121710"/>
                      </a:moveTo>
                      <a:lnTo>
                        <a:pt x="245713" y="1798178"/>
                      </a:lnTo>
                      <a:lnTo>
                        <a:pt x="1026556" y="1408562"/>
                      </a:lnTo>
                      <a:lnTo>
                        <a:pt x="807123" y="0"/>
                      </a:lnTo>
                      <a:lnTo>
                        <a:pt x="0" y="121710"/>
                      </a:lnTo>
                      <a:close/>
                    </a:path>
                  </a:pathLst>
                </a:custGeom>
                <a:solidFill>
                  <a:srgbClr val="FFF2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 name="Group 1">
              <a:extLst>
                <a:ext uri="{FF2B5EF4-FFF2-40B4-BE49-F238E27FC236}">
                  <a16:creationId xmlns:a16="http://schemas.microsoft.com/office/drawing/2014/main" id="{247A2AD6-F677-76BE-0F60-36B3F338A816}"/>
                </a:ext>
              </a:extLst>
            </p:cNvPr>
            <p:cNvGrpSpPr/>
            <p:nvPr/>
          </p:nvGrpSpPr>
          <p:grpSpPr>
            <a:xfrm>
              <a:off x="3254050" y="1770985"/>
              <a:ext cx="1413850" cy="3379133"/>
              <a:chOff x="3254050" y="1770985"/>
              <a:chExt cx="1413850" cy="3379133"/>
            </a:xfrm>
          </p:grpSpPr>
          <p:grpSp>
            <p:nvGrpSpPr>
              <p:cNvPr id="17" name="Graphic 3200">
                <a:extLst>
                  <a:ext uri="{FF2B5EF4-FFF2-40B4-BE49-F238E27FC236}">
                    <a16:creationId xmlns:a16="http://schemas.microsoft.com/office/drawing/2014/main" id="{7689F7BF-803D-88FF-EF4C-1468280DBC34}"/>
                  </a:ext>
                </a:extLst>
              </p:cNvPr>
              <p:cNvGrpSpPr/>
              <p:nvPr/>
            </p:nvGrpSpPr>
            <p:grpSpPr>
              <a:xfrm>
                <a:off x="3400539" y="2974858"/>
                <a:ext cx="777936" cy="2175260"/>
                <a:chOff x="3176072" y="3263204"/>
                <a:chExt cx="725601" cy="2028922"/>
              </a:xfrm>
            </p:grpSpPr>
            <p:sp>
              <p:nvSpPr>
                <p:cNvPr id="2658" name="Freeform: Shape 2657">
                  <a:extLst>
                    <a:ext uri="{FF2B5EF4-FFF2-40B4-BE49-F238E27FC236}">
                      <a16:creationId xmlns:a16="http://schemas.microsoft.com/office/drawing/2014/main" id="{0D5405EF-59C9-CE53-EC63-66CCB12779B5}"/>
                    </a:ext>
                  </a:extLst>
                </p:cNvPr>
                <p:cNvSpPr/>
                <p:nvPr/>
              </p:nvSpPr>
              <p:spPr>
                <a:xfrm>
                  <a:off x="3248538" y="3433707"/>
                  <a:ext cx="597259" cy="854913"/>
                </a:xfrm>
                <a:custGeom>
                  <a:avLst/>
                  <a:gdLst>
                    <a:gd name="connsiteX0" fmla="*/ 588134 w 597259"/>
                    <a:gd name="connsiteY0" fmla="*/ 854914 h 854913"/>
                    <a:gd name="connsiteX1" fmla="*/ 12369 w 597259"/>
                    <a:gd name="connsiteY1" fmla="*/ 844584 h 854913"/>
                    <a:gd name="connsiteX2" fmla="*/ 53961 w 597259"/>
                    <a:gd name="connsiteY2" fmla="*/ 0 h 854913"/>
                    <a:gd name="connsiteX3" fmla="*/ 477226 w 597259"/>
                    <a:gd name="connsiteY3" fmla="*/ 0 h 854913"/>
                    <a:gd name="connsiteX4" fmla="*/ 588119 w 597259"/>
                    <a:gd name="connsiteY4" fmla="*/ 854914 h 85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259" h="854913">
                      <a:moveTo>
                        <a:pt x="588134" y="854914"/>
                      </a:moveTo>
                      <a:cubicBezTo>
                        <a:pt x="588134" y="854914"/>
                        <a:pt x="398977" y="843536"/>
                        <a:pt x="12369" y="844584"/>
                      </a:cubicBezTo>
                      <a:cubicBezTo>
                        <a:pt x="12369" y="844584"/>
                        <a:pt x="-34404" y="186058"/>
                        <a:pt x="53961" y="0"/>
                      </a:cubicBezTo>
                      <a:lnTo>
                        <a:pt x="477226" y="0"/>
                      </a:lnTo>
                      <a:cubicBezTo>
                        <a:pt x="477226" y="0"/>
                        <a:pt x="636472" y="296344"/>
                        <a:pt x="588119" y="854914"/>
                      </a:cubicBez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59" name="Graphic 3200">
                  <a:extLst>
                    <a:ext uri="{FF2B5EF4-FFF2-40B4-BE49-F238E27FC236}">
                      <a16:creationId xmlns:a16="http://schemas.microsoft.com/office/drawing/2014/main" id="{0A9550F8-EBAF-D2B1-E3F4-6DA06F5473B8}"/>
                    </a:ext>
                  </a:extLst>
                </p:cNvPr>
                <p:cNvGrpSpPr/>
                <p:nvPr/>
              </p:nvGrpSpPr>
              <p:grpSpPr>
                <a:xfrm>
                  <a:off x="3176072" y="3263204"/>
                  <a:ext cx="725601" cy="2028922"/>
                  <a:chOff x="3176072" y="3263204"/>
                  <a:chExt cx="725601" cy="2028922"/>
                </a:xfrm>
              </p:grpSpPr>
              <p:grpSp>
                <p:nvGrpSpPr>
                  <p:cNvPr id="2660" name="Graphic 3200">
                    <a:extLst>
                      <a:ext uri="{FF2B5EF4-FFF2-40B4-BE49-F238E27FC236}">
                        <a16:creationId xmlns:a16="http://schemas.microsoft.com/office/drawing/2014/main" id="{38C12925-7BDB-452A-E1D8-943199464124}"/>
                      </a:ext>
                    </a:extLst>
                  </p:cNvPr>
                  <p:cNvGrpSpPr/>
                  <p:nvPr/>
                </p:nvGrpSpPr>
                <p:grpSpPr>
                  <a:xfrm>
                    <a:off x="3176072" y="3322373"/>
                    <a:ext cx="725601" cy="1969754"/>
                    <a:chOff x="3176072" y="3322373"/>
                    <a:chExt cx="725601" cy="1969754"/>
                  </a:xfrm>
                </p:grpSpPr>
                <p:grpSp>
                  <p:nvGrpSpPr>
                    <p:cNvPr id="2662" name="Graphic 3200">
                      <a:extLst>
                        <a:ext uri="{FF2B5EF4-FFF2-40B4-BE49-F238E27FC236}">
                          <a16:creationId xmlns:a16="http://schemas.microsoft.com/office/drawing/2014/main" id="{54D51BDC-8484-B975-D4D7-9A5BABE23E47}"/>
                        </a:ext>
                      </a:extLst>
                    </p:cNvPr>
                    <p:cNvGrpSpPr/>
                    <p:nvPr/>
                  </p:nvGrpSpPr>
                  <p:grpSpPr>
                    <a:xfrm>
                      <a:off x="3475053" y="3322373"/>
                      <a:ext cx="426620" cy="1889270"/>
                      <a:chOff x="3475053" y="3322373"/>
                      <a:chExt cx="426620" cy="1889270"/>
                    </a:xfrm>
                  </p:grpSpPr>
                  <p:grpSp>
                    <p:nvGrpSpPr>
                      <p:cNvPr id="2677" name="Graphic 3200">
                        <a:extLst>
                          <a:ext uri="{FF2B5EF4-FFF2-40B4-BE49-F238E27FC236}">
                            <a16:creationId xmlns:a16="http://schemas.microsoft.com/office/drawing/2014/main" id="{24032479-6B83-3102-9EB0-9BC69D2B423C}"/>
                          </a:ext>
                        </a:extLst>
                      </p:cNvPr>
                      <p:cNvGrpSpPr/>
                      <p:nvPr/>
                    </p:nvGrpSpPr>
                    <p:grpSpPr>
                      <a:xfrm>
                        <a:off x="3580505" y="4887644"/>
                        <a:ext cx="321167" cy="323999"/>
                        <a:chOff x="3580505" y="4887644"/>
                        <a:chExt cx="321167" cy="323999"/>
                      </a:xfrm>
                    </p:grpSpPr>
                    <p:grpSp>
                      <p:nvGrpSpPr>
                        <p:cNvPr id="2683" name="Graphic 3200">
                          <a:extLst>
                            <a:ext uri="{FF2B5EF4-FFF2-40B4-BE49-F238E27FC236}">
                              <a16:creationId xmlns:a16="http://schemas.microsoft.com/office/drawing/2014/main" id="{6FA7054D-6009-B75E-3D6E-06485A26E5C7}"/>
                            </a:ext>
                          </a:extLst>
                        </p:cNvPr>
                        <p:cNvGrpSpPr/>
                        <p:nvPr/>
                      </p:nvGrpSpPr>
                      <p:grpSpPr>
                        <a:xfrm>
                          <a:off x="3582062" y="5046617"/>
                          <a:ext cx="319431" cy="165026"/>
                          <a:chOff x="3582062" y="5046617"/>
                          <a:chExt cx="319431" cy="165026"/>
                        </a:xfrm>
                        <a:solidFill>
                          <a:srgbClr val="191519"/>
                        </a:solidFill>
                      </p:grpSpPr>
                      <p:sp>
                        <p:nvSpPr>
                          <p:cNvPr id="2686" name="Freeform: Shape 2685">
                            <a:extLst>
                              <a:ext uri="{FF2B5EF4-FFF2-40B4-BE49-F238E27FC236}">
                                <a16:creationId xmlns:a16="http://schemas.microsoft.com/office/drawing/2014/main" id="{8266F4F8-0E9D-C597-F913-E4B8911C3E39}"/>
                              </a:ext>
                            </a:extLst>
                          </p:cNvPr>
                          <p:cNvSpPr/>
                          <p:nvPr/>
                        </p:nvSpPr>
                        <p:spPr>
                          <a:xfrm>
                            <a:off x="3584397" y="5055078"/>
                            <a:ext cx="59700" cy="120347"/>
                          </a:xfrm>
                          <a:custGeom>
                            <a:avLst/>
                            <a:gdLst>
                              <a:gd name="connsiteX0" fmla="*/ 15 w 59700"/>
                              <a:gd name="connsiteY0" fmla="*/ 15 h 120347"/>
                              <a:gd name="connsiteX1" fmla="*/ 6988 w 59700"/>
                              <a:gd name="connsiteY1" fmla="*/ 115527 h 120347"/>
                              <a:gd name="connsiteX2" fmla="*/ 57376 w 59700"/>
                              <a:gd name="connsiteY2" fmla="*/ 115527 h 120347"/>
                              <a:gd name="connsiteX3" fmla="*/ 59700 w 59700"/>
                              <a:gd name="connsiteY3" fmla="*/ 34893 h 120347"/>
                              <a:gd name="connsiteX4" fmla="*/ 0 w 59700"/>
                              <a:gd name="connsiteY4" fmla="*/ 0 h 120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 h="120347">
                                <a:moveTo>
                                  <a:pt x="15" y="15"/>
                                </a:moveTo>
                                <a:lnTo>
                                  <a:pt x="6988" y="115527"/>
                                </a:lnTo>
                                <a:cubicBezTo>
                                  <a:pt x="6988" y="115527"/>
                                  <a:pt x="28696" y="126373"/>
                                  <a:pt x="57376" y="115527"/>
                                </a:cubicBezTo>
                                <a:lnTo>
                                  <a:pt x="59700" y="34893"/>
                                </a:lnTo>
                                <a:lnTo>
                                  <a:pt x="0" y="0"/>
                                </a:lnTo>
                                <a:close/>
                              </a:path>
                            </a:pathLst>
                          </a:custGeom>
                          <a:solidFill>
                            <a:srgbClr val="19151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7" name="Freeform: Shape 2686">
                            <a:extLst>
                              <a:ext uri="{FF2B5EF4-FFF2-40B4-BE49-F238E27FC236}">
                                <a16:creationId xmlns:a16="http://schemas.microsoft.com/office/drawing/2014/main" id="{5D02391E-7E9C-D6C0-F0CE-57C692E5CA07}"/>
                              </a:ext>
                            </a:extLst>
                          </p:cNvPr>
                          <p:cNvSpPr/>
                          <p:nvPr/>
                        </p:nvSpPr>
                        <p:spPr>
                          <a:xfrm>
                            <a:off x="3582062" y="5046617"/>
                            <a:ext cx="319431" cy="165026"/>
                          </a:xfrm>
                          <a:custGeom>
                            <a:avLst/>
                            <a:gdLst>
                              <a:gd name="connsiteX0" fmla="*/ 319430 w 319431"/>
                              <a:gd name="connsiteY0" fmla="*/ 136126 h 165026"/>
                              <a:gd name="connsiteX1" fmla="*/ 303920 w 319431"/>
                              <a:gd name="connsiteY1" fmla="*/ 157317 h 165026"/>
                              <a:gd name="connsiteX2" fmla="*/ 136470 w 319431"/>
                              <a:gd name="connsiteY2" fmla="*/ 137934 h 165026"/>
                              <a:gd name="connsiteX3" fmla="*/ 82208 w 319431"/>
                              <a:gd name="connsiteY3" fmla="*/ 84446 h 165026"/>
                              <a:gd name="connsiteX4" fmla="*/ 34919 w 319431"/>
                              <a:gd name="connsiteY4" fmla="*/ 41031 h 165026"/>
                              <a:gd name="connsiteX5" fmla="*/ 10 w 319431"/>
                              <a:gd name="connsiteY5" fmla="*/ 0 h 165026"/>
                              <a:gd name="connsiteX6" fmla="*/ 88406 w 319431"/>
                              <a:gd name="connsiteY6" fmla="*/ 55751 h 165026"/>
                              <a:gd name="connsiteX7" fmla="*/ 319430 w 319431"/>
                              <a:gd name="connsiteY7" fmla="*/ 136126 h 16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1" h="165026">
                                <a:moveTo>
                                  <a:pt x="319430" y="136126"/>
                                </a:moveTo>
                                <a:cubicBezTo>
                                  <a:pt x="319430" y="136126"/>
                                  <a:pt x="319976" y="150557"/>
                                  <a:pt x="303920" y="157317"/>
                                </a:cubicBezTo>
                                <a:cubicBezTo>
                                  <a:pt x="274464" y="169728"/>
                                  <a:pt x="193831" y="169728"/>
                                  <a:pt x="136470" y="137934"/>
                                </a:cubicBezTo>
                                <a:cubicBezTo>
                                  <a:pt x="114762" y="125522"/>
                                  <a:pt x="95379" y="103040"/>
                                  <a:pt x="82208" y="84446"/>
                                </a:cubicBezTo>
                                <a:cubicBezTo>
                                  <a:pt x="69023" y="65838"/>
                                  <a:pt x="48879" y="49553"/>
                                  <a:pt x="34919" y="41031"/>
                                </a:cubicBezTo>
                                <a:cubicBezTo>
                                  <a:pt x="20959" y="32508"/>
                                  <a:pt x="-537" y="22999"/>
                                  <a:pt x="10" y="0"/>
                                </a:cubicBezTo>
                                <a:cubicBezTo>
                                  <a:pt x="10" y="0"/>
                                  <a:pt x="62825" y="30944"/>
                                  <a:pt x="88406" y="55751"/>
                                </a:cubicBezTo>
                                <a:cubicBezTo>
                                  <a:pt x="113988" y="80557"/>
                                  <a:pt x="285326" y="138966"/>
                                  <a:pt x="319430" y="136126"/>
                                </a:cubicBezTo>
                                <a:close/>
                              </a:path>
                            </a:pathLst>
                          </a:custGeom>
                          <a:solidFill>
                            <a:srgbClr val="19151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84" name="Freeform: Shape 2683">
                          <a:extLst>
                            <a:ext uri="{FF2B5EF4-FFF2-40B4-BE49-F238E27FC236}">
                              <a16:creationId xmlns:a16="http://schemas.microsoft.com/office/drawing/2014/main" id="{FDFEC2CC-A6B8-D105-7211-F34606BF7B3B}"/>
                            </a:ext>
                          </a:extLst>
                        </p:cNvPr>
                        <p:cNvSpPr/>
                        <p:nvPr/>
                      </p:nvSpPr>
                      <p:spPr>
                        <a:xfrm>
                          <a:off x="3600517" y="4887644"/>
                          <a:ext cx="201835" cy="259253"/>
                        </a:xfrm>
                        <a:custGeom>
                          <a:avLst/>
                          <a:gdLst>
                            <a:gd name="connsiteX0" fmla="*/ 201747 w 201835"/>
                            <a:gd name="connsiteY0" fmla="*/ 215513 h 259253"/>
                            <a:gd name="connsiteX1" fmla="*/ 141272 w 201835"/>
                            <a:gd name="connsiteY1" fmla="*/ 143417 h 259253"/>
                            <a:gd name="connsiteX2" fmla="*/ 108718 w 201835"/>
                            <a:gd name="connsiteY2" fmla="*/ 31005 h 259253"/>
                            <a:gd name="connsiteX3" fmla="*/ 4053 w 201835"/>
                            <a:gd name="connsiteY3" fmla="*/ 0 h 259253"/>
                            <a:gd name="connsiteX4" fmla="*/ 3278 w 201835"/>
                            <a:gd name="connsiteY4" fmla="*/ 87348 h 259253"/>
                            <a:gd name="connsiteX5" fmla="*/ 1729 w 201835"/>
                            <a:gd name="connsiteY5" fmla="*/ 134895 h 259253"/>
                            <a:gd name="connsiteX6" fmla="*/ 98632 w 201835"/>
                            <a:gd name="connsiteY6" fmla="*/ 233347 h 259253"/>
                            <a:gd name="connsiteX7" fmla="*/ 201747 w 201835"/>
                            <a:gd name="connsiteY7" fmla="*/ 215513 h 2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835" h="259253">
                              <a:moveTo>
                                <a:pt x="201747" y="215513"/>
                              </a:moveTo>
                              <a:cubicBezTo>
                                <a:pt x="201747" y="215513"/>
                                <a:pt x="159881" y="176746"/>
                                <a:pt x="141272" y="143417"/>
                              </a:cubicBezTo>
                              <a:cubicBezTo>
                                <a:pt x="122664" y="110088"/>
                                <a:pt x="111043" y="69772"/>
                                <a:pt x="108718" y="31005"/>
                              </a:cubicBezTo>
                              <a:lnTo>
                                <a:pt x="4053" y="0"/>
                              </a:lnTo>
                              <a:cubicBezTo>
                                <a:pt x="4053" y="0"/>
                                <a:pt x="7927" y="67706"/>
                                <a:pt x="3278" y="87348"/>
                              </a:cubicBezTo>
                              <a:cubicBezTo>
                                <a:pt x="3278" y="87348"/>
                                <a:pt x="-2920" y="120935"/>
                                <a:pt x="1729" y="134895"/>
                              </a:cubicBezTo>
                              <a:cubicBezTo>
                                <a:pt x="6377" y="148856"/>
                                <a:pt x="71501" y="197694"/>
                                <a:pt x="98632" y="233347"/>
                              </a:cubicBezTo>
                              <a:cubicBezTo>
                                <a:pt x="125763" y="269016"/>
                                <a:pt x="204846" y="272115"/>
                                <a:pt x="201747" y="21551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5" name="Freeform: Shape 2684">
                          <a:extLst>
                            <a:ext uri="{FF2B5EF4-FFF2-40B4-BE49-F238E27FC236}">
                              <a16:creationId xmlns:a16="http://schemas.microsoft.com/office/drawing/2014/main" id="{ABD46804-B688-1869-2A6B-B6691176D5A5}"/>
                            </a:ext>
                          </a:extLst>
                        </p:cNvPr>
                        <p:cNvSpPr/>
                        <p:nvPr/>
                      </p:nvSpPr>
                      <p:spPr>
                        <a:xfrm>
                          <a:off x="3580505" y="4974961"/>
                          <a:ext cx="321167" cy="224672"/>
                        </a:xfrm>
                        <a:custGeom>
                          <a:avLst/>
                          <a:gdLst>
                            <a:gd name="connsiteX0" fmla="*/ 23291 w 321167"/>
                            <a:gd name="connsiteY0" fmla="*/ 15 h 224672"/>
                            <a:gd name="connsiteX1" fmla="*/ 64640 w 321167"/>
                            <a:gd name="connsiteY1" fmla="*/ 53760 h 224672"/>
                            <a:gd name="connsiteX2" fmla="*/ 182476 w 321167"/>
                            <a:gd name="connsiteY2" fmla="*/ 159200 h 224672"/>
                            <a:gd name="connsiteX3" fmla="*/ 226925 w 321167"/>
                            <a:gd name="connsiteY3" fmla="*/ 126130 h 224672"/>
                            <a:gd name="connsiteX4" fmla="*/ 286883 w 321167"/>
                            <a:gd name="connsiteY4" fmla="*/ 156102 h 224672"/>
                            <a:gd name="connsiteX5" fmla="*/ 321002 w 321167"/>
                            <a:gd name="connsiteY5" fmla="*/ 207781 h 224672"/>
                            <a:gd name="connsiteX6" fmla="*/ 178359 w 321167"/>
                            <a:gd name="connsiteY6" fmla="*/ 213979 h 224672"/>
                            <a:gd name="connsiteX7" fmla="*/ 99792 w 321167"/>
                            <a:gd name="connsiteY7" fmla="*/ 157119 h 224672"/>
                            <a:gd name="connsiteX8" fmla="*/ 41900 w 321167"/>
                            <a:gd name="connsiteY8" fmla="*/ 103374 h 224672"/>
                            <a:gd name="connsiteX9" fmla="*/ 550 w 321167"/>
                            <a:gd name="connsiteY9" fmla="*/ 66156 h 224672"/>
                            <a:gd name="connsiteX10" fmla="*/ 23291 w 321167"/>
                            <a:gd name="connsiteY10" fmla="*/ 0 h 22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1167" h="224672">
                              <a:moveTo>
                                <a:pt x="23291" y="15"/>
                              </a:moveTo>
                              <a:cubicBezTo>
                                <a:pt x="23291" y="15"/>
                                <a:pt x="43965" y="25855"/>
                                <a:pt x="64640" y="53760"/>
                              </a:cubicBezTo>
                              <a:cubicBezTo>
                                <a:pt x="85315" y="81666"/>
                                <a:pt x="145274" y="147822"/>
                                <a:pt x="182476" y="159200"/>
                              </a:cubicBezTo>
                              <a:cubicBezTo>
                                <a:pt x="182476" y="159200"/>
                                <a:pt x="211415" y="130262"/>
                                <a:pt x="226925" y="126130"/>
                              </a:cubicBezTo>
                              <a:cubicBezTo>
                                <a:pt x="226925" y="126130"/>
                                <a:pt x="268274" y="147838"/>
                                <a:pt x="286883" y="156102"/>
                              </a:cubicBezTo>
                              <a:cubicBezTo>
                                <a:pt x="305492" y="164366"/>
                                <a:pt x="323068" y="188139"/>
                                <a:pt x="321002" y="207781"/>
                              </a:cubicBezTo>
                              <a:cubicBezTo>
                                <a:pt x="318936" y="227423"/>
                                <a:pt x="234171" y="230522"/>
                                <a:pt x="178359" y="213979"/>
                              </a:cubicBezTo>
                              <a:cubicBezTo>
                                <a:pt x="122548" y="197436"/>
                                <a:pt x="111170" y="173662"/>
                                <a:pt x="99792" y="157119"/>
                              </a:cubicBezTo>
                              <a:cubicBezTo>
                                <a:pt x="88414" y="140576"/>
                                <a:pt x="57409" y="111638"/>
                                <a:pt x="41900" y="103374"/>
                              </a:cubicBezTo>
                              <a:cubicBezTo>
                                <a:pt x="26389" y="95110"/>
                                <a:pt x="2859" y="89155"/>
                                <a:pt x="550" y="66156"/>
                              </a:cubicBezTo>
                              <a:cubicBezTo>
                                <a:pt x="-2549" y="35152"/>
                                <a:pt x="7781" y="18609"/>
                                <a:pt x="23291" y="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78" name="Graphic 3200">
                        <a:extLst>
                          <a:ext uri="{FF2B5EF4-FFF2-40B4-BE49-F238E27FC236}">
                            <a16:creationId xmlns:a16="http://schemas.microsoft.com/office/drawing/2014/main" id="{6553A38E-E235-B599-968C-E77C1D66002B}"/>
                          </a:ext>
                        </a:extLst>
                      </p:cNvPr>
                      <p:cNvGrpSpPr/>
                      <p:nvPr/>
                    </p:nvGrpSpPr>
                    <p:grpSpPr>
                      <a:xfrm>
                        <a:off x="3475053" y="3322373"/>
                        <a:ext cx="370767" cy="1601269"/>
                        <a:chOff x="3475053" y="3322373"/>
                        <a:chExt cx="370767" cy="1601269"/>
                      </a:xfrm>
                    </p:grpSpPr>
                    <p:sp>
                      <p:nvSpPr>
                        <p:cNvPr id="2680" name="Freeform: Shape 2679">
                          <a:extLst>
                            <a:ext uri="{FF2B5EF4-FFF2-40B4-BE49-F238E27FC236}">
                              <a16:creationId xmlns:a16="http://schemas.microsoft.com/office/drawing/2014/main" id="{37C92EA6-FF17-6F78-79CE-73BECB55A954}"/>
                            </a:ext>
                          </a:extLst>
                        </p:cNvPr>
                        <p:cNvSpPr/>
                        <p:nvPr/>
                      </p:nvSpPr>
                      <p:spPr>
                        <a:xfrm>
                          <a:off x="3475053" y="3322373"/>
                          <a:ext cx="370767" cy="1601269"/>
                        </a:xfrm>
                        <a:custGeom>
                          <a:avLst/>
                          <a:gdLst>
                            <a:gd name="connsiteX0" fmla="*/ 279148 w 370767"/>
                            <a:gd name="connsiteY0" fmla="*/ 0 h 1601269"/>
                            <a:gd name="connsiteX1" fmla="*/ 367453 w 370767"/>
                            <a:gd name="connsiteY1" fmla="*/ 512602 h 1601269"/>
                            <a:gd name="connsiteX2" fmla="*/ 308877 w 370767"/>
                            <a:gd name="connsiteY2" fmla="*/ 1260709 h 1601269"/>
                            <a:gd name="connsiteX3" fmla="*/ 264686 w 370767"/>
                            <a:gd name="connsiteY3" fmla="*/ 1588635 h 1601269"/>
                            <a:gd name="connsiteX4" fmla="*/ 113537 w 370767"/>
                            <a:gd name="connsiteY4" fmla="*/ 1584898 h 1601269"/>
                            <a:gd name="connsiteX5" fmla="*/ 104650 w 370767"/>
                            <a:gd name="connsiteY5" fmla="*/ 1270765 h 1601269"/>
                            <a:gd name="connsiteX6" fmla="*/ 76745 w 370767"/>
                            <a:gd name="connsiteY6" fmla="*/ 403288 h 1601269"/>
                            <a:gd name="connsiteX7" fmla="*/ 0 w 370767"/>
                            <a:gd name="connsiteY7" fmla="*/ 10254 h 1601269"/>
                            <a:gd name="connsiteX8" fmla="*/ 279148 w 370767"/>
                            <a:gd name="connsiteY8" fmla="*/ 0 h 160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67" h="1601269">
                              <a:moveTo>
                                <a:pt x="279148" y="0"/>
                              </a:moveTo>
                              <a:cubicBezTo>
                                <a:pt x="279148" y="0"/>
                                <a:pt x="351168" y="166067"/>
                                <a:pt x="367453" y="512602"/>
                              </a:cubicBezTo>
                              <a:cubicBezTo>
                                <a:pt x="383738" y="859122"/>
                                <a:pt x="336144" y="1017776"/>
                                <a:pt x="308877" y="1260709"/>
                              </a:cubicBezTo>
                              <a:cubicBezTo>
                                <a:pt x="283295" y="1488618"/>
                                <a:pt x="264686" y="1588635"/>
                                <a:pt x="264686" y="1588635"/>
                              </a:cubicBezTo>
                              <a:cubicBezTo>
                                <a:pt x="264686" y="1588635"/>
                                <a:pt x="194444" y="1619412"/>
                                <a:pt x="113537" y="1584898"/>
                              </a:cubicBezTo>
                              <a:cubicBezTo>
                                <a:pt x="113537" y="1584898"/>
                                <a:pt x="106974" y="1463796"/>
                                <a:pt x="104650" y="1270765"/>
                              </a:cubicBezTo>
                              <a:cubicBezTo>
                                <a:pt x="102326" y="1077734"/>
                                <a:pt x="118611" y="582374"/>
                                <a:pt x="76745" y="403288"/>
                              </a:cubicBezTo>
                              <a:cubicBezTo>
                                <a:pt x="34878" y="224218"/>
                                <a:pt x="4648" y="84674"/>
                                <a:pt x="0" y="10254"/>
                              </a:cubicBezTo>
                              <a:lnTo>
                                <a:pt x="279148" y="0"/>
                              </a:ln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1" name="Freeform: Shape 2680">
                          <a:extLst>
                            <a:ext uri="{FF2B5EF4-FFF2-40B4-BE49-F238E27FC236}">
                              <a16:creationId xmlns:a16="http://schemas.microsoft.com/office/drawing/2014/main" id="{45BB7392-FCC0-B8C1-B854-C4677799ED1D}"/>
                            </a:ext>
                          </a:extLst>
                        </p:cNvPr>
                        <p:cNvSpPr/>
                        <p:nvPr/>
                      </p:nvSpPr>
                      <p:spPr>
                        <a:xfrm>
                          <a:off x="3561102" y="3704739"/>
                          <a:ext cx="57330" cy="1208729"/>
                        </a:xfrm>
                        <a:custGeom>
                          <a:avLst/>
                          <a:gdLst>
                            <a:gd name="connsiteX0" fmla="*/ 48421 w 57330"/>
                            <a:gd name="connsiteY0" fmla="*/ 1208730 h 1208729"/>
                            <a:gd name="connsiteX1" fmla="*/ 53069 w 57330"/>
                            <a:gd name="connsiteY1" fmla="*/ 1204172 h 1208729"/>
                            <a:gd name="connsiteX2" fmla="*/ 55803 w 57330"/>
                            <a:gd name="connsiteY2" fmla="*/ 662692 h 1208729"/>
                            <a:gd name="connsiteX3" fmla="*/ 52081 w 57330"/>
                            <a:gd name="connsiteY3" fmla="*/ 475601 h 1208729"/>
                            <a:gd name="connsiteX4" fmla="*/ 39488 w 57330"/>
                            <a:gd name="connsiteY4" fmla="*/ 90071 h 1208729"/>
                            <a:gd name="connsiteX5" fmla="*/ 7739 w 57330"/>
                            <a:gd name="connsiteY5" fmla="*/ 1174 h 1208729"/>
                            <a:gd name="connsiteX6" fmla="*/ 1177 w 57330"/>
                            <a:gd name="connsiteY6" fmla="*/ 1553 h 1208729"/>
                            <a:gd name="connsiteX7" fmla="*/ 1526 w 57330"/>
                            <a:gd name="connsiteY7" fmla="*/ 8101 h 1208729"/>
                            <a:gd name="connsiteX8" fmla="*/ 30267 w 57330"/>
                            <a:gd name="connsiteY8" fmla="*/ 91332 h 1208729"/>
                            <a:gd name="connsiteX9" fmla="*/ 42785 w 57330"/>
                            <a:gd name="connsiteY9" fmla="*/ 475753 h 1208729"/>
                            <a:gd name="connsiteX10" fmla="*/ 46506 w 57330"/>
                            <a:gd name="connsiteY10" fmla="*/ 662920 h 1208729"/>
                            <a:gd name="connsiteX11" fmla="*/ 43772 w 57330"/>
                            <a:gd name="connsiteY11" fmla="*/ 1203975 h 1208729"/>
                            <a:gd name="connsiteX12" fmla="*/ 48329 w 57330"/>
                            <a:gd name="connsiteY12" fmla="*/ 1208714 h 1208729"/>
                            <a:gd name="connsiteX13" fmla="*/ 48421 w 57330"/>
                            <a:gd name="connsiteY13" fmla="*/ 1208714 h 120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330" h="1208729">
                              <a:moveTo>
                                <a:pt x="48421" y="1208730"/>
                              </a:moveTo>
                              <a:cubicBezTo>
                                <a:pt x="50942" y="1208730"/>
                                <a:pt x="53023" y="1206709"/>
                                <a:pt x="53069" y="1204172"/>
                              </a:cubicBezTo>
                              <a:cubicBezTo>
                                <a:pt x="53145" y="1200602"/>
                                <a:pt x="60406" y="844421"/>
                                <a:pt x="55803" y="662692"/>
                              </a:cubicBezTo>
                              <a:cubicBezTo>
                                <a:pt x="54436" y="608840"/>
                                <a:pt x="53297" y="544127"/>
                                <a:pt x="52081" y="475601"/>
                              </a:cubicBezTo>
                              <a:cubicBezTo>
                                <a:pt x="49134" y="309625"/>
                                <a:pt x="46096" y="138013"/>
                                <a:pt x="39488" y="90071"/>
                              </a:cubicBezTo>
                              <a:cubicBezTo>
                                <a:pt x="30055" y="21712"/>
                                <a:pt x="8651" y="1994"/>
                                <a:pt x="7739" y="1174"/>
                              </a:cubicBezTo>
                              <a:cubicBezTo>
                                <a:pt x="5825" y="-528"/>
                                <a:pt x="2878" y="-361"/>
                                <a:pt x="1177" y="1553"/>
                              </a:cubicBezTo>
                              <a:cubicBezTo>
                                <a:pt x="-525" y="3467"/>
                                <a:pt x="-358" y="6384"/>
                                <a:pt x="1526" y="8101"/>
                              </a:cubicBezTo>
                              <a:cubicBezTo>
                                <a:pt x="1724" y="8283"/>
                                <a:pt x="21411" y="27044"/>
                                <a:pt x="30267" y="91332"/>
                              </a:cubicBezTo>
                              <a:cubicBezTo>
                                <a:pt x="36799" y="138727"/>
                                <a:pt x="39838" y="310066"/>
                                <a:pt x="42785" y="475753"/>
                              </a:cubicBezTo>
                              <a:cubicBezTo>
                                <a:pt x="44000" y="544294"/>
                                <a:pt x="45154" y="609038"/>
                                <a:pt x="46506" y="662920"/>
                              </a:cubicBezTo>
                              <a:cubicBezTo>
                                <a:pt x="51094" y="844436"/>
                                <a:pt x="43848" y="1200405"/>
                                <a:pt x="43772" y="1203975"/>
                              </a:cubicBezTo>
                              <a:cubicBezTo>
                                <a:pt x="43726" y="1206542"/>
                                <a:pt x="45762" y="1208669"/>
                                <a:pt x="48329" y="1208714"/>
                              </a:cubicBezTo>
                              <a:cubicBezTo>
                                <a:pt x="48360" y="1208714"/>
                                <a:pt x="48390" y="1208714"/>
                                <a:pt x="48421" y="1208714"/>
                              </a:cubicBez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2" name="Freeform: Shape 2681">
                          <a:extLst>
                            <a:ext uri="{FF2B5EF4-FFF2-40B4-BE49-F238E27FC236}">
                              <a16:creationId xmlns:a16="http://schemas.microsoft.com/office/drawing/2014/main" id="{1C31DF43-6362-C0DE-A1DC-F869F886D1C9}"/>
                            </a:ext>
                          </a:extLst>
                        </p:cNvPr>
                        <p:cNvSpPr/>
                        <p:nvPr/>
                      </p:nvSpPr>
                      <p:spPr>
                        <a:xfrm>
                          <a:off x="3700720" y="3333241"/>
                          <a:ext cx="98436" cy="152768"/>
                        </a:xfrm>
                        <a:custGeom>
                          <a:avLst/>
                          <a:gdLst>
                            <a:gd name="connsiteX0" fmla="*/ 92567 w 98436"/>
                            <a:gd name="connsiteY0" fmla="*/ 152768 h 152768"/>
                            <a:gd name="connsiteX1" fmla="*/ 94238 w 98436"/>
                            <a:gd name="connsiteY1" fmla="*/ 152708 h 152768"/>
                            <a:gd name="connsiteX2" fmla="*/ 98415 w 98436"/>
                            <a:gd name="connsiteY2" fmla="*/ 147619 h 152768"/>
                            <a:gd name="connsiteX3" fmla="*/ 93372 w 98436"/>
                            <a:gd name="connsiteY3" fmla="*/ 143441 h 152768"/>
                            <a:gd name="connsiteX4" fmla="*/ 61106 w 98436"/>
                            <a:gd name="connsiteY4" fmla="*/ 128266 h 152768"/>
                            <a:gd name="connsiteX5" fmla="*/ 9230 w 98436"/>
                            <a:gd name="connsiteY5" fmla="*/ 3867 h 152768"/>
                            <a:gd name="connsiteX6" fmla="*/ 3867 w 98436"/>
                            <a:gd name="connsiteY6" fmla="*/ 69 h 152768"/>
                            <a:gd name="connsiteX7" fmla="*/ 69 w 98436"/>
                            <a:gd name="connsiteY7" fmla="*/ 5432 h 152768"/>
                            <a:gd name="connsiteX8" fmla="*/ 92597 w 98436"/>
                            <a:gd name="connsiteY8" fmla="*/ 152768 h 15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436" h="152768">
                              <a:moveTo>
                                <a:pt x="92567" y="152768"/>
                              </a:moveTo>
                              <a:cubicBezTo>
                                <a:pt x="93448" y="152768"/>
                                <a:pt x="94025" y="152723"/>
                                <a:pt x="94238" y="152708"/>
                              </a:cubicBezTo>
                              <a:cubicBezTo>
                                <a:pt x="96790" y="152465"/>
                                <a:pt x="98659" y="150186"/>
                                <a:pt x="98415" y="147619"/>
                              </a:cubicBezTo>
                              <a:cubicBezTo>
                                <a:pt x="98172" y="145067"/>
                                <a:pt x="95909" y="143213"/>
                                <a:pt x="93372" y="143441"/>
                              </a:cubicBezTo>
                              <a:cubicBezTo>
                                <a:pt x="92704" y="143487"/>
                                <a:pt x="78531" y="144368"/>
                                <a:pt x="61106" y="128266"/>
                              </a:cubicBezTo>
                              <a:cubicBezTo>
                                <a:pt x="44518" y="112953"/>
                                <a:pt x="22066" y="78941"/>
                                <a:pt x="9230" y="3867"/>
                              </a:cubicBezTo>
                              <a:cubicBezTo>
                                <a:pt x="8804" y="1330"/>
                                <a:pt x="6389" y="-371"/>
                                <a:pt x="3867" y="69"/>
                              </a:cubicBezTo>
                              <a:cubicBezTo>
                                <a:pt x="1330" y="510"/>
                                <a:pt x="-371" y="2910"/>
                                <a:pt x="69" y="5432"/>
                              </a:cubicBezTo>
                              <a:cubicBezTo>
                                <a:pt x="24117" y="146024"/>
                                <a:pt x="81781" y="152768"/>
                                <a:pt x="92597" y="152768"/>
                              </a:cubicBez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79" name="Freeform: Shape 2678">
                        <a:extLst>
                          <a:ext uri="{FF2B5EF4-FFF2-40B4-BE49-F238E27FC236}">
                            <a16:creationId xmlns:a16="http://schemas.microsoft.com/office/drawing/2014/main" id="{B7730DD4-C79A-7704-01E2-D164D442213D}"/>
                          </a:ext>
                        </a:extLst>
                      </p:cNvPr>
                      <p:cNvSpPr/>
                      <p:nvPr/>
                    </p:nvSpPr>
                    <p:spPr>
                      <a:xfrm>
                        <a:off x="3537563" y="3575894"/>
                        <a:ext cx="59276" cy="257379"/>
                      </a:xfrm>
                      <a:custGeom>
                        <a:avLst/>
                        <a:gdLst>
                          <a:gd name="connsiteX0" fmla="*/ 59260 w 59276"/>
                          <a:gd name="connsiteY0" fmla="*/ 0 h 257379"/>
                          <a:gd name="connsiteX1" fmla="*/ 52287 w 59276"/>
                          <a:gd name="connsiteY1" fmla="*/ 119385 h 257379"/>
                          <a:gd name="connsiteX2" fmla="*/ 30579 w 59276"/>
                          <a:gd name="connsiteY2" fmla="*/ 257380 h 257379"/>
                          <a:gd name="connsiteX3" fmla="*/ 30108 w 59276"/>
                          <a:gd name="connsiteY3" fmla="*/ 256757 h 257379"/>
                          <a:gd name="connsiteX4" fmla="*/ 14234 w 59276"/>
                          <a:gd name="connsiteY4" fmla="*/ 149782 h 257379"/>
                          <a:gd name="connsiteX5" fmla="*/ 0 w 59276"/>
                          <a:gd name="connsiteY5" fmla="*/ 88426 h 257379"/>
                          <a:gd name="connsiteX6" fmla="*/ 59260 w 59276"/>
                          <a:gd name="connsiteY6" fmla="*/ 15 h 25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6" h="257379">
                            <a:moveTo>
                              <a:pt x="59260" y="0"/>
                            </a:moveTo>
                            <a:cubicBezTo>
                              <a:pt x="59260" y="0"/>
                              <a:pt x="59959" y="57376"/>
                              <a:pt x="52287" y="119385"/>
                            </a:cubicBezTo>
                            <a:cubicBezTo>
                              <a:pt x="45710" y="172462"/>
                              <a:pt x="30579" y="228775"/>
                              <a:pt x="30579" y="257380"/>
                            </a:cubicBezTo>
                            <a:lnTo>
                              <a:pt x="30108" y="256757"/>
                            </a:lnTo>
                            <a:cubicBezTo>
                              <a:pt x="26083" y="214754"/>
                              <a:pt x="20903" y="178265"/>
                              <a:pt x="14234" y="149782"/>
                            </a:cubicBezTo>
                            <a:cubicBezTo>
                              <a:pt x="9327" y="128773"/>
                              <a:pt x="4572" y="108311"/>
                              <a:pt x="0" y="88426"/>
                            </a:cubicBezTo>
                            <a:lnTo>
                              <a:pt x="59260" y="15"/>
                            </a:ln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63" name="Graphic 3200">
                      <a:extLst>
                        <a:ext uri="{FF2B5EF4-FFF2-40B4-BE49-F238E27FC236}">
                          <a16:creationId xmlns:a16="http://schemas.microsoft.com/office/drawing/2014/main" id="{8C93BDB9-1637-FD40-7C7E-B4DBBB3BA15D}"/>
                        </a:ext>
                      </a:extLst>
                    </p:cNvPr>
                    <p:cNvGrpSpPr/>
                    <p:nvPr/>
                  </p:nvGrpSpPr>
                  <p:grpSpPr>
                    <a:xfrm>
                      <a:off x="3176072" y="3337290"/>
                      <a:ext cx="450160" cy="1954836"/>
                      <a:chOff x="3176072" y="3337290"/>
                      <a:chExt cx="450160" cy="1954836"/>
                    </a:xfrm>
                  </p:grpSpPr>
                  <p:grpSp>
                    <p:nvGrpSpPr>
                      <p:cNvPr id="2664" name="Graphic 3200">
                        <a:extLst>
                          <a:ext uri="{FF2B5EF4-FFF2-40B4-BE49-F238E27FC236}">
                            <a16:creationId xmlns:a16="http://schemas.microsoft.com/office/drawing/2014/main" id="{F48EDEBA-A1BF-18C2-FA60-F1999D24EF05}"/>
                          </a:ext>
                        </a:extLst>
                      </p:cNvPr>
                      <p:cNvGrpSpPr/>
                      <p:nvPr/>
                    </p:nvGrpSpPr>
                    <p:grpSpPr>
                      <a:xfrm>
                        <a:off x="3176072" y="4844730"/>
                        <a:ext cx="331052" cy="447397"/>
                        <a:chOff x="3176072" y="4844730"/>
                        <a:chExt cx="331052" cy="447397"/>
                      </a:xfrm>
                    </p:grpSpPr>
                    <p:sp>
                      <p:nvSpPr>
                        <p:cNvPr id="2671" name="Freeform: Shape 2670">
                          <a:extLst>
                            <a:ext uri="{FF2B5EF4-FFF2-40B4-BE49-F238E27FC236}">
                              <a16:creationId xmlns:a16="http://schemas.microsoft.com/office/drawing/2014/main" id="{248363BB-0CE0-B7E9-1FEB-8ABDC59A9C35}"/>
                            </a:ext>
                          </a:extLst>
                        </p:cNvPr>
                        <p:cNvSpPr/>
                        <p:nvPr/>
                      </p:nvSpPr>
                      <p:spPr>
                        <a:xfrm>
                          <a:off x="3199624" y="4844730"/>
                          <a:ext cx="231557" cy="367954"/>
                        </a:xfrm>
                        <a:custGeom>
                          <a:avLst/>
                          <a:gdLst>
                            <a:gd name="connsiteX0" fmla="*/ 231542 w 231557"/>
                            <a:gd name="connsiteY0" fmla="*/ 343193 h 367954"/>
                            <a:gd name="connsiteX1" fmla="*/ 165386 w 231557"/>
                            <a:gd name="connsiteY1" fmla="*/ 262559 h 367954"/>
                            <a:gd name="connsiteX2" fmla="*/ 114739 w 231557"/>
                            <a:gd name="connsiteY2" fmla="*/ 128181 h 367954"/>
                            <a:gd name="connsiteX3" fmla="*/ 121970 w 231557"/>
                            <a:gd name="connsiteY3" fmla="*/ 21707 h 367954"/>
                            <a:gd name="connsiteX4" fmla="*/ 3101 w 231557"/>
                            <a:gd name="connsiteY4" fmla="*/ 0 h 367954"/>
                            <a:gd name="connsiteX5" fmla="*/ 2 w 231557"/>
                            <a:gd name="connsiteY5" fmla="*/ 161251 h 367954"/>
                            <a:gd name="connsiteX6" fmla="*/ 40319 w 231557"/>
                            <a:gd name="connsiteY6" fmla="*/ 272889 h 367954"/>
                            <a:gd name="connsiteX7" fmla="*/ 231557 w 231557"/>
                            <a:gd name="connsiteY7" fmla="*/ 343178 h 36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557" h="367954">
                              <a:moveTo>
                                <a:pt x="231542" y="343193"/>
                              </a:moveTo>
                              <a:cubicBezTo>
                                <a:pt x="231542" y="343193"/>
                                <a:pt x="188127" y="301843"/>
                                <a:pt x="165386" y="262559"/>
                              </a:cubicBezTo>
                              <a:cubicBezTo>
                                <a:pt x="142645" y="223276"/>
                                <a:pt x="114739" y="172629"/>
                                <a:pt x="114739" y="128181"/>
                              </a:cubicBezTo>
                              <a:cubicBezTo>
                                <a:pt x="114739" y="83732"/>
                                <a:pt x="121970" y="21707"/>
                                <a:pt x="121970" y="21707"/>
                              </a:cubicBezTo>
                              <a:lnTo>
                                <a:pt x="3101" y="0"/>
                              </a:lnTo>
                              <a:cubicBezTo>
                                <a:pt x="3101" y="0"/>
                                <a:pt x="5167" y="126115"/>
                                <a:pt x="2" y="161251"/>
                              </a:cubicBezTo>
                              <a:cubicBezTo>
                                <a:pt x="2" y="161251"/>
                                <a:pt x="-1031" y="229474"/>
                                <a:pt x="40319" y="272889"/>
                              </a:cubicBezTo>
                              <a:cubicBezTo>
                                <a:pt x="81669" y="316305"/>
                                <a:pt x="152990" y="413466"/>
                                <a:pt x="231557" y="34317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72" name="Graphic 3200">
                          <a:extLst>
                            <a:ext uri="{FF2B5EF4-FFF2-40B4-BE49-F238E27FC236}">
                              <a16:creationId xmlns:a16="http://schemas.microsoft.com/office/drawing/2014/main" id="{E03855AF-0CE6-A26A-7DA3-992FD113F6FE}"/>
                            </a:ext>
                          </a:extLst>
                        </p:cNvPr>
                        <p:cNvGrpSpPr/>
                        <p:nvPr/>
                      </p:nvGrpSpPr>
                      <p:grpSpPr>
                        <a:xfrm>
                          <a:off x="3176072" y="5005981"/>
                          <a:ext cx="331052" cy="286146"/>
                          <a:chOff x="3176072" y="5005981"/>
                          <a:chExt cx="331052" cy="286146"/>
                        </a:xfrm>
                      </p:grpSpPr>
                      <p:grpSp>
                        <p:nvGrpSpPr>
                          <p:cNvPr id="2673" name="Graphic 3200">
                            <a:extLst>
                              <a:ext uri="{FF2B5EF4-FFF2-40B4-BE49-F238E27FC236}">
                                <a16:creationId xmlns:a16="http://schemas.microsoft.com/office/drawing/2014/main" id="{3DEFD21A-41EA-1A14-E273-5447B5860679}"/>
                              </a:ext>
                            </a:extLst>
                          </p:cNvPr>
                          <p:cNvGrpSpPr/>
                          <p:nvPr/>
                        </p:nvGrpSpPr>
                        <p:grpSpPr>
                          <a:xfrm>
                            <a:off x="3176072" y="5073171"/>
                            <a:ext cx="330562" cy="218956"/>
                            <a:chOff x="3176072" y="5073171"/>
                            <a:chExt cx="330562" cy="218956"/>
                          </a:xfrm>
                          <a:solidFill>
                            <a:srgbClr val="191519"/>
                          </a:solidFill>
                        </p:grpSpPr>
                        <p:sp>
                          <p:nvSpPr>
                            <p:cNvPr id="2675" name="Freeform: Shape 2674">
                              <a:extLst>
                                <a:ext uri="{FF2B5EF4-FFF2-40B4-BE49-F238E27FC236}">
                                  <a16:creationId xmlns:a16="http://schemas.microsoft.com/office/drawing/2014/main" id="{4BAAAD06-37EF-9620-B364-8C02353AA381}"/>
                                </a:ext>
                              </a:extLst>
                            </p:cNvPr>
                            <p:cNvSpPr/>
                            <p:nvPr/>
                          </p:nvSpPr>
                          <p:spPr>
                            <a:xfrm>
                              <a:off x="3179985" y="5096959"/>
                              <a:ext cx="64090" cy="148840"/>
                            </a:xfrm>
                            <a:custGeom>
                              <a:avLst/>
                              <a:gdLst>
                                <a:gd name="connsiteX0" fmla="*/ 64090 w 64090"/>
                                <a:gd name="connsiteY0" fmla="*/ 53746 h 148840"/>
                                <a:gd name="connsiteX1" fmla="*/ 57893 w 64090"/>
                                <a:gd name="connsiteY1" fmla="*/ 144709 h 148840"/>
                                <a:gd name="connsiteX2" fmla="*/ 11378 w 64090"/>
                                <a:gd name="connsiteY2" fmla="*/ 144709 h 148840"/>
                                <a:gd name="connsiteX3" fmla="*/ 0 w 64090"/>
                                <a:gd name="connsiteY3" fmla="*/ 0 h 148840"/>
                                <a:gd name="connsiteX4" fmla="*/ 64090 w 64090"/>
                                <a:gd name="connsiteY4" fmla="*/ 53746 h 148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90" h="148840">
                                  <a:moveTo>
                                    <a:pt x="64090" y="53746"/>
                                  </a:moveTo>
                                  <a:lnTo>
                                    <a:pt x="57893" y="144709"/>
                                  </a:lnTo>
                                  <a:cubicBezTo>
                                    <a:pt x="57893" y="144709"/>
                                    <a:pt x="24822" y="154006"/>
                                    <a:pt x="11378" y="144709"/>
                                  </a:cubicBezTo>
                                  <a:lnTo>
                                    <a:pt x="0" y="0"/>
                                  </a:lnTo>
                                  <a:lnTo>
                                    <a:pt x="64090" y="53746"/>
                                  </a:lnTo>
                                  <a:close/>
                                </a:path>
                              </a:pathLst>
                            </a:custGeom>
                            <a:solidFill>
                              <a:srgbClr val="19151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6" name="Freeform: Shape 2675">
                              <a:extLst>
                                <a:ext uri="{FF2B5EF4-FFF2-40B4-BE49-F238E27FC236}">
                                  <a16:creationId xmlns:a16="http://schemas.microsoft.com/office/drawing/2014/main" id="{FF400F52-1372-C8E6-375C-66E9DF449B0E}"/>
                                </a:ext>
                              </a:extLst>
                            </p:cNvPr>
                            <p:cNvSpPr/>
                            <p:nvPr/>
                          </p:nvSpPr>
                          <p:spPr>
                            <a:xfrm>
                              <a:off x="3176072" y="5073171"/>
                              <a:ext cx="330562" cy="218956"/>
                            </a:xfrm>
                            <a:custGeom>
                              <a:avLst/>
                              <a:gdLst>
                                <a:gd name="connsiteX0" fmla="*/ 330563 w 330562"/>
                                <a:gd name="connsiteY0" fmla="*/ 193304 h 218956"/>
                                <a:gd name="connsiteX1" fmla="*/ 293345 w 330562"/>
                                <a:gd name="connsiteY1" fmla="*/ 217078 h 218956"/>
                                <a:gd name="connsiteX2" fmla="*/ 163098 w 330562"/>
                                <a:gd name="connsiteY2" fmla="*/ 199502 h 218956"/>
                                <a:gd name="connsiteX3" fmla="*/ 73168 w 330562"/>
                                <a:gd name="connsiteY3" fmla="*/ 104407 h 218956"/>
                                <a:gd name="connsiteX4" fmla="*/ 22522 w 330562"/>
                                <a:gd name="connsiteY4" fmla="*/ 58926 h 218956"/>
                                <a:gd name="connsiteX5" fmla="*/ 1847 w 330562"/>
                                <a:gd name="connsiteY5" fmla="*/ 0 h 218956"/>
                                <a:gd name="connsiteX6" fmla="*/ 166197 w 330562"/>
                                <a:gd name="connsiteY6" fmla="*/ 148856 h 218956"/>
                                <a:gd name="connsiteX7" fmla="*/ 330548 w 330562"/>
                                <a:gd name="connsiteY7" fmla="*/ 193304 h 21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562" h="218956">
                                  <a:moveTo>
                                    <a:pt x="330563" y="193304"/>
                                  </a:moveTo>
                                  <a:cubicBezTo>
                                    <a:pt x="330563" y="193304"/>
                                    <a:pt x="328497" y="213979"/>
                                    <a:pt x="293345" y="217078"/>
                                  </a:cubicBezTo>
                                  <a:cubicBezTo>
                                    <a:pt x="258193" y="220177"/>
                                    <a:pt x="193085" y="222243"/>
                                    <a:pt x="163098" y="199502"/>
                                  </a:cubicBezTo>
                                  <a:cubicBezTo>
                                    <a:pt x="133127" y="176762"/>
                                    <a:pt x="92810" y="131280"/>
                                    <a:pt x="73168" y="104407"/>
                                  </a:cubicBezTo>
                                  <a:cubicBezTo>
                                    <a:pt x="53526" y="77534"/>
                                    <a:pt x="34917" y="68222"/>
                                    <a:pt x="22522" y="58926"/>
                                  </a:cubicBezTo>
                                  <a:cubicBezTo>
                                    <a:pt x="10111" y="49629"/>
                                    <a:pt x="-5384" y="25855"/>
                                    <a:pt x="1847" y="0"/>
                                  </a:cubicBezTo>
                                  <a:lnTo>
                                    <a:pt x="166197" y="148856"/>
                                  </a:lnTo>
                                  <a:lnTo>
                                    <a:pt x="330548" y="193304"/>
                                  </a:lnTo>
                                  <a:close/>
                                </a:path>
                              </a:pathLst>
                            </a:custGeom>
                            <a:solidFill>
                              <a:srgbClr val="19151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74" name="Freeform: Shape 2673">
                            <a:extLst>
                              <a:ext uri="{FF2B5EF4-FFF2-40B4-BE49-F238E27FC236}">
                                <a16:creationId xmlns:a16="http://schemas.microsoft.com/office/drawing/2014/main" id="{74343B90-3180-07C7-F931-384831477C9D}"/>
                              </a:ext>
                            </a:extLst>
                          </p:cNvPr>
                          <p:cNvSpPr/>
                          <p:nvPr/>
                        </p:nvSpPr>
                        <p:spPr>
                          <a:xfrm>
                            <a:off x="3177141" y="5005981"/>
                            <a:ext cx="329982" cy="273852"/>
                          </a:xfrm>
                          <a:custGeom>
                            <a:avLst/>
                            <a:gdLst>
                              <a:gd name="connsiteX0" fmla="*/ 179605 w 329982"/>
                              <a:gd name="connsiteY0" fmla="*/ 195370 h 273852"/>
                              <a:gd name="connsiteX1" fmla="*/ 255058 w 329982"/>
                              <a:gd name="connsiteY1" fmla="*/ 171596 h 273852"/>
                              <a:gd name="connsiteX2" fmla="*/ 297441 w 329982"/>
                              <a:gd name="connsiteY2" fmla="*/ 202601 h 273852"/>
                              <a:gd name="connsiteX3" fmla="*/ 329478 w 329982"/>
                              <a:gd name="connsiteY3" fmla="*/ 260494 h 273852"/>
                              <a:gd name="connsiteX4" fmla="*/ 199232 w 329982"/>
                              <a:gd name="connsiteY4" fmla="*/ 269791 h 273852"/>
                              <a:gd name="connsiteX5" fmla="*/ 92759 w 329982"/>
                              <a:gd name="connsiteY5" fmla="*/ 181926 h 273852"/>
                              <a:gd name="connsiteX6" fmla="*/ 30734 w 329982"/>
                              <a:gd name="connsiteY6" fmla="*/ 119902 h 273852"/>
                              <a:gd name="connsiteX7" fmla="*/ 22470 w 329982"/>
                              <a:gd name="connsiteY7" fmla="*/ 0 h 273852"/>
                              <a:gd name="connsiteX8" fmla="*/ 64853 w 329982"/>
                              <a:gd name="connsiteY8" fmla="*/ 64090 h 273852"/>
                              <a:gd name="connsiteX9" fmla="*/ 179590 w 329982"/>
                              <a:gd name="connsiteY9" fmla="*/ 195370 h 27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982" h="273852">
                                <a:moveTo>
                                  <a:pt x="179605" y="195370"/>
                                </a:moveTo>
                                <a:cubicBezTo>
                                  <a:pt x="179605" y="195370"/>
                                  <a:pt x="216823" y="175728"/>
                                  <a:pt x="255058" y="171596"/>
                                </a:cubicBezTo>
                                <a:cubicBezTo>
                                  <a:pt x="255058" y="171596"/>
                                  <a:pt x="273667" y="190205"/>
                                  <a:pt x="297441" y="202601"/>
                                </a:cubicBezTo>
                                <a:cubicBezTo>
                                  <a:pt x="321215" y="215012"/>
                                  <a:pt x="332593" y="246017"/>
                                  <a:pt x="329478" y="260494"/>
                                </a:cubicBezTo>
                                <a:cubicBezTo>
                                  <a:pt x="326380" y="274971"/>
                                  <a:pt x="238515" y="277036"/>
                                  <a:pt x="199232" y="269791"/>
                                </a:cubicBezTo>
                                <a:cubicBezTo>
                                  <a:pt x="159948" y="262560"/>
                                  <a:pt x="114466" y="210865"/>
                                  <a:pt x="92759" y="181926"/>
                                </a:cubicBezTo>
                                <a:cubicBezTo>
                                  <a:pt x="71051" y="152988"/>
                                  <a:pt x="46244" y="131280"/>
                                  <a:pt x="30734" y="119902"/>
                                </a:cubicBezTo>
                                <a:cubicBezTo>
                                  <a:pt x="15224" y="108539"/>
                                  <a:pt x="-25077" y="70288"/>
                                  <a:pt x="22470" y="0"/>
                                </a:cubicBezTo>
                                <a:cubicBezTo>
                                  <a:pt x="22470" y="0"/>
                                  <a:pt x="47277" y="31005"/>
                                  <a:pt x="64853" y="64090"/>
                                </a:cubicBezTo>
                                <a:cubicBezTo>
                                  <a:pt x="82429" y="97161"/>
                                  <a:pt x="131009" y="161251"/>
                                  <a:pt x="179590" y="19537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65" name="Graphic 3200">
                        <a:extLst>
                          <a:ext uri="{FF2B5EF4-FFF2-40B4-BE49-F238E27FC236}">
                            <a16:creationId xmlns:a16="http://schemas.microsoft.com/office/drawing/2014/main" id="{78B22B36-7604-AEC3-4C87-D31A5D254BCF}"/>
                          </a:ext>
                        </a:extLst>
                      </p:cNvPr>
                      <p:cNvGrpSpPr/>
                      <p:nvPr/>
                    </p:nvGrpSpPr>
                    <p:grpSpPr>
                      <a:xfrm>
                        <a:off x="3185332" y="3337290"/>
                        <a:ext cx="440900" cy="1608067"/>
                        <a:chOff x="3185332" y="3337290"/>
                        <a:chExt cx="440900" cy="1608067"/>
                      </a:xfrm>
                    </p:grpSpPr>
                    <p:sp>
                      <p:nvSpPr>
                        <p:cNvPr id="2666" name="Freeform: Shape 2665">
                          <a:extLst>
                            <a:ext uri="{FF2B5EF4-FFF2-40B4-BE49-F238E27FC236}">
                              <a16:creationId xmlns:a16="http://schemas.microsoft.com/office/drawing/2014/main" id="{6BC5652D-EAB0-5F82-24C7-9378CD6C2B2E}"/>
                            </a:ext>
                          </a:extLst>
                        </p:cNvPr>
                        <p:cNvSpPr/>
                        <p:nvPr/>
                      </p:nvSpPr>
                      <p:spPr>
                        <a:xfrm>
                          <a:off x="3185332" y="3337306"/>
                          <a:ext cx="440900" cy="1608051"/>
                        </a:xfrm>
                        <a:custGeom>
                          <a:avLst/>
                          <a:gdLst>
                            <a:gd name="connsiteX0" fmla="*/ 116119 w 440900"/>
                            <a:gd name="connsiteY0" fmla="*/ 6775 h 1608051"/>
                            <a:gd name="connsiteX1" fmla="*/ 26918 w 440900"/>
                            <a:gd name="connsiteY1" fmla="*/ 341841 h 1608051"/>
                            <a:gd name="connsiteX2" fmla="*/ 94365 w 440900"/>
                            <a:gd name="connsiteY2" fmla="*/ 872095 h 1608051"/>
                            <a:gd name="connsiteX3" fmla="*/ 29075 w 440900"/>
                            <a:gd name="connsiteY3" fmla="*/ 1282082 h 1608051"/>
                            <a:gd name="connsiteX4" fmla="*/ 136 w 440900"/>
                            <a:gd name="connsiteY4" fmla="*/ 1590124 h 1608051"/>
                            <a:gd name="connsiteX5" fmla="*/ 147959 w 440900"/>
                            <a:gd name="connsiteY5" fmla="*/ 1602534 h 1608051"/>
                            <a:gd name="connsiteX6" fmla="*/ 245120 w 440900"/>
                            <a:gd name="connsiteY6" fmla="*/ 1232484 h 1608051"/>
                            <a:gd name="connsiteX7" fmla="*/ 317626 w 440900"/>
                            <a:gd name="connsiteY7" fmla="*/ 830259 h 1608051"/>
                            <a:gd name="connsiteX8" fmla="*/ 380425 w 440900"/>
                            <a:gd name="connsiteY8" fmla="*/ 372101 h 1608051"/>
                            <a:gd name="connsiteX9" fmla="*/ 440901 w 440900"/>
                            <a:gd name="connsiteY9" fmla="*/ 0 h 1608051"/>
                            <a:gd name="connsiteX10" fmla="*/ 116134 w 440900"/>
                            <a:gd name="connsiteY10" fmla="*/ 6805 h 160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900" h="1608051">
                              <a:moveTo>
                                <a:pt x="116119" y="6775"/>
                              </a:moveTo>
                              <a:cubicBezTo>
                                <a:pt x="116119" y="6775"/>
                                <a:pt x="24594" y="88350"/>
                                <a:pt x="26918" y="341841"/>
                              </a:cubicBezTo>
                              <a:cubicBezTo>
                                <a:pt x="29242" y="595332"/>
                                <a:pt x="94365" y="795350"/>
                                <a:pt x="94365" y="872095"/>
                              </a:cubicBezTo>
                              <a:cubicBezTo>
                                <a:pt x="94365" y="948839"/>
                                <a:pt x="54656" y="1137890"/>
                                <a:pt x="29075" y="1282082"/>
                              </a:cubicBezTo>
                              <a:cubicBezTo>
                                <a:pt x="3493" y="1426274"/>
                                <a:pt x="-897" y="1527066"/>
                                <a:pt x="136" y="1590124"/>
                              </a:cubicBezTo>
                              <a:cubicBezTo>
                                <a:pt x="136" y="1590124"/>
                                <a:pt x="63194" y="1620095"/>
                                <a:pt x="147959" y="1602534"/>
                              </a:cubicBezTo>
                              <a:cubicBezTo>
                                <a:pt x="147959" y="1602534"/>
                                <a:pt x="198453" y="1431090"/>
                                <a:pt x="245120" y="1232484"/>
                              </a:cubicBezTo>
                              <a:cubicBezTo>
                                <a:pt x="291665" y="1034440"/>
                                <a:pt x="310654" y="944221"/>
                                <a:pt x="317626" y="830259"/>
                              </a:cubicBezTo>
                              <a:cubicBezTo>
                                <a:pt x="324599" y="716297"/>
                                <a:pt x="347856" y="469779"/>
                                <a:pt x="380425" y="372101"/>
                              </a:cubicBezTo>
                              <a:cubicBezTo>
                                <a:pt x="412980" y="274424"/>
                                <a:pt x="438561" y="81393"/>
                                <a:pt x="440901" y="0"/>
                              </a:cubicBezTo>
                              <a:lnTo>
                                <a:pt x="116134" y="6805"/>
                              </a:ln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7" name="Freeform: Shape 2666">
                          <a:extLst>
                            <a:ext uri="{FF2B5EF4-FFF2-40B4-BE49-F238E27FC236}">
                              <a16:creationId xmlns:a16="http://schemas.microsoft.com/office/drawing/2014/main" id="{AF140D05-3A62-6B6F-4B50-ABCDD31BF0CC}"/>
                            </a:ext>
                          </a:extLst>
                        </p:cNvPr>
                        <p:cNvSpPr/>
                        <p:nvPr/>
                      </p:nvSpPr>
                      <p:spPr>
                        <a:xfrm>
                          <a:off x="3556087" y="3337290"/>
                          <a:ext cx="70115" cy="245682"/>
                        </a:xfrm>
                        <a:custGeom>
                          <a:avLst/>
                          <a:gdLst>
                            <a:gd name="connsiteX0" fmla="*/ 40158 w 70115"/>
                            <a:gd name="connsiteY0" fmla="*/ 245667 h 245682"/>
                            <a:gd name="connsiteX1" fmla="*/ 328 w 70115"/>
                            <a:gd name="connsiteY1" fmla="*/ 1458 h 245682"/>
                            <a:gd name="connsiteX2" fmla="*/ 70115 w 70115"/>
                            <a:gd name="connsiteY2" fmla="*/ 0 h 245682"/>
                            <a:gd name="connsiteX3" fmla="*/ 40143 w 70115"/>
                            <a:gd name="connsiteY3" fmla="*/ 245683 h 245682"/>
                          </a:gdLst>
                          <a:ahLst/>
                          <a:cxnLst>
                            <a:cxn ang="0">
                              <a:pos x="connsiteX0" y="connsiteY0"/>
                            </a:cxn>
                            <a:cxn ang="0">
                              <a:pos x="connsiteX1" y="connsiteY1"/>
                            </a:cxn>
                            <a:cxn ang="0">
                              <a:pos x="connsiteX2" y="connsiteY2"/>
                            </a:cxn>
                            <a:cxn ang="0">
                              <a:pos x="connsiteX3" y="connsiteY3"/>
                            </a:cxn>
                          </a:cxnLst>
                          <a:rect l="l" t="t" r="r" b="b"/>
                          <a:pathLst>
                            <a:path w="70115" h="245682">
                              <a:moveTo>
                                <a:pt x="40158" y="245667"/>
                              </a:moveTo>
                              <a:cubicBezTo>
                                <a:pt x="24299" y="216698"/>
                                <a:pt x="-3318" y="145073"/>
                                <a:pt x="328" y="1458"/>
                              </a:cubicBezTo>
                              <a:lnTo>
                                <a:pt x="70115" y="0"/>
                              </a:lnTo>
                              <a:cubicBezTo>
                                <a:pt x="68596" y="53366"/>
                                <a:pt x="57066" y="154689"/>
                                <a:pt x="40143" y="245683"/>
                              </a:cubicBez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68" name="Graphic 3200">
                          <a:extLst>
                            <a:ext uri="{FF2B5EF4-FFF2-40B4-BE49-F238E27FC236}">
                              <a16:creationId xmlns:a16="http://schemas.microsoft.com/office/drawing/2014/main" id="{CE9E75E5-A66D-EEFF-50D2-153E0BE01681}"/>
                            </a:ext>
                          </a:extLst>
                        </p:cNvPr>
                        <p:cNvGrpSpPr/>
                        <p:nvPr/>
                      </p:nvGrpSpPr>
                      <p:grpSpPr>
                        <a:xfrm>
                          <a:off x="3210788" y="3344070"/>
                          <a:ext cx="240284" cy="1594205"/>
                          <a:chOff x="3210788" y="3344070"/>
                          <a:chExt cx="240284" cy="1594205"/>
                        </a:xfrm>
                        <a:solidFill>
                          <a:srgbClr val="222E56"/>
                        </a:solidFill>
                      </p:grpSpPr>
                      <p:sp>
                        <p:nvSpPr>
                          <p:cNvPr id="2669" name="Freeform: Shape 2668">
                            <a:extLst>
                              <a:ext uri="{FF2B5EF4-FFF2-40B4-BE49-F238E27FC236}">
                                <a16:creationId xmlns:a16="http://schemas.microsoft.com/office/drawing/2014/main" id="{561A5682-9951-6B26-C3EC-67856A99557F}"/>
                              </a:ext>
                            </a:extLst>
                          </p:cNvPr>
                          <p:cNvSpPr/>
                          <p:nvPr/>
                        </p:nvSpPr>
                        <p:spPr>
                          <a:xfrm>
                            <a:off x="3263449" y="3358050"/>
                            <a:ext cx="187623" cy="192278"/>
                          </a:xfrm>
                          <a:custGeom>
                            <a:avLst/>
                            <a:gdLst>
                              <a:gd name="connsiteX0" fmla="*/ 4658 w 187623"/>
                              <a:gd name="connsiteY0" fmla="*/ 192263 h 192278"/>
                              <a:gd name="connsiteX1" fmla="*/ 5250 w 187623"/>
                              <a:gd name="connsiteY1" fmla="*/ 192232 h 192278"/>
                              <a:gd name="connsiteX2" fmla="*/ 155397 w 187623"/>
                              <a:gd name="connsiteY2" fmla="*/ 91228 h 192278"/>
                              <a:gd name="connsiteX3" fmla="*/ 187572 w 187623"/>
                              <a:gd name="connsiteY3" fmla="*/ 5354 h 192278"/>
                              <a:gd name="connsiteX4" fmla="*/ 183668 w 187623"/>
                              <a:gd name="connsiteY4" fmla="*/ 52 h 192278"/>
                              <a:gd name="connsiteX5" fmla="*/ 178366 w 187623"/>
                              <a:gd name="connsiteY5" fmla="*/ 3956 h 192278"/>
                              <a:gd name="connsiteX6" fmla="*/ 147194 w 187623"/>
                              <a:gd name="connsiteY6" fmla="*/ 86792 h 192278"/>
                              <a:gd name="connsiteX7" fmla="*/ 4065 w 187623"/>
                              <a:gd name="connsiteY7" fmla="*/ 183012 h 192278"/>
                              <a:gd name="connsiteX8" fmla="*/ 40 w 187623"/>
                              <a:gd name="connsiteY8" fmla="*/ 188207 h 192278"/>
                              <a:gd name="connsiteX9" fmla="*/ 4643 w 187623"/>
                              <a:gd name="connsiteY9" fmla="*/ 192278 h 19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623" h="192278">
                                <a:moveTo>
                                  <a:pt x="4658" y="192263"/>
                                </a:moveTo>
                                <a:cubicBezTo>
                                  <a:pt x="4855" y="192263"/>
                                  <a:pt x="5053" y="192263"/>
                                  <a:pt x="5250" y="192232"/>
                                </a:cubicBezTo>
                                <a:cubicBezTo>
                                  <a:pt x="86415" y="181979"/>
                                  <a:pt x="131699" y="131651"/>
                                  <a:pt x="155397" y="91228"/>
                                </a:cubicBezTo>
                                <a:cubicBezTo>
                                  <a:pt x="180948" y="47645"/>
                                  <a:pt x="187313" y="7070"/>
                                  <a:pt x="187572" y="5354"/>
                                </a:cubicBezTo>
                                <a:cubicBezTo>
                                  <a:pt x="187951" y="2817"/>
                                  <a:pt x="186204" y="447"/>
                                  <a:pt x="183668" y="52"/>
                                </a:cubicBezTo>
                                <a:cubicBezTo>
                                  <a:pt x="181131" y="-328"/>
                                  <a:pt x="178761" y="1404"/>
                                  <a:pt x="178366" y="3956"/>
                                </a:cubicBezTo>
                                <a:cubicBezTo>
                                  <a:pt x="178305" y="4366"/>
                                  <a:pt x="171940" y="44714"/>
                                  <a:pt x="147194" y="86792"/>
                                </a:cubicBezTo>
                                <a:cubicBezTo>
                                  <a:pt x="114260" y="142801"/>
                                  <a:pt x="66105" y="175173"/>
                                  <a:pt x="4065" y="183012"/>
                                </a:cubicBezTo>
                                <a:cubicBezTo>
                                  <a:pt x="1513" y="183331"/>
                                  <a:pt x="-294" y="185655"/>
                                  <a:pt x="40" y="188207"/>
                                </a:cubicBezTo>
                                <a:cubicBezTo>
                                  <a:pt x="344" y="190561"/>
                                  <a:pt x="2334" y="192278"/>
                                  <a:pt x="4643" y="192278"/>
                                </a:cubicBez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0" name="Freeform: Shape 2669">
                            <a:extLst>
                              <a:ext uri="{FF2B5EF4-FFF2-40B4-BE49-F238E27FC236}">
                                <a16:creationId xmlns:a16="http://schemas.microsoft.com/office/drawing/2014/main" id="{24E16174-EB5B-1A46-46F1-2C0CC25F1C70}"/>
                              </a:ext>
                            </a:extLst>
                          </p:cNvPr>
                          <p:cNvSpPr/>
                          <p:nvPr/>
                        </p:nvSpPr>
                        <p:spPr>
                          <a:xfrm>
                            <a:off x="3210788" y="3344070"/>
                            <a:ext cx="127875" cy="1594205"/>
                          </a:xfrm>
                          <a:custGeom>
                            <a:avLst/>
                            <a:gdLst>
                              <a:gd name="connsiteX0" fmla="*/ 4652 w 127875"/>
                              <a:gd name="connsiteY0" fmla="*/ 1594205 h 1594205"/>
                              <a:gd name="connsiteX1" fmla="*/ 9285 w 127875"/>
                              <a:gd name="connsiteY1" fmla="*/ 1589982 h 1594205"/>
                              <a:gd name="connsiteX2" fmla="*/ 78252 w 127875"/>
                              <a:gd name="connsiteY2" fmla="*/ 1103828 h 1594205"/>
                              <a:gd name="connsiteX3" fmla="*/ 86683 w 127875"/>
                              <a:gd name="connsiteY3" fmla="*/ 1067764 h 1594205"/>
                              <a:gd name="connsiteX4" fmla="*/ 106947 w 127875"/>
                              <a:gd name="connsiteY4" fmla="*/ 870480 h 1594205"/>
                              <a:gd name="connsiteX5" fmla="*/ 89934 w 127875"/>
                              <a:gd name="connsiteY5" fmla="*/ 755287 h 1594205"/>
                              <a:gd name="connsiteX6" fmla="*/ 59597 w 127875"/>
                              <a:gd name="connsiteY6" fmla="*/ 583023 h 1594205"/>
                              <a:gd name="connsiteX7" fmla="*/ 39469 w 127875"/>
                              <a:gd name="connsiteY7" fmla="*/ 314463 h 1594205"/>
                              <a:gd name="connsiteX8" fmla="*/ 127379 w 127875"/>
                              <a:gd name="connsiteY8" fmla="*/ 6740 h 1594205"/>
                              <a:gd name="connsiteX9" fmla="*/ 125313 w 127875"/>
                              <a:gd name="connsiteY9" fmla="*/ 497 h 1594205"/>
                              <a:gd name="connsiteX10" fmla="*/ 119070 w 127875"/>
                              <a:gd name="connsiteY10" fmla="*/ 2563 h 1594205"/>
                              <a:gd name="connsiteX11" fmla="*/ 30218 w 127875"/>
                              <a:gd name="connsiteY11" fmla="*/ 313582 h 1594205"/>
                              <a:gd name="connsiteX12" fmla="*/ 50422 w 127875"/>
                              <a:gd name="connsiteY12" fmla="*/ 584527 h 1594205"/>
                              <a:gd name="connsiteX13" fmla="*/ 80789 w 127875"/>
                              <a:gd name="connsiteY13" fmla="*/ 757004 h 1594205"/>
                              <a:gd name="connsiteX14" fmla="*/ 97651 w 127875"/>
                              <a:gd name="connsiteY14" fmla="*/ 870769 h 1594205"/>
                              <a:gd name="connsiteX15" fmla="*/ 77599 w 127875"/>
                              <a:gd name="connsiteY15" fmla="*/ 1065775 h 1594205"/>
                              <a:gd name="connsiteX16" fmla="*/ 69213 w 127875"/>
                              <a:gd name="connsiteY16" fmla="*/ 1101640 h 1594205"/>
                              <a:gd name="connsiteX17" fmla="*/ 19 w 127875"/>
                              <a:gd name="connsiteY17" fmla="*/ 1589132 h 1594205"/>
                              <a:gd name="connsiteX18" fmla="*/ 4227 w 127875"/>
                              <a:gd name="connsiteY18" fmla="*/ 1594190 h 1594205"/>
                              <a:gd name="connsiteX19" fmla="*/ 4652 w 127875"/>
                              <a:gd name="connsiteY19" fmla="*/ 1594205 h 159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875" h="1594205">
                                <a:moveTo>
                                  <a:pt x="4652" y="1594205"/>
                                </a:moveTo>
                                <a:cubicBezTo>
                                  <a:pt x="7037" y="1594205"/>
                                  <a:pt x="9057" y="1592398"/>
                                  <a:pt x="9285" y="1589982"/>
                                </a:cubicBezTo>
                                <a:cubicBezTo>
                                  <a:pt x="38816" y="1267085"/>
                                  <a:pt x="61603" y="1172734"/>
                                  <a:pt x="78252" y="1103828"/>
                                </a:cubicBezTo>
                                <a:cubicBezTo>
                                  <a:pt x="81245" y="1091447"/>
                                  <a:pt x="84070" y="1079765"/>
                                  <a:pt x="86683" y="1067764"/>
                                </a:cubicBezTo>
                                <a:cubicBezTo>
                                  <a:pt x="101585" y="999345"/>
                                  <a:pt x="108785" y="929284"/>
                                  <a:pt x="106947" y="870480"/>
                                </a:cubicBezTo>
                                <a:cubicBezTo>
                                  <a:pt x="106051" y="841648"/>
                                  <a:pt x="100324" y="810977"/>
                                  <a:pt x="89934" y="755287"/>
                                </a:cubicBezTo>
                                <a:cubicBezTo>
                                  <a:pt x="82429" y="715047"/>
                                  <a:pt x="72145" y="659919"/>
                                  <a:pt x="59597" y="583023"/>
                                </a:cubicBezTo>
                                <a:cubicBezTo>
                                  <a:pt x="30613" y="405259"/>
                                  <a:pt x="39378" y="315344"/>
                                  <a:pt x="39469" y="314463"/>
                                </a:cubicBezTo>
                                <a:cubicBezTo>
                                  <a:pt x="53187" y="155915"/>
                                  <a:pt x="126635" y="8214"/>
                                  <a:pt x="127379" y="6740"/>
                                </a:cubicBezTo>
                                <a:cubicBezTo>
                                  <a:pt x="128534" y="4447"/>
                                  <a:pt x="127607" y="1651"/>
                                  <a:pt x="125313" y="497"/>
                                </a:cubicBezTo>
                                <a:cubicBezTo>
                                  <a:pt x="123020" y="-658"/>
                                  <a:pt x="120224" y="269"/>
                                  <a:pt x="119070" y="2563"/>
                                </a:cubicBezTo>
                                <a:cubicBezTo>
                                  <a:pt x="118325" y="4052"/>
                                  <a:pt x="44087" y="153287"/>
                                  <a:pt x="30218" y="313582"/>
                                </a:cubicBezTo>
                                <a:cubicBezTo>
                                  <a:pt x="30127" y="314402"/>
                                  <a:pt x="21195" y="405350"/>
                                  <a:pt x="50422" y="584527"/>
                                </a:cubicBezTo>
                                <a:cubicBezTo>
                                  <a:pt x="62985" y="661529"/>
                                  <a:pt x="73269" y="716703"/>
                                  <a:pt x="80789" y="757004"/>
                                </a:cubicBezTo>
                                <a:cubicBezTo>
                                  <a:pt x="91088" y="812223"/>
                                  <a:pt x="96770" y="842650"/>
                                  <a:pt x="97651" y="870769"/>
                                </a:cubicBezTo>
                                <a:cubicBezTo>
                                  <a:pt x="99458" y="928828"/>
                                  <a:pt x="92349" y="998084"/>
                                  <a:pt x="77599" y="1065775"/>
                                </a:cubicBezTo>
                                <a:cubicBezTo>
                                  <a:pt x="75001" y="1077669"/>
                                  <a:pt x="72191" y="1089305"/>
                                  <a:pt x="69213" y="1101640"/>
                                </a:cubicBezTo>
                                <a:cubicBezTo>
                                  <a:pt x="52503" y="1170820"/>
                                  <a:pt x="29626" y="1265565"/>
                                  <a:pt x="19" y="1589132"/>
                                </a:cubicBezTo>
                                <a:cubicBezTo>
                                  <a:pt x="-209" y="1591684"/>
                                  <a:pt x="1674" y="1593947"/>
                                  <a:pt x="4227" y="1594190"/>
                                </a:cubicBezTo>
                                <a:cubicBezTo>
                                  <a:pt x="4363" y="1594190"/>
                                  <a:pt x="4515" y="1594205"/>
                                  <a:pt x="4652" y="1594205"/>
                                </a:cubicBezTo>
                                <a:close/>
                              </a:path>
                            </a:pathLst>
                          </a:custGeom>
                          <a:solidFill>
                            <a:srgbClr val="222E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sp>
                <p:nvSpPr>
                  <p:cNvPr id="2661" name="Freeform: Shape 2660">
                    <a:extLst>
                      <a:ext uri="{FF2B5EF4-FFF2-40B4-BE49-F238E27FC236}">
                        <a16:creationId xmlns:a16="http://schemas.microsoft.com/office/drawing/2014/main" id="{FDC890C6-AB6C-714A-E38E-C83F4C97DECD}"/>
                      </a:ext>
                    </a:extLst>
                  </p:cNvPr>
                  <p:cNvSpPr/>
                  <p:nvPr/>
                </p:nvSpPr>
                <p:spPr>
                  <a:xfrm>
                    <a:off x="3299162" y="3263204"/>
                    <a:ext cx="456424" cy="98444"/>
                  </a:xfrm>
                  <a:custGeom>
                    <a:avLst/>
                    <a:gdLst>
                      <a:gd name="connsiteX0" fmla="*/ 448310 w 456424"/>
                      <a:gd name="connsiteY0" fmla="*/ 0 h 98444"/>
                      <a:gd name="connsiteX1" fmla="*/ 455024 w 456424"/>
                      <a:gd name="connsiteY1" fmla="*/ 59184 h 98444"/>
                      <a:gd name="connsiteX2" fmla="*/ 2274 w 456424"/>
                      <a:gd name="connsiteY2" fmla="*/ 80892 h 98444"/>
                      <a:gd name="connsiteX3" fmla="*/ 8989 w 456424"/>
                      <a:gd name="connsiteY3" fmla="*/ 13444 h 98444"/>
                      <a:gd name="connsiteX4" fmla="*/ 448310 w 456424"/>
                      <a:gd name="connsiteY4" fmla="*/ 0 h 98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424" h="98444">
                        <a:moveTo>
                          <a:pt x="448310" y="0"/>
                        </a:moveTo>
                        <a:cubicBezTo>
                          <a:pt x="448310" y="0"/>
                          <a:pt x="460462" y="20416"/>
                          <a:pt x="455024" y="59184"/>
                        </a:cubicBezTo>
                        <a:cubicBezTo>
                          <a:pt x="455024" y="59184"/>
                          <a:pt x="320129" y="130505"/>
                          <a:pt x="2274" y="80892"/>
                        </a:cubicBezTo>
                        <a:cubicBezTo>
                          <a:pt x="2274" y="80892"/>
                          <a:pt x="-5990" y="38251"/>
                          <a:pt x="8989" y="13444"/>
                        </a:cubicBezTo>
                        <a:lnTo>
                          <a:pt x="448310" y="0"/>
                        </a:ln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 name="Graphic 3200">
                <a:extLst>
                  <a:ext uri="{FF2B5EF4-FFF2-40B4-BE49-F238E27FC236}">
                    <a16:creationId xmlns:a16="http://schemas.microsoft.com/office/drawing/2014/main" id="{E933BCB0-9709-7D25-7D72-F1726869009B}"/>
                  </a:ext>
                </a:extLst>
              </p:cNvPr>
              <p:cNvGrpSpPr/>
              <p:nvPr/>
            </p:nvGrpSpPr>
            <p:grpSpPr>
              <a:xfrm>
                <a:off x="3888288" y="2301050"/>
                <a:ext cx="779612" cy="606596"/>
                <a:chOff x="3631009" y="2634726"/>
                <a:chExt cx="727165" cy="565788"/>
              </a:xfrm>
            </p:grpSpPr>
            <p:grpSp>
              <p:nvGrpSpPr>
                <p:cNvPr id="2650" name="Graphic 3200">
                  <a:extLst>
                    <a:ext uri="{FF2B5EF4-FFF2-40B4-BE49-F238E27FC236}">
                      <a16:creationId xmlns:a16="http://schemas.microsoft.com/office/drawing/2014/main" id="{0705CF61-414D-383F-E6B1-77AE6E83794F}"/>
                    </a:ext>
                  </a:extLst>
                </p:cNvPr>
                <p:cNvGrpSpPr/>
                <p:nvPr/>
              </p:nvGrpSpPr>
              <p:grpSpPr>
                <a:xfrm>
                  <a:off x="3631009" y="2634726"/>
                  <a:ext cx="339184" cy="565788"/>
                  <a:chOff x="3631009" y="2634726"/>
                  <a:chExt cx="339184" cy="565788"/>
                </a:xfrm>
              </p:grpSpPr>
              <p:sp>
                <p:nvSpPr>
                  <p:cNvPr id="2654" name="Freeform: Shape 2653">
                    <a:extLst>
                      <a:ext uri="{FF2B5EF4-FFF2-40B4-BE49-F238E27FC236}">
                        <a16:creationId xmlns:a16="http://schemas.microsoft.com/office/drawing/2014/main" id="{62298BDC-AB9C-7BC0-A8D1-81727FFE1098}"/>
                      </a:ext>
                    </a:extLst>
                  </p:cNvPr>
                  <p:cNvSpPr/>
                  <p:nvPr/>
                </p:nvSpPr>
                <p:spPr>
                  <a:xfrm>
                    <a:off x="3631009" y="2634726"/>
                    <a:ext cx="339184" cy="565788"/>
                  </a:xfrm>
                  <a:custGeom>
                    <a:avLst/>
                    <a:gdLst>
                      <a:gd name="connsiteX0" fmla="*/ 25499 w 339184"/>
                      <a:gd name="connsiteY0" fmla="*/ 0 h 565788"/>
                      <a:gd name="connsiteX1" fmla="*/ 99919 w 339184"/>
                      <a:gd name="connsiteY1" fmla="*/ 63057 h 565788"/>
                      <a:gd name="connsiteX2" fmla="*/ 295289 w 339184"/>
                      <a:gd name="connsiteY2" fmla="*/ 381429 h 565788"/>
                      <a:gd name="connsiteX3" fmla="*/ 323195 w 339184"/>
                      <a:gd name="connsiteY3" fmla="*/ 553025 h 565788"/>
                      <a:gd name="connsiteX4" fmla="*/ 172273 w 339184"/>
                      <a:gd name="connsiteY4" fmla="*/ 501346 h 565788"/>
                      <a:gd name="connsiteX5" fmla="*/ 21352 w 339184"/>
                      <a:gd name="connsiteY5" fmla="*/ 290481 h 565788"/>
                      <a:gd name="connsiteX6" fmla="*/ 25484 w 339184"/>
                      <a:gd name="connsiteY6" fmla="*/ 15 h 56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84" h="565788">
                        <a:moveTo>
                          <a:pt x="25499" y="0"/>
                        </a:moveTo>
                        <a:cubicBezTo>
                          <a:pt x="25499" y="0"/>
                          <a:pt x="55470" y="5165"/>
                          <a:pt x="99919" y="63057"/>
                        </a:cubicBezTo>
                        <a:cubicBezTo>
                          <a:pt x="144368" y="120950"/>
                          <a:pt x="254973" y="310107"/>
                          <a:pt x="295289" y="381429"/>
                        </a:cubicBezTo>
                        <a:cubicBezTo>
                          <a:pt x="335606" y="452750"/>
                          <a:pt x="355248" y="519939"/>
                          <a:pt x="323195" y="553025"/>
                        </a:cubicBezTo>
                        <a:cubicBezTo>
                          <a:pt x="291157" y="586096"/>
                          <a:pt x="217755" y="549926"/>
                          <a:pt x="172273" y="501346"/>
                        </a:cubicBezTo>
                        <a:cubicBezTo>
                          <a:pt x="126792" y="452765"/>
                          <a:pt x="43060" y="342160"/>
                          <a:pt x="21352" y="290481"/>
                        </a:cubicBezTo>
                        <a:cubicBezTo>
                          <a:pt x="-356" y="238801"/>
                          <a:pt x="-14833" y="61007"/>
                          <a:pt x="25484" y="15"/>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55" name="Graphic 3200">
                    <a:extLst>
                      <a:ext uri="{FF2B5EF4-FFF2-40B4-BE49-F238E27FC236}">
                        <a16:creationId xmlns:a16="http://schemas.microsoft.com/office/drawing/2014/main" id="{E7E50A52-FAE6-B741-39CF-9B24CCE25814}"/>
                      </a:ext>
                    </a:extLst>
                  </p:cNvPr>
                  <p:cNvGrpSpPr/>
                  <p:nvPr/>
                </p:nvGrpSpPr>
                <p:grpSpPr>
                  <a:xfrm>
                    <a:off x="3637656" y="2702948"/>
                    <a:ext cx="301645" cy="413283"/>
                    <a:chOff x="3637656" y="2702948"/>
                    <a:chExt cx="301645" cy="413283"/>
                  </a:xfrm>
                  <a:solidFill>
                    <a:srgbClr val="75B9F2"/>
                  </a:solidFill>
                </p:grpSpPr>
                <p:sp>
                  <p:nvSpPr>
                    <p:cNvPr id="2656" name="Freeform: Shape 2655">
                      <a:extLst>
                        <a:ext uri="{FF2B5EF4-FFF2-40B4-BE49-F238E27FC236}">
                          <a16:creationId xmlns:a16="http://schemas.microsoft.com/office/drawing/2014/main" id="{C2245212-1EF2-6FC5-7BF0-AB3502F3FA66}"/>
                        </a:ext>
                      </a:extLst>
                    </p:cNvPr>
                    <p:cNvSpPr/>
                    <p:nvPr/>
                  </p:nvSpPr>
                  <p:spPr>
                    <a:xfrm>
                      <a:off x="3637656" y="2702948"/>
                      <a:ext cx="195847" cy="413283"/>
                    </a:xfrm>
                    <a:custGeom>
                      <a:avLst/>
                      <a:gdLst>
                        <a:gd name="connsiteX0" fmla="*/ 15 w 195847"/>
                        <a:gd name="connsiteY0" fmla="*/ 160021 h 413283"/>
                        <a:gd name="connsiteX1" fmla="*/ 52971 w 195847"/>
                        <a:gd name="connsiteY1" fmla="*/ 0 h 413283"/>
                        <a:gd name="connsiteX2" fmla="*/ 145271 w 195847"/>
                        <a:gd name="connsiteY2" fmla="*/ 114737 h 413283"/>
                        <a:gd name="connsiteX3" fmla="*/ 191785 w 195847"/>
                        <a:gd name="connsiteY3" fmla="*/ 279087 h 413283"/>
                        <a:gd name="connsiteX4" fmla="*/ 147914 w 195847"/>
                        <a:gd name="connsiteY4" fmla="*/ 413284 h 413283"/>
                        <a:gd name="connsiteX5" fmla="*/ 14720 w 195847"/>
                        <a:gd name="connsiteY5" fmla="*/ 222228 h 413283"/>
                        <a:gd name="connsiteX6" fmla="*/ 0 w 195847"/>
                        <a:gd name="connsiteY6" fmla="*/ 160006 h 41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47" h="413283">
                          <a:moveTo>
                            <a:pt x="15" y="160021"/>
                          </a:moveTo>
                          <a:cubicBezTo>
                            <a:pt x="15905" y="82350"/>
                            <a:pt x="52971" y="0"/>
                            <a:pt x="52971" y="0"/>
                          </a:cubicBezTo>
                          <a:cubicBezTo>
                            <a:pt x="52971" y="0"/>
                            <a:pt x="115041" y="69772"/>
                            <a:pt x="145271" y="114737"/>
                          </a:cubicBezTo>
                          <a:cubicBezTo>
                            <a:pt x="175501" y="159702"/>
                            <a:pt x="207295" y="229474"/>
                            <a:pt x="191785" y="279087"/>
                          </a:cubicBezTo>
                          <a:cubicBezTo>
                            <a:pt x="178174" y="322655"/>
                            <a:pt x="150846" y="364248"/>
                            <a:pt x="147914" y="413284"/>
                          </a:cubicBezTo>
                          <a:cubicBezTo>
                            <a:pt x="101080" y="358976"/>
                            <a:pt x="33845" y="267755"/>
                            <a:pt x="14720" y="222228"/>
                          </a:cubicBezTo>
                          <a:cubicBezTo>
                            <a:pt x="9039" y="208693"/>
                            <a:pt x="3843" y="186484"/>
                            <a:pt x="0" y="160006"/>
                          </a:cubicBez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7" name="Freeform: Shape 2656">
                      <a:extLst>
                        <a:ext uri="{FF2B5EF4-FFF2-40B4-BE49-F238E27FC236}">
                          <a16:creationId xmlns:a16="http://schemas.microsoft.com/office/drawing/2014/main" id="{5414B0B7-A690-11FF-521A-3B63A8A9071A}"/>
                        </a:ext>
                      </a:extLst>
                    </p:cNvPr>
                    <p:cNvSpPr/>
                    <p:nvPr/>
                  </p:nvSpPr>
                  <p:spPr>
                    <a:xfrm>
                      <a:off x="3882108" y="2988659"/>
                      <a:ext cx="57193" cy="96492"/>
                    </a:xfrm>
                    <a:custGeom>
                      <a:avLst/>
                      <a:gdLst>
                        <a:gd name="connsiteX0" fmla="*/ 57194 w 57193"/>
                        <a:gd name="connsiteY0" fmla="*/ 51831 h 96492"/>
                        <a:gd name="connsiteX1" fmla="*/ 0 w 57193"/>
                        <a:gd name="connsiteY1" fmla="*/ 96493 h 96492"/>
                        <a:gd name="connsiteX2" fmla="*/ 28513 w 57193"/>
                        <a:gd name="connsiteY2" fmla="*/ 0 h 96492"/>
                        <a:gd name="connsiteX3" fmla="*/ 44190 w 57193"/>
                        <a:gd name="connsiteY3" fmla="*/ 27496 h 96492"/>
                        <a:gd name="connsiteX4" fmla="*/ 57194 w 57193"/>
                        <a:gd name="connsiteY4" fmla="*/ 51831 h 96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93" h="96492">
                          <a:moveTo>
                            <a:pt x="57194" y="51831"/>
                          </a:moveTo>
                          <a:lnTo>
                            <a:pt x="0" y="96493"/>
                          </a:lnTo>
                          <a:cubicBezTo>
                            <a:pt x="0" y="57270"/>
                            <a:pt x="18108" y="18852"/>
                            <a:pt x="28513" y="0"/>
                          </a:cubicBezTo>
                          <a:cubicBezTo>
                            <a:pt x="34468" y="10375"/>
                            <a:pt x="39755" y="19642"/>
                            <a:pt x="44190" y="27496"/>
                          </a:cubicBezTo>
                          <a:cubicBezTo>
                            <a:pt x="48824" y="35683"/>
                            <a:pt x="53153" y="43811"/>
                            <a:pt x="57194" y="51831"/>
                          </a:cubicBez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51" name="Graphic 3200">
                  <a:extLst>
                    <a:ext uri="{FF2B5EF4-FFF2-40B4-BE49-F238E27FC236}">
                      <a16:creationId xmlns:a16="http://schemas.microsoft.com/office/drawing/2014/main" id="{9AF0E72D-75BF-CCFA-9028-335E16D76A0A}"/>
                    </a:ext>
                  </a:extLst>
                </p:cNvPr>
                <p:cNvGrpSpPr/>
                <p:nvPr/>
              </p:nvGrpSpPr>
              <p:grpSpPr>
                <a:xfrm>
                  <a:off x="3865240" y="2738947"/>
                  <a:ext cx="492934" cy="455716"/>
                  <a:chOff x="3865240" y="2738947"/>
                  <a:chExt cx="492934" cy="455716"/>
                </a:xfrm>
              </p:grpSpPr>
              <p:sp>
                <p:nvSpPr>
                  <p:cNvPr id="2652" name="Freeform: Shape 2651">
                    <a:extLst>
                      <a:ext uri="{FF2B5EF4-FFF2-40B4-BE49-F238E27FC236}">
                        <a16:creationId xmlns:a16="http://schemas.microsoft.com/office/drawing/2014/main" id="{6EABCE8C-681A-0CD3-A976-F3200FE3B13E}"/>
                      </a:ext>
                    </a:extLst>
                  </p:cNvPr>
                  <p:cNvSpPr/>
                  <p:nvPr/>
                </p:nvSpPr>
                <p:spPr>
                  <a:xfrm>
                    <a:off x="4146081" y="2738947"/>
                    <a:ext cx="212094" cy="162850"/>
                  </a:xfrm>
                  <a:custGeom>
                    <a:avLst/>
                    <a:gdLst>
                      <a:gd name="connsiteX0" fmla="*/ 50008 w 212094"/>
                      <a:gd name="connsiteY0" fmla="*/ 162851 h 162850"/>
                      <a:gd name="connsiteX1" fmla="*/ 87606 w 212094"/>
                      <a:gd name="connsiteY1" fmla="*/ 125633 h 162850"/>
                      <a:gd name="connsiteX2" fmla="*/ 161252 w 212094"/>
                      <a:gd name="connsiteY2" fmla="*/ 89965 h 162850"/>
                      <a:gd name="connsiteX3" fmla="*/ 212035 w 212094"/>
                      <a:gd name="connsiteY3" fmla="*/ 8557 h 162850"/>
                      <a:gd name="connsiteX4" fmla="*/ 180255 w 212094"/>
                      <a:gd name="connsiteY4" fmla="*/ 15149 h 162850"/>
                      <a:gd name="connsiteX5" fmla="*/ 110863 w 212094"/>
                      <a:gd name="connsiteY5" fmla="*/ 50818 h 162850"/>
                      <a:gd name="connsiteX6" fmla="*/ 38372 w 212094"/>
                      <a:gd name="connsiteY6" fmla="*/ 70581 h 162850"/>
                      <a:gd name="connsiteX7" fmla="*/ 0 w 212094"/>
                      <a:gd name="connsiteY7" fmla="*/ 124068 h 162850"/>
                      <a:gd name="connsiteX8" fmla="*/ 50008 w 212094"/>
                      <a:gd name="connsiteY8" fmla="*/ 162835 h 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094" h="162850">
                        <a:moveTo>
                          <a:pt x="50008" y="162851"/>
                        </a:moveTo>
                        <a:cubicBezTo>
                          <a:pt x="50008" y="162851"/>
                          <a:pt x="70546" y="129902"/>
                          <a:pt x="87606" y="125633"/>
                        </a:cubicBezTo>
                        <a:cubicBezTo>
                          <a:pt x="104665" y="121364"/>
                          <a:pt x="136065" y="117491"/>
                          <a:pt x="161252" y="89965"/>
                        </a:cubicBezTo>
                        <a:cubicBezTo>
                          <a:pt x="186453" y="62439"/>
                          <a:pt x="211366" y="16061"/>
                          <a:pt x="212035" y="8557"/>
                        </a:cubicBezTo>
                        <a:cubicBezTo>
                          <a:pt x="213204" y="-4629"/>
                          <a:pt x="196920" y="-2685"/>
                          <a:pt x="180255" y="15149"/>
                        </a:cubicBezTo>
                        <a:cubicBezTo>
                          <a:pt x="171642" y="24370"/>
                          <a:pt x="136095" y="49937"/>
                          <a:pt x="110863" y="50818"/>
                        </a:cubicBezTo>
                        <a:cubicBezTo>
                          <a:pt x="77534" y="51987"/>
                          <a:pt x="51163" y="55466"/>
                          <a:pt x="38372" y="70581"/>
                        </a:cubicBezTo>
                        <a:cubicBezTo>
                          <a:pt x="25581" y="85696"/>
                          <a:pt x="0" y="124068"/>
                          <a:pt x="0" y="124068"/>
                        </a:cubicBezTo>
                        <a:lnTo>
                          <a:pt x="50008" y="162835"/>
                        </a:ln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3" name="Freeform: Shape 2652">
                    <a:extLst>
                      <a:ext uri="{FF2B5EF4-FFF2-40B4-BE49-F238E27FC236}">
                        <a16:creationId xmlns:a16="http://schemas.microsoft.com/office/drawing/2014/main" id="{618F2B49-D26A-A86B-C000-BEC744F4DCC2}"/>
                      </a:ext>
                    </a:extLst>
                  </p:cNvPr>
                  <p:cNvSpPr/>
                  <p:nvPr/>
                </p:nvSpPr>
                <p:spPr>
                  <a:xfrm>
                    <a:off x="3865240" y="2841459"/>
                    <a:ext cx="355959" cy="353204"/>
                  </a:xfrm>
                  <a:custGeom>
                    <a:avLst/>
                    <a:gdLst>
                      <a:gd name="connsiteX0" fmla="*/ 79667 w 355959"/>
                      <a:gd name="connsiteY0" fmla="*/ 352490 h 353204"/>
                      <a:gd name="connsiteX1" fmla="*/ 355960 w 355959"/>
                      <a:gd name="connsiteY1" fmla="*/ 57893 h 353204"/>
                      <a:gd name="connsiteX2" fmla="*/ 276359 w 355959"/>
                      <a:gd name="connsiteY2" fmla="*/ 0 h 353204"/>
                      <a:gd name="connsiteX3" fmla="*/ 177862 w 355959"/>
                      <a:gd name="connsiteY3" fmla="*/ 77519 h 353204"/>
                      <a:gd name="connsiteX4" fmla="*/ 6265 w 355959"/>
                      <a:gd name="connsiteY4" fmla="*/ 250149 h 353204"/>
                      <a:gd name="connsiteX5" fmla="*/ 79652 w 355959"/>
                      <a:gd name="connsiteY5" fmla="*/ 352490 h 35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959" h="353204">
                        <a:moveTo>
                          <a:pt x="79667" y="352490"/>
                        </a:moveTo>
                        <a:cubicBezTo>
                          <a:pt x="79667" y="352490"/>
                          <a:pt x="226761" y="265659"/>
                          <a:pt x="355960" y="57893"/>
                        </a:cubicBezTo>
                        <a:cubicBezTo>
                          <a:pt x="355960" y="57893"/>
                          <a:pt x="317071" y="8021"/>
                          <a:pt x="276359" y="0"/>
                        </a:cubicBezTo>
                        <a:cubicBezTo>
                          <a:pt x="276359" y="0"/>
                          <a:pt x="212998" y="52712"/>
                          <a:pt x="177862" y="77519"/>
                        </a:cubicBezTo>
                        <a:cubicBezTo>
                          <a:pt x="142710" y="102326"/>
                          <a:pt x="26940" y="175713"/>
                          <a:pt x="6265" y="250149"/>
                        </a:cubicBezTo>
                        <a:cubicBezTo>
                          <a:pt x="-14410" y="324569"/>
                          <a:pt x="17628" y="358688"/>
                          <a:pt x="79652" y="352490"/>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9" name="Graphic 3200">
                <a:extLst>
                  <a:ext uri="{FF2B5EF4-FFF2-40B4-BE49-F238E27FC236}">
                    <a16:creationId xmlns:a16="http://schemas.microsoft.com/office/drawing/2014/main" id="{81FCB136-95D9-68D2-24DE-F2C5757B493A}"/>
                  </a:ext>
                </a:extLst>
              </p:cNvPr>
              <p:cNvGrpSpPr/>
              <p:nvPr/>
            </p:nvGrpSpPr>
            <p:grpSpPr>
              <a:xfrm>
                <a:off x="3413756" y="2082729"/>
                <a:ext cx="729548" cy="2002194"/>
                <a:chOff x="3188400" y="2431092"/>
                <a:chExt cx="680469" cy="1867499"/>
              </a:xfrm>
            </p:grpSpPr>
            <p:grpSp>
              <p:nvGrpSpPr>
                <p:cNvPr id="2616" name="Graphic 3200">
                  <a:extLst>
                    <a:ext uri="{FF2B5EF4-FFF2-40B4-BE49-F238E27FC236}">
                      <a16:creationId xmlns:a16="http://schemas.microsoft.com/office/drawing/2014/main" id="{5F1D68FE-EF20-B012-E923-CF460BF2CE1C}"/>
                    </a:ext>
                  </a:extLst>
                </p:cNvPr>
                <p:cNvGrpSpPr/>
                <p:nvPr/>
              </p:nvGrpSpPr>
              <p:grpSpPr>
                <a:xfrm>
                  <a:off x="3188400" y="2431092"/>
                  <a:ext cx="680469" cy="1867499"/>
                  <a:chOff x="3188400" y="2431092"/>
                  <a:chExt cx="680469" cy="1867499"/>
                </a:xfrm>
              </p:grpSpPr>
              <p:grpSp>
                <p:nvGrpSpPr>
                  <p:cNvPr id="2628" name="Graphic 3200">
                    <a:extLst>
                      <a:ext uri="{FF2B5EF4-FFF2-40B4-BE49-F238E27FC236}">
                        <a16:creationId xmlns:a16="http://schemas.microsoft.com/office/drawing/2014/main" id="{BD5E391E-B12D-74BE-63EA-0926854AC83A}"/>
                      </a:ext>
                    </a:extLst>
                  </p:cNvPr>
                  <p:cNvGrpSpPr/>
                  <p:nvPr/>
                </p:nvGrpSpPr>
                <p:grpSpPr>
                  <a:xfrm>
                    <a:off x="3288508" y="2431092"/>
                    <a:ext cx="364900" cy="548877"/>
                    <a:chOff x="3288508" y="2431092"/>
                    <a:chExt cx="364900" cy="548877"/>
                  </a:xfrm>
                </p:grpSpPr>
                <p:sp>
                  <p:nvSpPr>
                    <p:cNvPr id="2648" name="Freeform: Shape 2647">
                      <a:extLst>
                        <a:ext uri="{FF2B5EF4-FFF2-40B4-BE49-F238E27FC236}">
                          <a16:creationId xmlns:a16="http://schemas.microsoft.com/office/drawing/2014/main" id="{45780C18-F7F0-56E9-2BA6-0C7CEA321F9A}"/>
                        </a:ext>
                      </a:extLst>
                    </p:cNvPr>
                    <p:cNvSpPr/>
                    <p:nvPr/>
                  </p:nvSpPr>
                  <p:spPr>
                    <a:xfrm>
                      <a:off x="3288508" y="2431092"/>
                      <a:ext cx="364900" cy="548877"/>
                    </a:xfrm>
                    <a:custGeom>
                      <a:avLst/>
                      <a:gdLst>
                        <a:gd name="connsiteX0" fmla="*/ 281168 w 364900"/>
                        <a:gd name="connsiteY0" fmla="*/ 106458 h 548877"/>
                        <a:gd name="connsiteX1" fmla="*/ 307008 w 364900"/>
                        <a:gd name="connsiteY1" fmla="*/ 198454 h 548877"/>
                        <a:gd name="connsiteX2" fmla="*/ 364901 w 364900"/>
                        <a:gd name="connsiteY2" fmla="*/ 218096 h 548877"/>
                        <a:gd name="connsiteX3" fmla="*/ 323551 w 364900"/>
                        <a:gd name="connsiteY3" fmla="*/ 548878 h 548877"/>
                        <a:gd name="connsiteX4" fmla="*/ 14477 w 364900"/>
                        <a:gd name="connsiteY4" fmla="*/ 237738 h 548877"/>
                        <a:gd name="connsiteX5" fmla="*/ 0 w 364900"/>
                        <a:gd name="connsiteY5" fmla="*/ 188124 h 548877"/>
                        <a:gd name="connsiteX6" fmla="*/ 59442 w 364900"/>
                        <a:gd name="connsiteY6" fmla="*/ 185025 h 548877"/>
                        <a:gd name="connsiteX7" fmla="*/ 110605 w 364900"/>
                        <a:gd name="connsiteY7" fmla="*/ 160218 h 548877"/>
                        <a:gd name="connsiteX8" fmla="*/ 118869 w 364900"/>
                        <a:gd name="connsiteY8" fmla="*/ 0 h 548877"/>
                        <a:gd name="connsiteX9" fmla="*/ 281153 w 364900"/>
                        <a:gd name="connsiteY9" fmla="*/ 106473 h 54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900" h="548877">
                          <a:moveTo>
                            <a:pt x="281168" y="106458"/>
                          </a:moveTo>
                          <a:cubicBezTo>
                            <a:pt x="281168" y="106458"/>
                            <a:pt x="283234" y="188124"/>
                            <a:pt x="307008" y="198454"/>
                          </a:cubicBezTo>
                          <a:cubicBezTo>
                            <a:pt x="330782" y="208784"/>
                            <a:pt x="364901" y="218096"/>
                            <a:pt x="364901" y="218096"/>
                          </a:cubicBezTo>
                          <a:lnTo>
                            <a:pt x="323551" y="548878"/>
                          </a:lnTo>
                          <a:lnTo>
                            <a:pt x="14477" y="237738"/>
                          </a:lnTo>
                          <a:lnTo>
                            <a:pt x="0" y="188124"/>
                          </a:lnTo>
                          <a:cubicBezTo>
                            <a:pt x="0" y="188124"/>
                            <a:pt x="30868" y="190540"/>
                            <a:pt x="59442" y="185025"/>
                          </a:cubicBezTo>
                          <a:cubicBezTo>
                            <a:pt x="81499" y="180757"/>
                            <a:pt x="101156" y="170123"/>
                            <a:pt x="110605" y="160218"/>
                          </a:cubicBezTo>
                          <a:cubicBezTo>
                            <a:pt x="128454" y="141518"/>
                            <a:pt x="118869" y="0"/>
                            <a:pt x="118869" y="0"/>
                          </a:cubicBezTo>
                          <a:lnTo>
                            <a:pt x="281153" y="106473"/>
                          </a:ln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9" name="Freeform: Shape 2648">
                      <a:extLst>
                        <a:ext uri="{FF2B5EF4-FFF2-40B4-BE49-F238E27FC236}">
                          <a16:creationId xmlns:a16="http://schemas.microsoft.com/office/drawing/2014/main" id="{10EFDCF1-74FE-C6F7-BEDA-6404E38BE21E}"/>
                        </a:ext>
                      </a:extLst>
                    </p:cNvPr>
                    <p:cNvSpPr/>
                    <p:nvPr/>
                  </p:nvSpPr>
                  <p:spPr>
                    <a:xfrm>
                      <a:off x="3417935" y="2438004"/>
                      <a:ext cx="156542" cy="146364"/>
                    </a:xfrm>
                    <a:custGeom>
                      <a:avLst/>
                      <a:gdLst>
                        <a:gd name="connsiteX0" fmla="*/ 11165 w 156542"/>
                        <a:gd name="connsiteY0" fmla="*/ 28225 h 146364"/>
                        <a:gd name="connsiteX1" fmla="*/ 0 w 156542"/>
                        <a:gd name="connsiteY1" fmla="*/ 0 h 146364"/>
                        <a:gd name="connsiteX2" fmla="*/ 151742 w 156542"/>
                        <a:gd name="connsiteY2" fmla="*/ 99546 h 146364"/>
                        <a:gd name="connsiteX3" fmla="*/ 156542 w 156542"/>
                        <a:gd name="connsiteY3" fmla="*/ 146364 h 146364"/>
                        <a:gd name="connsiteX4" fmla="*/ 138298 w 156542"/>
                        <a:gd name="connsiteY4" fmla="*/ 139863 h 146364"/>
                        <a:gd name="connsiteX5" fmla="*/ 11150 w 156542"/>
                        <a:gd name="connsiteY5" fmla="*/ 28225 h 14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42" h="146364">
                          <a:moveTo>
                            <a:pt x="11165" y="28225"/>
                          </a:moveTo>
                          <a:cubicBezTo>
                            <a:pt x="8249" y="22878"/>
                            <a:pt x="4117" y="12973"/>
                            <a:pt x="0" y="0"/>
                          </a:cubicBezTo>
                          <a:lnTo>
                            <a:pt x="151742" y="99546"/>
                          </a:lnTo>
                          <a:cubicBezTo>
                            <a:pt x="151742" y="99546"/>
                            <a:pt x="152334" y="123001"/>
                            <a:pt x="156542" y="146364"/>
                          </a:cubicBezTo>
                          <a:cubicBezTo>
                            <a:pt x="150724" y="144557"/>
                            <a:pt x="144648" y="142400"/>
                            <a:pt x="138298" y="139863"/>
                          </a:cubicBezTo>
                          <a:cubicBezTo>
                            <a:pt x="53016" y="105744"/>
                            <a:pt x="29759" y="62344"/>
                            <a:pt x="11150" y="28225"/>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29" name="Graphic 3200">
                    <a:extLst>
                      <a:ext uri="{FF2B5EF4-FFF2-40B4-BE49-F238E27FC236}">
                        <a16:creationId xmlns:a16="http://schemas.microsoft.com/office/drawing/2014/main" id="{BC583E67-0D93-E952-F7A3-7F89D05B9756}"/>
                      </a:ext>
                    </a:extLst>
                  </p:cNvPr>
                  <p:cNvGrpSpPr/>
                  <p:nvPr/>
                </p:nvGrpSpPr>
                <p:grpSpPr>
                  <a:xfrm>
                    <a:off x="3188400" y="2600622"/>
                    <a:ext cx="680469" cy="1697968"/>
                    <a:chOff x="3188400" y="2600622"/>
                    <a:chExt cx="680469" cy="1697968"/>
                  </a:xfrm>
                </p:grpSpPr>
                <p:grpSp>
                  <p:nvGrpSpPr>
                    <p:cNvPr id="2630" name="Graphic 3200">
                      <a:extLst>
                        <a:ext uri="{FF2B5EF4-FFF2-40B4-BE49-F238E27FC236}">
                          <a16:creationId xmlns:a16="http://schemas.microsoft.com/office/drawing/2014/main" id="{9E30C2C2-3573-9675-AEDB-303FF57F181F}"/>
                        </a:ext>
                      </a:extLst>
                    </p:cNvPr>
                    <p:cNvGrpSpPr/>
                    <p:nvPr/>
                  </p:nvGrpSpPr>
                  <p:grpSpPr>
                    <a:xfrm>
                      <a:off x="3236311" y="2600622"/>
                      <a:ext cx="562905" cy="709083"/>
                      <a:chOff x="3236311" y="2600622"/>
                      <a:chExt cx="562905" cy="709083"/>
                    </a:xfrm>
                  </p:grpSpPr>
                  <p:sp>
                    <p:nvSpPr>
                      <p:cNvPr id="2642" name="Freeform: Shape 2641">
                        <a:extLst>
                          <a:ext uri="{FF2B5EF4-FFF2-40B4-BE49-F238E27FC236}">
                            <a16:creationId xmlns:a16="http://schemas.microsoft.com/office/drawing/2014/main" id="{FBF83C64-34CC-AB77-492A-92B299237CC1}"/>
                          </a:ext>
                        </a:extLst>
                      </p:cNvPr>
                      <p:cNvSpPr/>
                      <p:nvPr/>
                    </p:nvSpPr>
                    <p:spPr>
                      <a:xfrm>
                        <a:off x="3236311" y="2600622"/>
                        <a:ext cx="562905" cy="709083"/>
                      </a:xfrm>
                      <a:custGeom>
                        <a:avLst/>
                        <a:gdLst>
                          <a:gd name="connsiteX0" fmla="*/ 350942 w 562905"/>
                          <a:gd name="connsiteY0" fmla="*/ 17561 h 709083"/>
                          <a:gd name="connsiteX1" fmla="*/ 420197 w 562905"/>
                          <a:gd name="connsiteY1" fmla="*/ 34104 h 709083"/>
                          <a:gd name="connsiteX2" fmla="*/ 508061 w 562905"/>
                          <a:gd name="connsiteY2" fmla="*/ 195355 h 709083"/>
                          <a:gd name="connsiteX3" fmla="*/ 552510 w 562905"/>
                          <a:gd name="connsiteY3" fmla="*/ 409334 h 709083"/>
                          <a:gd name="connsiteX4" fmla="*/ 517358 w 562905"/>
                          <a:gd name="connsiteY4" fmla="*/ 535449 h 709083"/>
                          <a:gd name="connsiteX5" fmla="*/ 511160 w 562905"/>
                          <a:gd name="connsiteY5" fmla="*/ 662597 h 709083"/>
                          <a:gd name="connsiteX6" fmla="*/ 71839 w 562905"/>
                          <a:gd name="connsiteY6" fmla="*/ 676041 h 709083"/>
                          <a:gd name="connsiteX7" fmla="*/ 74938 w 562905"/>
                          <a:gd name="connsiteY7" fmla="*/ 595408 h 709083"/>
                          <a:gd name="connsiteX8" fmla="*/ 82169 w 562905"/>
                          <a:gd name="connsiteY8" fmla="*/ 406251 h 709083"/>
                          <a:gd name="connsiteX9" fmla="*/ 9815 w 562905"/>
                          <a:gd name="connsiteY9" fmla="*/ 168498 h 709083"/>
                          <a:gd name="connsiteX10" fmla="*/ 18595 w 562905"/>
                          <a:gd name="connsiteY10" fmla="*/ 35668 h 709083"/>
                          <a:gd name="connsiteX11" fmla="*/ 150391 w 562905"/>
                          <a:gd name="connsiteY11" fmla="*/ 0 h 709083"/>
                          <a:gd name="connsiteX12" fmla="*/ 359190 w 562905"/>
                          <a:gd name="connsiteY12" fmla="*/ 309074 h 709083"/>
                          <a:gd name="connsiteX13" fmla="*/ 350926 w 562905"/>
                          <a:gd name="connsiteY13" fmla="*/ 17576 h 7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905" h="709083">
                            <a:moveTo>
                              <a:pt x="350942" y="17561"/>
                            </a:moveTo>
                            <a:cubicBezTo>
                              <a:pt x="350942" y="17561"/>
                              <a:pt x="405720" y="27891"/>
                              <a:pt x="420197" y="34104"/>
                            </a:cubicBezTo>
                            <a:cubicBezTo>
                              <a:pt x="434674" y="40302"/>
                              <a:pt x="465679" y="110590"/>
                              <a:pt x="508061" y="195355"/>
                            </a:cubicBezTo>
                            <a:cubicBezTo>
                              <a:pt x="550444" y="280120"/>
                              <a:pt x="579382" y="336965"/>
                              <a:pt x="552510" y="409334"/>
                            </a:cubicBezTo>
                            <a:cubicBezTo>
                              <a:pt x="525637" y="481688"/>
                              <a:pt x="516325" y="492034"/>
                              <a:pt x="517358" y="535449"/>
                            </a:cubicBezTo>
                            <a:cubicBezTo>
                              <a:pt x="518391" y="578865"/>
                              <a:pt x="546297" y="647087"/>
                              <a:pt x="511160" y="662597"/>
                            </a:cubicBezTo>
                            <a:cubicBezTo>
                              <a:pt x="476008" y="678107"/>
                              <a:pt x="268242" y="750461"/>
                              <a:pt x="71839" y="676041"/>
                            </a:cubicBezTo>
                            <a:cubicBezTo>
                              <a:pt x="62542" y="666744"/>
                              <a:pt x="59428" y="641938"/>
                              <a:pt x="74938" y="595408"/>
                            </a:cubicBezTo>
                            <a:cubicBezTo>
                              <a:pt x="90448" y="548893"/>
                              <a:pt x="99745" y="484803"/>
                              <a:pt x="82169" y="406251"/>
                            </a:cubicBezTo>
                            <a:cubicBezTo>
                              <a:pt x="64593" y="327683"/>
                              <a:pt x="22210" y="221225"/>
                              <a:pt x="9815" y="168498"/>
                            </a:cubicBezTo>
                            <a:cubicBezTo>
                              <a:pt x="-2597" y="115785"/>
                              <a:pt x="-6728" y="55827"/>
                              <a:pt x="18595" y="35668"/>
                            </a:cubicBezTo>
                            <a:cubicBezTo>
                              <a:pt x="43918" y="15510"/>
                              <a:pt x="93532" y="6213"/>
                              <a:pt x="150391" y="0"/>
                            </a:cubicBezTo>
                            <a:cubicBezTo>
                              <a:pt x="150391" y="0"/>
                              <a:pt x="268227" y="136445"/>
                              <a:pt x="359190" y="309074"/>
                            </a:cubicBezTo>
                            <a:cubicBezTo>
                              <a:pt x="359190" y="309074"/>
                              <a:pt x="362289" y="107506"/>
                              <a:pt x="350926" y="17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3" name="Freeform: Shape 2642">
                        <a:extLst>
                          <a:ext uri="{FF2B5EF4-FFF2-40B4-BE49-F238E27FC236}">
                            <a16:creationId xmlns:a16="http://schemas.microsoft.com/office/drawing/2014/main" id="{322AB2F8-92CD-4914-5CC2-55BDBBBED4F8}"/>
                          </a:ext>
                        </a:extLst>
                      </p:cNvPr>
                      <p:cNvSpPr/>
                      <p:nvPr/>
                    </p:nvSpPr>
                    <p:spPr>
                      <a:xfrm>
                        <a:off x="3277343" y="2600622"/>
                        <a:ext cx="385028" cy="349649"/>
                      </a:xfrm>
                      <a:custGeom>
                        <a:avLst/>
                        <a:gdLst>
                          <a:gd name="connsiteX0" fmla="*/ 175273 w 385028"/>
                          <a:gd name="connsiteY0" fmla="*/ 185283 h 349649"/>
                          <a:gd name="connsiteX1" fmla="*/ 0 w 385028"/>
                          <a:gd name="connsiteY1" fmla="*/ 22832 h 349649"/>
                          <a:gd name="connsiteX2" fmla="*/ 109375 w 385028"/>
                          <a:gd name="connsiteY2" fmla="*/ 0 h 349649"/>
                          <a:gd name="connsiteX3" fmla="*/ 318174 w 385028"/>
                          <a:gd name="connsiteY3" fmla="*/ 309074 h 349649"/>
                          <a:gd name="connsiteX4" fmla="*/ 309910 w 385028"/>
                          <a:gd name="connsiteY4" fmla="*/ 17576 h 349649"/>
                          <a:gd name="connsiteX5" fmla="*/ 379165 w 385028"/>
                          <a:gd name="connsiteY5" fmla="*/ 34119 h 349649"/>
                          <a:gd name="connsiteX6" fmla="*/ 385029 w 385028"/>
                          <a:gd name="connsiteY6" fmla="*/ 38980 h 349649"/>
                          <a:gd name="connsiteX7" fmla="*/ 333425 w 385028"/>
                          <a:gd name="connsiteY7" fmla="*/ 331040 h 349649"/>
                          <a:gd name="connsiteX8" fmla="*/ 312492 w 385028"/>
                          <a:gd name="connsiteY8" fmla="*/ 349649 h 349649"/>
                          <a:gd name="connsiteX9" fmla="*/ 175273 w 385028"/>
                          <a:gd name="connsiteY9" fmla="*/ 185299 h 34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028" h="349649">
                            <a:moveTo>
                              <a:pt x="175273" y="185283"/>
                            </a:moveTo>
                            <a:cubicBezTo>
                              <a:pt x="148370" y="160446"/>
                              <a:pt x="28726" y="49644"/>
                              <a:pt x="0" y="22832"/>
                            </a:cubicBezTo>
                            <a:cubicBezTo>
                              <a:pt x="27359" y="11196"/>
                              <a:pt x="66278" y="4709"/>
                              <a:pt x="109375" y="0"/>
                            </a:cubicBezTo>
                            <a:cubicBezTo>
                              <a:pt x="109375" y="0"/>
                              <a:pt x="227210" y="136445"/>
                              <a:pt x="318174" y="309074"/>
                            </a:cubicBezTo>
                            <a:cubicBezTo>
                              <a:pt x="318174" y="309074"/>
                              <a:pt x="321273" y="107506"/>
                              <a:pt x="309910" y="17576"/>
                            </a:cubicBezTo>
                            <a:cubicBezTo>
                              <a:pt x="309910" y="17576"/>
                              <a:pt x="364688" y="27906"/>
                              <a:pt x="379165" y="34119"/>
                            </a:cubicBezTo>
                            <a:cubicBezTo>
                              <a:pt x="380882" y="34863"/>
                              <a:pt x="382841" y="36519"/>
                              <a:pt x="385029" y="38980"/>
                            </a:cubicBezTo>
                            <a:cubicBezTo>
                              <a:pt x="374957" y="84234"/>
                              <a:pt x="339395" y="248022"/>
                              <a:pt x="333425" y="331040"/>
                            </a:cubicBezTo>
                            <a:lnTo>
                              <a:pt x="312492" y="349649"/>
                            </a:lnTo>
                            <a:cubicBezTo>
                              <a:pt x="312492" y="349649"/>
                              <a:pt x="205503" y="213204"/>
                              <a:pt x="175273" y="185299"/>
                            </a:cubicBezTo>
                            <a:close/>
                          </a:path>
                        </a:pathLst>
                      </a:custGeom>
                      <a:solidFill>
                        <a:srgbClr val="D8D8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44" name="Graphic 3200">
                        <a:extLst>
                          <a:ext uri="{FF2B5EF4-FFF2-40B4-BE49-F238E27FC236}">
                            <a16:creationId xmlns:a16="http://schemas.microsoft.com/office/drawing/2014/main" id="{42029F02-75F0-1162-406C-88306F9FD1E8}"/>
                          </a:ext>
                        </a:extLst>
                      </p:cNvPr>
                      <p:cNvGrpSpPr/>
                      <p:nvPr/>
                    </p:nvGrpSpPr>
                    <p:grpSpPr>
                      <a:xfrm>
                        <a:off x="3270097" y="2600622"/>
                        <a:ext cx="371676" cy="701485"/>
                        <a:chOff x="3270097" y="2600622"/>
                        <a:chExt cx="371676" cy="701485"/>
                      </a:xfrm>
                    </p:grpSpPr>
                    <p:sp>
                      <p:nvSpPr>
                        <p:cNvPr id="2645" name="Freeform: Shape 2644">
                          <a:extLst>
                            <a:ext uri="{FF2B5EF4-FFF2-40B4-BE49-F238E27FC236}">
                              <a16:creationId xmlns:a16="http://schemas.microsoft.com/office/drawing/2014/main" id="{0D3C240A-9317-1AA1-83AE-17E419B39A26}"/>
                            </a:ext>
                          </a:extLst>
                        </p:cNvPr>
                        <p:cNvSpPr/>
                        <p:nvPr/>
                      </p:nvSpPr>
                      <p:spPr>
                        <a:xfrm>
                          <a:off x="3297547" y="2600622"/>
                          <a:ext cx="325441" cy="701485"/>
                        </a:xfrm>
                        <a:custGeom>
                          <a:avLst/>
                          <a:gdLst>
                            <a:gd name="connsiteX0" fmla="*/ 93834 w 325441"/>
                            <a:gd name="connsiteY0" fmla="*/ 100002 h 701485"/>
                            <a:gd name="connsiteX1" fmla="*/ 0 w 325441"/>
                            <a:gd name="connsiteY1" fmla="*/ 15692 h 701485"/>
                            <a:gd name="connsiteX2" fmla="*/ 89171 w 325441"/>
                            <a:gd name="connsiteY2" fmla="*/ 0 h 701485"/>
                            <a:gd name="connsiteX3" fmla="*/ 297970 w 325441"/>
                            <a:gd name="connsiteY3" fmla="*/ 309074 h 701485"/>
                            <a:gd name="connsiteX4" fmla="*/ 315546 w 325441"/>
                            <a:gd name="connsiteY4" fmla="*/ 390741 h 701485"/>
                            <a:gd name="connsiteX5" fmla="*/ 317870 w 325441"/>
                            <a:gd name="connsiteY5" fmla="*/ 526411 h 701485"/>
                            <a:gd name="connsiteX6" fmla="*/ 318933 w 325441"/>
                            <a:gd name="connsiteY6" fmla="*/ 698736 h 701485"/>
                            <a:gd name="connsiteX7" fmla="*/ 301722 w 325441"/>
                            <a:gd name="connsiteY7" fmla="*/ 701486 h 701485"/>
                            <a:gd name="connsiteX8" fmla="*/ 308558 w 325441"/>
                            <a:gd name="connsiteY8" fmla="*/ 582997 h 701485"/>
                            <a:gd name="connsiteX9" fmla="*/ 298486 w 325441"/>
                            <a:gd name="connsiteY9" fmla="*/ 466710 h 701485"/>
                            <a:gd name="connsiteX10" fmla="*/ 276778 w 325441"/>
                            <a:gd name="connsiteY10" fmla="*/ 332590 h 701485"/>
                            <a:gd name="connsiteX11" fmla="*/ 93819 w 325441"/>
                            <a:gd name="connsiteY11" fmla="*/ 100017 h 70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441" h="701485">
                              <a:moveTo>
                                <a:pt x="93834" y="100002"/>
                              </a:moveTo>
                              <a:cubicBezTo>
                                <a:pt x="52348" y="64197"/>
                                <a:pt x="16315" y="30929"/>
                                <a:pt x="0" y="15692"/>
                              </a:cubicBezTo>
                              <a:cubicBezTo>
                                <a:pt x="24928" y="8340"/>
                                <a:pt x="55812" y="3631"/>
                                <a:pt x="89171" y="0"/>
                              </a:cubicBezTo>
                              <a:cubicBezTo>
                                <a:pt x="89171" y="0"/>
                                <a:pt x="207007" y="136445"/>
                                <a:pt x="297970" y="309074"/>
                              </a:cubicBezTo>
                              <a:cubicBezTo>
                                <a:pt x="297970" y="309074"/>
                                <a:pt x="307783" y="337238"/>
                                <a:pt x="315546" y="390741"/>
                              </a:cubicBezTo>
                              <a:cubicBezTo>
                                <a:pt x="323293" y="444228"/>
                                <a:pt x="313221" y="472149"/>
                                <a:pt x="317870" y="526411"/>
                              </a:cubicBezTo>
                              <a:cubicBezTo>
                                <a:pt x="322078" y="575477"/>
                                <a:pt x="331982" y="646115"/>
                                <a:pt x="318933" y="698736"/>
                              </a:cubicBezTo>
                              <a:cubicBezTo>
                                <a:pt x="313328" y="699708"/>
                                <a:pt x="307570" y="700620"/>
                                <a:pt x="301722" y="701486"/>
                              </a:cubicBezTo>
                              <a:cubicBezTo>
                                <a:pt x="306462" y="677469"/>
                                <a:pt x="314148" y="628220"/>
                                <a:pt x="308558" y="582997"/>
                              </a:cubicBezTo>
                              <a:cubicBezTo>
                                <a:pt x="300810" y="520198"/>
                                <a:pt x="294597" y="502363"/>
                                <a:pt x="298486" y="466710"/>
                              </a:cubicBezTo>
                              <a:cubicBezTo>
                                <a:pt x="302360" y="431042"/>
                                <a:pt x="303135" y="382203"/>
                                <a:pt x="276778" y="332590"/>
                              </a:cubicBezTo>
                              <a:cubicBezTo>
                                <a:pt x="250422" y="282976"/>
                                <a:pt x="150405" y="148856"/>
                                <a:pt x="93819" y="100017"/>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6" name="Freeform: Shape 2645">
                          <a:extLst>
                            <a:ext uri="{FF2B5EF4-FFF2-40B4-BE49-F238E27FC236}">
                              <a16:creationId xmlns:a16="http://schemas.microsoft.com/office/drawing/2014/main" id="{08783CF8-5EF5-1126-B8F1-B20D4C2F8B8A}"/>
                            </a:ext>
                          </a:extLst>
                        </p:cNvPr>
                        <p:cNvSpPr/>
                        <p:nvPr/>
                      </p:nvSpPr>
                      <p:spPr>
                        <a:xfrm>
                          <a:off x="3584427" y="2617454"/>
                          <a:ext cx="57345" cy="362515"/>
                        </a:xfrm>
                        <a:custGeom>
                          <a:avLst/>
                          <a:gdLst>
                            <a:gd name="connsiteX0" fmla="*/ 11104 w 57345"/>
                            <a:gd name="connsiteY0" fmla="*/ 292228 h 362515"/>
                            <a:gd name="connsiteX1" fmla="*/ 0 w 57345"/>
                            <a:gd name="connsiteY1" fmla="*/ 0 h 362515"/>
                            <a:gd name="connsiteX2" fmla="*/ 57346 w 57345"/>
                            <a:gd name="connsiteY2" fmla="*/ 12639 h 362515"/>
                            <a:gd name="connsiteX3" fmla="*/ 27632 w 57345"/>
                            <a:gd name="connsiteY3" fmla="*/ 362516 h 362515"/>
                            <a:gd name="connsiteX4" fmla="*/ 11089 w 57345"/>
                            <a:gd name="connsiteY4" fmla="*/ 292228 h 362515"/>
                            <a:gd name="connsiteX5" fmla="*/ 11089 w 57345"/>
                            <a:gd name="connsiteY5" fmla="*/ 292228 h 36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45" h="362515">
                              <a:moveTo>
                                <a:pt x="11104" y="292228"/>
                              </a:moveTo>
                              <a:cubicBezTo>
                                <a:pt x="11104" y="292228"/>
                                <a:pt x="11378" y="89930"/>
                                <a:pt x="0" y="0"/>
                              </a:cubicBezTo>
                              <a:cubicBezTo>
                                <a:pt x="0" y="0"/>
                                <a:pt x="35805" y="6957"/>
                                <a:pt x="57346" y="12639"/>
                              </a:cubicBezTo>
                              <a:cubicBezTo>
                                <a:pt x="50646" y="66779"/>
                                <a:pt x="24700" y="282991"/>
                                <a:pt x="27632" y="362516"/>
                              </a:cubicBezTo>
                              <a:lnTo>
                                <a:pt x="11089" y="292228"/>
                              </a:lnTo>
                              <a:lnTo>
                                <a:pt x="11089" y="292228"/>
                              </a:ln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7" name="Freeform: Shape 2646">
                          <a:extLst>
                            <a:ext uri="{FF2B5EF4-FFF2-40B4-BE49-F238E27FC236}">
                              <a16:creationId xmlns:a16="http://schemas.microsoft.com/office/drawing/2014/main" id="{1FB00503-07C4-0B30-FAA3-A9B03755FFC0}"/>
                            </a:ext>
                          </a:extLst>
                        </p:cNvPr>
                        <p:cNvSpPr/>
                        <p:nvPr/>
                      </p:nvSpPr>
                      <p:spPr>
                        <a:xfrm>
                          <a:off x="3270097" y="2782792"/>
                          <a:ext cx="43566" cy="166993"/>
                        </a:xfrm>
                        <a:custGeom>
                          <a:avLst/>
                          <a:gdLst>
                            <a:gd name="connsiteX0" fmla="*/ 42200 w 43566"/>
                            <a:gd name="connsiteY0" fmla="*/ 0 h 166993"/>
                            <a:gd name="connsiteX1" fmla="*/ 33177 w 43566"/>
                            <a:gd name="connsiteY1" fmla="*/ 166994 h 166993"/>
                            <a:gd name="connsiteX2" fmla="*/ 0 w 43566"/>
                            <a:gd name="connsiteY2" fmla="*/ 64698 h 166993"/>
                            <a:gd name="connsiteX3" fmla="*/ 42200 w 43566"/>
                            <a:gd name="connsiteY3" fmla="*/ 15 h 166993"/>
                          </a:gdLst>
                          <a:ahLst/>
                          <a:cxnLst>
                            <a:cxn ang="0">
                              <a:pos x="connsiteX0" y="connsiteY0"/>
                            </a:cxn>
                            <a:cxn ang="0">
                              <a:pos x="connsiteX1" y="connsiteY1"/>
                            </a:cxn>
                            <a:cxn ang="0">
                              <a:pos x="connsiteX2" y="connsiteY2"/>
                            </a:cxn>
                            <a:cxn ang="0">
                              <a:pos x="connsiteX3" y="connsiteY3"/>
                            </a:cxn>
                          </a:cxnLst>
                          <a:rect l="l" t="t" r="r" b="b"/>
                          <a:pathLst>
                            <a:path w="43566" h="166993">
                              <a:moveTo>
                                <a:pt x="42200" y="0"/>
                              </a:moveTo>
                              <a:cubicBezTo>
                                <a:pt x="42200" y="0"/>
                                <a:pt x="48748" y="79099"/>
                                <a:pt x="33177" y="166994"/>
                              </a:cubicBezTo>
                              <a:cubicBezTo>
                                <a:pt x="22908" y="132662"/>
                                <a:pt x="10740" y="96903"/>
                                <a:pt x="0" y="64698"/>
                              </a:cubicBezTo>
                              <a:lnTo>
                                <a:pt x="42200" y="15"/>
                              </a:lnTo>
                              <a:close/>
                            </a:path>
                          </a:pathLst>
                        </a:custGeom>
                        <a:solidFill>
                          <a:srgbClr val="FFC47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31" name="Graphic 3200">
                      <a:extLst>
                        <a:ext uri="{FF2B5EF4-FFF2-40B4-BE49-F238E27FC236}">
                          <a16:creationId xmlns:a16="http://schemas.microsoft.com/office/drawing/2014/main" id="{68EF9A1A-E630-F252-B714-828314901540}"/>
                        </a:ext>
                      </a:extLst>
                    </p:cNvPr>
                    <p:cNvGrpSpPr/>
                    <p:nvPr/>
                  </p:nvGrpSpPr>
                  <p:grpSpPr>
                    <a:xfrm>
                      <a:off x="3188400" y="2611446"/>
                      <a:ext cx="350665" cy="1680422"/>
                      <a:chOff x="3188400" y="2611446"/>
                      <a:chExt cx="350665" cy="1680422"/>
                    </a:xfrm>
                  </p:grpSpPr>
                  <p:sp>
                    <p:nvSpPr>
                      <p:cNvPr id="2637" name="Freeform: Shape 2636">
                        <a:extLst>
                          <a:ext uri="{FF2B5EF4-FFF2-40B4-BE49-F238E27FC236}">
                            <a16:creationId xmlns:a16="http://schemas.microsoft.com/office/drawing/2014/main" id="{B49C264F-9E65-F070-1AD2-EB38FF6C3A90}"/>
                          </a:ext>
                        </a:extLst>
                      </p:cNvPr>
                      <p:cNvSpPr/>
                      <p:nvPr/>
                    </p:nvSpPr>
                    <p:spPr>
                      <a:xfrm>
                        <a:off x="3188400" y="2611446"/>
                        <a:ext cx="350665" cy="1680422"/>
                      </a:xfrm>
                      <a:custGeom>
                        <a:avLst/>
                        <a:gdLst>
                          <a:gd name="connsiteX0" fmla="*/ 170868 w 350665"/>
                          <a:gd name="connsiteY0" fmla="*/ 114 h 1680422"/>
                          <a:gd name="connsiteX1" fmla="*/ 259613 w 350665"/>
                          <a:gd name="connsiteY1" fmla="*/ 167472 h 1680422"/>
                          <a:gd name="connsiteX2" fmla="*/ 349027 w 350665"/>
                          <a:gd name="connsiteY2" fmla="*/ 392814 h 1680422"/>
                          <a:gd name="connsiteX3" fmla="*/ 294765 w 350665"/>
                          <a:gd name="connsiteY3" fmla="*/ 792335 h 1680422"/>
                          <a:gd name="connsiteX4" fmla="*/ 243086 w 350665"/>
                          <a:gd name="connsiteY4" fmla="*/ 1676127 h 1680422"/>
                          <a:gd name="connsiteX5" fmla="*/ 28073 w 350665"/>
                          <a:gd name="connsiteY5" fmla="*/ 1663716 h 1680422"/>
                          <a:gd name="connsiteX6" fmla="*/ 5333 w 350665"/>
                          <a:gd name="connsiteY6" fmla="*/ 1308127 h 1680422"/>
                          <a:gd name="connsiteX7" fmla="*/ 65291 w 350665"/>
                          <a:gd name="connsiteY7" fmla="*/ 789221 h 1680422"/>
                          <a:gd name="connsiteX8" fmla="*/ 131964 w 350665"/>
                          <a:gd name="connsiteY8" fmla="*/ 496173 h 1680422"/>
                          <a:gd name="connsiteX9" fmla="*/ 86999 w 350665"/>
                          <a:gd name="connsiteY9" fmla="*/ 285308 h 1680422"/>
                          <a:gd name="connsiteX10" fmla="*/ 50814 w 350665"/>
                          <a:gd name="connsiteY10" fmla="*/ 31544 h 1680422"/>
                          <a:gd name="connsiteX11" fmla="*/ 170868 w 350665"/>
                          <a:gd name="connsiteY11" fmla="*/ 114 h 168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665" h="1680422">
                            <a:moveTo>
                              <a:pt x="170868" y="114"/>
                            </a:moveTo>
                            <a:cubicBezTo>
                              <a:pt x="170868" y="114"/>
                              <a:pt x="226026" y="108030"/>
                              <a:pt x="259613" y="167472"/>
                            </a:cubicBezTo>
                            <a:cubicBezTo>
                              <a:pt x="293200" y="226914"/>
                              <a:pt x="336616" y="314778"/>
                              <a:pt x="349027" y="392814"/>
                            </a:cubicBezTo>
                            <a:cubicBezTo>
                              <a:pt x="361438" y="470850"/>
                              <a:pt x="299413" y="654340"/>
                              <a:pt x="294765" y="792335"/>
                            </a:cubicBezTo>
                            <a:cubicBezTo>
                              <a:pt x="290117" y="930329"/>
                              <a:pt x="246185" y="1511776"/>
                              <a:pt x="243086" y="1676127"/>
                            </a:cubicBezTo>
                            <a:cubicBezTo>
                              <a:pt x="243086" y="1676127"/>
                              <a:pt x="128865" y="1691637"/>
                              <a:pt x="28073" y="1663716"/>
                            </a:cubicBezTo>
                            <a:cubicBezTo>
                              <a:pt x="28073" y="1663716"/>
                              <a:pt x="16179" y="1455433"/>
                              <a:pt x="5333" y="1308127"/>
                            </a:cubicBezTo>
                            <a:cubicBezTo>
                              <a:pt x="-5514" y="1160821"/>
                              <a:pt x="-6030" y="981477"/>
                              <a:pt x="65291" y="789221"/>
                            </a:cubicBezTo>
                            <a:cubicBezTo>
                              <a:pt x="90098" y="727196"/>
                              <a:pt x="133514" y="558197"/>
                              <a:pt x="131964" y="496173"/>
                            </a:cubicBezTo>
                            <a:cubicBezTo>
                              <a:pt x="130415" y="434148"/>
                              <a:pt x="116454" y="362827"/>
                              <a:pt x="86999" y="285308"/>
                            </a:cubicBezTo>
                            <a:cubicBezTo>
                              <a:pt x="57544" y="207789"/>
                              <a:pt x="-9980" y="83223"/>
                              <a:pt x="50814" y="31544"/>
                            </a:cubicBezTo>
                            <a:cubicBezTo>
                              <a:pt x="92164" y="-3608"/>
                              <a:pt x="170868" y="114"/>
                              <a:pt x="170868" y="114"/>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8" name="Freeform: Shape 2637">
                        <a:extLst>
                          <a:ext uri="{FF2B5EF4-FFF2-40B4-BE49-F238E27FC236}">
                            <a16:creationId xmlns:a16="http://schemas.microsoft.com/office/drawing/2014/main" id="{AE0659FA-6733-DB7F-8AE6-7964353E63FA}"/>
                          </a:ext>
                        </a:extLst>
                      </p:cNvPr>
                      <p:cNvSpPr/>
                      <p:nvPr/>
                    </p:nvSpPr>
                    <p:spPr>
                      <a:xfrm>
                        <a:off x="3253265" y="2779435"/>
                        <a:ext cx="58863" cy="218581"/>
                      </a:xfrm>
                      <a:custGeom>
                        <a:avLst/>
                        <a:gdLst>
                          <a:gd name="connsiteX0" fmla="*/ 54171 w 58863"/>
                          <a:gd name="connsiteY0" fmla="*/ 0 h 218581"/>
                          <a:gd name="connsiteX1" fmla="*/ 52895 w 58863"/>
                          <a:gd name="connsiteY1" fmla="*/ 218582 h 218581"/>
                          <a:gd name="connsiteX2" fmla="*/ 22118 w 58863"/>
                          <a:gd name="connsiteY2" fmla="*/ 117335 h 218581"/>
                          <a:gd name="connsiteX3" fmla="*/ 0 w 58863"/>
                          <a:gd name="connsiteY3" fmla="*/ 63209 h 218581"/>
                          <a:gd name="connsiteX4" fmla="*/ 54171 w 58863"/>
                          <a:gd name="connsiteY4" fmla="*/ 15 h 218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63" h="218581">
                            <a:moveTo>
                              <a:pt x="54171" y="0"/>
                            </a:moveTo>
                            <a:cubicBezTo>
                              <a:pt x="54171" y="0"/>
                              <a:pt x="65534" y="123198"/>
                              <a:pt x="52895" y="218582"/>
                            </a:cubicBezTo>
                            <a:cubicBezTo>
                              <a:pt x="45618" y="186286"/>
                              <a:pt x="35471" y="152456"/>
                              <a:pt x="22118" y="117335"/>
                            </a:cubicBezTo>
                            <a:cubicBezTo>
                              <a:pt x="15920" y="101004"/>
                              <a:pt x="8021" y="82593"/>
                              <a:pt x="0" y="63209"/>
                            </a:cubicBezTo>
                            <a:lnTo>
                              <a:pt x="54171" y="15"/>
                            </a:ln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39" name="Graphic 3200">
                        <a:extLst>
                          <a:ext uri="{FF2B5EF4-FFF2-40B4-BE49-F238E27FC236}">
                            <a16:creationId xmlns:a16="http://schemas.microsoft.com/office/drawing/2014/main" id="{CA1E08AA-C677-B1E9-E517-8D5C71B01698}"/>
                          </a:ext>
                        </a:extLst>
                      </p:cNvPr>
                      <p:cNvGrpSpPr/>
                      <p:nvPr/>
                    </p:nvGrpSpPr>
                    <p:grpSpPr>
                      <a:xfrm>
                        <a:off x="3259448" y="2611448"/>
                        <a:ext cx="279615" cy="459758"/>
                        <a:chOff x="3259448" y="2611448"/>
                        <a:chExt cx="279615" cy="459758"/>
                      </a:xfrm>
                    </p:grpSpPr>
                    <p:sp>
                      <p:nvSpPr>
                        <p:cNvPr id="2640" name="Freeform: Shape 2639">
                          <a:extLst>
                            <a:ext uri="{FF2B5EF4-FFF2-40B4-BE49-F238E27FC236}">
                              <a16:creationId xmlns:a16="http://schemas.microsoft.com/office/drawing/2014/main" id="{7084FB22-716F-CB4D-B02E-4FC5B7E0A198}"/>
                            </a:ext>
                          </a:extLst>
                        </p:cNvPr>
                        <p:cNvSpPr/>
                        <p:nvPr/>
                      </p:nvSpPr>
                      <p:spPr>
                        <a:xfrm>
                          <a:off x="3259448" y="2611462"/>
                          <a:ext cx="279615" cy="459744"/>
                        </a:xfrm>
                        <a:custGeom>
                          <a:avLst/>
                          <a:gdLst>
                            <a:gd name="connsiteX0" fmla="*/ 15 w 279615"/>
                            <a:gd name="connsiteY0" fmla="*/ 18448 h 459744"/>
                            <a:gd name="connsiteX1" fmla="*/ 99819 w 279615"/>
                            <a:gd name="connsiteY1" fmla="*/ 113 h 459744"/>
                            <a:gd name="connsiteX2" fmla="*/ 188565 w 279615"/>
                            <a:gd name="connsiteY2" fmla="*/ 167471 h 459744"/>
                            <a:gd name="connsiteX3" fmla="*/ 277978 w 279615"/>
                            <a:gd name="connsiteY3" fmla="*/ 392813 h 459744"/>
                            <a:gd name="connsiteX4" fmla="*/ 276551 w 279615"/>
                            <a:gd name="connsiteY4" fmla="*/ 459744 h 459744"/>
                            <a:gd name="connsiteX5" fmla="*/ 118276 w 279615"/>
                            <a:gd name="connsiteY5" fmla="*/ 213986 h 459744"/>
                            <a:gd name="connsiteX6" fmla="*/ 150831 w 279615"/>
                            <a:gd name="connsiteY6" fmla="*/ 192278 h 459744"/>
                            <a:gd name="connsiteX7" fmla="*/ 0 w 279615"/>
                            <a:gd name="connsiteY7" fmla="*/ 18448 h 459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615" h="459744">
                              <a:moveTo>
                                <a:pt x="15" y="18448"/>
                              </a:moveTo>
                              <a:cubicBezTo>
                                <a:pt x="42519" y="-2591"/>
                                <a:pt x="99819" y="113"/>
                                <a:pt x="99819" y="113"/>
                              </a:cubicBezTo>
                              <a:cubicBezTo>
                                <a:pt x="99819" y="113"/>
                                <a:pt x="154978" y="108029"/>
                                <a:pt x="188565" y="167471"/>
                              </a:cubicBezTo>
                              <a:cubicBezTo>
                                <a:pt x="222152" y="226913"/>
                                <a:pt x="265568" y="314777"/>
                                <a:pt x="277978" y="392813"/>
                              </a:cubicBezTo>
                              <a:cubicBezTo>
                                <a:pt x="280774" y="410359"/>
                                <a:pt x="279786" y="433251"/>
                                <a:pt x="276551" y="459744"/>
                              </a:cubicBezTo>
                              <a:cubicBezTo>
                                <a:pt x="276551" y="459744"/>
                                <a:pt x="240761" y="295394"/>
                                <a:pt x="118276" y="213986"/>
                              </a:cubicBezTo>
                              <a:cubicBezTo>
                                <a:pt x="118276" y="213986"/>
                                <a:pt x="129913" y="199251"/>
                                <a:pt x="150831" y="192278"/>
                              </a:cubicBezTo>
                              <a:cubicBezTo>
                                <a:pt x="150831" y="192278"/>
                                <a:pt x="82623" y="76858"/>
                                <a:pt x="0" y="18448"/>
                              </a:cubicBez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1" name="Freeform: Shape 2640">
                          <a:extLst>
                            <a:ext uri="{FF2B5EF4-FFF2-40B4-BE49-F238E27FC236}">
                              <a16:creationId xmlns:a16="http://schemas.microsoft.com/office/drawing/2014/main" id="{D508F6EA-062E-8F57-24DD-8F02F2E0B9A2}"/>
                            </a:ext>
                          </a:extLst>
                        </p:cNvPr>
                        <p:cNvSpPr/>
                        <p:nvPr/>
                      </p:nvSpPr>
                      <p:spPr>
                        <a:xfrm>
                          <a:off x="3282614" y="2611448"/>
                          <a:ext cx="256449" cy="459743"/>
                        </a:xfrm>
                        <a:custGeom>
                          <a:avLst/>
                          <a:gdLst>
                            <a:gd name="connsiteX0" fmla="*/ 0 w 256449"/>
                            <a:gd name="connsiteY0" fmla="*/ 9485 h 459743"/>
                            <a:gd name="connsiteX1" fmla="*/ 76653 w 256449"/>
                            <a:gd name="connsiteY1" fmla="*/ 112 h 459743"/>
                            <a:gd name="connsiteX2" fmla="*/ 165399 w 256449"/>
                            <a:gd name="connsiteY2" fmla="*/ 167470 h 459743"/>
                            <a:gd name="connsiteX3" fmla="*/ 254812 w 256449"/>
                            <a:gd name="connsiteY3" fmla="*/ 392812 h 459743"/>
                            <a:gd name="connsiteX4" fmla="*/ 253384 w 256449"/>
                            <a:gd name="connsiteY4" fmla="*/ 459743 h 459743"/>
                            <a:gd name="connsiteX5" fmla="*/ 113719 w 256449"/>
                            <a:gd name="connsiteY5" fmla="*/ 213210 h 459743"/>
                            <a:gd name="connsiteX6" fmla="*/ 142400 w 256449"/>
                            <a:gd name="connsiteY6" fmla="*/ 196151 h 459743"/>
                            <a:gd name="connsiteX7" fmla="*/ 0 w 256449"/>
                            <a:gd name="connsiteY7" fmla="*/ 9470 h 45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49" h="459743">
                              <a:moveTo>
                                <a:pt x="0" y="9485"/>
                              </a:moveTo>
                              <a:cubicBezTo>
                                <a:pt x="37552" y="-1726"/>
                                <a:pt x="76653" y="112"/>
                                <a:pt x="76653" y="112"/>
                              </a:cubicBezTo>
                              <a:cubicBezTo>
                                <a:pt x="76653" y="112"/>
                                <a:pt x="131812" y="108028"/>
                                <a:pt x="165399" y="167470"/>
                              </a:cubicBezTo>
                              <a:cubicBezTo>
                                <a:pt x="198986" y="226912"/>
                                <a:pt x="242401" y="314776"/>
                                <a:pt x="254812" y="392812"/>
                              </a:cubicBezTo>
                              <a:cubicBezTo>
                                <a:pt x="257607" y="410358"/>
                                <a:pt x="256620" y="433251"/>
                                <a:pt x="253384" y="459743"/>
                              </a:cubicBezTo>
                              <a:cubicBezTo>
                                <a:pt x="241642" y="404707"/>
                                <a:pt x="211397" y="291519"/>
                                <a:pt x="113719" y="213210"/>
                              </a:cubicBezTo>
                              <a:cubicBezTo>
                                <a:pt x="113719" y="213210"/>
                                <a:pt x="132328" y="200799"/>
                                <a:pt x="142400" y="196151"/>
                              </a:cubicBezTo>
                              <a:cubicBezTo>
                                <a:pt x="142400" y="196151"/>
                                <a:pt x="58789" y="59736"/>
                                <a:pt x="0" y="9470"/>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32" name="Graphic 3200">
                      <a:extLst>
                        <a:ext uri="{FF2B5EF4-FFF2-40B4-BE49-F238E27FC236}">
                          <a16:creationId xmlns:a16="http://schemas.microsoft.com/office/drawing/2014/main" id="{CF515C7C-18EC-DBBE-26CE-3BABBF9F68F7}"/>
                        </a:ext>
                      </a:extLst>
                    </p:cNvPr>
                    <p:cNvGrpSpPr/>
                    <p:nvPr/>
                  </p:nvGrpSpPr>
                  <p:grpSpPr>
                    <a:xfrm>
                      <a:off x="3617893" y="2624090"/>
                      <a:ext cx="250976" cy="1674501"/>
                      <a:chOff x="3617893" y="2624090"/>
                      <a:chExt cx="250976" cy="1674501"/>
                    </a:xfrm>
                  </p:grpSpPr>
                  <p:sp>
                    <p:nvSpPr>
                      <p:cNvPr id="2633" name="Freeform: Shape 2632">
                        <a:extLst>
                          <a:ext uri="{FF2B5EF4-FFF2-40B4-BE49-F238E27FC236}">
                            <a16:creationId xmlns:a16="http://schemas.microsoft.com/office/drawing/2014/main" id="{97D98B80-CBDB-DAA3-9AA9-654C421EF4A1}"/>
                          </a:ext>
                        </a:extLst>
                      </p:cNvPr>
                      <p:cNvSpPr/>
                      <p:nvPr/>
                    </p:nvSpPr>
                    <p:spPr>
                      <a:xfrm>
                        <a:off x="3617908" y="2624090"/>
                        <a:ext cx="250961" cy="1674501"/>
                      </a:xfrm>
                      <a:custGeom>
                        <a:avLst/>
                        <a:gdLst>
                          <a:gd name="connsiteX0" fmla="*/ 0 w 250961"/>
                          <a:gd name="connsiteY0" fmla="*/ 321 h 1674501"/>
                          <a:gd name="connsiteX1" fmla="*/ 42018 w 250961"/>
                          <a:gd name="connsiteY1" fmla="*/ 151729 h 1674501"/>
                          <a:gd name="connsiteX2" fmla="*/ 102493 w 250961"/>
                          <a:gd name="connsiteY2" fmla="*/ 402911 h 1674501"/>
                          <a:gd name="connsiteX3" fmla="*/ 104043 w 250961"/>
                          <a:gd name="connsiteY3" fmla="*/ 762631 h 1674501"/>
                          <a:gd name="connsiteX4" fmla="*/ 154689 w 250961"/>
                          <a:gd name="connsiteY4" fmla="*/ 1214865 h 1674501"/>
                          <a:gd name="connsiteX5" fmla="*/ 146425 w 250961"/>
                          <a:gd name="connsiteY5" fmla="*/ 1669681 h 1674501"/>
                          <a:gd name="connsiteX6" fmla="*/ 236355 w 250961"/>
                          <a:gd name="connsiteY6" fmla="*/ 1669681 h 1674501"/>
                          <a:gd name="connsiteX7" fmla="*/ 245136 w 250961"/>
                          <a:gd name="connsiteY7" fmla="*/ 1136298 h 1674501"/>
                          <a:gd name="connsiteX8" fmla="*/ 167617 w 250961"/>
                          <a:gd name="connsiteY8" fmla="*/ 615325 h 1674501"/>
                          <a:gd name="connsiteX9" fmla="*/ 175364 w 250961"/>
                          <a:gd name="connsiteY9" fmla="*/ 412208 h 1674501"/>
                          <a:gd name="connsiteX10" fmla="*/ 181562 w 250961"/>
                          <a:gd name="connsiteY10" fmla="*/ 257154 h 1674501"/>
                          <a:gd name="connsiteX11" fmla="*/ 59594 w 250961"/>
                          <a:gd name="connsiteY11" fmla="*/ 26252 h 1674501"/>
                          <a:gd name="connsiteX12" fmla="*/ 0 w 250961"/>
                          <a:gd name="connsiteY12" fmla="*/ 306 h 167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961" h="1674501">
                            <a:moveTo>
                              <a:pt x="0" y="321"/>
                            </a:moveTo>
                            <a:cubicBezTo>
                              <a:pt x="0" y="321"/>
                              <a:pt x="10998" y="81957"/>
                              <a:pt x="42018" y="151729"/>
                            </a:cubicBezTo>
                            <a:cubicBezTo>
                              <a:pt x="73023" y="221501"/>
                              <a:pt x="113339" y="311431"/>
                              <a:pt x="102493" y="402911"/>
                            </a:cubicBezTo>
                            <a:cubicBezTo>
                              <a:pt x="91647" y="494390"/>
                              <a:pt x="83884" y="616890"/>
                              <a:pt x="104043" y="762631"/>
                            </a:cubicBezTo>
                            <a:cubicBezTo>
                              <a:pt x="115026" y="842004"/>
                              <a:pt x="145240" y="1021728"/>
                              <a:pt x="154689" y="1214865"/>
                            </a:cubicBezTo>
                            <a:cubicBezTo>
                              <a:pt x="162604" y="1376390"/>
                              <a:pt x="151362" y="1548229"/>
                              <a:pt x="146425" y="1669681"/>
                            </a:cubicBezTo>
                            <a:cubicBezTo>
                              <a:pt x="146425" y="1669681"/>
                              <a:pt x="189841" y="1680527"/>
                              <a:pt x="236355" y="1669681"/>
                            </a:cubicBezTo>
                            <a:cubicBezTo>
                              <a:pt x="236355" y="1669681"/>
                              <a:pt x="262195" y="1311510"/>
                              <a:pt x="245136" y="1136298"/>
                            </a:cubicBezTo>
                            <a:cubicBezTo>
                              <a:pt x="228076" y="961086"/>
                              <a:pt x="184661" y="692845"/>
                              <a:pt x="167617" y="615325"/>
                            </a:cubicBezTo>
                            <a:cubicBezTo>
                              <a:pt x="150557" y="537806"/>
                              <a:pt x="159869" y="455623"/>
                              <a:pt x="175364" y="412208"/>
                            </a:cubicBezTo>
                            <a:cubicBezTo>
                              <a:pt x="190874" y="368792"/>
                              <a:pt x="200171" y="303669"/>
                              <a:pt x="181562" y="257154"/>
                            </a:cubicBezTo>
                            <a:cubicBezTo>
                              <a:pt x="162953" y="210639"/>
                              <a:pt x="71002" y="45286"/>
                              <a:pt x="59594" y="26252"/>
                            </a:cubicBezTo>
                            <a:cubicBezTo>
                              <a:pt x="40985" y="-4752"/>
                              <a:pt x="0" y="306"/>
                              <a:pt x="0" y="306"/>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34" name="Graphic 3200">
                        <a:extLst>
                          <a:ext uri="{FF2B5EF4-FFF2-40B4-BE49-F238E27FC236}">
                            <a16:creationId xmlns:a16="http://schemas.microsoft.com/office/drawing/2014/main" id="{F958B383-1C8C-1872-BE25-3A9CCD276D86}"/>
                          </a:ext>
                        </a:extLst>
                      </p:cNvPr>
                      <p:cNvGrpSpPr/>
                      <p:nvPr/>
                    </p:nvGrpSpPr>
                    <p:grpSpPr>
                      <a:xfrm>
                        <a:off x="3617893" y="2624107"/>
                        <a:ext cx="120596" cy="391940"/>
                        <a:chOff x="3617893" y="2624107"/>
                        <a:chExt cx="120596" cy="391940"/>
                      </a:xfrm>
                    </p:grpSpPr>
                    <p:sp>
                      <p:nvSpPr>
                        <p:cNvPr id="2635" name="Freeform: Shape 2634">
                          <a:extLst>
                            <a:ext uri="{FF2B5EF4-FFF2-40B4-BE49-F238E27FC236}">
                              <a16:creationId xmlns:a16="http://schemas.microsoft.com/office/drawing/2014/main" id="{FFE3FB0E-74AF-EC46-54BD-D84CB2EB49C6}"/>
                            </a:ext>
                          </a:extLst>
                        </p:cNvPr>
                        <p:cNvSpPr/>
                        <p:nvPr/>
                      </p:nvSpPr>
                      <p:spPr>
                        <a:xfrm>
                          <a:off x="3617893" y="2624108"/>
                          <a:ext cx="120596" cy="391925"/>
                        </a:xfrm>
                        <a:custGeom>
                          <a:avLst/>
                          <a:gdLst>
                            <a:gd name="connsiteX0" fmla="*/ 15 w 120596"/>
                            <a:gd name="connsiteY0" fmla="*/ 304 h 391925"/>
                            <a:gd name="connsiteX1" fmla="*/ 50829 w 120596"/>
                            <a:gd name="connsiteY1" fmla="*/ 15419 h 391925"/>
                            <a:gd name="connsiteX2" fmla="*/ 67873 w 120596"/>
                            <a:gd name="connsiteY2" fmla="*/ 142400 h 391925"/>
                            <a:gd name="connsiteX3" fmla="*/ 94746 w 120596"/>
                            <a:gd name="connsiteY3" fmla="*/ 140850 h 391925"/>
                            <a:gd name="connsiteX4" fmla="*/ 120585 w 120596"/>
                            <a:gd name="connsiteY4" fmla="*/ 285559 h 391925"/>
                            <a:gd name="connsiteX5" fmla="*/ 103526 w 120596"/>
                            <a:gd name="connsiteY5" fmla="*/ 391926 h 391925"/>
                            <a:gd name="connsiteX6" fmla="*/ 42018 w 120596"/>
                            <a:gd name="connsiteY6" fmla="*/ 151696 h 391925"/>
                            <a:gd name="connsiteX7" fmla="*/ 0 w 120596"/>
                            <a:gd name="connsiteY7" fmla="*/ 289 h 39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596" h="391925">
                              <a:moveTo>
                                <a:pt x="15" y="304"/>
                              </a:moveTo>
                              <a:cubicBezTo>
                                <a:pt x="15" y="304"/>
                                <a:pt x="30503" y="-3448"/>
                                <a:pt x="50829" y="15419"/>
                              </a:cubicBezTo>
                              <a:cubicBezTo>
                                <a:pt x="52196" y="55295"/>
                                <a:pt x="67873" y="142400"/>
                                <a:pt x="67873" y="142400"/>
                              </a:cubicBezTo>
                              <a:cubicBezTo>
                                <a:pt x="76137" y="140850"/>
                                <a:pt x="94746" y="140850"/>
                                <a:pt x="94746" y="140850"/>
                              </a:cubicBezTo>
                              <a:cubicBezTo>
                                <a:pt x="95779" y="184266"/>
                                <a:pt x="120069" y="242143"/>
                                <a:pt x="120585" y="285559"/>
                              </a:cubicBezTo>
                              <a:cubicBezTo>
                                <a:pt x="121102" y="328974"/>
                                <a:pt x="103526" y="391926"/>
                                <a:pt x="103526" y="391926"/>
                              </a:cubicBezTo>
                              <a:cubicBezTo>
                                <a:pt x="110104" y="304243"/>
                                <a:pt x="71792" y="218688"/>
                                <a:pt x="42018" y="151696"/>
                              </a:cubicBezTo>
                              <a:cubicBezTo>
                                <a:pt x="11013" y="81925"/>
                                <a:pt x="0" y="289"/>
                                <a:pt x="0" y="289"/>
                              </a:cubicBez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6" name="Freeform: Shape 2635">
                          <a:extLst>
                            <a:ext uri="{FF2B5EF4-FFF2-40B4-BE49-F238E27FC236}">
                              <a16:creationId xmlns:a16="http://schemas.microsoft.com/office/drawing/2014/main" id="{7F796062-A61E-752B-F7BD-58BCFEEF76BC}"/>
                            </a:ext>
                          </a:extLst>
                        </p:cNvPr>
                        <p:cNvSpPr/>
                        <p:nvPr/>
                      </p:nvSpPr>
                      <p:spPr>
                        <a:xfrm>
                          <a:off x="3617908" y="2624107"/>
                          <a:ext cx="116531" cy="391940"/>
                        </a:xfrm>
                        <a:custGeom>
                          <a:avLst/>
                          <a:gdLst>
                            <a:gd name="connsiteX0" fmla="*/ 42018 w 116531"/>
                            <a:gd name="connsiteY0" fmla="*/ 151712 h 391940"/>
                            <a:gd name="connsiteX1" fmla="*/ 0 w 116531"/>
                            <a:gd name="connsiteY1" fmla="*/ 304 h 391940"/>
                            <a:gd name="connsiteX2" fmla="*/ 42611 w 116531"/>
                            <a:gd name="connsiteY2" fmla="*/ 9237 h 391940"/>
                            <a:gd name="connsiteX3" fmla="*/ 64759 w 116531"/>
                            <a:gd name="connsiteY3" fmla="*/ 148097 h 391940"/>
                            <a:gd name="connsiteX4" fmla="*/ 89566 w 116531"/>
                            <a:gd name="connsiteY4" fmla="*/ 143965 h 391940"/>
                            <a:gd name="connsiteX5" fmla="*/ 116438 w 116531"/>
                            <a:gd name="connsiteY5" fmla="*/ 296952 h 391940"/>
                            <a:gd name="connsiteX6" fmla="*/ 103511 w 116531"/>
                            <a:gd name="connsiteY6" fmla="*/ 391941 h 391940"/>
                            <a:gd name="connsiteX7" fmla="*/ 42003 w 116531"/>
                            <a:gd name="connsiteY7" fmla="*/ 151712 h 39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31" h="391940">
                              <a:moveTo>
                                <a:pt x="42018" y="151712"/>
                              </a:moveTo>
                              <a:cubicBezTo>
                                <a:pt x="11013" y="81940"/>
                                <a:pt x="0" y="304"/>
                                <a:pt x="0" y="304"/>
                              </a:cubicBezTo>
                              <a:cubicBezTo>
                                <a:pt x="0" y="304"/>
                                <a:pt x="23197" y="-2552"/>
                                <a:pt x="42611" y="9237"/>
                              </a:cubicBezTo>
                              <a:cubicBezTo>
                                <a:pt x="41988" y="62481"/>
                                <a:pt x="64759" y="148097"/>
                                <a:pt x="64759" y="148097"/>
                              </a:cubicBezTo>
                              <a:cubicBezTo>
                                <a:pt x="76653" y="146031"/>
                                <a:pt x="89566" y="143965"/>
                                <a:pt x="89566" y="143965"/>
                              </a:cubicBezTo>
                              <a:cubicBezTo>
                                <a:pt x="85434" y="183248"/>
                                <a:pt x="118504" y="252504"/>
                                <a:pt x="116438" y="296952"/>
                              </a:cubicBezTo>
                              <a:cubicBezTo>
                                <a:pt x="115223" y="322959"/>
                                <a:pt x="108721" y="363093"/>
                                <a:pt x="103511" y="391941"/>
                              </a:cubicBezTo>
                              <a:cubicBezTo>
                                <a:pt x="110089" y="304259"/>
                                <a:pt x="71777" y="218704"/>
                                <a:pt x="42003" y="151712"/>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2617" name="Graphic 3200">
                  <a:extLst>
                    <a:ext uri="{FF2B5EF4-FFF2-40B4-BE49-F238E27FC236}">
                      <a16:creationId xmlns:a16="http://schemas.microsoft.com/office/drawing/2014/main" id="{788B21B4-DC8A-1EF5-40CE-F1D856780333}"/>
                    </a:ext>
                  </a:extLst>
                </p:cNvPr>
                <p:cNvGrpSpPr/>
                <p:nvPr/>
              </p:nvGrpSpPr>
              <p:grpSpPr>
                <a:xfrm>
                  <a:off x="3375502" y="2564690"/>
                  <a:ext cx="426091" cy="631841"/>
                  <a:chOff x="3375502" y="2564690"/>
                  <a:chExt cx="426091" cy="631841"/>
                </a:xfrm>
              </p:grpSpPr>
              <p:grpSp>
                <p:nvGrpSpPr>
                  <p:cNvPr id="2618" name="Graphic 3200">
                    <a:extLst>
                      <a:ext uri="{FF2B5EF4-FFF2-40B4-BE49-F238E27FC236}">
                        <a16:creationId xmlns:a16="http://schemas.microsoft.com/office/drawing/2014/main" id="{73DD73CC-B873-F59C-7ED7-14853FA4CAB5}"/>
                      </a:ext>
                    </a:extLst>
                  </p:cNvPr>
                  <p:cNvGrpSpPr/>
                  <p:nvPr/>
                </p:nvGrpSpPr>
                <p:grpSpPr>
                  <a:xfrm>
                    <a:off x="3375502" y="2564690"/>
                    <a:ext cx="176879" cy="379211"/>
                    <a:chOff x="3375502" y="2564690"/>
                    <a:chExt cx="176879" cy="379211"/>
                  </a:xfrm>
                </p:grpSpPr>
                <p:sp>
                  <p:nvSpPr>
                    <p:cNvPr id="2624" name="Freeform: Shape 2623">
                      <a:extLst>
                        <a:ext uri="{FF2B5EF4-FFF2-40B4-BE49-F238E27FC236}">
                          <a16:creationId xmlns:a16="http://schemas.microsoft.com/office/drawing/2014/main" id="{A393A79F-C5F4-EA55-9034-639C2620AE96}"/>
                        </a:ext>
                      </a:extLst>
                    </p:cNvPr>
                    <p:cNvSpPr/>
                    <p:nvPr/>
                  </p:nvSpPr>
                  <p:spPr>
                    <a:xfrm>
                      <a:off x="3375502" y="2564690"/>
                      <a:ext cx="134272" cy="309596"/>
                    </a:xfrm>
                    <a:custGeom>
                      <a:avLst/>
                      <a:gdLst>
                        <a:gd name="connsiteX0" fmla="*/ 130388 w 134272"/>
                        <a:gd name="connsiteY0" fmla="*/ 309582 h 309596"/>
                        <a:gd name="connsiteX1" fmla="*/ 130844 w 134272"/>
                        <a:gd name="connsiteY1" fmla="*/ 309551 h 309596"/>
                        <a:gd name="connsiteX2" fmla="*/ 134246 w 134272"/>
                        <a:gd name="connsiteY2" fmla="*/ 305252 h 309596"/>
                        <a:gd name="connsiteX3" fmla="*/ 71280 w 134272"/>
                        <a:gd name="connsiteY3" fmla="*/ 197549 h 309596"/>
                        <a:gd name="connsiteX4" fmla="*/ 8162 w 134272"/>
                        <a:gd name="connsiteY4" fmla="*/ 87324 h 309596"/>
                        <a:gd name="connsiteX5" fmla="*/ 33561 w 134272"/>
                        <a:gd name="connsiteY5" fmla="*/ 12812 h 309596"/>
                        <a:gd name="connsiteX6" fmla="*/ 39744 w 134272"/>
                        <a:gd name="connsiteY6" fmla="*/ 6781 h 309596"/>
                        <a:gd name="connsiteX7" fmla="*/ 42068 w 134272"/>
                        <a:gd name="connsiteY7" fmla="*/ 2908 h 309596"/>
                        <a:gd name="connsiteX8" fmla="*/ 41567 w 134272"/>
                        <a:gd name="connsiteY8" fmla="*/ 128 h 309596"/>
                        <a:gd name="connsiteX9" fmla="*/ 445 w 134272"/>
                        <a:gd name="connsiteY9" fmla="*/ 87886 h 309596"/>
                        <a:gd name="connsiteX10" fmla="*/ 65280 w 134272"/>
                        <a:gd name="connsiteY10" fmla="*/ 202455 h 309596"/>
                        <a:gd name="connsiteX11" fmla="*/ 126560 w 134272"/>
                        <a:gd name="connsiteY11" fmla="*/ 306179 h 309596"/>
                        <a:gd name="connsiteX12" fmla="*/ 130403 w 134272"/>
                        <a:gd name="connsiteY12" fmla="*/ 309597 h 30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72" h="309596">
                          <a:moveTo>
                            <a:pt x="130388" y="309582"/>
                          </a:moveTo>
                          <a:cubicBezTo>
                            <a:pt x="130540" y="309582"/>
                            <a:pt x="130692" y="309582"/>
                            <a:pt x="130844" y="309551"/>
                          </a:cubicBezTo>
                          <a:cubicBezTo>
                            <a:pt x="132970" y="309308"/>
                            <a:pt x="134490" y="307379"/>
                            <a:pt x="134246" y="305252"/>
                          </a:cubicBezTo>
                          <a:cubicBezTo>
                            <a:pt x="130084" y="269812"/>
                            <a:pt x="100188" y="233065"/>
                            <a:pt x="71280" y="197549"/>
                          </a:cubicBezTo>
                          <a:cubicBezTo>
                            <a:pt x="41506" y="160954"/>
                            <a:pt x="10714" y="123129"/>
                            <a:pt x="8162" y="87324"/>
                          </a:cubicBezTo>
                          <a:cubicBezTo>
                            <a:pt x="4865" y="41128"/>
                            <a:pt x="21986" y="21030"/>
                            <a:pt x="33561" y="12812"/>
                          </a:cubicBezTo>
                          <a:cubicBezTo>
                            <a:pt x="39121" y="8863"/>
                            <a:pt x="39607" y="6827"/>
                            <a:pt x="39744" y="6781"/>
                          </a:cubicBezTo>
                          <a:cubicBezTo>
                            <a:pt x="41810" y="6234"/>
                            <a:pt x="42615" y="4974"/>
                            <a:pt x="42068" y="2908"/>
                          </a:cubicBezTo>
                          <a:cubicBezTo>
                            <a:pt x="41521" y="842"/>
                            <a:pt x="43633" y="-419"/>
                            <a:pt x="41567" y="128"/>
                          </a:cubicBezTo>
                          <a:cubicBezTo>
                            <a:pt x="39668" y="629"/>
                            <a:pt x="-4902" y="13177"/>
                            <a:pt x="445" y="87886"/>
                          </a:cubicBezTo>
                          <a:cubicBezTo>
                            <a:pt x="3179" y="126136"/>
                            <a:pt x="34746" y="164934"/>
                            <a:pt x="65280" y="202455"/>
                          </a:cubicBezTo>
                          <a:cubicBezTo>
                            <a:pt x="93489" y="237121"/>
                            <a:pt x="122656" y="272972"/>
                            <a:pt x="126560" y="306179"/>
                          </a:cubicBezTo>
                          <a:cubicBezTo>
                            <a:pt x="126788" y="308154"/>
                            <a:pt x="128474" y="309597"/>
                            <a:pt x="130403" y="309597"/>
                          </a:cubicBez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25" name="Graphic 3200">
                      <a:extLst>
                        <a:ext uri="{FF2B5EF4-FFF2-40B4-BE49-F238E27FC236}">
                          <a16:creationId xmlns:a16="http://schemas.microsoft.com/office/drawing/2014/main" id="{7C080CFC-3816-600D-4D87-A40EBF2B50EF}"/>
                        </a:ext>
                      </a:extLst>
                    </p:cNvPr>
                    <p:cNvGrpSpPr/>
                    <p:nvPr/>
                  </p:nvGrpSpPr>
                  <p:grpSpPr>
                    <a:xfrm>
                      <a:off x="3457247" y="2848765"/>
                      <a:ext cx="95135" cy="95135"/>
                      <a:chOff x="3457247" y="2848765"/>
                      <a:chExt cx="95135" cy="95135"/>
                    </a:xfrm>
                  </p:grpSpPr>
                  <p:sp>
                    <p:nvSpPr>
                      <p:cNvPr id="2626" name="Freeform: Shape 2625">
                        <a:extLst>
                          <a:ext uri="{FF2B5EF4-FFF2-40B4-BE49-F238E27FC236}">
                            <a16:creationId xmlns:a16="http://schemas.microsoft.com/office/drawing/2014/main" id="{2EDF42E8-1532-BE37-419E-190E972F10B0}"/>
                          </a:ext>
                        </a:extLst>
                      </p:cNvPr>
                      <p:cNvSpPr/>
                      <p:nvPr/>
                    </p:nvSpPr>
                    <p:spPr>
                      <a:xfrm rot="-796800">
                        <a:off x="3465272" y="2856791"/>
                        <a:ext cx="79083" cy="79083"/>
                      </a:xfrm>
                      <a:custGeom>
                        <a:avLst/>
                        <a:gdLst>
                          <a:gd name="connsiteX0" fmla="*/ 79084 w 79083"/>
                          <a:gd name="connsiteY0" fmla="*/ 39542 h 79083"/>
                          <a:gd name="connsiteX1" fmla="*/ 39542 w 79083"/>
                          <a:gd name="connsiteY1" fmla="*/ 79084 h 79083"/>
                          <a:gd name="connsiteX2" fmla="*/ 0 w 79083"/>
                          <a:gd name="connsiteY2" fmla="*/ 39542 h 79083"/>
                          <a:gd name="connsiteX3" fmla="*/ 39542 w 79083"/>
                          <a:gd name="connsiteY3" fmla="*/ 0 h 79083"/>
                          <a:gd name="connsiteX4" fmla="*/ 79084 w 79083"/>
                          <a:gd name="connsiteY4" fmla="*/ 39542 h 79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83" h="79083">
                            <a:moveTo>
                              <a:pt x="79084" y="39542"/>
                            </a:moveTo>
                            <a:cubicBezTo>
                              <a:pt x="79084" y="61380"/>
                              <a:pt x="61380" y="79084"/>
                              <a:pt x="39542" y="79084"/>
                            </a:cubicBezTo>
                            <a:cubicBezTo>
                              <a:pt x="17703" y="79084"/>
                              <a:pt x="0" y="61380"/>
                              <a:pt x="0" y="39542"/>
                            </a:cubicBezTo>
                            <a:cubicBezTo>
                              <a:pt x="0" y="17704"/>
                              <a:pt x="17703" y="0"/>
                              <a:pt x="39542" y="0"/>
                            </a:cubicBezTo>
                            <a:cubicBezTo>
                              <a:pt x="61380" y="0"/>
                              <a:pt x="79084" y="17704"/>
                              <a:pt x="79084" y="39542"/>
                            </a:cubicBez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7" name="Freeform: Shape 2626">
                        <a:extLst>
                          <a:ext uri="{FF2B5EF4-FFF2-40B4-BE49-F238E27FC236}">
                            <a16:creationId xmlns:a16="http://schemas.microsoft.com/office/drawing/2014/main" id="{842FB815-A0C7-1AEC-5C0D-5318A2F9B138}"/>
                          </a:ext>
                        </a:extLst>
                      </p:cNvPr>
                      <p:cNvSpPr/>
                      <p:nvPr/>
                    </p:nvSpPr>
                    <p:spPr>
                      <a:xfrm rot="-796800">
                        <a:off x="3479916" y="2871435"/>
                        <a:ext cx="49795" cy="49795"/>
                      </a:xfrm>
                      <a:custGeom>
                        <a:avLst/>
                        <a:gdLst>
                          <a:gd name="connsiteX0" fmla="*/ 49796 w 49795"/>
                          <a:gd name="connsiteY0" fmla="*/ 24898 h 49795"/>
                          <a:gd name="connsiteX1" fmla="*/ 24898 w 49795"/>
                          <a:gd name="connsiteY1" fmla="*/ 49796 h 49795"/>
                          <a:gd name="connsiteX2" fmla="*/ 0 w 49795"/>
                          <a:gd name="connsiteY2" fmla="*/ 24898 h 49795"/>
                          <a:gd name="connsiteX3" fmla="*/ 24898 w 49795"/>
                          <a:gd name="connsiteY3" fmla="*/ 0 h 49795"/>
                          <a:gd name="connsiteX4" fmla="*/ 49796 w 49795"/>
                          <a:gd name="connsiteY4" fmla="*/ 24898 h 49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95" h="49795">
                            <a:moveTo>
                              <a:pt x="49796" y="24898"/>
                            </a:moveTo>
                            <a:cubicBezTo>
                              <a:pt x="49796" y="38649"/>
                              <a:pt x="38649" y="49796"/>
                              <a:pt x="24898" y="49796"/>
                            </a:cubicBezTo>
                            <a:cubicBezTo>
                              <a:pt x="11147" y="49796"/>
                              <a:pt x="0" y="38649"/>
                              <a:pt x="0" y="24898"/>
                            </a:cubicBezTo>
                            <a:cubicBezTo>
                              <a:pt x="0" y="11147"/>
                              <a:pt x="11147" y="0"/>
                              <a:pt x="24898" y="0"/>
                            </a:cubicBezTo>
                            <a:cubicBezTo>
                              <a:pt x="38649" y="0"/>
                              <a:pt x="49796" y="11147"/>
                              <a:pt x="49796" y="24898"/>
                            </a:cubicBezTo>
                            <a:close/>
                          </a:path>
                        </a:pathLst>
                      </a:custGeom>
                      <a:solidFill>
                        <a:srgbClr val="2833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19" name="Graphic 3200">
                    <a:extLst>
                      <a:ext uri="{FF2B5EF4-FFF2-40B4-BE49-F238E27FC236}">
                        <a16:creationId xmlns:a16="http://schemas.microsoft.com/office/drawing/2014/main" id="{75133A46-4721-71E2-A0D8-E18B103B27AB}"/>
                      </a:ext>
                    </a:extLst>
                  </p:cNvPr>
                  <p:cNvGrpSpPr/>
                  <p:nvPr/>
                </p:nvGrpSpPr>
                <p:grpSpPr>
                  <a:xfrm>
                    <a:off x="3575434" y="2589260"/>
                    <a:ext cx="226159" cy="607271"/>
                    <a:chOff x="3575434" y="2589260"/>
                    <a:chExt cx="226159" cy="607271"/>
                  </a:xfrm>
                  <a:solidFill>
                    <a:srgbClr val="21284F"/>
                  </a:solidFill>
                </p:grpSpPr>
                <p:grpSp>
                  <p:nvGrpSpPr>
                    <p:cNvPr id="2620" name="Graphic 3200">
                      <a:extLst>
                        <a:ext uri="{FF2B5EF4-FFF2-40B4-BE49-F238E27FC236}">
                          <a16:creationId xmlns:a16="http://schemas.microsoft.com/office/drawing/2014/main" id="{9D248F97-664D-4AB8-27ED-2B427C0DA659}"/>
                        </a:ext>
                      </a:extLst>
                    </p:cNvPr>
                    <p:cNvGrpSpPr/>
                    <p:nvPr/>
                  </p:nvGrpSpPr>
                  <p:grpSpPr>
                    <a:xfrm>
                      <a:off x="3668280" y="2973999"/>
                      <a:ext cx="133314" cy="222532"/>
                      <a:chOff x="3668280" y="2973999"/>
                      <a:chExt cx="133314" cy="222532"/>
                    </a:xfrm>
                    <a:solidFill>
                      <a:srgbClr val="21284F"/>
                    </a:solidFill>
                  </p:grpSpPr>
                  <p:sp>
                    <p:nvSpPr>
                      <p:cNvPr id="2622" name="Freeform: Shape 2621">
                        <a:extLst>
                          <a:ext uri="{FF2B5EF4-FFF2-40B4-BE49-F238E27FC236}">
                            <a16:creationId xmlns:a16="http://schemas.microsoft.com/office/drawing/2014/main" id="{2844DDE3-D118-4AFF-7CAB-A95FF75FA777}"/>
                          </a:ext>
                        </a:extLst>
                      </p:cNvPr>
                      <p:cNvSpPr/>
                      <p:nvPr/>
                    </p:nvSpPr>
                    <p:spPr>
                      <a:xfrm>
                        <a:off x="3715575" y="2973999"/>
                        <a:ext cx="86018" cy="215179"/>
                      </a:xfrm>
                      <a:custGeom>
                        <a:avLst/>
                        <a:gdLst>
                          <a:gd name="connsiteX0" fmla="*/ 59650 w 86018"/>
                          <a:gd name="connsiteY0" fmla="*/ 215180 h 215179"/>
                          <a:gd name="connsiteX1" fmla="*/ 75843 w 86018"/>
                          <a:gd name="connsiteY1" fmla="*/ 206020 h 215179"/>
                          <a:gd name="connsiteX2" fmla="*/ 68886 w 86018"/>
                          <a:gd name="connsiteY2" fmla="*/ 41867 h 215179"/>
                          <a:gd name="connsiteX3" fmla="*/ 2714 w 86018"/>
                          <a:gd name="connsiteY3" fmla="*/ 1626 h 215179"/>
                          <a:gd name="connsiteX4" fmla="*/ 177 w 86018"/>
                          <a:gd name="connsiteY4" fmla="*/ 6487 h 215179"/>
                          <a:gd name="connsiteX5" fmla="*/ 5023 w 86018"/>
                          <a:gd name="connsiteY5" fmla="*/ 9024 h 215179"/>
                          <a:gd name="connsiteX6" fmla="*/ 61624 w 86018"/>
                          <a:gd name="connsiteY6" fmla="*/ 44601 h 215179"/>
                          <a:gd name="connsiteX7" fmla="*/ 69463 w 86018"/>
                          <a:gd name="connsiteY7" fmla="*/ 201599 h 215179"/>
                          <a:gd name="connsiteX8" fmla="*/ 59650 w 86018"/>
                          <a:gd name="connsiteY8" fmla="*/ 207432 h 215179"/>
                          <a:gd name="connsiteX9" fmla="*/ 55776 w 86018"/>
                          <a:gd name="connsiteY9" fmla="*/ 211306 h 215179"/>
                          <a:gd name="connsiteX10" fmla="*/ 59650 w 86018"/>
                          <a:gd name="connsiteY10" fmla="*/ 215180 h 2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018" h="215179">
                            <a:moveTo>
                              <a:pt x="59650" y="215180"/>
                            </a:moveTo>
                            <a:cubicBezTo>
                              <a:pt x="66091" y="215180"/>
                              <a:pt x="71696" y="212005"/>
                              <a:pt x="75843" y="206020"/>
                            </a:cubicBezTo>
                            <a:cubicBezTo>
                              <a:pt x="96366" y="176367"/>
                              <a:pt x="81555" y="75530"/>
                              <a:pt x="68886" y="41867"/>
                            </a:cubicBezTo>
                            <a:cubicBezTo>
                              <a:pt x="48575" y="-12091"/>
                              <a:pt x="3170" y="1474"/>
                              <a:pt x="2714" y="1626"/>
                            </a:cubicBezTo>
                            <a:cubicBezTo>
                              <a:pt x="679" y="2264"/>
                              <a:pt x="-461" y="4451"/>
                              <a:pt x="177" y="6487"/>
                            </a:cubicBezTo>
                            <a:cubicBezTo>
                              <a:pt x="815" y="8523"/>
                              <a:pt x="2988" y="9662"/>
                              <a:pt x="5023" y="9024"/>
                            </a:cubicBezTo>
                            <a:cubicBezTo>
                              <a:pt x="6603" y="8538"/>
                              <a:pt x="43958" y="-2354"/>
                              <a:pt x="61624" y="44601"/>
                            </a:cubicBezTo>
                            <a:cubicBezTo>
                              <a:pt x="75144" y="80497"/>
                              <a:pt x="87297" y="175835"/>
                              <a:pt x="69463" y="201599"/>
                            </a:cubicBezTo>
                            <a:cubicBezTo>
                              <a:pt x="66744" y="205518"/>
                              <a:pt x="63538" y="207432"/>
                              <a:pt x="59650" y="207432"/>
                            </a:cubicBezTo>
                            <a:cubicBezTo>
                              <a:pt x="57508" y="207432"/>
                              <a:pt x="55776" y="209164"/>
                              <a:pt x="55776" y="211306"/>
                            </a:cubicBezTo>
                            <a:cubicBezTo>
                              <a:pt x="55776" y="213448"/>
                              <a:pt x="57508" y="215180"/>
                              <a:pt x="59650" y="215180"/>
                            </a:cubicBez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3" name="Freeform: Shape 2622">
                        <a:extLst>
                          <a:ext uri="{FF2B5EF4-FFF2-40B4-BE49-F238E27FC236}">
                            <a16:creationId xmlns:a16="http://schemas.microsoft.com/office/drawing/2014/main" id="{58DED410-02A4-B02D-8D29-5810F1902553}"/>
                          </a:ext>
                        </a:extLst>
                      </p:cNvPr>
                      <p:cNvSpPr/>
                      <p:nvPr/>
                    </p:nvSpPr>
                    <p:spPr>
                      <a:xfrm>
                        <a:off x="3668280" y="2975365"/>
                        <a:ext cx="68913" cy="221165"/>
                      </a:xfrm>
                      <a:custGeom>
                        <a:avLst/>
                        <a:gdLst>
                          <a:gd name="connsiteX0" fmla="*/ 60370 w 68913"/>
                          <a:gd name="connsiteY0" fmla="*/ 221166 h 221165"/>
                          <a:gd name="connsiteX1" fmla="*/ 66264 w 68913"/>
                          <a:gd name="connsiteY1" fmla="*/ 220179 h 221165"/>
                          <a:gd name="connsiteX2" fmla="*/ 68710 w 68913"/>
                          <a:gd name="connsiteY2" fmla="*/ 215272 h 221165"/>
                          <a:gd name="connsiteX3" fmla="*/ 63803 w 68913"/>
                          <a:gd name="connsiteY3" fmla="*/ 212826 h 221165"/>
                          <a:gd name="connsiteX4" fmla="*/ 52243 w 68913"/>
                          <a:gd name="connsiteY4" fmla="*/ 210244 h 221165"/>
                          <a:gd name="connsiteX5" fmla="*/ 7810 w 68913"/>
                          <a:gd name="connsiteY5" fmla="*/ 59413 h 221165"/>
                          <a:gd name="connsiteX6" fmla="*/ 50253 w 68913"/>
                          <a:gd name="connsiteY6" fmla="*/ 7749 h 221165"/>
                          <a:gd name="connsiteX7" fmla="*/ 54051 w 68913"/>
                          <a:gd name="connsiteY7" fmla="*/ 3799 h 221165"/>
                          <a:gd name="connsiteX8" fmla="*/ 50116 w 68913"/>
                          <a:gd name="connsiteY8" fmla="*/ 2 h 221165"/>
                          <a:gd name="connsiteX9" fmla="*/ 62 w 68913"/>
                          <a:gd name="connsiteY9" fmla="*/ 59109 h 221165"/>
                          <a:gd name="connsiteX10" fmla="*/ 47580 w 68913"/>
                          <a:gd name="connsiteY10" fmla="*/ 216442 h 221165"/>
                          <a:gd name="connsiteX11" fmla="*/ 60355 w 68913"/>
                          <a:gd name="connsiteY11" fmla="*/ 221166 h 22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13" h="221165">
                            <a:moveTo>
                              <a:pt x="60370" y="221166"/>
                            </a:moveTo>
                            <a:cubicBezTo>
                              <a:pt x="62330" y="221166"/>
                              <a:pt x="64290" y="220832"/>
                              <a:pt x="66264" y="220179"/>
                            </a:cubicBezTo>
                            <a:cubicBezTo>
                              <a:pt x="68300" y="219495"/>
                              <a:pt x="69394" y="217307"/>
                              <a:pt x="68710" y="215272"/>
                            </a:cubicBezTo>
                            <a:cubicBezTo>
                              <a:pt x="68027" y="213236"/>
                              <a:pt x="65839" y="212142"/>
                              <a:pt x="63803" y="212826"/>
                            </a:cubicBezTo>
                            <a:cubicBezTo>
                              <a:pt x="60021" y="214087"/>
                              <a:pt x="56238" y="213236"/>
                              <a:pt x="52243" y="210244"/>
                            </a:cubicBezTo>
                            <a:cubicBezTo>
                              <a:pt x="26525" y="190951"/>
                              <a:pt x="6412" y="96054"/>
                              <a:pt x="7810" y="59413"/>
                            </a:cubicBezTo>
                            <a:cubicBezTo>
                              <a:pt x="9724" y="9268"/>
                              <a:pt x="48597" y="7795"/>
                              <a:pt x="50253" y="7749"/>
                            </a:cubicBezTo>
                            <a:cubicBezTo>
                              <a:pt x="52395" y="7703"/>
                              <a:pt x="54081" y="5926"/>
                              <a:pt x="54051" y="3799"/>
                            </a:cubicBezTo>
                            <a:cubicBezTo>
                              <a:pt x="54005" y="1657"/>
                              <a:pt x="52213" y="-59"/>
                              <a:pt x="50116" y="2"/>
                            </a:cubicBezTo>
                            <a:cubicBezTo>
                              <a:pt x="49646" y="2"/>
                              <a:pt x="2280" y="1490"/>
                              <a:pt x="62" y="59109"/>
                            </a:cubicBezTo>
                            <a:cubicBezTo>
                              <a:pt x="-1244" y="93410"/>
                              <a:pt x="18064" y="194293"/>
                              <a:pt x="47580" y="216442"/>
                            </a:cubicBezTo>
                            <a:cubicBezTo>
                              <a:pt x="51772" y="219586"/>
                              <a:pt x="56041" y="221166"/>
                              <a:pt x="60355" y="221166"/>
                            </a:cubicBez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21" name="Freeform: Shape 2620">
                      <a:extLst>
                        <a:ext uri="{FF2B5EF4-FFF2-40B4-BE49-F238E27FC236}">
                          <a16:creationId xmlns:a16="http://schemas.microsoft.com/office/drawing/2014/main" id="{977A6FA8-23E2-563E-6BFA-1D3CFE3231B8}"/>
                        </a:ext>
                      </a:extLst>
                    </p:cNvPr>
                    <p:cNvSpPr/>
                    <p:nvPr/>
                  </p:nvSpPr>
                  <p:spPr>
                    <a:xfrm>
                      <a:off x="3575434" y="2589260"/>
                      <a:ext cx="146925" cy="393869"/>
                    </a:xfrm>
                    <a:custGeom>
                      <a:avLst/>
                      <a:gdLst>
                        <a:gd name="connsiteX0" fmla="*/ 0 w 146925"/>
                        <a:gd name="connsiteY0" fmla="*/ 0 h 393869"/>
                        <a:gd name="connsiteX1" fmla="*/ 441 w 146925"/>
                        <a:gd name="connsiteY1" fmla="*/ 0 h 393869"/>
                        <a:gd name="connsiteX2" fmla="*/ 72597 w 146925"/>
                        <a:gd name="connsiteY2" fmla="*/ 74040 h 393869"/>
                        <a:gd name="connsiteX3" fmla="*/ 97146 w 146925"/>
                        <a:gd name="connsiteY3" fmla="*/ 190707 h 393869"/>
                        <a:gd name="connsiteX4" fmla="*/ 128424 w 146925"/>
                        <a:gd name="connsiteY4" fmla="*/ 334519 h 393869"/>
                        <a:gd name="connsiteX5" fmla="*/ 146775 w 146925"/>
                        <a:gd name="connsiteY5" fmla="*/ 388918 h 393869"/>
                        <a:gd name="connsiteX6" fmla="*/ 144116 w 146925"/>
                        <a:gd name="connsiteY6" fmla="*/ 393718 h 393869"/>
                        <a:gd name="connsiteX7" fmla="*/ 143053 w 146925"/>
                        <a:gd name="connsiteY7" fmla="*/ 393870 h 393869"/>
                        <a:gd name="connsiteX8" fmla="*/ 139331 w 146925"/>
                        <a:gd name="connsiteY8" fmla="*/ 391060 h 393869"/>
                        <a:gd name="connsiteX9" fmla="*/ 121208 w 146925"/>
                        <a:gd name="connsiteY9" fmla="*/ 337329 h 393869"/>
                        <a:gd name="connsiteX10" fmla="*/ 89505 w 146925"/>
                        <a:gd name="connsiteY10" fmla="*/ 191937 h 393869"/>
                        <a:gd name="connsiteX11" fmla="*/ 65382 w 146925"/>
                        <a:gd name="connsiteY11" fmla="*/ 76836 h 393869"/>
                        <a:gd name="connsiteX12" fmla="*/ 1868 w 146925"/>
                        <a:gd name="connsiteY12" fmla="*/ 8203 h 393869"/>
                        <a:gd name="connsiteX13" fmla="*/ 0 w 146925"/>
                        <a:gd name="connsiteY13" fmla="*/ 0 h 39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925" h="393869">
                          <a:moveTo>
                            <a:pt x="0" y="0"/>
                          </a:moveTo>
                          <a:cubicBezTo>
                            <a:pt x="152" y="0"/>
                            <a:pt x="289" y="0"/>
                            <a:pt x="441" y="0"/>
                          </a:cubicBezTo>
                          <a:cubicBezTo>
                            <a:pt x="2309" y="228"/>
                            <a:pt x="46469" y="6228"/>
                            <a:pt x="72597" y="74040"/>
                          </a:cubicBezTo>
                          <a:cubicBezTo>
                            <a:pt x="82684" y="100245"/>
                            <a:pt x="89702" y="144192"/>
                            <a:pt x="97146" y="190707"/>
                          </a:cubicBezTo>
                          <a:cubicBezTo>
                            <a:pt x="105592" y="243541"/>
                            <a:pt x="114312" y="298167"/>
                            <a:pt x="128424" y="334519"/>
                          </a:cubicBezTo>
                          <a:cubicBezTo>
                            <a:pt x="135442" y="352611"/>
                            <a:pt x="141610" y="370901"/>
                            <a:pt x="146775" y="388918"/>
                          </a:cubicBezTo>
                          <a:cubicBezTo>
                            <a:pt x="147367" y="390968"/>
                            <a:pt x="146167" y="393126"/>
                            <a:pt x="144116" y="393718"/>
                          </a:cubicBezTo>
                          <a:cubicBezTo>
                            <a:pt x="143752" y="393824"/>
                            <a:pt x="143402" y="393870"/>
                            <a:pt x="143053" y="393870"/>
                          </a:cubicBezTo>
                          <a:cubicBezTo>
                            <a:pt x="141367" y="393870"/>
                            <a:pt x="139817" y="392761"/>
                            <a:pt x="139331" y="391060"/>
                          </a:cubicBezTo>
                          <a:cubicBezTo>
                            <a:pt x="134242" y="373286"/>
                            <a:pt x="128150" y="355209"/>
                            <a:pt x="121208" y="337329"/>
                          </a:cubicBezTo>
                          <a:cubicBezTo>
                            <a:pt x="106807" y="300218"/>
                            <a:pt x="98012" y="245166"/>
                            <a:pt x="89505" y="191937"/>
                          </a:cubicBezTo>
                          <a:cubicBezTo>
                            <a:pt x="82137" y="145833"/>
                            <a:pt x="75180" y="102280"/>
                            <a:pt x="65382" y="76836"/>
                          </a:cubicBezTo>
                          <a:cubicBezTo>
                            <a:pt x="44388" y="22361"/>
                            <a:pt x="10937" y="10482"/>
                            <a:pt x="1868" y="8203"/>
                          </a:cubicBezTo>
                          <a:cubicBezTo>
                            <a:pt x="1185" y="5514"/>
                            <a:pt x="577" y="2780"/>
                            <a:pt x="0" y="0"/>
                          </a:cubicBez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0" name="Graphic 3200">
                <a:extLst>
                  <a:ext uri="{FF2B5EF4-FFF2-40B4-BE49-F238E27FC236}">
                    <a16:creationId xmlns:a16="http://schemas.microsoft.com/office/drawing/2014/main" id="{A3785586-FB40-8FFF-F342-1952CF2EE198}"/>
                  </a:ext>
                </a:extLst>
              </p:cNvPr>
              <p:cNvGrpSpPr/>
              <p:nvPr/>
            </p:nvGrpSpPr>
            <p:grpSpPr>
              <a:xfrm>
                <a:off x="3254050" y="2298038"/>
                <a:ext cx="696057" cy="958594"/>
                <a:chOff x="3039438" y="2631916"/>
                <a:chExt cx="649231" cy="894106"/>
              </a:xfrm>
            </p:grpSpPr>
            <p:grpSp>
              <p:nvGrpSpPr>
                <p:cNvPr id="2606" name="Graphic 3200">
                  <a:extLst>
                    <a:ext uri="{FF2B5EF4-FFF2-40B4-BE49-F238E27FC236}">
                      <a16:creationId xmlns:a16="http://schemas.microsoft.com/office/drawing/2014/main" id="{FE6B5761-531A-2420-5899-14C4EEC12E39}"/>
                    </a:ext>
                  </a:extLst>
                </p:cNvPr>
                <p:cNvGrpSpPr/>
                <p:nvPr/>
              </p:nvGrpSpPr>
              <p:grpSpPr>
                <a:xfrm>
                  <a:off x="3222537" y="2993125"/>
                  <a:ext cx="466133" cy="532897"/>
                  <a:chOff x="3222537" y="2993125"/>
                  <a:chExt cx="466133" cy="532897"/>
                </a:xfrm>
              </p:grpSpPr>
              <p:sp>
                <p:nvSpPr>
                  <p:cNvPr id="2614" name="Freeform: Shape 2613">
                    <a:extLst>
                      <a:ext uri="{FF2B5EF4-FFF2-40B4-BE49-F238E27FC236}">
                        <a16:creationId xmlns:a16="http://schemas.microsoft.com/office/drawing/2014/main" id="{D3F94C6F-3CCC-DF5E-AC7B-D312F375E1F4}"/>
                      </a:ext>
                    </a:extLst>
                  </p:cNvPr>
                  <p:cNvSpPr/>
                  <p:nvPr/>
                </p:nvSpPr>
                <p:spPr>
                  <a:xfrm>
                    <a:off x="3227196" y="2997795"/>
                    <a:ext cx="456812" cy="523580"/>
                  </a:xfrm>
                  <a:custGeom>
                    <a:avLst/>
                    <a:gdLst>
                      <a:gd name="connsiteX0" fmla="*/ 456124 w 456812"/>
                      <a:gd name="connsiteY0" fmla="*/ 112437 h 523580"/>
                      <a:gd name="connsiteX1" fmla="*/ 319755 w 456812"/>
                      <a:gd name="connsiteY1" fmla="*/ 514723 h 523580"/>
                      <a:gd name="connsiteX2" fmla="*/ 303349 w 456812"/>
                      <a:gd name="connsiteY2" fmla="*/ 522926 h 523580"/>
                      <a:gd name="connsiteX3" fmla="*/ 8995 w 456812"/>
                      <a:gd name="connsiteY3" fmla="*/ 426707 h 523580"/>
                      <a:gd name="connsiteX4" fmla="*/ 776 w 456812"/>
                      <a:gd name="connsiteY4" fmla="*/ 409875 h 523580"/>
                      <a:gd name="connsiteX5" fmla="*/ 145895 w 456812"/>
                      <a:gd name="connsiteY5" fmla="*/ 8607 h 523580"/>
                      <a:gd name="connsiteX6" fmla="*/ 162286 w 456812"/>
                      <a:gd name="connsiteY6" fmla="*/ 678 h 523580"/>
                      <a:gd name="connsiteX7" fmla="*/ 447890 w 456812"/>
                      <a:gd name="connsiteY7" fmla="*/ 95879 h 523580"/>
                      <a:gd name="connsiteX8" fmla="*/ 456124 w 456812"/>
                      <a:gd name="connsiteY8" fmla="*/ 112437 h 52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812" h="523580">
                        <a:moveTo>
                          <a:pt x="456124" y="112437"/>
                        </a:moveTo>
                        <a:lnTo>
                          <a:pt x="319755" y="514723"/>
                        </a:lnTo>
                        <a:cubicBezTo>
                          <a:pt x="317461" y="521498"/>
                          <a:pt x="310139" y="525159"/>
                          <a:pt x="303349" y="522926"/>
                        </a:cubicBezTo>
                        <a:lnTo>
                          <a:pt x="8995" y="426707"/>
                        </a:lnTo>
                        <a:cubicBezTo>
                          <a:pt x="1992" y="424413"/>
                          <a:pt x="-1715" y="416802"/>
                          <a:pt x="776" y="409875"/>
                        </a:cubicBezTo>
                        <a:lnTo>
                          <a:pt x="145895" y="8607"/>
                        </a:lnTo>
                        <a:cubicBezTo>
                          <a:pt x="148295" y="1954"/>
                          <a:pt x="155572" y="-1571"/>
                          <a:pt x="162286" y="678"/>
                        </a:cubicBezTo>
                        <a:lnTo>
                          <a:pt x="447890" y="95879"/>
                        </a:lnTo>
                        <a:cubicBezTo>
                          <a:pt x="454742" y="98158"/>
                          <a:pt x="458433" y="105586"/>
                          <a:pt x="456124" y="112437"/>
                        </a:cubicBezTo>
                        <a:close/>
                      </a:path>
                    </a:pathLst>
                  </a:custGeom>
                  <a:solidFill>
                    <a:srgbClr val="FFFFC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5" name="Freeform: Shape 2614">
                    <a:extLst>
                      <a:ext uri="{FF2B5EF4-FFF2-40B4-BE49-F238E27FC236}">
                        <a16:creationId xmlns:a16="http://schemas.microsoft.com/office/drawing/2014/main" id="{982613C5-B8AF-3B99-7106-A0EAE0F22100}"/>
                      </a:ext>
                    </a:extLst>
                  </p:cNvPr>
                  <p:cNvSpPr/>
                  <p:nvPr/>
                </p:nvSpPr>
                <p:spPr>
                  <a:xfrm>
                    <a:off x="3222537" y="2993125"/>
                    <a:ext cx="466133" cy="532897"/>
                  </a:xfrm>
                  <a:custGeom>
                    <a:avLst/>
                    <a:gdLst>
                      <a:gd name="connsiteX0" fmla="*/ 306565 w 466133"/>
                      <a:gd name="connsiteY0" fmla="*/ 532016 h 532897"/>
                      <a:gd name="connsiteX1" fmla="*/ 12211 w 466133"/>
                      <a:gd name="connsiteY1" fmla="*/ 435797 h 532897"/>
                      <a:gd name="connsiteX2" fmla="*/ 1805 w 466133"/>
                      <a:gd name="connsiteY2" fmla="*/ 426743 h 532897"/>
                      <a:gd name="connsiteX3" fmla="*/ 1061 w 466133"/>
                      <a:gd name="connsiteY3" fmla="*/ 412965 h 532897"/>
                      <a:gd name="connsiteX4" fmla="*/ 146180 w 466133"/>
                      <a:gd name="connsiteY4" fmla="*/ 11697 h 532897"/>
                      <a:gd name="connsiteX5" fmla="*/ 168419 w 466133"/>
                      <a:gd name="connsiteY5" fmla="*/ 927 h 532897"/>
                      <a:gd name="connsiteX6" fmla="*/ 454023 w 466133"/>
                      <a:gd name="connsiteY6" fmla="*/ 96128 h 532897"/>
                      <a:gd name="connsiteX7" fmla="*/ 464277 w 466133"/>
                      <a:gd name="connsiteY7" fmla="*/ 105045 h 532897"/>
                      <a:gd name="connsiteX8" fmla="*/ 465189 w 466133"/>
                      <a:gd name="connsiteY8" fmla="*/ 118595 h 532897"/>
                      <a:gd name="connsiteX9" fmla="*/ 328820 w 466133"/>
                      <a:gd name="connsiteY9" fmla="*/ 520881 h 532897"/>
                      <a:gd name="connsiteX10" fmla="*/ 312019 w 466133"/>
                      <a:gd name="connsiteY10" fmla="*/ 532897 h 532897"/>
                      <a:gd name="connsiteX11" fmla="*/ 306565 w 466133"/>
                      <a:gd name="connsiteY11" fmla="*/ 532031 h 532897"/>
                      <a:gd name="connsiteX12" fmla="*/ 456378 w 466133"/>
                      <a:gd name="connsiteY12" fmla="*/ 115618 h 532897"/>
                      <a:gd name="connsiteX13" fmla="*/ 455952 w 466133"/>
                      <a:gd name="connsiteY13" fmla="*/ 109192 h 532897"/>
                      <a:gd name="connsiteX14" fmla="*/ 451091 w 466133"/>
                      <a:gd name="connsiteY14" fmla="*/ 104969 h 532897"/>
                      <a:gd name="connsiteX15" fmla="*/ 165487 w 466133"/>
                      <a:gd name="connsiteY15" fmla="*/ 9768 h 532897"/>
                      <a:gd name="connsiteX16" fmla="*/ 154945 w 466133"/>
                      <a:gd name="connsiteY16" fmla="*/ 14872 h 532897"/>
                      <a:gd name="connsiteX17" fmla="*/ 9826 w 466133"/>
                      <a:gd name="connsiteY17" fmla="*/ 416140 h 532897"/>
                      <a:gd name="connsiteX18" fmla="*/ 10175 w 466133"/>
                      <a:gd name="connsiteY18" fmla="*/ 422672 h 532897"/>
                      <a:gd name="connsiteX19" fmla="*/ 15112 w 466133"/>
                      <a:gd name="connsiteY19" fmla="*/ 426971 h 532897"/>
                      <a:gd name="connsiteX20" fmla="*/ 309467 w 466133"/>
                      <a:gd name="connsiteY20" fmla="*/ 523190 h 532897"/>
                      <a:gd name="connsiteX21" fmla="*/ 320024 w 466133"/>
                      <a:gd name="connsiteY21" fmla="*/ 517904 h 532897"/>
                      <a:gd name="connsiteX22" fmla="*/ 456393 w 466133"/>
                      <a:gd name="connsiteY22" fmla="*/ 115618 h 532897"/>
                      <a:gd name="connsiteX23" fmla="*/ 456393 w 466133"/>
                      <a:gd name="connsiteY23" fmla="*/ 115618 h 53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6133" h="532897">
                        <a:moveTo>
                          <a:pt x="306565" y="532016"/>
                        </a:moveTo>
                        <a:lnTo>
                          <a:pt x="12211" y="435797"/>
                        </a:lnTo>
                        <a:cubicBezTo>
                          <a:pt x="7623" y="434293"/>
                          <a:pt x="3917" y="431072"/>
                          <a:pt x="1805" y="426743"/>
                        </a:cubicBezTo>
                        <a:cubicBezTo>
                          <a:pt x="-306" y="422398"/>
                          <a:pt x="-580" y="417507"/>
                          <a:pt x="1061" y="412965"/>
                        </a:cubicBezTo>
                        <a:lnTo>
                          <a:pt x="146180" y="11697"/>
                        </a:lnTo>
                        <a:cubicBezTo>
                          <a:pt x="149476" y="2598"/>
                          <a:pt x="159229" y="-2127"/>
                          <a:pt x="168419" y="927"/>
                        </a:cubicBezTo>
                        <a:lnTo>
                          <a:pt x="454023" y="96128"/>
                        </a:lnTo>
                        <a:cubicBezTo>
                          <a:pt x="458520" y="97632"/>
                          <a:pt x="462166" y="100792"/>
                          <a:pt x="464277" y="105045"/>
                        </a:cubicBezTo>
                        <a:cubicBezTo>
                          <a:pt x="466389" y="109299"/>
                          <a:pt x="466708" y="114099"/>
                          <a:pt x="465189" y="118595"/>
                        </a:cubicBezTo>
                        <a:lnTo>
                          <a:pt x="328820" y="520881"/>
                        </a:lnTo>
                        <a:cubicBezTo>
                          <a:pt x="326329" y="528218"/>
                          <a:pt x="319401" y="532897"/>
                          <a:pt x="312019" y="532897"/>
                        </a:cubicBezTo>
                        <a:cubicBezTo>
                          <a:pt x="310211" y="532897"/>
                          <a:pt x="308373" y="532624"/>
                          <a:pt x="306565" y="532031"/>
                        </a:cubicBezTo>
                        <a:close/>
                        <a:moveTo>
                          <a:pt x="456378" y="115618"/>
                        </a:moveTo>
                        <a:cubicBezTo>
                          <a:pt x="457092" y="113491"/>
                          <a:pt x="456940" y="111198"/>
                          <a:pt x="455952" y="109192"/>
                        </a:cubicBezTo>
                        <a:cubicBezTo>
                          <a:pt x="454950" y="107172"/>
                          <a:pt x="453218" y="105683"/>
                          <a:pt x="451091" y="104969"/>
                        </a:cubicBezTo>
                        <a:lnTo>
                          <a:pt x="165487" y="9768"/>
                        </a:lnTo>
                        <a:cubicBezTo>
                          <a:pt x="161127" y="8325"/>
                          <a:pt x="156494" y="10558"/>
                          <a:pt x="154945" y="14872"/>
                        </a:cubicBezTo>
                        <a:lnTo>
                          <a:pt x="9826" y="416140"/>
                        </a:lnTo>
                        <a:cubicBezTo>
                          <a:pt x="9051" y="418297"/>
                          <a:pt x="9173" y="420621"/>
                          <a:pt x="10175" y="422672"/>
                        </a:cubicBezTo>
                        <a:cubicBezTo>
                          <a:pt x="11178" y="424738"/>
                          <a:pt x="12940" y="426257"/>
                          <a:pt x="15112" y="426971"/>
                        </a:cubicBezTo>
                        <a:lnTo>
                          <a:pt x="309467" y="523190"/>
                        </a:lnTo>
                        <a:cubicBezTo>
                          <a:pt x="313826" y="524603"/>
                          <a:pt x="318551" y="522248"/>
                          <a:pt x="320024" y="517904"/>
                        </a:cubicBezTo>
                        <a:lnTo>
                          <a:pt x="456393" y="115618"/>
                        </a:lnTo>
                        <a:lnTo>
                          <a:pt x="456393" y="115618"/>
                        </a:lnTo>
                        <a:close/>
                      </a:path>
                    </a:pathLst>
                  </a:custGeom>
                  <a:solidFill>
                    <a:srgbClr val="2128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07" name="Graphic 3200">
                  <a:extLst>
                    <a:ext uri="{FF2B5EF4-FFF2-40B4-BE49-F238E27FC236}">
                      <a16:creationId xmlns:a16="http://schemas.microsoft.com/office/drawing/2014/main" id="{07F9FD76-3A37-1A07-50C0-ED6D458FB61B}"/>
                    </a:ext>
                  </a:extLst>
                </p:cNvPr>
                <p:cNvGrpSpPr/>
                <p:nvPr/>
              </p:nvGrpSpPr>
              <p:grpSpPr>
                <a:xfrm>
                  <a:off x="3039438" y="2631916"/>
                  <a:ext cx="621895" cy="742808"/>
                  <a:chOff x="3039438" y="2631916"/>
                  <a:chExt cx="621895" cy="742808"/>
                </a:xfrm>
              </p:grpSpPr>
              <p:grpSp>
                <p:nvGrpSpPr>
                  <p:cNvPr id="2608" name="Graphic 3200">
                    <a:extLst>
                      <a:ext uri="{FF2B5EF4-FFF2-40B4-BE49-F238E27FC236}">
                        <a16:creationId xmlns:a16="http://schemas.microsoft.com/office/drawing/2014/main" id="{3C953F15-ACEF-C9BE-E921-0E11D479FD28}"/>
                      </a:ext>
                    </a:extLst>
                  </p:cNvPr>
                  <p:cNvGrpSpPr/>
                  <p:nvPr/>
                </p:nvGrpSpPr>
                <p:grpSpPr>
                  <a:xfrm>
                    <a:off x="3039438" y="2631916"/>
                    <a:ext cx="284277" cy="574003"/>
                    <a:chOff x="3039438" y="2631916"/>
                    <a:chExt cx="284277" cy="574003"/>
                  </a:xfrm>
                </p:grpSpPr>
                <p:sp>
                  <p:nvSpPr>
                    <p:cNvPr id="2612" name="Freeform: Shape 2611">
                      <a:extLst>
                        <a:ext uri="{FF2B5EF4-FFF2-40B4-BE49-F238E27FC236}">
                          <a16:creationId xmlns:a16="http://schemas.microsoft.com/office/drawing/2014/main" id="{A463C793-9855-145C-D8EA-001F06E1D751}"/>
                        </a:ext>
                      </a:extLst>
                    </p:cNvPr>
                    <p:cNvSpPr/>
                    <p:nvPr/>
                  </p:nvSpPr>
                  <p:spPr>
                    <a:xfrm>
                      <a:off x="3039438" y="2631916"/>
                      <a:ext cx="284277" cy="574003"/>
                    </a:xfrm>
                    <a:custGeom>
                      <a:avLst/>
                      <a:gdLst>
                        <a:gd name="connsiteX0" fmla="*/ 223048 w 284277"/>
                        <a:gd name="connsiteY0" fmla="*/ 0 h 574003"/>
                        <a:gd name="connsiteX1" fmla="*/ 282156 w 284277"/>
                        <a:gd name="connsiteY1" fmla="*/ 134607 h 574003"/>
                        <a:gd name="connsiteX2" fmla="*/ 181379 w 284277"/>
                        <a:gd name="connsiteY2" fmla="*/ 418358 h 574003"/>
                        <a:gd name="connsiteX3" fmla="*/ 46484 w 284277"/>
                        <a:gd name="connsiteY3" fmla="*/ 571862 h 574003"/>
                        <a:gd name="connsiteX4" fmla="*/ 12365 w 284277"/>
                        <a:gd name="connsiteY4" fmla="*/ 401298 h 574003"/>
                        <a:gd name="connsiteX5" fmla="*/ 223048 w 284277"/>
                        <a:gd name="connsiteY5" fmla="*/ 0 h 5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77" h="574003">
                          <a:moveTo>
                            <a:pt x="223048" y="0"/>
                          </a:moveTo>
                          <a:cubicBezTo>
                            <a:pt x="223048" y="0"/>
                            <a:pt x="297666" y="32265"/>
                            <a:pt x="282156" y="134607"/>
                          </a:cubicBezTo>
                          <a:cubicBezTo>
                            <a:pt x="266646" y="236948"/>
                            <a:pt x="204637" y="353234"/>
                            <a:pt x="181379" y="418358"/>
                          </a:cubicBezTo>
                          <a:cubicBezTo>
                            <a:pt x="158122" y="483481"/>
                            <a:pt x="100746" y="590471"/>
                            <a:pt x="46484" y="571862"/>
                          </a:cubicBezTo>
                          <a:cubicBezTo>
                            <a:pt x="-7778" y="553253"/>
                            <a:pt x="-7778" y="478833"/>
                            <a:pt x="12365" y="401298"/>
                          </a:cubicBezTo>
                          <a:cubicBezTo>
                            <a:pt x="32524" y="323779"/>
                            <a:pt x="150876" y="4876"/>
                            <a:pt x="223048" y="0"/>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3" name="Freeform: Shape 2612">
                      <a:extLst>
                        <a:ext uri="{FF2B5EF4-FFF2-40B4-BE49-F238E27FC236}">
                          <a16:creationId xmlns:a16="http://schemas.microsoft.com/office/drawing/2014/main" id="{75D98C8E-D2BA-0D7C-974D-A5370E48572D}"/>
                        </a:ext>
                      </a:extLst>
                    </p:cNvPr>
                    <p:cNvSpPr/>
                    <p:nvPr/>
                  </p:nvSpPr>
                  <p:spPr>
                    <a:xfrm>
                      <a:off x="3117702" y="3051033"/>
                      <a:ext cx="102827" cy="46043"/>
                    </a:xfrm>
                    <a:custGeom>
                      <a:avLst/>
                      <a:gdLst>
                        <a:gd name="connsiteX0" fmla="*/ 0 w 102827"/>
                        <a:gd name="connsiteY0" fmla="*/ 16285 h 46043"/>
                        <a:gd name="connsiteX1" fmla="*/ 102827 w 102827"/>
                        <a:gd name="connsiteY1" fmla="*/ 0 h 46043"/>
                        <a:gd name="connsiteX2" fmla="*/ 83428 w 102827"/>
                        <a:gd name="connsiteY2" fmla="*/ 46044 h 46043"/>
                        <a:gd name="connsiteX3" fmla="*/ 0 w 102827"/>
                        <a:gd name="connsiteY3" fmla="*/ 16300 h 46043"/>
                      </a:gdLst>
                      <a:ahLst/>
                      <a:cxnLst>
                        <a:cxn ang="0">
                          <a:pos x="connsiteX0" y="connsiteY0"/>
                        </a:cxn>
                        <a:cxn ang="0">
                          <a:pos x="connsiteX1" y="connsiteY1"/>
                        </a:cxn>
                        <a:cxn ang="0">
                          <a:pos x="connsiteX2" y="connsiteY2"/>
                        </a:cxn>
                        <a:cxn ang="0">
                          <a:pos x="connsiteX3" y="connsiteY3"/>
                        </a:cxn>
                      </a:cxnLst>
                      <a:rect l="l" t="t" r="r" b="b"/>
                      <a:pathLst>
                        <a:path w="102827" h="46043">
                          <a:moveTo>
                            <a:pt x="0" y="16285"/>
                          </a:moveTo>
                          <a:cubicBezTo>
                            <a:pt x="26174" y="3205"/>
                            <a:pt x="75727" y="471"/>
                            <a:pt x="102827" y="0"/>
                          </a:cubicBezTo>
                          <a:cubicBezTo>
                            <a:pt x="97799" y="14006"/>
                            <a:pt x="91206" y="29896"/>
                            <a:pt x="83428" y="46044"/>
                          </a:cubicBezTo>
                          <a:lnTo>
                            <a:pt x="0" y="16300"/>
                          </a:lnTo>
                          <a:close/>
                        </a:path>
                      </a:pathLst>
                    </a:custGeom>
                    <a:solidFill>
                      <a:srgbClr val="75B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09" name="Graphic 3200">
                    <a:extLst>
                      <a:ext uri="{FF2B5EF4-FFF2-40B4-BE49-F238E27FC236}">
                        <a16:creationId xmlns:a16="http://schemas.microsoft.com/office/drawing/2014/main" id="{F0DDAF0B-2A16-9DA1-DFB2-D85BFE720C77}"/>
                      </a:ext>
                    </a:extLst>
                  </p:cNvPr>
                  <p:cNvGrpSpPr/>
                  <p:nvPr/>
                </p:nvGrpSpPr>
                <p:grpSpPr>
                  <a:xfrm>
                    <a:off x="3047898" y="3057929"/>
                    <a:ext cx="613436" cy="316795"/>
                    <a:chOff x="3047898" y="3057929"/>
                    <a:chExt cx="613436" cy="316795"/>
                  </a:xfrm>
                </p:grpSpPr>
                <p:sp>
                  <p:nvSpPr>
                    <p:cNvPr id="2610" name="Freeform: Shape 2609">
                      <a:extLst>
                        <a:ext uri="{FF2B5EF4-FFF2-40B4-BE49-F238E27FC236}">
                          <a16:creationId xmlns:a16="http://schemas.microsoft.com/office/drawing/2014/main" id="{424F0EBC-D2F5-9052-134C-AFBF83FB12A7}"/>
                        </a:ext>
                      </a:extLst>
                    </p:cNvPr>
                    <p:cNvSpPr/>
                    <p:nvPr/>
                  </p:nvSpPr>
                  <p:spPr>
                    <a:xfrm>
                      <a:off x="3465027" y="3211525"/>
                      <a:ext cx="196307" cy="163199"/>
                    </a:xfrm>
                    <a:custGeom>
                      <a:avLst/>
                      <a:gdLst>
                        <a:gd name="connsiteX0" fmla="*/ 41091 w 196307"/>
                        <a:gd name="connsiteY0" fmla="*/ 0 h 163199"/>
                        <a:gd name="connsiteX1" fmla="*/ 110863 w 196307"/>
                        <a:gd name="connsiteY1" fmla="*/ 7747 h 163199"/>
                        <a:gd name="connsiteX2" fmla="*/ 194596 w 196307"/>
                        <a:gd name="connsiteY2" fmla="*/ 23257 h 163199"/>
                        <a:gd name="connsiteX3" fmla="*/ 191497 w 196307"/>
                        <a:gd name="connsiteY3" fmla="*/ 63574 h 163199"/>
                        <a:gd name="connsiteX4" fmla="*/ 185299 w 196307"/>
                        <a:gd name="connsiteY4" fmla="*/ 94579 h 163199"/>
                        <a:gd name="connsiteX5" fmla="*/ 184524 w 196307"/>
                        <a:gd name="connsiteY5" fmla="*/ 126358 h 163199"/>
                        <a:gd name="connsiteX6" fmla="*/ 163591 w 196307"/>
                        <a:gd name="connsiteY6" fmla="*/ 162801 h 163199"/>
                        <a:gd name="connsiteX7" fmla="*/ 82958 w 196307"/>
                        <a:gd name="connsiteY7" fmla="*/ 130247 h 163199"/>
                        <a:gd name="connsiteX8" fmla="*/ 0 w 196307"/>
                        <a:gd name="connsiteY8" fmla="*/ 72096 h 163199"/>
                        <a:gd name="connsiteX9" fmla="*/ 41091 w 196307"/>
                        <a:gd name="connsiteY9" fmla="*/ 0 h 16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307" h="163199">
                          <a:moveTo>
                            <a:pt x="41091" y="0"/>
                          </a:moveTo>
                          <a:cubicBezTo>
                            <a:pt x="41091" y="0"/>
                            <a:pt x="67448" y="9297"/>
                            <a:pt x="110863" y="7747"/>
                          </a:cubicBezTo>
                          <a:cubicBezTo>
                            <a:pt x="154279" y="6198"/>
                            <a:pt x="190783" y="13095"/>
                            <a:pt x="194596" y="23257"/>
                          </a:cubicBezTo>
                          <a:cubicBezTo>
                            <a:pt x="201568" y="41866"/>
                            <a:pt x="184524" y="53487"/>
                            <a:pt x="191497" y="63574"/>
                          </a:cubicBezTo>
                          <a:cubicBezTo>
                            <a:pt x="201918" y="78613"/>
                            <a:pt x="193046" y="86831"/>
                            <a:pt x="185299" y="94579"/>
                          </a:cubicBezTo>
                          <a:cubicBezTo>
                            <a:pt x="177551" y="102326"/>
                            <a:pt x="193821" y="117061"/>
                            <a:pt x="184524" y="126358"/>
                          </a:cubicBezTo>
                          <a:cubicBezTo>
                            <a:pt x="172888" y="137994"/>
                            <a:pt x="177551" y="159687"/>
                            <a:pt x="163591" y="162801"/>
                          </a:cubicBezTo>
                          <a:cubicBezTo>
                            <a:pt x="149630" y="165915"/>
                            <a:pt x="110879" y="150390"/>
                            <a:pt x="82958" y="130247"/>
                          </a:cubicBezTo>
                          <a:cubicBezTo>
                            <a:pt x="55052" y="110088"/>
                            <a:pt x="17060" y="79859"/>
                            <a:pt x="0" y="72096"/>
                          </a:cubicBezTo>
                          <a:lnTo>
                            <a:pt x="41091" y="0"/>
                          </a:ln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1" name="Freeform: Shape 2610">
                      <a:extLst>
                        <a:ext uri="{FF2B5EF4-FFF2-40B4-BE49-F238E27FC236}">
                          <a16:creationId xmlns:a16="http://schemas.microsoft.com/office/drawing/2014/main" id="{1142B3B5-09C3-F8EF-6BED-E4CFE0EB82D0}"/>
                        </a:ext>
                      </a:extLst>
                    </p:cNvPr>
                    <p:cNvSpPr/>
                    <p:nvPr/>
                  </p:nvSpPr>
                  <p:spPr>
                    <a:xfrm>
                      <a:off x="3047898" y="3057929"/>
                      <a:ext cx="486946" cy="264185"/>
                    </a:xfrm>
                    <a:custGeom>
                      <a:avLst/>
                      <a:gdLst>
                        <a:gd name="connsiteX0" fmla="*/ 38025 w 486946"/>
                        <a:gd name="connsiteY0" fmla="*/ 145834 h 264185"/>
                        <a:gd name="connsiteX1" fmla="*/ 222321 w 486946"/>
                        <a:gd name="connsiteY1" fmla="*/ 215605 h 264185"/>
                        <a:gd name="connsiteX2" fmla="*/ 442498 w 486946"/>
                        <a:gd name="connsiteY2" fmla="*/ 264186 h 264185"/>
                        <a:gd name="connsiteX3" fmla="*/ 486947 w 486946"/>
                        <a:gd name="connsiteY3" fmla="*/ 137038 h 264185"/>
                        <a:gd name="connsiteX4" fmla="*/ 253341 w 486946"/>
                        <a:gd name="connsiteY4" fmla="*/ 59519 h 264185"/>
                        <a:gd name="connsiteX5" fmla="*/ 41124 w 486946"/>
                        <a:gd name="connsiteY5" fmla="*/ 6290 h 264185"/>
                        <a:gd name="connsiteX6" fmla="*/ 38025 w 486946"/>
                        <a:gd name="connsiteY6" fmla="*/ 145834 h 26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946" h="264185">
                          <a:moveTo>
                            <a:pt x="38025" y="145834"/>
                          </a:moveTo>
                          <a:cubicBezTo>
                            <a:pt x="38025" y="145834"/>
                            <a:pt x="82002" y="182990"/>
                            <a:pt x="222321" y="215605"/>
                          </a:cubicBezTo>
                          <a:cubicBezTo>
                            <a:pt x="369111" y="249724"/>
                            <a:pt x="442498" y="264186"/>
                            <a:pt x="442498" y="264186"/>
                          </a:cubicBezTo>
                          <a:cubicBezTo>
                            <a:pt x="442498" y="264186"/>
                            <a:pt x="480749" y="188216"/>
                            <a:pt x="486947" y="137038"/>
                          </a:cubicBezTo>
                          <a:cubicBezTo>
                            <a:pt x="486947" y="137038"/>
                            <a:pt x="309152" y="79662"/>
                            <a:pt x="253341" y="59519"/>
                          </a:cubicBezTo>
                          <a:cubicBezTo>
                            <a:pt x="197529" y="39360"/>
                            <a:pt x="105518" y="-19125"/>
                            <a:pt x="41124" y="6290"/>
                          </a:cubicBezTo>
                          <a:cubicBezTo>
                            <a:pt x="-17802" y="29547"/>
                            <a:pt x="-8490" y="99319"/>
                            <a:pt x="38025" y="145834"/>
                          </a:cubicBezTo>
                          <a:close/>
                        </a:path>
                      </a:pathLst>
                    </a:custGeom>
                    <a:solidFill>
                      <a:srgbClr val="8FC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1" name="Freeform: Shape 20">
                <a:extLst>
                  <a:ext uri="{FF2B5EF4-FFF2-40B4-BE49-F238E27FC236}">
                    <a16:creationId xmlns:a16="http://schemas.microsoft.com/office/drawing/2014/main" id="{96247DAF-EC3E-BF7D-B550-F83BD2AA9ACA}"/>
                  </a:ext>
                </a:extLst>
              </p:cNvPr>
              <p:cNvSpPr/>
              <p:nvPr/>
            </p:nvSpPr>
            <p:spPr>
              <a:xfrm>
                <a:off x="3618395" y="1796618"/>
                <a:ext cx="318848" cy="424437"/>
              </a:xfrm>
              <a:custGeom>
                <a:avLst/>
                <a:gdLst>
                  <a:gd name="connsiteX0" fmla="*/ 142341 w 297398"/>
                  <a:gd name="connsiteY0" fmla="*/ 688 h 395884"/>
                  <a:gd name="connsiteX1" fmla="*/ 286533 w 297398"/>
                  <a:gd name="connsiteY1" fmla="*/ 101479 h 395884"/>
                  <a:gd name="connsiteX2" fmla="*/ 286533 w 297398"/>
                  <a:gd name="connsiteY2" fmla="*/ 332503 h 395884"/>
                  <a:gd name="connsiteX3" fmla="*/ 153187 w 297398"/>
                  <a:gd name="connsiteY3" fmla="*/ 382116 h 395884"/>
                  <a:gd name="connsiteX4" fmla="*/ 26039 w 297398"/>
                  <a:gd name="connsiteY4" fmla="*/ 270478 h 395884"/>
                  <a:gd name="connsiteX5" fmla="*/ 142326 w 297398"/>
                  <a:gd name="connsiteY5" fmla="*/ 688 h 39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398" h="395884">
                    <a:moveTo>
                      <a:pt x="142341" y="688"/>
                    </a:moveTo>
                    <a:cubicBezTo>
                      <a:pt x="142341" y="688"/>
                      <a:pt x="271038" y="-14822"/>
                      <a:pt x="286533" y="101479"/>
                    </a:cubicBezTo>
                    <a:cubicBezTo>
                      <a:pt x="302043" y="217766"/>
                      <a:pt x="299962" y="278818"/>
                      <a:pt x="286533" y="332503"/>
                    </a:cubicBezTo>
                    <a:cubicBezTo>
                      <a:pt x="274122" y="382116"/>
                      <a:pt x="238469" y="416235"/>
                      <a:pt x="153187" y="382116"/>
                    </a:cubicBezTo>
                    <a:cubicBezTo>
                      <a:pt x="67905" y="347997"/>
                      <a:pt x="44648" y="304597"/>
                      <a:pt x="26039" y="270478"/>
                    </a:cubicBezTo>
                    <a:cubicBezTo>
                      <a:pt x="7430" y="236359"/>
                      <a:pt x="-60792" y="16197"/>
                      <a:pt x="142326" y="68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77EA2214-B2BD-3774-3B3E-738CEC5CDF76}"/>
                  </a:ext>
                </a:extLst>
              </p:cNvPr>
              <p:cNvSpPr/>
              <p:nvPr/>
            </p:nvSpPr>
            <p:spPr>
              <a:xfrm>
                <a:off x="3485092" y="1770985"/>
                <a:ext cx="447487" cy="527475"/>
              </a:xfrm>
              <a:custGeom>
                <a:avLst/>
                <a:gdLst>
                  <a:gd name="connsiteX0" fmla="*/ 416626 w 417383"/>
                  <a:gd name="connsiteY0" fmla="*/ 173437 h 491990"/>
                  <a:gd name="connsiteX1" fmla="*/ 358171 w 417383"/>
                  <a:gd name="connsiteY1" fmla="*/ 119175 h 491990"/>
                  <a:gd name="connsiteX2" fmla="*/ 271340 w 417383"/>
                  <a:gd name="connsiteY2" fmla="*/ 85056 h 491990"/>
                  <a:gd name="connsiteX3" fmla="*/ 215529 w 417383"/>
                  <a:gd name="connsiteY3" fmla="*/ 153279 h 491990"/>
                  <a:gd name="connsiteX4" fmla="*/ 175212 w 417383"/>
                  <a:gd name="connsiteY4" fmla="*/ 294372 h 491990"/>
                  <a:gd name="connsiteX5" fmla="*/ 117836 w 417383"/>
                  <a:gd name="connsiteY5" fmla="*/ 469584 h 491990"/>
                  <a:gd name="connsiteX6" fmla="*/ 0 w 417383"/>
                  <a:gd name="connsiteY6" fmla="*/ 491990 h 491990"/>
                  <a:gd name="connsiteX7" fmla="*/ 26356 w 417383"/>
                  <a:gd name="connsiteY7" fmla="*/ 418421 h 491990"/>
                  <a:gd name="connsiteX8" fmla="*/ 46515 w 417383"/>
                  <a:gd name="connsiteY8" fmla="*/ 266466 h 491990"/>
                  <a:gd name="connsiteX9" fmla="*/ 173662 w 417383"/>
                  <a:gd name="connsiteY9" fmla="*/ 23032 h 491990"/>
                  <a:gd name="connsiteX10" fmla="*/ 310624 w 417383"/>
                  <a:gd name="connsiteY10" fmla="*/ 5456 h 491990"/>
                  <a:gd name="connsiteX11" fmla="*/ 416626 w 417383"/>
                  <a:gd name="connsiteY11" fmla="*/ 173422 h 491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383" h="491990">
                    <a:moveTo>
                      <a:pt x="416626" y="173437"/>
                    </a:moveTo>
                    <a:cubicBezTo>
                      <a:pt x="416626" y="173437"/>
                      <a:pt x="398488" y="130021"/>
                      <a:pt x="358171" y="119175"/>
                    </a:cubicBezTo>
                    <a:cubicBezTo>
                      <a:pt x="317855" y="108314"/>
                      <a:pt x="296542" y="107539"/>
                      <a:pt x="271340" y="85056"/>
                    </a:cubicBezTo>
                    <a:cubicBezTo>
                      <a:pt x="271340" y="85056"/>
                      <a:pt x="243434" y="128472"/>
                      <a:pt x="215529" y="153279"/>
                    </a:cubicBezTo>
                    <a:cubicBezTo>
                      <a:pt x="187623" y="178086"/>
                      <a:pt x="172113" y="235462"/>
                      <a:pt x="175212" y="294372"/>
                    </a:cubicBezTo>
                    <a:cubicBezTo>
                      <a:pt x="178311" y="353297"/>
                      <a:pt x="181410" y="461821"/>
                      <a:pt x="117836" y="469584"/>
                    </a:cubicBezTo>
                    <a:cubicBezTo>
                      <a:pt x="54262" y="477331"/>
                      <a:pt x="31354" y="480643"/>
                      <a:pt x="0" y="491990"/>
                    </a:cubicBezTo>
                    <a:cubicBezTo>
                      <a:pt x="0" y="491990"/>
                      <a:pt x="13960" y="463386"/>
                      <a:pt x="26356" y="418421"/>
                    </a:cubicBezTo>
                    <a:cubicBezTo>
                      <a:pt x="38767" y="373456"/>
                      <a:pt x="51163" y="333139"/>
                      <a:pt x="46515" y="266466"/>
                    </a:cubicBezTo>
                    <a:cubicBezTo>
                      <a:pt x="41866" y="199793"/>
                      <a:pt x="41866" y="32344"/>
                      <a:pt x="173662" y="23032"/>
                    </a:cubicBezTo>
                    <a:cubicBezTo>
                      <a:pt x="173662" y="23032"/>
                      <a:pt x="226618" y="-13502"/>
                      <a:pt x="310624" y="5456"/>
                    </a:cubicBezTo>
                    <a:cubicBezTo>
                      <a:pt x="406752" y="27164"/>
                      <a:pt x="421274" y="95903"/>
                      <a:pt x="416626" y="173422"/>
                    </a:cubicBezTo>
                    <a:close/>
                  </a:path>
                </a:pathLst>
              </a:custGeom>
              <a:solidFill>
                <a:srgbClr val="200C2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56BD2260-39DD-74CF-9938-22948FBCFC59}"/>
                  </a:ext>
                </a:extLst>
              </p:cNvPr>
              <p:cNvSpPr/>
              <p:nvPr/>
            </p:nvSpPr>
            <p:spPr>
              <a:xfrm>
                <a:off x="3671279" y="1795711"/>
                <a:ext cx="104738" cy="66498"/>
              </a:xfrm>
              <a:custGeom>
                <a:avLst/>
                <a:gdLst>
                  <a:gd name="connsiteX0" fmla="*/ 97678 w 97692"/>
                  <a:gd name="connsiteY0" fmla="*/ 62009 h 62024"/>
                  <a:gd name="connsiteX1" fmla="*/ 48672 w 97692"/>
                  <a:gd name="connsiteY1" fmla="*/ 29546 h 62024"/>
                  <a:gd name="connsiteX2" fmla="*/ 25506 w 97692"/>
                  <a:gd name="connsiteY2" fmla="*/ 15540 h 62024"/>
                  <a:gd name="connsiteX3" fmla="*/ 0 w 97692"/>
                  <a:gd name="connsiteY3" fmla="*/ 0 h 62024"/>
                  <a:gd name="connsiteX4" fmla="*/ 32721 w 97692"/>
                  <a:gd name="connsiteY4" fmla="*/ 30245 h 62024"/>
                  <a:gd name="connsiteX5" fmla="*/ 73403 w 97692"/>
                  <a:gd name="connsiteY5" fmla="*/ 53092 h 62024"/>
                  <a:gd name="connsiteX6" fmla="*/ 97693 w 97692"/>
                  <a:gd name="connsiteY6" fmla="*/ 62024 h 6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92" h="62024">
                    <a:moveTo>
                      <a:pt x="97678" y="62009"/>
                    </a:moveTo>
                    <a:cubicBezTo>
                      <a:pt x="82213" y="50008"/>
                      <a:pt x="65397" y="39648"/>
                      <a:pt x="48672" y="29546"/>
                    </a:cubicBezTo>
                    <a:cubicBezTo>
                      <a:pt x="40955" y="24883"/>
                      <a:pt x="33223" y="20204"/>
                      <a:pt x="25506" y="15540"/>
                    </a:cubicBezTo>
                    <a:cubicBezTo>
                      <a:pt x="16984" y="10391"/>
                      <a:pt x="8461" y="5241"/>
                      <a:pt x="0" y="0"/>
                    </a:cubicBezTo>
                    <a:cubicBezTo>
                      <a:pt x="8629" y="12092"/>
                      <a:pt x="20599" y="21845"/>
                      <a:pt x="32721" y="30245"/>
                    </a:cubicBezTo>
                    <a:cubicBezTo>
                      <a:pt x="45512" y="39101"/>
                      <a:pt x="59184" y="46773"/>
                      <a:pt x="73403" y="53092"/>
                    </a:cubicBezTo>
                    <a:cubicBezTo>
                      <a:pt x="81287" y="56601"/>
                      <a:pt x="89353" y="59746"/>
                      <a:pt x="97693" y="62024"/>
                    </a:cubicBezTo>
                    <a:close/>
                  </a:path>
                </a:pathLst>
              </a:custGeom>
              <a:solidFill>
                <a:srgbClr val="10051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73F14B75-60DF-835F-C441-10DF5A318A2C}"/>
                  </a:ext>
                </a:extLst>
              </p:cNvPr>
              <p:cNvSpPr/>
              <p:nvPr/>
            </p:nvSpPr>
            <p:spPr>
              <a:xfrm>
                <a:off x="3624203" y="2010497"/>
                <a:ext cx="42092" cy="41189"/>
              </a:xfrm>
              <a:custGeom>
                <a:avLst/>
                <a:gdLst>
                  <a:gd name="connsiteX0" fmla="*/ 2286 w 39260"/>
                  <a:gd name="connsiteY0" fmla="*/ 791 h 38418"/>
                  <a:gd name="connsiteX1" fmla="*/ 19361 w 39260"/>
                  <a:gd name="connsiteY1" fmla="*/ 3130 h 38418"/>
                  <a:gd name="connsiteX2" fmla="*/ 39170 w 39260"/>
                  <a:gd name="connsiteY2" fmla="*/ 34576 h 38418"/>
                  <a:gd name="connsiteX3" fmla="*/ 36906 w 39260"/>
                  <a:gd name="connsiteY3" fmla="*/ 38328 h 38418"/>
                  <a:gd name="connsiteX4" fmla="*/ 36162 w 39260"/>
                  <a:gd name="connsiteY4" fmla="*/ 38419 h 38418"/>
                  <a:gd name="connsiteX5" fmla="*/ 33154 w 39260"/>
                  <a:gd name="connsiteY5" fmla="*/ 36064 h 38418"/>
                  <a:gd name="connsiteX6" fmla="*/ 30192 w 39260"/>
                  <a:gd name="connsiteY6" fmla="*/ 27390 h 38418"/>
                  <a:gd name="connsiteX7" fmla="*/ 13300 w 39260"/>
                  <a:gd name="connsiteY7" fmla="*/ 28940 h 38418"/>
                  <a:gd name="connsiteX8" fmla="*/ 10839 w 39260"/>
                  <a:gd name="connsiteY8" fmla="*/ 30155 h 38418"/>
                  <a:gd name="connsiteX9" fmla="*/ 8955 w 39260"/>
                  <a:gd name="connsiteY9" fmla="*/ 29517 h 38418"/>
                  <a:gd name="connsiteX10" fmla="*/ 8378 w 39260"/>
                  <a:gd name="connsiteY10" fmla="*/ 25172 h 38418"/>
                  <a:gd name="connsiteX11" fmla="*/ 26577 w 39260"/>
                  <a:gd name="connsiteY11" fmla="*/ 19962 h 38418"/>
                  <a:gd name="connsiteX12" fmla="*/ 16216 w 39260"/>
                  <a:gd name="connsiteY12" fmla="*/ 8462 h 38418"/>
                  <a:gd name="connsiteX13" fmla="*/ 3881 w 39260"/>
                  <a:gd name="connsiteY13" fmla="*/ 6791 h 38418"/>
                  <a:gd name="connsiteX14" fmla="*/ 99 w 39260"/>
                  <a:gd name="connsiteY14" fmla="*/ 4574 h 38418"/>
                  <a:gd name="connsiteX15" fmla="*/ 2317 w 39260"/>
                  <a:gd name="connsiteY15" fmla="*/ 791 h 3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260" h="38418">
                    <a:moveTo>
                      <a:pt x="2286" y="791"/>
                    </a:moveTo>
                    <a:cubicBezTo>
                      <a:pt x="8348" y="-789"/>
                      <a:pt x="14090" y="1"/>
                      <a:pt x="19361" y="3130"/>
                    </a:cubicBezTo>
                    <a:cubicBezTo>
                      <a:pt x="33321" y="11440"/>
                      <a:pt x="38927" y="33634"/>
                      <a:pt x="39170" y="34576"/>
                    </a:cubicBezTo>
                    <a:cubicBezTo>
                      <a:pt x="39580" y="36231"/>
                      <a:pt x="38562" y="37918"/>
                      <a:pt x="36906" y="38328"/>
                    </a:cubicBezTo>
                    <a:cubicBezTo>
                      <a:pt x="36663" y="38389"/>
                      <a:pt x="36405" y="38419"/>
                      <a:pt x="36162" y="38419"/>
                    </a:cubicBezTo>
                    <a:cubicBezTo>
                      <a:pt x="34764" y="38419"/>
                      <a:pt x="33504" y="37477"/>
                      <a:pt x="33154" y="36064"/>
                    </a:cubicBezTo>
                    <a:cubicBezTo>
                      <a:pt x="33139" y="35973"/>
                      <a:pt x="32182" y="32221"/>
                      <a:pt x="30192" y="27390"/>
                    </a:cubicBezTo>
                    <a:cubicBezTo>
                      <a:pt x="27002" y="26221"/>
                      <a:pt x="17568" y="23365"/>
                      <a:pt x="13300" y="28940"/>
                    </a:cubicBezTo>
                    <a:cubicBezTo>
                      <a:pt x="12692" y="29745"/>
                      <a:pt x="11765" y="30155"/>
                      <a:pt x="10839" y="30155"/>
                    </a:cubicBezTo>
                    <a:cubicBezTo>
                      <a:pt x="10186" y="30155"/>
                      <a:pt x="9517" y="29942"/>
                      <a:pt x="8955" y="29517"/>
                    </a:cubicBezTo>
                    <a:cubicBezTo>
                      <a:pt x="7588" y="28469"/>
                      <a:pt x="7330" y="26524"/>
                      <a:pt x="8378" y="25172"/>
                    </a:cubicBezTo>
                    <a:cubicBezTo>
                      <a:pt x="13163" y="18929"/>
                      <a:pt x="20880" y="18883"/>
                      <a:pt x="26577" y="19962"/>
                    </a:cubicBezTo>
                    <a:cubicBezTo>
                      <a:pt x="23964" y="15435"/>
                      <a:pt x="20530" y="11045"/>
                      <a:pt x="16216" y="8462"/>
                    </a:cubicBezTo>
                    <a:cubicBezTo>
                      <a:pt x="12373" y="6184"/>
                      <a:pt x="8348" y="5637"/>
                      <a:pt x="3881" y="6791"/>
                    </a:cubicBezTo>
                    <a:cubicBezTo>
                      <a:pt x="2226" y="7232"/>
                      <a:pt x="539" y="6229"/>
                      <a:pt x="99" y="4574"/>
                    </a:cubicBezTo>
                    <a:cubicBezTo>
                      <a:pt x="-327" y="2918"/>
                      <a:pt x="661" y="1216"/>
                      <a:pt x="2317" y="79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 name="Graphic 3200">
              <a:extLst>
                <a:ext uri="{FF2B5EF4-FFF2-40B4-BE49-F238E27FC236}">
                  <a16:creationId xmlns:a16="http://schemas.microsoft.com/office/drawing/2014/main" id="{E697CC36-C539-7540-D3FF-1CAE2E1FA059}"/>
                </a:ext>
              </a:extLst>
            </p:cNvPr>
            <p:cNvGrpSpPr/>
            <p:nvPr/>
          </p:nvGrpSpPr>
          <p:grpSpPr>
            <a:xfrm>
              <a:off x="7357515" y="3336493"/>
              <a:ext cx="958786" cy="1533615"/>
              <a:chOff x="7322513" y="3600511"/>
              <a:chExt cx="894285" cy="1430443"/>
            </a:xfrm>
          </p:grpSpPr>
          <p:grpSp>
            <p:nvGrpSpPr>
              <p:cNvPr id="2589" name="Graphic 3200">
                <a:extLst>
                  <a:ext uri="{FF2B5EF4-FFF2-40B4-BE49-F238E27FC236}">
                    <a16:creationId xmlns:a16="http://schemas.microsoft.com/office/drawing/2014/main" id="{59154096-E550-CCA8-ACF1-E2BA58B402DF}"/>
                  </a:ext>
                </a:extLst>
              </p:cNvPr>
              <p:cNvGrpSpPr/>
              <p:nvPr/>
            </p:nvGrpSpPr>
            <p:grpSpPr>
              <a:xfrm>
                <a:off x="7322513" y="3635852"/>
                <a:ext cx="881563" cy="1395102"/>
                <a:chOff x="7322513" y="3635852"/>
                <a:chExt cx="881563" cy="1395102"/>
              </a:xfrm>
              <a:solidFill>
                <a:srgbClr val="293463"/>
              </a:solidFill>
            </p:grpSpPr>
            <p:grpSp>
              <p:nvGrpSpPr>
                <p:cNvPr id="2598" name="Graphic 3200">
                  <a:extLst>
                    <a:ext uri="{FF2B5EF4-FFF2-40B4-BE49-F238E27FC236}">
                      <a16:creationId xmlns:a16="http://schemas.microsoft.com/office/drawing/2014/main" id="{BF0EB85B-3782-EB40-2170-1E39A20A0F45}"/>
                    </a:ext>
                  </a:extLst>
                </p:cNvPr>
                <p:cNvGrpSpPr/>
                <p:nvPr/>
              </p:nvGrpSpPr>
              <p:grpSpPr>
                <a:xfrm>
                  <a:off x="7855764" y="3635852"/>
                  <a:ext cx="348312" cy="706878"/>
                  <a:chOff x="7855764" y="3635852"/>
                  <a:chExt cx="348312" cy="706878"/>
                </a:xfrm>
                <a:solidFill>
                  <a:srgbClr val="293463"/>
                </a:solidFill>
              </p:grpSpPr>
              <p:sp>
                <p:nvSpPr>
                  <p:cNvPr id="2604" name="Freeform: Shape 2603">
                    <a:extLst>
                      <a:ext uri="{FF2B5EF4-FFF2-40B4-BE49-F238E27FC236}">
                        <a16:creationId xmlns:a16="http://schemas.microsoft.com/office/drawing/2014/main" id="{CB25A613-DF50-B69F-0336-19D55BB15B54}"/>
                      </a:ext>
                    </a:extLst>
                  </p:cNvPr>
                  <p:cNvSpPr/>
                  <p:nvPr/>
                </p:nvSpPr>
                <p:spPr>
                  <a:xfrm>
                    <a:off x="8007552" y="3635852"/>
                    <a:ext cx="196524" cy="706878"/>
                  </a:xfrm>
                  <a:custGeom>
                    <a:avLst/>
                    <a:gdLst>
                      <a:gd name="connsiteX0" fmla="*/ 12727 w 196524"/>
                      <a:gd name="connsiteY0" fmla="*/ 706864 h 706878"/>
                      <a:gd name="connsiteX1" fmla="*/ 42 w 196524"/>
                      <a:gd name="connsiteY1" fmla="*/ 695349 h 706878"/>
                      <a:gd name="connsiteX2" fmla="*/ 11512 w 196524"/>
                      <a:gd name="connsiteY2" fmla="*/ 681829 h 706878"/>
                      <a:gd name="connsiteX3" fmla="*/ 171441 w 196524"/>
                      <a:gd name="connsiteY3" fmla="*/ 12609 h 706878"/>
                      <a:gd name="connsiteX4" fmla="*/ 183776 w 196524"/>
                      <a:gd name="connsiteY4" fmla="*/ 0 h 706878"/>
                      <a:gd name="connsiteX5" fmla="*/ 196522 w 196524"/>
                      <a:gd name="connsiteY5" fmla="*/ 12472 h 706878"/>
                      <a:gd name="connsiteX6" fmla="*/ 176348 w 196524"/>
                      <a:gd name="connsiteY6" fmla="*/ 349634 h 706878"/>
                      <a:gd name="connsiteX7" fmla="*/ 13563 w 196524"/>
                      <a:gd name="connsiteY7" fmla="*/ 706833 h 706878"/>
                      <a:gd name="connsiteX8" fmla="*/ 12727 w 196524"/>
                      <a:gd name="connsiteY8" fmla="*/ 706879 h 70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524" h="706878">
                        <a:moveTo>
                          <a:pt x="12727" y="706864"/>
                        </a:moveTo>
                        <a:cubicBezTo>
                          <a:pt x="6179" y="706970"/>
                          <a:pt x="589" y="701972"/>
                          <a:pt x="42" y="695349"/>
                        </a:cubicBezTo>
                        <a:cubicBezTo>
                          <a:pt x="-520" y="688452"/>
                          <a:pt x="4615" y="682391"/>
                          <a:pt x="11512" y="681829"/>
                        </a:cubicBezTo>
                        <a:cubicBezTo>
                          <a:pt x="145586" y="670892"/>
                          <a:pt x="172414" y="195036"/>
                          <a:pt x="171441" y="12609"/>
                        </a:cubicBezTo>
                        <a:cubicBezTo>
                          <a:pt x="171411" y="5727"/>
                          <a:pt x="176910" y="107"/>
                          <a:pt x="183776" y="0"/>
                        </a:cubicBezTo>
                        <a:cubicBezTo>
                          <a:pt x="190840" y="-45"/>
                          <a:pt x="196491" y="5545"/>
                          <a:pt x="196522" y="12472"/>
                        </a:cubicBezTo>
                        <a:cubicBezTo>
                          <a:pt x="196522" y="14143"/>
                          <a:pt x="197190" y="182094"/>
                          <a:pt x="176348" y="349634"/>
                        </a:cubicBezTo>
                        <a:cubicBezTo>
                          <a:pt x="147668" y="580187"/>
                          <a:pt x="92905" y="700362"/>
                          <a:pt x="13563" y="706833"/>
                        </a:cubicBezTo>
                        <a:cubicBezTo>
                          <a:pt x="13274" y="706848"/>
                          <a:pt x="13000" y="706864"/>
                          <a:pt x="12727" y="706879"/>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5" name="Freeform: Shape 2604">
                    <a:extLst>
                      <a:ext uri="{FF2B5EF4-FFF2-40B4-BE49-F238E27FC236}">
                        <a16:creationId xmlns:a16="http://schemas.microsoft.com/office/drawing/2014/main" id="{D1C27442-D37D-88B9-7328-C23ED06EBAD1}"/>
                      </a:ext>
                    </a:extLst>
                  </p:cNvPr>
                  <p:cNvSpPr/>
                  <p:nvPr/>
                </p:nvSpPr>
                <p:spPr>
                  <a:xfrm>
                    <a:off x="7855764" y="3638890"/>
                    <a:ext cx="205638" cy="676544"/>
                  </a:xfrm>
                  <a:custGeom>
                    <a:avLst/>
                    <a:gdLst>
                      <a:gd name="connsiteX0" fmla="*/ 11695 w 205638"/>
                      <a:gd name="connsiteY0" fmla="*/ 676543 h 676544"/>
                      <a:gd name="connsiteX1" fmla="*/ 43 w 205638"/>
                      <a:gd name="connsiteY1" fmla="*/ 666000 h 676544"/>
                      <a:gd name="connsiteX2" fmla="*/ 10540 w 205638"/>
                      <a:gd name="connsiteY2" fmla="*/ 653529 h 676544"/>
                      <a:gd name="connsiteX3" fmla="*/ 182592 w 205638"/>
                      <a:gd name="connsiteY3" fmla="*/ 11394 h 676544"/>
                      <a:gd name="connsiteX4" fmla="*/ 194259 w 205638"/>
                      <a:gd name="connsiteY4" fmla="*/ 1 h 676544"/>
                      <a:gd name="connsiteX5" fmla="*/ 205637 w 205638"/>
                      <a:gd name="connsiteY5" fmla="*/ 11667 h 676544"/>
                      <a:gd name="connsiteX6" fmla="*/ 179827 w 205638"/>
                      <a:gd name="connsiteY6" fmla="*/ 334322 h 676544"/>
                      <a:gd name="connsiteX7" fmla="*/ 12500 w 205638"/>
                      <a:gd name="connsiteY7" fmla="*/ 676497 h 676544"/>
                      <a:gd name="connsiteX8" fmla="*/ 11695 w 205638"/>
                      <a:gd name="connsiteY8" fmla="*/ 676543 h 67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638" h="676544">
                        <a:moveTo>
                          <a:pt x="11695" y="676543"/>
                        </a:moveTo>
                        <a:cubicBezTo>
                          <a:pt x="5694" y="676634"/>
                          <a:pt x="559" y="672077"/>
                          <a:pt x="43" y="666000"/>
                        </a:cubicBezTo>
                        <a:cubicBezTo>
                          <a:pt x="-504" y="659651"/>
                          <a:pt x="4206" y="654076"/>
                          <a:pt x="10540" y="653529"/>
                        </a:cubicBezTo>
                        <a:cubicBezTo>
                          <a:pt x="145511" y="641953"/>
                          <a:pt x="180496" y="186074"/>
                          <a:pt x="182592" y="11394"/>
                        </a:cubicBezTo>
                        <a:cubicBezTo>
                          <a:pt x="182668" y="5029"/>
                          <a:pt x="187681" y="-60"/>
                          <a:pt x="194259" y="1"/>
                        </a:cubicBezTo>
                        <a:cubicBezTo>
                          <a:pt x="200624" y="77"/>
                          <a:pt x="205728" y="5302"/>
                          <a:pt x="205637" y="11667"/>
                        </a:cubicBezTo>
                        <a:cubicBezTo>
                          <a:pt x="205622" y="13277"/>
                          <a:pt x="203450" y="173921"/>
                          <a:pt x="179827" y="334322"/>
                        </a:cubicBezTo>
                        <a:cubicBezTo>
                          <a:pt x="147380" y="554636"/>
                          <a:pt x="91097" y="669768"/>
                          <a:pt x="12500" y="676497"/>
                        </a:cubicBezTo>
                        <a:cubicBezTo>
                          <a:pt x="12226" y="676528"/>
                          <a:pt x="11953" y="676528"/>
                          <a:pt x="11695" y="676543"/>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99" name="Graphic 3200">
                  <a:extLst>
                    <a:ext uri="{FF2B5EF4-FFF2-40B4-BE49-F238E27FC236}">
                      <a16:creationId xmlns:a16="http://schemas.microsoft.com/office/drawing/2014/main" id="{88ADCEBD-5C6C-1AE0-B832-02689BBFECC4}"/>
                    </a:ext>
                  </a:extLst>
                </p:cNvPr>
                <p:cNvGrpSpPr/>
                <p:nvPr/>
              </p:nvGrpSpPr>
              <p:grpSpPr>
                <a:xfrm>
                  <a:off x="7322513" y="4230621"/>
                  <a:ext cx="878068" cy="800334"/>
                  <a:chOff x="7322513" y="4230621"/>
                  <a:chExt cx="878068" cy="800334"/>
                </a:xfrm>
                <a:solidFill>
                  <a:srgbClr val="293463"/>
                </a:solidFill>
              </p:grpSpPr>
              <p:sp>
                <p:nvSpPr>
                  <p:cNvPr id="2600" name="Freeform: Shape 2599">
                    <a:extLst>
                      <a:ext uri="{FF2B5EF4-FFF2-40B4-BE49-F238E27FC236}">
                        <a16:creationId xmlns:a16="http://schemas.microsoft.com/office/drawing/2014/main" id="{9E3DCBDE-3951-6FCC-0276-C1626F3147F6}"/>
                      </a:ext>
                    </a:extLst>
                  </p:cNvPr>
                  <p:cNvSpPr/>
                  <p:nvPr/>
                </p:nvSpPr>
                <p:spPr>
                  <a:xfrm>
                    <a:off x="7452698" y="4325562"/>
                    <a:ext cx="140952" cy="705393"/>
                  </a:xfrm>
                  <a:custGeom>
                    <a:avLst/>
                    <a:gdLst>
                      <a:gd name="connsiteX0" fmla="*/ 11411 w 140952"/>
                      <a:gd name="connsiteY0" fmla="*/ 705393 h 705393"/>
                      <a:gd name="connsiteX1" fmla="*/ 10591 w 140952"/>
                      <a:gd name="connsiteY1" fmla="*/ 705378 h 705393"/>
                      <a:gd name="connsiteX2" fmla="*/ 18 w 140952"/>
                      <a:gd name="connsiteY2" fmla="*/ 693529 h 705393"/>
                      <a:gd name="connsiteX3" fmla="*/ 118750 w 140952"/>
                      <a:gd name="connsiteY3" fmla="*/ 8814 h 705393"/>
                      <a:gd name="connsiteX4" fmla="*/ 132133 w 140952"/>
                      <a:gd name="connsiteY4" fmla="*/ 262 h 705393"/>
                      <a:gd name="connsiteX5" fmla="*/ 140686 w 140952"/>
                      <a:gd name="connsiteY5" fmla="*/ 13645 h 705393"/>
                      <a:gd name="connsiteX6" fmla="*/ 22455 w 140952"/>
                      <a:gd name="connsiteY6" fmla="*/ 694805 h 705393"/>
                      <a:gd name="connsiteX7" fmla="*/ 11427 w 140952"/>
                      <a:gd name="connsiteY7" fmla="*/ 705393 h 70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952" h="705393">
                        <a:moveTo>
                          <a:pt x="11411" y="705393"/>
                        </a:moveTo>
                        <a:cubicBezTo>
                          <a:pt x="11138" y="705393"/>
                          <a:pt x="10864" y="705393"/>
                          <a:pt x="10591" y="705378"/>
                        </a:cubicBezTo>
                        <a:cubicBezTo>
                          <a:pt x="4393" y="705029"/>
                          <a:pt x="-331" y="699727"/>
                          <a:pt x="18" y="693529"/>
                        </a:cubicBezTo>
                        <a:cubicBezTo>
                          <a:pt x="11108" y="498524"/>
                          <a:pt x="117672" y="13691"/>
                          <a:pt x="118750" y="8814"/>
                        </a:cubicBezTo>
                        <a:cubicBezTo>
                          <a:pt x="120087" y="2753"/>
                          <a:pt x="126103" y="-1060"/>
                          <a:pt x="132133" y="262"/>
                        </a:cubicBezTo>
                        <a:cubicBezTo>
                          <a:pt x="138195" y="1598"/>
                          <a:pt x="142023" y="7599"/>
                          <a:pt x="140686" y="13645"/>
                        </a:cubicBezTo>
                        <a:cubicBezTo>
                          <a:pt x="139607" y="18506"/>
                          <a:pt x="33438" y="501592"/>
                          <a:pt x="22455" y="694805"/>
                        </a:cubicBezTo>
                        <a:cubicBezTo>
                          <a:pt x="22121" y="700714"/>
                          <a:pt x="17260" y="705302"/>
                          <a:pt x="11427" y="705393"/>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1" name="Freeform: Shape 2600">
                    <a:extLst>
                      <a:ext uri="{FF2B5EF4-FFF2-40B4-BE49-F238E27FC236}">
                        <a16:creationId xmlns:a16="http://schemas.microsoft.com/office/drawing/2014/main" id="{F96C5E95-13E4-B687-577F-35CCA9DE6C16}"/>
                      </a:ext>
                    </a:extLst>
                  </p:cNvPr>
                  <p:cNvSpPr/>
                  <p:nvPr/>
                </p:nvSpPr>
                <p:spPr>
                  <a:xfrm>
                    <a:off x="8008121" y="4273379"/>
                    <a:ext cx="192460" cy="745985"/>
                  </a:xfrm>
                  <a:custGeom>
                    <a:avLst/>
                    <a:gdLst>
                      <a:gd name="connsiteX0" fmla="*/ 181400 w 192460"/>
                      <a:gd name="connsiteY0" fmla="*/ 745970 h 745985"/>
                      <a:gd name="connsiteX1" fmla="*/ 170128 w 192460"/>
                      <a:gd name="connsiteY1" fmla="*/ 736385 h 745985"/>
                      <a:gd name="connsiteX2" fmla="*/ 3423 w 192460"/>
                      <a:gd name="connsiteY2" fmla="*/ 19298 h 745985"/>
                      <a:gd name="connsiteX3" fmla="*/ 3165 w 192460"/>
                      <a:gd name="connsiteY3" fmla="*/ 3423 h 745985"/>
                      <a:gd name="connsiteX4" fmla="*/ 19040 w 192460"/>
                      <a:gd name="connsiteY4" fmla="*/ 3165 h 745985"/>
                      <a:gd name="connsiteX5" fmla="*/ 192338 w 192460"/>
                      <a:gd name="connsiteY5" fmla="*/ 733103 h 745985"/>
                      <a:gd name="connsiteX6" fmla="*/ 182889 w 192460"/>
                      <a:gd name="connsiteY6" fmla="*/ 745864 h 745985"/>
                      <a:gd name="connsiteX7" fmla="*/ 181400 w 192460"/>
                      <a:gd name="connsiteY7" fmla="*/ 745985 h 74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460" h="745985">
                        <a:moveTo>
                          <a:pt x="181400" y="745970"/>
                        </a:moveTo>
                        <a:cubicBezTo>
                          <a:pt x="175855" y="746061"/>
                          <a:pt x="170964" y="742036"/>
                          <a:pt x="170128" y="736385"/>
                        </a:cubicBezTo>
                        <a:cubicBezTo>
                          <a:pt x="143256" y="555795"/>
                          <a:pt x="60936" y="74912"/>
                          <a:pt x="3423" y="19298"/>
                        </a:cubicBezTo>
                        <a:cubicBezTo>
                          <a:pt x="-1043" y="14983"/>
                          <a:pt x="-1149" y="7874"/>
                          <a:pt x="3165" y="3423"/>
                        </a:cubicBezTo>
                        <a:cubicBezTo>
                          <a:pt x="7479" y="-1043"/>
                          <a:pt x="14588" y="-1149"/>
                          <a:pt x="19040" y="3165"/>
                        </a:cubicBezTo>
                        <a:cubicBezTo>
                          <a:pt x="93764" y="75443"/>
                          <a:pt x="188342" y="706276"/>
                          <a:pt x="192338" y="733103"/>
                        </a:cubicBezTo>
                        <a:cubicBezTo>
                          <a:pt x="193249" y="739240"/>
                          <a:pt x="189010" y="744952"/>
                          <a:pt x="182889" y="745864"/>
                        </a:cubicBezTo>
                        <a:cubicBezTo>
                          <a:pt x="182387" y="745940"/>
                          <a:pt x="181886" y="745985"/>
                          <a:pt x="181400" y="745985"/>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2" name="Freeform: Shape 2601">
                    <a:extLst>
                      <a:ext uri="{FF2B5EF4-FFF2-40B4-BE49-F238E27FC236}">
                        <a16:creationId xmlns:a16="http://schemas.microsoft.com/office/drawing/2014/main" id="{6D9D2E05-7AA7-6777-E23A-7AFAC23A5BAC}"/>
                      </a:ext>
                    </a:extLst>
                  </p:cNvPr>
                  <p:cNvSpPr/>
                  <p:nvPr/>
                </p:nvSpPr>
                <p:spPr>
                  <a:xfrm>
                    <a:off x="7864595" y="4230621"/>
                    <a:ext cx="136880" cy="584518"/>
                  </a:xfrm>
                  <a:custGeom>
                    <a:avLst/>
                    <a:gdLst>
                      <a:gd name="connsiteX0" fmla="*/ 124543 w 136880"/>
                      <a:gd name="connsiteY0" fmla="*/ 584517 h 584518"/>
                      <a:gd name="connsiteX1" fmla="*/ 111843 w 136880"/>
                      <a:gd name="connsiteY1" fmla="*/ 572866 h 584518"/>
                      <a:gd name="connsiteX2" fmla="*/ 84408 w 136880"/>
                      <a:gd name="connsiteY2" fmla="*/ 314438 h 584518"/>
                      <a:gd name="connsiteX3" fmla="*/ 5188 w 136880"/>
                      <a:gd name="connsiteY3" fmla="*/ 22697 h 584518"/>
                      <a:gd name="connsiteX4" fmla="*/ 2377 w 136880"/>
                      <a:gd name="connsiteY4" fmla="*/ 5181 h 584518"/>
                      <a:gd name="connsiteX5" fmla="*/ 19893 w 136880"/>
                      <a:gd name="connsiteY5" fmla="*/ 2371 h 584518"/>
                      <a:gd name="connsiteX6" fmla="*/ 136847 w 136880"/>
                      <a:gd name="connsiteY6" fmla="*/ 571058 h 584518"/>
                      <a:gd name="connsiteX7" fmla="*/ 125241 w 136880"/>
                      <a:gd name="connsiteY7" fmla="*/ 584456 h 584518"/>
                      <a:gd name="connsiteX8" fmla="*/ 124543 w 136880"/>
                      <a:gd name="connsiteY8" fmla="*/ 584487 h 58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80" h="584518">
                        <a:moveTo>
                          <a:pt x="124543" y="584517"/>
                        </a:moveTo>
                        <a:cubicBezTo>
                          <a:pt x="117934" y="584623"/>
                          <a:pt x="112329" y="579550"/>
                          <a:pt x="111843" y="572866"/>
                        </a:cubicBezTo>
                        <a:cubicBezTo>
                          <a:pt x="111752" y="571605"/>
                          <a:pt x="102637" y="445520"/>
                          <a:pt x="84408" y="314438"/>
                        </a:cubicBezTo>
                        <a:cubicBezTo>
                          <a:pt x="52887" y="87698"/>
                          <a:pt x="21245" y="34333"/>
                          <a:pt x="5188" y="22697"/>
                        </a:cubicBezTo>
                        <a:cubicBezTo>
                          <a:pt x="-417" y="18625"/>
                          <a:pt x="-1678" y="10787"/>
                          <a:pt x="2377" y="5181"/>
                        </a:cubicBezTo>
                        <a:cubicBezTo>
                          <a:pt x="6434" y="-424"/>
                          <a:pt x="14287" y="-1670"/>
                          <a:pt x="19893" y="2371"/>
                        </a:cubicBezTo>
                        <a:cubicBezTo>
                          <a:pt x="98111" y="59018"/>
                          <a:pt x="133111" y="518816"/>
                          <a:pt x="136847" y="571058"/>
                        </a:cubicBezTo>
                        <a:cubicBezTo>
                          <a:pt x="137349" y="577970"/>
                          <a:pt x="132138" y="583955"/>
                          <a:pt x="125241" y="584456"/>
                        </a:cubicBezTo>
                        <a:cubicBezTo>
                          <a:pt x="125014" y="584472"/>
                          <a:pt x="124770" y="584487"/>
                          <a:pt x="124543" y="584487"/>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3" name="Freeform: Shape 2602">
                    <a:extLst>
                      <a:ext uri="{FF2B5EF4-FFF2-40B4-BE49-F238E27FC236}">
                        <a16:creationId xmlns:a16="http://schemas.microsoft.com/office/drawing/2014/main" id="{4BB69FF9-D54D-C523-88AD-F6D6004935BD}"/>
                      </a:ext>
                    </a:extLst>
                  </p:cNvPr>
                  <p:cNvSpPr/>
                  <p:nvPr/>
                </p:nvSpPr>
                <p:spPr>
                  <a:xfrm>
                    <a:off x="7322513" y="4272206"/>
                    <a:ext cx="165500" cy="583506"/>
                  </a:xfrm>
                  <a:custGeom>
                    <a:avLst/>
                    <a:gdLst>
                      <a:gd name="connsiteX0" fmla="*/ 11729 w 165500"/>
                      <a:gd name="connsiteY0" fmla="*/ 583491 h 583506"/>
                      <a:gd name="connsiteX1" fmla="*/ 9314 w 165500"/>
                      <a:gd name="connsiteY1" fmla="*/ 583279 h 583506"/>
                      <a:gd name="connsiteX2" fmla="*/ 214 w 165500"/>
                      <a:gd name="connsiteY2" fmla="*/ 569759 h 583506"/>
                      <a:gd name="connsiteX3" fmla="*/ 144650 w 165500"/>
                      <a:gd name="connsiteY3" fmla="*/ 4748 h 583506"/>
                      <a:gd name="connsiteX4" fmla="*/ 160752 w 165500"/>
                      <a:gd name="connsiteY4" fmla="*/ 2211 h 583506"/>
                      <a:gd name="connsiteX5" fmla="*/ 163289 w 165500"/>
                      <a:gd name="connsiteY5" fmla="*/ 18314 h 583506"/>
                      <a:gd name="connsiteX6" fmla="*/ 22834 w 165500"/>
                      <a:gd name="connsiteY6" fmla="*/ 574194 h 583506"/>
                      <a:gd name="connsiteX7" fmla="*/ 11714 w 165500"/>
                      <a:gd name="connsiteY7" fmla="*/ 583507 h 58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00" h="583506">
                        <a:moveTo>
                          <a:pt x="11729" y="583491"/>
                        </a:moveTo>
                        <a:cubicBezTo>
                          <a:pt x="10939" y="583491"/>
                          <a:pt x="10134" y="583431"/>
                          <a:pt x="9314" y="583279"/>
                        </a:cubicBezTo>
                        <a:cubicBezTo>
                          <a:pt x="3071" y="582048"/>
                          <a:pt x="-1001" y="576002"/>
                          <a:pt x="214" y="569759"/>
                        </a:cubicBezTo>
                        <a:cubicBezTo>
                          <a:pt x="4225" y="549297"/>
                          <a:pt x="98834" y="67730"/>
                          <a:pt x="144650" y="4748"/>
                        </a:cubicBezTo>
                        <a:cubicBezTo>
                          <a:pt x="148387" y="-402"/>
                          <a:pt x="155602" y="-1541"/>
                          <a:pt x="160752" y="2211"/>
                        </a:cubicBezTo>
                        <a:cubicBezTo>
                          <a:pt x="165902" y="5948"/>
                          <a:pt x="167041" y="13164"/>
                          <a:pt x="163289" y="18314"/>
                        </a:cubicBezTo>
                        <a:cubicBezTo>
                          <a:pt x="127742" y="67198"/>
                          <a:pt x="49859" y="436155"/>
                          <a:pt x="22834" y="574194"/>
                        </a:cubicBezTo>
                        <a:cubicBezTo>
                          <a:pt x="21771" y="579633"/>
                          <a:pt x="17046" y="583431"/>
                          <a:pt x="11714" y="583507"/>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590" name="Graphic 3200">
                <a:extLst>
                  <a:ext uri="{FF2B5EF4-FFF2-40B4-BE49-F238E27FC236}">
                    <a16:creationId xmlns:a16="http://schemas.microsoft.com/office/drawing/2014/main" id="{E37F3EE5-0CC6-881E-D1EC-AF9BC7E2B60A}"/>
                  </a:ext>
                </a:extLst>
              </p:cNvPr>
              <p:cNvGrpSpPr/>
              <p:nvPr/>
            </p:nvGrpSpPr>
            <p:grpSpPr>
              <a:xfrm>
                <a:off x="7386284" y="3600511"/>
                <a:ext cx="830513" cy="777234"/>
                <a:chOff x="7386284" y="3600511"/>
                <a:chExt cx="830513" cy="777234"/>
              </a:xfrm>
            </p:grpSpPr>
            <p:grpSp>
              <p:nvGrpSpPr>
                <p:cNvPr id="2591" name="Graphic 3200">
                  <a:extLst>
                    <a:ext uri="{FF2B5EF4-FFF2-40B4-BE49-F238E27FC236}">
                      <a16:creationId xmlns:a16="http://schemas.microsoft.com/office/drawing/2014/main" id="{F9E826FD-DEAC-E721-39B5-7712702E1F2F}"/>
                    </a:ext>
                  </a:extLst>
                </p:cNvPr>
                <p:cNvGrpSpPr/>
                <p:nvPr/>
              </p:nvGrpSpPr>
              <p:grpSpPr>
                <a:xfrm>
                  <a:off x="7386284" y="4212381"/>
                  <a:ext cx="737413" cy="165364"/>
                  <a:chOff x="7386284" y="4212381"/>
                  <a:chExt cx="737413" cy="165364"/>
                </a:xfrm>
              </p:grpSpPr>
              <p:sp>
                <p:nvSpPr>
                  <p:cNvPr id="2595" name="Freeform: Shape 2594">
                    <a:extLst>
                      <a:ext uri="{FF2B5EF4-FFF2-40B4-BE49-F238E27FC236}">
                        <a16:creationId xmlns:a16="http://schemas.microsoft.com/office/drawing/2014/main" id="{07E6C9ED-9D5B-9D93-AC90-C03BC31F38E5}"/>
                      </a:ext>
                    </a:extLst>
                  </p:cNvPr>
                  <p:cNvSpPr/>
                  <p:nvPr/>
                </p:nvSpPr>
                <p:spPr>
                  <a:xfrm>
                    <a:off x="7386284" y="4230497"/>
                    <a:ext cx="737034" cy="147248"/>
                  </a:xfrm>
                  <a:custGeom>
                    <a:avLst/>
                    <a:gdLst>
                      <a:gd name="connsiteX0" fmla="*/ 29032 w 737034"/>
                      <a:gd name="connsiteY0" fmla="*/ 18430 h 147248"/>
                      <a:gd name="connsiteX1" fmla="*/ 49995 w 737034"/>
                      <a:gd name="connsiteY1" fmla="*/ 15043 h 147248"/>
                      <a:gd name="connsiteX2" fmla="*/ 479366 w 737034"/>
                      <a:gd name="connsiteY2" fmla="*/ 4 h 147248"/>
                      <a:gd name="connsiteX3" fmla="*/ 514290 w 737034"/>
                      <a:gd name="connsiteY3" fmla="*/ 4652 h 147248"/>
                      <a:gd name="connsiteX4" fmla="*/ 664073 w 737034"/>
                      <a:gd name="connsiteY4" fmla="*/ 53612 h 147248"/>
                      <a:gd name="connsiteX5" fmla="*/ 737034 w 737034"/>
                      <a:gd name="connsiteY5" fmla="*/ 73391 h 147248"/>
                      <a:gd name="connsiteX6" fmla="*/ 726082 w 737034"/>
                      <a:gd name="connsiteY6" fmla="*/ 100446 h 147248"/>
                      <a:gd name="connsiteX7" fmla="*/ 721677 w 737034"/>
                      <a:gd name="connsiteY7" fmla="*/ 104775 h 147248"/>
                      <a:gd name="connsiteX8" fmla="*/ 720720 w 737034"/>
                      <a:gd name="connsiteY8" fmla="*/ 105474 h 147248"/>
                      <a:gd name="connsiteX9" fmla="*/ 719853 w 737034"/>
                      <a:gd name="connsiteY9" fmla="*/ 105839 h 147248"/>
                      <a:gd name="connsiteX10" fmla="*/ 718911 w 737034"/>
                      <a:gd name="connsiteY10" fmla="*/ 106234 h 147248"/>
                      <a:gd name="connsiteX11" fmla="*/ 717575 w 737034"/>
                      <a:gd name="connsiteY11" fmla="*/ 106553 h 147248"/>
                      <a:gd name="connsiteX12" fmla="*/ 714461 w 737034"/>
                      <a:gd name="connsiteY12" fmla="*/ 107297 h 147248"/>
                      <a:gd name="connsiteX13" fmla="*/ 101690 w 737034"/>
                      <a:gd name="connsiteY13" fmla="*/ 141446 h 147248"/>
                      <a:gd name="connsiteX14" fmla="*/ 92560 w 737034"/>
                      <a:gd name="connsiteY14" fmla="*/ 129430 h 147248"/>
                      <a:gd name="connsiteX15" fmla="*/ 85162 w 737034"/>
                      <a:gd name="connsiteY15" fmla="*/ 123961 h 147248"/>
                      <a:gd name="connsiteX16" fmla="*/ 2341 w 737034"/>
                      <a:gd name="connsiteY16" fmla="*/ 31722 h 147248"/>
                      <a:gd name="connsiteX17" fmla="*/ 291 w 737034"/>
                      <a:gd name="connsiteY17" fmla="*/ 29504 h 147248"/>
                      <a:gd name="connsiteX18" fmla="*/ 291 w 737034"/>
                      <a:gd name="connsiteY18" fmla="*/ 28092 h 147248"/>
                      <a:gd name="connsiteX19" fmla="*/ 29047 w 737034"/>
                      <a:gd name="connsiteY19" fmla="*/ 18446 h 14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7034" h="147248">
                        <a:moveTo>
                          <a:pt x="29032" y="18430"/>
                        </a:moveTo>
                        <a:cubicBezTo>
                          <a:pt x="37918" y="16486"/>
                          <a:pt x="46319" y="15104"/>
                          <a:pt x="49995" y="15043"/>
                        </a:cubicBezTo>
                        <a:cubicBezTo>
                          <a:pt x="149921" y="12567"/>
                          <a:pt x="396257" y="748"/>
                          <a:pt x="479366" y="4"/>
                        </a:cubicBezTo>
                        <a:cubicBezTo>
                          <a:pt x="491914" y="-87"/>
                          <a:pt x="503657" y="1447"/>
                          <a:pt x="514290" y="4652"/>
                        </a:cubicBezTo>
                        <a:cubicBezTo>
                          <a:pt x="561747" y="19129"/>
                          <a:pt x="599709" y="29079"/>
                          <a:pt x="664073" y="53612"/>
                        </a:cubicBezTo>
                        <a:cubicBezTo>
                          <a:pt x="718714" y="66813"/>
                          <a:pt x="737034" y="73391"/>
                          <a:pt x="737034" y="73391"/>
                        </a:cubicBezTo>
                        <a:cubicBezTo>
                          <a:pt x="737034" y="73391"/>
                          <a:pt x="734073" y="90344"/>
                          <a:pt x="726082" y="100446"/>
                        </a:cubicBezTo>
                        <a:cubicBezTo>
                          <a:pt x="725079" y="102132"/>
                          <a:pt x="723560" y="103575"/>
                          <a:pt x="721677" y="104775"/>
                        </a:cubicBezTo>
                        <a:cubicBezTo>
                          <a:pt x="721358" y="105003"/>
                          <a:pt x="721054" y="105277"/>
                          <a:pt x="720720" y="105474"/>
                        </a:cubicBezTo>
                        <a:cubicBezTo>
                          <a:pt x="720446" y="105641"/>
                          <a:pt x="720127" y="105702"/>
                          <a:pt x="719853" y="105839"/>
                        </a:cubicBezTo>
                        <a:cubicBezTo>
                          <a:pt x="719550" y="105976"/>
                          <a:pt x="719246" y="106112"/>
                          <a:pt x="718911" y="106234"/>
                        </a:cubicBezTo>
                        <a:cubicBezTo>
                          <a:pt x="718472" y="106371"/>
                          <a:pt x="718031" y="106477"/>
                          <a:pt x="717575" y="106553"/>
                        </a:cubicBezTo>
                        <a:cubicBezTo>
                          <a:pt x="716557" y="106842"/>
                          <a:pt x="715600" y="107176"/>
                          <a:pt x="714461" y="107297"/>
                        </a:cubicBezTo>
                        <a:cubicBezTo>
                          <a:pt x="580143" y="119966"/>
                          <a:pt x="334779" y="162623"/>
                          <a:pt x="101690" y="141446"/>
                        </a:cubicBezTo>
                        <a:cubicBezTo>
                          <a:pt x="98424" y="141142"/>
                          <a:pt x="95112" y="130539"/>
                          <a:pt x="92560" y="129430"/>
                        </a:cubicBezTo>
                        <a:cubicBezTo>
                          <a:pt x="89583" y="128109"/>
                          <a:pt x="87092" y="126255"/>
                          <a:pt x="85162" y="123961"/>
                        </a:cubicBezTo>
                        <a:cubicBezTo>
                          <a:pt x="65460" y="100659"/>
                          <a:pt x="24945" y="56286"/>
                          <a:pt x="2341" y="31722"/>
                        </a:cubicBezTo>
                        <a:cubicBezTo>
                          <a:pt x="1643" y="30948"/>
                          <a:pt x="929" y="30249"/>
                          <a:pt x="291" y="29504"/>
                        </a:cubicBezTo>
                        <a:cubicBezTo>
                          <a:pt x="-89" y="29064"/>
                          <a:pt x="-104" y="28578"/>
                          <a:pt x="291" y="28092"/>
                        </a:cubicBezTo>
                        <a:cubicBezTo>
                          <a:pt x="2341" y="25160"/>
                          <a:pt x="16180" y="21225"/>
                          <a:pt x="29047" y="18446"/>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6" name="Freeform: Shape 2595">
                    <a:extLst>
                      <a:ext uri="{FF2B5EF4-FFF2-40B4-BE49-F238E27FC236}">
                        <a16:creationId xmlns:a16="http://schemas.microsoft.com/office/drawing/2014/main" id="{0B38D3A3-99DE-D3F9-3787-BE2D918F8EFB}"/>
                      </a:ext>
                    </a:extLst>
                  </p:cNvPr>
                  <p:cNvSpPr/>
                  <p:nvPr/>
                </p:nvSpPr>
                <p:spPr>
                  <a:xfrm>
                    <a:off x="7386529" y="4244263"/>
                    <a:ext cx="131553" cy="115648"/>
                  </a:xfrm>
                  <a:custGeom>
                    <a:avLst/>
                    <a:gdLst>
                      <a:gd name="connsiteX0" fmla="*/ 0 w 131553"/>
                      <a:gd name="connsiteY0" fmla="*/ 14280 h 115648"/>
                      <a:gd name="connsiteX1" fmla="*/ 46 w 131553"/>
                      <a:gd name="connsiteY1" fmla="*/ 15738 h 115648"/>
                      <a:gd name="connsiteX2" fmla="*/ 2081 w 131553"/>
                      <a:gd name="connsiteY2" fmla="*/ 17941 h 115648"/>
                      <a:gd name="connsiteX3" fmla="*/ 84933 w 131553"/>
                      <a:gd name="connsiteY3" fmla="*/ 110180 h 115648"/>
                      <a:gd name="connsiteX4" fmla="*/ 92330 w 131553"/>
                      <a:gd name="connsiteY4" fmla="*/ 115649 h 115648"/>
                      <a:gd name="connsiteX5" fmla="*/ 131553 w 131553"/>
                      <a:gd name="connsiteY5" fmla="*/ 84978 h 115648"/>
                      <a:gd name="connsiteX6" fmla="*/ 37051 w 131553"/>
                      <a:gd name="connsiteY6" fmla="*/ 8978 h 115648"/>
                      <a:gd name="connsiteX7" fmla="*/ 28802 w 131553"/>
                      <a:gd name="connsiteY7" fmla="*/ 4679 h 115648"/>
                      <a:gd name="connsiteX8" fmla="*/ 12745 w 131553"/>
                      <a:gd name="connsiteY8" fmla="*/ 395 h 115648"/>
                      <a:gd name="connsiteX9" fmla="*/ 15 w 131553"/>
                      <a:gd name="connsiteY9" fmla="*/ 14280 h 11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553" h="115648">
                        <a:moveTo>
                          <a:pt x="0" y="14280"/>
                        </a:moveTo>
                        <a:lnTo>
                          <a:pt x="46" y="15738"/>
                        </a:lnTo>
                        <a:lnTo>
                          <a:pt x="2081" y="17941"/>
                        </a:lnTo>
                        <a:cubicBezTo>
                          <a:pt x="24700" y="42504"/>
                          <a:pt x="65215" y="86862"/>
                          <a:pt x="84933" y="110180"/>
                        </a:cubicBezTo>
                        <a:cubicBezTo>
                          <a:pt x="86862" y="112474"/>
                          <a:pt x="89353" y="114312"/>
                          <a:pt x="92330" y="115649"/>
                        </a:cubicBezTo>
                        <a:cubicBezTo>
                          <a:pt x="96918" y="99227"/>
                          <a:pt x="131553" y="84978"/>
                          <a:pt x="131553" y="84978"/>
                        </a:cubicBezTo>
                        <a:lnTo>
                          <a:pt x="37051" y="8978"/>
                        </a:lnTo>
                        <a:cubicBezTo>
                          <a:pt x="37051" y="8978"/>
                          <a:pt x="33359" y="6851"/>
                          <a:pt x="28802" y="4679"/>
                        </a:cubicBezTo>
                        <a:cubicBezTo>
                          <a:pt x="22878" y="1839"/>
                          <a:pt x="15525" y="-1078"/>
                          <a:pt x="12745" y="395"/>
                        </a:cubicBezTo>
                        <a:cubicBezTo>
                          <a:pt x="7900" y="2993"/>
                          <a:pt x="15" y="14280"/>
                          <a:pt x="15" y="14280"/>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7" name="Freeform: Shape 2596">
                    <a:extLst>
                      <a:ext uri="{FF2B5EF4-FFF2-40B4-BE49-F238E27FC236}">
                        <a16:creationId xmlns:a16="http://schemas.microsoft.com/office/drawing/2014/main" id="{ED17D7F5-8277-0364-4D95-56D642337408}"/>
                      </a:ext>
                    </a:extLst>
                  </p:cNvPr>
                  <p:cNvSpPr/>
                  <p:nvPr/>
                </p:nvSpPr>
                <p:spPr>
                  <a:xfrm>
                    <a:off x="7398754" y="4212381"/>
                    <a:ext cx="724943" cy="136622"/>
                  </a:xfrm>
                  <a:custGeom>
                    <a:avLst/>
                    <a:gdLst>
                      <a:gd name="connsiteX0" fmla="*/ 711926 w 724943"/>
                      <a:gd name="connsiteY0" fmla="*/ 100926 h 136622"/>
                      <a:gd name="connsiteX1" fmla="*/ 103013 w 724943"/>
                      <a:gd name="connsiteY1" fmla="*/ 131718 h 136622"/>
                      <a:gd name="connsiteX2" fmla="*/ 86820 w 724943"/>
                      <a:gd name="connsiteY2" fmla="*/ 124517 h 136622"/>
                      <a:gd name="connsiteX3" fmla="*/ 307 w 724943"/>
                      <a:gd name="connsiteY3" fmla="*/ 33964 h 136622"/>
                      <a:gd name="connsiteX4" fmla="*/ 49815 w 724943"/>
                      <a:gd name="connsiteY4" fmla="*/ 19350 h 136622"/>
                      <a:gd name="connsiteX5" fmla="*/ 477727 w 724943"/>
                      <a:gd name="connsiteY5" fmla="*/ 28 h 136622"/>
                      <a:gd name="connsiteX6" fmla="*/ 512499 w 724943"/>
                      <a:gd name="connsiteY6" fmla="*/ 4159 h 136622"/>
                      <a:gd name="connsiteX7" fmla="*/ 717865 w 724943"/>
                      <a:gd name="connsiteY7" fmla="*/ 79765 h 136622"/>
                      <a:gd name="connsiteX8" fmla="*/ 711910 w 724943"/>
                      <a:gd name="connsiteY8" fmla="*/ 100941 h 13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943" h="136622">
                        <a:moveTo>
                          <a:pt x="711926" y="100926"/>
                        </a:moveTo>
                        <a:cubicBezTo>
                          <a:pt x="579066" y="114749"/>
                          <a:pt x="335510" y="149369"/>
                          <a:pt x="103013" y="131718"/>
                        </a:cubicBezTo>
                        <a:cubicBezTo>
                          <a:pt x="95828" y="131171"/>
                          <a:pt x="90435" y="128527"/>
                          <a:pt x="86820" y="124517"/>
                        </a:cubicBezTo>
                        <a:cubicBezTo>
                          <a:pt x="66099" y="101533"/>
                          <a:pt x="22988" y="57145"/>
                          <a:pt x="307" y="33964"/>
                        </a:cubicBezTo>
                        <a:cubicBezTo>
                          <a:pt x="-4083" y="29468"/>
                          <a:pt x="39849" y="19700"/>
                          <a:pt x="49815" y="19350"/>
                        </a:cubicBezTo>
                        <a:cubicBezTo>
                          <a:pt x="149634" y="15857"/>
                          <a:pt x="395089" y="1638"/>
                          <a:pt x="477727" y="28"/>
                        </a:cubicBezTo>
                        <a:cubicBezTo>
                          <a:pt x="490214" y="-216"/>
                          <a:pt x="501926" y="1152"/>
                          <a:pt x="512499" y="4159"/>
                        </a:cubicBezTo>
                        <a:cubicBezTo>
                          <a:pt x="565440" y="19229"/>
                          <a:pt x="641242" y="52998"/>
                          <a:pt x="717865" y="79765"/>
                        </a:cubicBezTo>
                        <a:cubicBezTo>
                          <a:pt x="729517" y="83836"/>
                          <a:pt x="726266" y="99452"/>
                          <a:pt x="711910" y="100941"/>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92" name="Graphic 3200">
                  <a:extLst>
                    <a:ext uri="{FF2B5EF4-FFF2-40B4-BE49-F238E27FC236}">
                      <a16:creationId xmlns:a16="http://schemas.microsoft.com/office/drawing/2014/main" id="{4186E457-F594-CCB8-5B60-621073EE8746}"/>
                    </a:ext>
                  </a:extLst>
                </p:cNvPr>
                <p:cNvGrpSpPr/>
                <p:nvPr/>
              </p:nvGrpSpPr>
              <p:grpSpPr>
                <a:xfrm>
                  <a:off x="8011489" y="3600511"/>
                  <a:ext cx="205308" cy="316632"/>
                  <a:chOff x="8011489" y="3600511"/>
                  <a:chExt cx="205308" cy="316632"/>
                </a:xfrm>
              </p:grpSpPr>
              <p:sp>
                <p:nvSpPr>
                  <p:cNvPr id="2593" name="Freeform: Shape 2592">
                    <a:extLst>
                      <a:ext uri="{FF2B5EF4-FFF2-40B4-BE49-F238E27FC236}">
                        <a16:creationId xmlns:a16="http://schemas.microsoft.com/office/drawing/2014/main" id="{26AFA713-83AC-048C-96FC-508AEE1BF385}"/>
                      </a:ext>
                    </a:extLst>
                  </p:cNvPr>
                  <p:cNvSpPr/>
                  <p:nvPr/>
                </p:nvSpPr>
                <p:spPr>
                  <a:xfrm>
                    <a:off x="8021911" y="3602607"/>
                    <a:ext cx="194887" cy="314535"/>
                  </a:xfrm>
                  <a:custGeom>
                    <a:avLst/>
                    <a:gdLst>
                      <a:gd name="connsiteX0" fmla="*/ 174203 w 194887"/>
                      <a:gd name="connsiteY0" fmla="*/ 14788 h 314535"/>
                      <a:gd name="connsiteX1" fmla="*/ 24618 w 194887"/>
                      <a:gd name="connsiteY1" fmla="*/ 98 h 314535"/>
                      <a:gd name="connsiteX2" fmla="*/ 55 w 194887"/>
                      <a:gd name="connsiteY2" fmla="*/ 29812 h 314535"/>
                      <a:gd name="connsiteX3" fmla="*/ 3442 w 194887"/>
                      <a:gd name="connsiteY3" fmla="*/ 239279 h 314535"/>
                      <a:gd name="connsiteX4" fmla="*/ 34432 w 194887"/>
                      <a:gd name="connsiteY4" fmla="*/ 284487 h 314535"/>
                      <a:gd name="connsiteX5" fmla="*/ 166030 w 194887"/>
                      <a:gd name="connsiteY5" fmla="*/ 312955 h 314535"/>
                      <a:gd name="connsiteX6" fmla="*/ 194787 w 194887"/>
                      <a:gd name="connsiteY6" fmla="*/ 288574 h 314535"/>
                      <a:gd name="connsiteX7" fmla="*/ 194680 w 194887"/>
                      <a:gd name="connsiteY7" fmla="*/ 41722 h 314535"/>
                      <a:gd name="connsiteX8" fmla="*/ 174219 w 194887"/>
                      <a:gd name="connsiteY8" fmla="*/ 14803 h 31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887" h="314535">
                        <a:moveTo>
                          <a:pt x="174203" y="14788"/>
                        </a:moveTo>
                        <a:lnTo>
                          <a:pt x="24618" y="98"/>
                        </a:lnTo>
                        <a:cubicBezTo>
                          <a:pt x="10415" y="-1299"/>
                          <a:pt x="-887" y="12357"/>
                          <a:pt x="55" y="29812"/>
                        </a:cubicBezTo>
                        <a:cubicBezTo>
                          <a:pt x="2379" y="73045"/>
                          <a:pt x="3898" y="172363"/>
                          <a:pt x="3442" y="239279"/>
                        </a:cubicBezTo>
                        <a:cubicBezTo>
                          <a:pt x="3290" y="261078"/>
                          <a:pt x="16719" y="280644"/>
                          <a:pt x="34432" y="284487"/>
                        </a:cubicBezTo>
                        <a:lnTo>
                          <a:pt x="166030" y="312955"/>
                        </a:lnTo>
                        <a:cubicBezTo>
                          <a:pt x="180537" y="319016"/>
                          <a:pt x="194757" y="306955"/>
                          <a:pt x="194787" y="288574"/>
                        </a:cubicBezTo>
                        <a:cubicBezTo>
                          <a:pt x="194878" y="225440"/>
                          <a:pt x="194999" y="97047"/>
                          <a:pt x="194680" y="41722"/>
                        </a:cubicBezTo>
                        <a:cubicBezTo>
                          <a:pt x="194605" y="27913"/>
                          <a:pt x="185490" y="15912"/>
                          <a:pt x="174219" y="14803"/>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4" name="Freeform: Shape 2593">
                    <a:extLst>
                      <a:ext uri="{FF2B5EF4-FFF2-40B4-BE49-F238E27FC236}">
                        <a16:creationId xmlns:a16="http://schemas.microsoft.com/office/drawing/2014/main" id="{C068AE5A-6E71-827C-B6B9-2069BF075493}"/>
                      </a:ext>
                    </a:extLst>
                  </p:cNvPr>
                  <p:cNvSpPr/>
                  <p:nvPr/>
                </p:nvSpPr>
                <p:spPr>
                  <a:xfrm>
                    <a:off x="8011489" y="3600511"/>
                    <a:ext cx="194887" cy="314535"/>
                  </a:xfrm>
                  <a:custGeom>
                    <a:avLst/>
                    <a:gdLst>
                      <a:gd name="connsiteX0" fmla="*/ 174204 w 194887"/>
                      <a:gd name="connsiteY0" fmla="*/ 14788 h 314535"/>
                      <a:gd name="connsiteX1" fmla="*/ 24618 w 194887"/>
                      <a:gd name="connsiteY1" fmla="*/ 98 h 314535"/>
                      <a:gd name="connsiteX2" fmla="*/ 55 w 194887"/>
                      <a:gd name="connsiteY2" fmla="*/ 29812 h 314535"/>
                      <a:gd name="connsiteX3" fmla="*/ 3442 w 194887"/>
                      <a:gd name="connsiteY3" fmla="*/ 239279 h 314535"/>
                      <a:gd name="connsiteX4" fmla="*/ 34432 w 194887"/>
                      <a:gd name="connsiteY4" fmla="*/ 284487 h 314535"/>
                      <a:gd name="connsiteX5" fmla="*/ 166031 w 194887"/>
                      <a:gd name="connsiteY5" fmla="*/ 312955 h 314535"/>
                      <a:gd name="connsiteX6" fmla="*/ 194787 w 194887"/>
                      <a:gd name="connsiteY6" fmla="*/ 288574 h 314535"/>
                      <a:gd name="connsiteX7" fmla="*/ 194681 w 194887"/>
                      <a:gd name="connsiteY7" fmla="*/ 41722 h 314535"/>
                      <a:gd name="connsiteX8" fmla="*/ 174218 w 194887"/>
                      <a:gd name="connsiteY8" fmla="*/ 14803 h 31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887" h="314535">
                        <a:moveTo>
                          <a:pt x="174204" y="14788"/>
                        </a:moveTo>
                        <a:lnTo>
                          <a:pt x="24618" y="98"/>
                        </a:lnTo>
                        <a:cubicBezTo>
                          <a:pt x="10415" y="-1299"/>
                          <a:pt x="-886" y="12357"/>
                          <a:pt x="55" y="29812"/>
                        </a:cubicBezTo>
                        <a:cubicBezTo>
                          <a:pt x="2379" y="73045"/>
                          <a:pt x="3899" y="172363"/>
                          <a:pt x="3442" y="239279"/>
                        </a:cubicBezTo>
                        <a:cubicBezTo>
                          <a:pt x="3291" y="261078"/>
                          <a:pt x="16720" y="280644"/>
                          <a:pt x="34432" y="284487"/>
                        </a:cubicBezTo>
                        <a:lnTo>
                          <a:pt x="166031" y="312955"/>
                        </a:lnTo>
                        <a:cubicBezTo>
                          <a:pt x="180538" y="319016"/>
                          <a:pt x="194757" y="306955"/>
                          <a:pt x="194787" y="288574"/>
                        </a:cubicBezTo>
                        <a:cubicBezTo>
                          <a:pt x="194878" y="225440"/>
                          <a:pt x="195000" y="97047"/>
                          <a:pt x="194681" y="41722"/>
                        </a:cubicBezTo>
                        <a:cubicBezTo>
                          <a:pt x="194605" y="27913"/>
                          <a:pt x="185491" y="15912"/>
                          <a:pt x="174218" y="14803"/>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7" name="Graphic 3200">
              <a:extLst>
                <a:ext uri="{FF2B5EF4-FFF2-40B4-BE49-F238E27FC236}">
                  <a16:creationId xmlns:a16="http://schemas.microsoft.com/office/drawing/2014/main" id="{93662D54-D435-17ED-7011-AE5CC26F24F7}"/>
                </a:ext>
              </a:extLst>
            </p:cNvPr>
            <p:cNvGrpSpPr/>
            <p:nvPr/>
          </p:nvGrpSpPr>
          <p:grpSpPr>
            <a:xfrm>
              <a:off x="7148018" y="3749431"/>
              <a:ext cx="957418" cy="1208888"/>
              <a:chOff x="7127110" y="3985669"/>
              <a:chExt cx="893009" cy="1127562"/>
            </a:xfrm>
          </p:grpSpPr>
          <p:grpSp>
            <p:nvGrpSpPr>
              <p:cNvPr id="2557" name="Graphic 3200">
                <a:extLst>
                  <a:ext uri="{FF2B5EF4-FFF2-40B4-BE49-F238E27FC236}">
                    <a16:creationId xmlns:a16="http://schemas.microsoft.com/office/drawing/2014/main" id="{96B131F3-2A70-CC94-8B01-D795B7549919}"/>
                  </a:ext>
                </a:extLst>
              </p:cNvPr>
              <p:cNvGrpSpPr/>
              <p:nvPr/>
            </p:nvGrpSpPr>
            <p:grpSpPr>
              <a:xfrm>
                <a:off x="7127110" y="3995664"/>
                <a:ext cx="753157" cy="1025035"/>
                <a:chOff x="7127110" y="3995664"/>
                <a:chExt cx="753157" cy="1025035"/>
              </a:xfrm>
            </p:grpSpPr>
            <p:grpSp>
              <p:nvGrpSpPr>
                <p:cNvPr id="2574" name="Graphic 3200">
                  <a:extLst>
                    <a:ext uri="{FF2B5EF4-FFF2-40B4-BE49-F238E27FC236}">
                      <a16:creationId xmlns:a16="http://schemas.microsoft.com/office/drawing/2014/main" id="{CE7F5B48-4985-B2F8-3E4F-A9B337AE3AC2}"/>
                    </a:ext>
                  </a:extLst>
                </p:cNvPr>
                <p:cNvGrpSpPr/>
                <p:nvPr/>
              </p:nvGrpSpPr>
              <p:grpSpPr>
                <a:xfrm>
                  <a:off x="7132701" y="3995664"/>
                  <a:ext cx="747566" cy="284185"/>
                  <a:chOff x="7132701" y="3995664"/>
                  <a:chExt cx="747566" cy="284185"/>
                </a:xfrm>
              </p:grpSpPr>
              <p:sp>
                <p:nvSpPr>
                  <p:cNvPr id="2587" name="Freeform: Shape 2586">
                    <a:extLst>
                      <a:ext uri="{FF2B5EF4-FFF2-40B4-BE49-F238E27FC236}">
                        <a16:creationId xmlns:a16="http://schemas.microsoft.com/office/drawing/2014/main" id="{BEFC21F6-94AF-858E-1765-92747205D7F0}"/>
                      </a:ext>
                    </a:extLst>
                  </p:cNvPr>
                  <p:cNvSpPr/>
                  <p:nvPr/>
                </p:nvSpPr>
                <p:spPr>
                  <a:xfrm>
                    <a:off x="7132701" y="3995664"/>
                    <a:ext cx="747566" cy="284185"/>
                  </a:xfrm>
                  <a:custGeom>
                    <a:avLst/>
                    <a:gdLst>
                      <a:gd name="connsiteX0" fmla="*/ 742687 w 747566"/>
                      <a:gd name="connsiteY0" fmla="*/ 71625 h 284185"/>
                      <a:gd name="connsiteX1" fmla="*/ 672672 w 747566"/>
                      <a:gd name="connsiteY1" fmla="*/ 1550 h 284185"/>
                      <a:gd name="connsiteX2" fmla="*/ 323038 w 747566"/>
                      <a:gd name="connsiteY2" fmla="*/ 15784 h 284185"/>
                      <a:gd name="connsiteX3" fmla="*/ 884 w 747566"/>
                      <a:gd name="connsiteY3" fmla="*/ 189142 h 284185"/>
                      <a:gd name="connsiteX4" fmla="*/ 193034 w 747566"/>
                      <a:gd name="connsiteY4" fmla="*/ 274303 h 284185"/>
                      <a:gd name="connsiteX5" fmla="*/ 538825 w 747566"/>
                      <a:gd name="connsiteY5" fmla="*/ 280652 h 284185"/>
                      <a:gd name="connsiteX6" fmla="*/ 744312 w 747566"/>
                      <a:gd name="connsiteY6" fmla="*/ 168574 h 284185"/>
                      <a:gd name="connsiteX7" fmla="*/ 742702 w 747566"/>
                      <a:gd name="connsiteY7" fmla="*/ 71641 h 28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7566" h="284185">
                        <a:moveTo>
                          <a:pt x="742687" y="71625"/>
                        </a:moveTo>
                        <a:cubicBezTo>
                          <a:pt x="735547" y="39801"/>
                          <a:pt x="705272" y="3282"/>
                          <a:pt x="672672" y="1550"/>
                        </a:cubicBezTo>
                        <a:cubicBezTo>
                          <a:pt x="616436" y="-1443"/>
                          <a:pt x="493009" y="-1701"/>
                          <a:pt x="323038" y="15784"/>
                        </a:cubicBezTo>
                        <a:cubicBezTo>
                          <a:pt x="96815" y="39041"/>
                          <a:pt x="-10995" y="67843"/>
                          <a:pt x="884" y="189142"/>
                        </a:cubicBezTo>
                        <a:cubicBezTo>
                          <a:pt x="3042" y="213721"/>
                          <a:pt x="38178" y="258185"/>
                          <a:pt x="193034" y="274303"/>
                        </a:cubicBezTo>
                        <a:cubicBezTo>
                          <a:pt x="347891" y="290405"/>
                          <a:pt x="426504" y="282399"/>
                          <a:pt x="538825" y="280652"/>
                        </a:cubicBezTo>
                        <a:cubicBezTo>
                          <a:pt x="651147" y="278906"/>
                          <a:pt x="733420" y="252747"/>
                          <a:pt x="744312" y="168574"/>
                        </a:cubicBezTo>
                        <a:cubicBezTo>
                          <a:pt x="749295" y="130035"/>
                          <a:pt x="748399" y="97040"/>
                          <a:pt x="742702" y="71641"/>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8" name="Freeform: Shape 2587">
                    <a:extLst>
                      <a:ext uri="{FF2B5EF4-FFF2-40B4-BE49-F238E27FC236}">
                        <a16:creationId xmlns:a16="http://schemas.microsoft.com/office/drawing/2014/main" id="{908B2E3B-D5B8-8FD6-D233-2D692DF371C8}"/>
                      </a:ext>
                    </a:extLst>
                  </p:cNvPr>
                  <p:cNvSpPr/>
                  <p:nvPr/>
                </p:nvSpPr>
                <p:spPr>
                  <a:xfrm>
                    <a:off x="7324718" y="4154531"/>
                    <a:ext cx="98923" cy="123167"/>
                  </a:xfrm>
                  <a:custGeom>
                    <a:avLst/>
                    <a:gdLst>
                      <a:gd name="connsiteX0" fmla="*/ 98923 w 98923"/>
                      <a:gd name="connsiteY0" fmla="*/ 123168 h 123167"/>
                      <a:gd name="connsiteX1" fmla="*/ 0 w 98923"/>
                      <a:gd name="connsiteY1" fmla="*/ 0 h 123167"/>
                      <a:gd name="connsiteX2" fmla="*/ 17561 w 98923"/>
                      <a:gd name="connsiteY2" fmla="*/ 117061 h 123167"/>
                      <a:gd name="connsiteX3" fmla="*/ 98923 w 98923"/>
                      <a:gd name="connsiteY3" fmla="*/ 123153 h 123167"/>
                    </a:gdLst>
                    <a:ahLst/>
                    <a:cxnLst>
                      <a:cxn ang="0">
                        <a:pos x="connsiteX0" y="connsiteY0"/>
                      </a:cxn>
                      <a:cxn ang="0">
                        <a:pos x="connsiteX1" y="connsiteY1"/>
                      </a:cxn>
                      <a:cxn ang="0">
                        <a:pos x="connsiteX2" y="connsiteY2"/>
                      </a:cxn>
                      <a:cxn ang="0">
                        <a:pos x="connsiteX3" y="connsiteY3"/>
                      </a:cxn>
                    </a:cxnLst>
                    <a:rect l="l" t="t" r="r" b="b"/>
                    <a:pathLst>
                      <a:path w="98923" h="123167">
                        <a:moveTo>
                          <a:pt x="98923" y="123168"/>
                        </a:moveTo>
                        <a:cubicBezTo>
                          <a:pt x="66536" y="34970"/>
                          <a:pt x="0" y="0"/>
                          <a:pt x="0" y="0"/>
                        </a:cubicBezTo>
                        <a:lnTo>
                          <a:pt x="17561" y="117061"/>
                        </a:lnTo>
                        <a:cubicBezTo>
                          <a:pt x="47244" y="119917"/>
                          <a:pt x="74086" y="121877"/>
                          <a:pt x="98923" y="123153"/>
                        </a:cubicBezTo>
                        <a:close/>
                      </a:path>
                    </a:pathLst>
                  </a:custGeom>
                  <a:solidFill>
                    <a:srgbClr val="CC7A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75" name="Freeform: Shape 2574">
                  <a:extLst>
                    <a:ext uri="{FF2B5EF4-FFF2-40B4-BE49-F238E27FC236}">
                      <a16:creationId xmlns:a16="http://schemas.microsoft.com/office/drawing/2014/main" id="{F14DA70D-117D-C7F4-A6D6-5EB30AAD2D25}"/>
                    </a:ext>
                  </a:extLst>
                </p:cNvPr>
                <p:cNvSpPr/>
                <p:nvPr/>
              </p:nvSpPr>
              <p:spPr>
                <a:xfrm>
                  <a:off x="7127110" y="4065186"/>
                  <a:ext cx="374305" cy="802377"/>
                </a:xfrm>
                <a:custGeom>
                  <a:avLst/>
                  <a:gdLst>
                    <a:gd name="connsiteX0" fmla="*/ 218859 w 374305"/>
                    <a:gd name="connsiteY0" fmla="*/ 91182 h 802377"/>
                    <a:gd name="connsiteX1" fmla="*/ 289679 w 374305"/>
                    <a:gd name="connsiteY1" fmla="*/ 315051 h 802377"/>
                    <a:gd name="connsiteX2" fmla="*/ 370707 w 374305"/>
                    <a:gd name="connsiteY2" fmla="*/ 719023 h 802377"/>
                    <a:gd name="connsiteX3" fmla="*/ 347435 w 374305"/>
                    <a:gd name="connsiteY3" fmla="*/ 801707 h 802377"/>
                    <a:gd name="connsiteX4" fmla="*/ 263885 w 374305"/>
                    <a:gd name="connsiteY4" fmla="*/ 688155 h 802377"/>
                    <a:gd name="connsiteX5" fmla="*/ 6657 w 374305"/>
                    <a:gd name="connsiteY5" fmla="*/ 148984 h 802377"/>
                    <a:gd name="connsiteX6" fmla="*/ 218874 w 374305"/>
                    <a:gd name="connsiteY6" fmla="*/ 91182 h 80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305" h="802377">
                      <a:moveTo>
                        <a:pt x="218859" y="91182"/>
                      </a:moveTo>
                      <a:cubicBezTo>
                        <a:pt x="218859" y="91182"/>
                        <a:pt x="242557" y="159481"/>
                        <a:pt x="289679" y="315051"/>
                      </a:cubicBezTo>
                      <a:cubicBezTo>
                        <a:pt x="336802" y="470621"/>
                        <a:pt x="359253" y="656391"/>
                        <a:pt x="370707" y="719023"/>
                      </a:cubicBezTo>
                      <a:cubicBezTo>
                        <a:pt x="382161" y="781655"/>
                        <a:pt x="364054" y="795585"/>
                        <a:pt x="347435" y="801707"/>
                      </a:cubicBezTo>
                      <a:cubicBezTo>
                        <a:pt x="330816" y="807829"/>
                        <a:pt x="307908" y="772221"/>
                        <a:pt x="263885" y="688155"/>
                      </a:cubicBezTo>
                      <a:cubicBezTo>
                        <a:pt x="219862" y="604089"/>
                        <a:pt x="70551" y="357965"/>
                        <a:pt x="6657" y="148984"/>
                      </a:cubicBezTo>
                      <a:cubicBezTo>
                        <a:pt x="-36697" y="31254"/>
                        <a:pt x="143011" y="-87235"/>
                        <a:pt x="218874" y="91182"/>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76" name="Graphic 3200">
                  <a:extLst>
                    <a:ext uri="{FF2B5EF4-FFF2-40B4-BE49-F238E27FC236}">
                      <a16:creationId xmlns:a16="http://schemas.microsoft.com/office/drawing/2014/main" id="{1FD5E6CB-4C16-BC0C-420A-BB9C6A0EA88D}"/>
                    </a:ext>
                  </a:extLst>
                </p:cNvPr>
                <p:cNvGrpSpPr/>
                <p:nvPr/>
              </p:nvGrpSpPr>
              <p:grpSpPr>
                <a:xfrm>
                  <a:off x="7264895" y="4760540"/>
                  <a:ext cx="304402" cy="260158"/>
                  <a:chOff x="7264895" y="4760540"/>
                  <a:chExt cx="304402" cy="260158"/>
                </a:xfrm>
              </p:grpSpPr>
              <p:sp>
                <p:nvSpPr>
                  <p:cNvPr id="2577" name="Freeform: Shape 2576">
                    <a:extLst>
                      <a:ext uri="{FF2B5EF4-FFF2-40B4-BE49-F238E27FC236}">
                        <a16:creationId xmlns:a16="http://schemas.microsoft.com/office/drawing/2014/main" id="{0027EA3A-5DBA-4B46-CC2F-EE34C43B0E30}"/>
                      </a:ext>
                    </a:extLst>
                  </p:cNvPr>
                  <p:cNvSpPr/>
                  <p:nvPr/>
                </p:nvSpPr>
                <p:spPr>
                  <a:xfrm>
                    <a:off x="7266289" y="4760540"/>
                    <a:ext cx="289775" cy="247950"/>
                  </a:xfrm>
                  <a:custGeom>
                    <a:avLst/>
                    <a:gdLst>
                      <a:gd name="connsiteX0" fmla="*/ 185136 w 289775"/>
                      <a:gd name="connsiteY0" fmla="*/ 1612 h 247950"/>
                      <a:gd name="connsiteX1" fmla="*/ 229235 w 289775"/>
                      <a:gd name="connsiteY1" fmla="*/ 24125 h 247950"/>
                      <a:gd name="connsiteX2" fmla="*/ 273973 w 289775"/>
                      <a:gd name="connsiteY2" fmla="*/ 85162 h 247950"/>
                      <a:gd name="connsiteX3" fmla="*/ 265451 w 289775"/>
                      <a:gd name="connsiteY3" fmla="*/ 161937 h 247950"/>
                      <a:gd name="connsiteX4" fmla="*/ 126560 w 289775"/>
                      <a:gd name="connsiteY4" fmla="*/ 223733 h 247950"/>
                      <a:gd name="connsiteX5" fmla="*/ 1706 w 289775"/>
                      <a:gd name="connsiteY5" fmla="*/ 229019 h 247950"/>
                      <a:gd name="connsiteX6" fmla="*/ 76795 w 289775"/>
                      <a:gd name="connsiteY6" fmla="*/ 149055 h 247950"/>
                      <a:gd name="connsiteX7" fmla="*/ 145974 w 289775"/>
                      <a:gd name="connsiteY7" fmla="*/ 81926 h 247950"/>
                      <a:gd name="connsiteX8" fmla="*/ 185136 w 289775"/>
                      <a:gd name="connsiteY8" fmla="*/ 1627 h 2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775" h="247950">
                        <a:moveTo>
                          <a:pt x="185136" y="1612"/>
                        </a:moveTo>
                        <a:cubicBezTo>
                          <a:pt x="185136" y="1612"/>
                          <a:pt x="211250" y="-8976"/>
                          <a:pt x="229235" y="24125"/>
                        </a:cubicBezTo>
                        <a:cubicBezTo>
                          <a:pt x="247237" y="57226"/>
                          <a:pt x="258220" y="68679"/>
                          <a:pt x="273973" y="85162"/>
                        </a:cubicBezTo>
                        <a:cubicBezTo>
                          <a:pt x="289726" y="101644"/>
                          <a:pt x="303094" y="143221"/>
                          <a:pt x="265451" y="161937"/>
                        </a:cubicBezTo>
                        <a:cubicBezTo>
                          <a:pt x="227808" y="180637"/>
                          <a:pt x="162487" y="205656"/>
                          <a:pt x="126560" y="223733"/>
                        </a:cubicBezTo>
                        <a:cubicBezTo>
                          <a:pt x="90618" y="241810"/>
                          <a:pt x="17353" y="265037"/>
                          <a:pt x="1706" y="229019"/>
                        </a:cubicBezTo>
                        <a:cubicBezTo>
                          <a:pt x="-10993" y="199792"/>
                          <a:pt x="50515" y="172297"/>
                          <a:pt x="76795" y="149055"/>
                        </a:cubicBezTo>
                        <a:cubicBezTo>
                          <a:pt x="101222" y="127453"/>
                          <a:pt x="135599" y="102145"/>
                          <a:pt x="145974" y="81926"/>
                        </a:cubicBezTo>
                        <a:cubicBezTo>
                          <a:pt x="160056" y="54461"/>
                          <a:pt x="154132" y="12078"/>
                          <a:pt x="185136" y="1627"/>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78" name="Graphic 3200">
                    <a:extLst>
                      <a:ext uri="{FF2B5EF4-FFF2-40B4-BE49-F238E27FC236}">
                        <a16:creationId xmlns:a16="http://schemas.microsoft.com/office/drawing/2014/main" id="{A4A43916-B4C9-B977-4F8F-A1D434686C09}"/>
                      </a:ext>
                    </a:extLst>
                  </p:cNvPr>
                  <p:cNvGrpSpPr/>
                  <p:nvPr/>
                </p:nvGrpSpPr>
                <p:grpSpPr>
                  <a:xfrm>
                    <a:off x="7264895" y="4829994"/>
                    <a:ext cx="304402" cy="190704"/>
                    <a:chOff x="7264895" y="4829994"/>
                    <a:chExt cx="304402" cy="190704"/>
                  </a:xfrm>
                </p:grpSpPr>
                <p:sp>
                  <p:nvSpPr>
                    <p:cNvPr id="2579" name="Freeform: Shape 2578">
                      <a:extLst>
                        <a:ext uri="{FF2B5EF4-FFF2-40B4-BE49-F238E27FC236}">
                          <a16:creationId xmlns:a16="http://schemas.microsoft.com/office/drawing/2014/main" id="{3095C4CD-34CC-1244-359C-47A41A8C82FD}"/>
                        </a:ext>
                      </a:extLst>
                    </p:cNvPr>
                    <p:cNvSpPr/>
                    <p:nvPr/>
                  </p:nvSpPr>
                  <p:spPr>
                    <a:xfrm>
                      <a:off x="7266840" y="4880869"/>
                      <a:ext cx="302457" cy="139830"/>
                    </a:xfrm>
                    <a:custGeom>
                      <a:avLst/>
                      <a:gdLst>
                        <a:gd name="connsiteX0" fmla="*/ 0 w 302457"/>
                        <a:gd name="connsiteY0" fmla="*/ 106564 h 139830"/>
                        <a:gd name="connsiteX1" fmla="*/ 1793 w 302457"/>
                        <a:gd name="connsiteY1" fmla="*/ 121239 h 139830"/>
                        <a:gd name="connsiteX2" fmla="*/ 22589 w 302457"/>
                        <a:gd name="connsiteY2" fmla="*/ 138891 h 139830"/>
                        <a:gd name="connsiteX3" fmla="*/ 124277 w 302457"/>
                        <a:gd name="connsiteY3" fmla="*/ 116590 h 139830"/>
                        <a:gd name="connsiteX4" fmla="*/ 261056 w 302457"/>
                        <a:gd name="connsiteY4" fmla="*/ 53062 h 139830"/>
                        <a:gd name="connsiteX5" fmla="*/ 302314 w 302457"/>
                        <a:gd name="connsiteY5" fmla="*/ 24822 h 139830"/>
                        <a:gd name="connsiteX6" fmla="*/ 292258 w 302457"/>
                        <a:gd name="connsiteY6" fmla="*/ 0 h 139830"/>
                        <a:gd name="connsiteX7" fmla="*/ 235216 w 302457"/>
                        <a:gd name="connsiteY7" fmla="*/ 35577 h 139830"/>
                        <a:gd name="connsiteX8" fmla="*/ 34803 w 302457"/>
                        <a:gd name="connsiteY8" fmla="*/ 124140 h 139830"/>
                        <a:gd name="connsiteX9" fmla="*/ 0 w 302457"/>
                        <a:gd name="connsiteY9" fmla="*/ 106549 h 13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57" h="139830">
                          <a:moveTo>
                            <a:pt x="0" y="106564"/>
                          </a:moveTo>
                          <a:cubicBezTo>
                            <a:pt x="0" y="106564"/>
                            <a:pt x="425" y="116378"/>
                            <a:pt x="1793" y="121239"/>
                          </a:cubicBezTo>
                          <a:cubicBezTo>
                            <a:pt x="3023" y="125629"/>
                            <a:pt x="8340" y="136688"/>
                            <a:pt x="22589" y="138891"/>
                          </a:cubicBezTo>
                          <a:cubicBezTo>
                            <a:pt x="36823" y="141109"/>
                            <a:pt x="75013" y="141367"/>
                            <a:pt x="124277" y="116590"/>
                          </a:cubicBezTo>
                          <a:cubicBezTo>
                            <a:pt x="173541" y="91814"/>
                            <a:pt x="230264" y="64531"/>
                            <a:pt x="261056" y="53062"/>
                          </a:cubicBezTo>
                          <a:cubicBezTo>
                            <a:pt x="291848" y="41608"/>
                            <a:pt x="303940" y="34954"/>
                            <a:pt x="302314" y="24822"/>
                          </a:cubicBezTo>
                          <a:cubicBezTo>
                            <a:pt x="300689" y="14690"/>
                            <a:pt x="297894" y="6487"/>
                            <a:pt x="292258" y="0"/>
                          </a:cubicBezTo>
                          <a:cubicBezTo>
                            <a:pt x="292258" y="0"/>
                            <a:pt x="280151" y="13125"/>
                            <a:pt x="235216" y="35577"/>
                          </a:cubicBezTo>
                          <a:cubicBezTo>
                            <a:pt x="180802" y="62769"/>
                            <a:pt x="128804" y="114357"/>
                            <a:pt x="34803" y="124140"/>
                          </a:cubicBezTo>
                          <a:cubicBezTo>
                            <a:pt x="16315" y="126069"/>
                            <a:pt x="0" y="106549"/>
                            <a:pt x="0" y="106549"/>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0" name="Freeform: Shape 2579">
                      <a:extLst>
                        <a:ext uri="{FF2B5EF4-FFF2-40B4-BE49-F238E27FC236}">
                          <a16:creationId xmlns:a16="http://schemas.microsoft.com/office/drawing/2014/main" id="{971B9EE2-6DF5-F6DE-51F7-4E6FE53C3D95}"/>
                        </a:ext>
                      </a:extLst>
                    </p:cNvPr>
                    <p:cNvSpPr/>
                    <p:nvPr/>
                  </p:nvSpPr>
                  <p:spPr>
                    <a:xfrm>
                      <a:off x="7264895" y="4829994"/>
                      <a:ext cx="294212" cy="176749"/>
                    </a:xfrm>
                    <a:custGeom>
                      <a:avLst/>
                      <a:gdLst>
                        <a:gd name="connsiteX0" fmla="*/ 5287 w 294212"/>
                        <a:gd name="connsiteY0" fmla="*/ 163652 h 176749"/>
                        <a:gd name="connsiteX1" fmla="*/ 2097 w 294212"/>
                        <a:gd name="connsiteY1" fmla="*/ 139620 h 176749"/>
                        <a:gd name="connsiteX2" fmla="*/ 96326 w 294212"/>
                        <a:gd name="connsiteY2" fmla="*/ 58394 h 176749"/>
                        <a:gd name="connsiteX3" fmla="*/ 139378 w 294212"/>
                        <a:gd name="connsiteY3" fmla="*/ 19839 h 176749"/>
                        <a:gd name="connsiteX4" fmla="*/ 180955 w 294212"/>
                        <a:gd name="connsiteY4" fmla="*/ 58014 h 176749"/>
                        <a:gd name="connsiteX5" fmla="*/ 261831 w 294212"/>
                        <a:gd name="connsiteY5" fmla="*/ 0 h 176749"/>
                        <a:gd name="connsiteX6" fmla="*/ 294188 w 294212"/>
                        <a:gd name="connsiteY6" fmla="*/ 50859 h 176749"/>
                        <a:gd name="connsiteX7" fmla="*/ 265417 w 294212"/>
                        <a:gd name="connsiteY7" fmla="*/ 75924 h 176749"/>
                        <a:gd name="connsiteX8" fmla="*/ 186333 w 294212"/>
                        <a:gd name="connsiteY8" fmla="*/ 121466 h 176749"/>
                        <a:gd name="connsiteX9" fmla="*/ 5272 w 294212"/>
                        <a:gd name="connsiteY9" fmla="*/ 163652 h 17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212" h="176749">
                          <a:moveTo>
                            <a:pt x="5287" y="163652"/>
                          </a:moveTo>
                          <a:cubicBezTo>
                            <a:pt x="5287" y="163652"/>
                            <a:pt x="-4055" y="154796"/>
                            <a:pt x="2097" y="139620"/>
                          </a:cubicBezTo>
                          <a:cubicBezTo>
                            <a:pt x="8250" y="124444"/>
                            <a:pt x="73571" y="76532"/>
                            <a:pt x="96326" y="58394"/>
                          </a:cubicBezTo>
                          <a:cubicBezTo>
                            <a:pt x="119082" y="40256"/>
                            <a:pt x="131250" y="23926"/>
                            <a:pt x="139378" y="19839"/>
                          </a:cubicBezTo>
                          <a:cubicBezTo>
                            <a:pt x="147505" y="15738"/>
                            <a:pt x="169136" y="29152"/>
                            <a:pt x="180955" y="58014"/>
                          </a:cubicBezTo>
                          <a:cubicBezTo>
                            <a:pt x="180955" y="58014"/>
                            <a:pt x="247051" y="32342"/>
                            <a:pt x="261831" y="0"/>
                          </a:cubicBezTo>
                          <a:cubicBezTo>
                            <a:pt x="261831" y="0"/>
                            <a:pt x="286076" y="13246"/>
                            <a:pt x="294188" y="50859"/>
                          </a:cubicBezTo>
                          <a:cubicBezTo>
                            <a:pt x="294963" y="55811"/>
                            <a:pt x="276977" y="69468"/>
                            <a:pt x="265417" y="75924"/>
                          </a:cubicBezTo>
                          <a:cubicBezTo>
                            <a:pt x="253871" y="82365"/>
                            <a:pt x="207190" y="108326"/>
                            <a:pt x="186333" y="121466"/>
                          </a:cubicBezTo>
                          <a:cubicBezTo>
                            <a:pt x="165476" y="134592"/>
                            <a:pt x="38206" y="205579"/>
                            <a:pt x="5272" y="16365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1" name="Freeform: Shape 2580">
                      <a:extLst>
                        <a:ext uri="{FF2B5EF4-FFF2-40B4-BE49-F238E27FC236}">
                          <a16:creationId xmlns:a16="http://schemas.microsoft.com/office/drawing/2014/main" id="{950585DE-E372-E3D4-6D9D-ACE4EE9929C6}"/>
                        </a:ext>
                      </a:extLst>
                    </p:cNvPr>
                    <p:cNvSpPr/>
                    <p:nvPr/>
                  </p:nvSpPr>
                  <p:spPr>
                    <a:xfrm>
                      <a:off x="7378167" y="4878584"/>
                      <a:ext cx="23394" cy="21750"/>
                    </a:xfrm>
                    <a:custGeom>
                      <a:avLst/>
                      <a:gdLst>
                        <a:gd name="connsiteX0" fmla="*/ 22368 w 23394"/>
                        <a:gd name="connsiteY0" fmla="*/ 1434 h 21750"/>
                        <a:gd name="connsiteX1" fmla="*/ 16475 w 23394"/>
                        <a:gd name="connsiteY1" fmla="*/ 16276 h 21750"/>
                        <a:gd name="connsiteX2" fmla="*/ 1026 w 23394"/>
                        <a:gd name="connsiteY2" fmla="*/ 20317 h 21750"/>
                        <a:gd name="connsiteX3" fmla="*/ 6919 w 23394"/>
                        <a:gd name="connsiteY3" fmla="*/ 5475 h 21750"/>
                        <a:gd name="connsiteX4" fmla="*/ 22368 w 23394"/>
                        <a:gd name="connsiteY4" fmla="*/ 1434 h 2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94" h="21750">
                          <a:moveTo>
                            <a:pt x="22368" y="1434"/>
                          </a:moveTo>
                          <a:cubicBezTo>
                            <a:pt x="25012" y="4412"/>
                            <a:pt x="22368" y="11065"/>
                            <a:pt x="16475" y="16276"/>
                          </a:cubicBezTo>
                          <a:cubicBezTo>
                            <a:pt x="10580" y="21486"/>
                            <a:pt x="3669" y="23294"/>
                            <a:pt x="1026" y="20317"/>
                          </a:cubicBezTo>
                          <a:cubicBezTo>
                            <a:pt x="-1618" y="17339"/>
                            <a:pt x="1026" y="10685"/>
                            <a:pt x="6919" y="5475"/>
                          </a:cubicBezTo>
                          <a:cubicBezTo>
                            <a:pt x="12814" y="265"/>
                            <a:pt x="19725" y="-1543"/>
                            <a:pt x="22368" y="1434"/>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2" name="Freeform: Shape 2581">
                      <a:extLst>
                        <a:ext uri="{FF2B5EF4-FFF2-40B4-BE49-F238E27FC236}">
                          <a16:creationId xmlns:a16="http://schemas.microsoft.com/office/drawing/2014/main" id="{211A8BE2-1584-BF6A-2BB9-BF722BC77080}"/>
                        </a:ext>
                      </a:extLst>
                    </p:cNvPr>
                    <p:cNvSpPr/>
                    <p:nvPr/>
                  </p:nvSpPr>
                  <p:spPr>
                    <a:xfrm>
                      <a:off x="7330899" y="4913339"/>
                      <a:ext cx="24080" cy="20978"/>
                    </a:xfrm>
                    <a:custGeom>
                      <a:avLst/>
                      <a:gdLst>
                        <a:gd name="connsiteX0" fmla="*/ 23213 w 24080"/>
                        <a:gd name="connsiteY0" fmla="*/ 1648 h 20978"/>
                        <a:gd name="connsiteX1" fmla="*/ 16514 w 24080"/>
                        <a:gd name="connsiteY1" fmla="*/ 16140 h 20978"/>
                        <a:gd name="connsiteX2" fmla="*/ 867 w 24080"/>
                        <a:gd name="connsiteY2" fmla="*/ 19331 h 20978"/>
                        <a:gd name="connsiteX3" fmla="*/ 7567 w 24080"/>
                        <a:gd name="connsiteY3" fmla="*/ 4838 h 20978"/>
                        <a:gd name="connsiteX4" fmla="*/ 23213 w 24080"/>
                        <a:gd name="connsiteY4" fmla="*/ 1648 h 20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80" h="20978">
                          <a:moveTo>
                            <a:pt x="23213" y="1648"/>
                          </a:moveTo>
                          <a:cubicBezTo>
                            <a:pt x="25689" y="4762"/>
                            <a:pt x="22681" y="11264"/>
                            <a:pt x="16514" y="16140"/>
                          </a:cubicBezTo>
                          <a:cubicBezTo>
                            <a:pt x="10347" y="21017"/>
                            <a:pt x="3343" y="22445"/>
                            <a:pt x="867" y="19331"/>
                          </a:cubicBezTo>
                          <a:cubicBezTo>
                            <a:pt x="-1609" y="16216"/>
                            <a:pt x="1399" y="9715"/>
                            <a:pt x="7567" y="4838"/>
                          </a:cubicBezTo>
                          <a:cubicBezTo>
                            <a:pt x="13734" y="-38"/>
                            <a:pt x="20737" y="-1466"/>
                            <a:pt x="23213" y="1648"/>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3" name="Freeform: Shape 2582">
                      <a:extLst>
                        <a:ext uri="{FF2B5EF4-FFF2-40B4-BE49-F238E27FC236}">
                          <a16:creationId xmlns:a16="http://schemas.microsoft.com/office/drawing/2014/main" id="{B89A34A4-CC22-ADCC-C93C-E365B64AA55D}"/>
                        </a:ext>
                      </a:extLst>
                    </p:cNvPr>
                    <p:cNvSpPr/>
                    <p:nvPr/>
                  </p:nvSpPr>
                  <p:spPr>
                    <a:xfrm>
                      <a:off x="7343235" y="4946950"/>
                      <a:ext cx="24336" cy="20673"/>
                    </a:xfrm>
                    <a:custGeom>
                      <a:avLst/>
                      <a:gdLst>
                        <a:gd name="connsiteX0" fmla="*/ 23531 w 24336"/>
                        <a:gd name="connsiteY0" fmla="*/ 1746 h 20673"/>
                        <a:gd name="connsiteX1" fmla="*/ 16513 w 24336"/>
                        <a:gd name="connsiteY1" fmla="*/ 16086 h 20673"/>
                        <a:gd name="connsiteX2" fmla="*/ 806 w 24336"/>
                        <a:gd name="connsiteY2" fmla="*/ 18927 h 20673"/>
                        <a:gd name="connsiteX3" fmla="*/ 7824 w 24336"/>
                        <a:gd name="connsiteY3" fmla="*/ 4587 h 20673"/>
                        <a:gd name="connsiteX4" fmla="*/ 23531 w 24336"/>
                        <a:gd name="connsiteY4" fmla="*/ 1746 h 20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6" h="20673">
                          <a:moveTo>
                            <a:pt x="23531" y="1746"/>
                          </a:moveTo>
                          <a:cubicBezTo>
                            <a:pt x="25931" y="4921"/>
                            <a:pt x="22787" y="11347"/>
                            <a:pt x="16513" y="16086"/>
                          </a:cubicBezTo>
                          <a:cubicBezTo>
                            <a:pt x="10239" y="20826"/>
                            <a:pt x="3206" y="22102"/>
                            <a:pt x="806" y="18927"/>
                          </a:cubicBezTo>
                          <a:cubicBezTo>
                            <a:pt x="-1594" y="15752"/>
                            <a:pt x="1550" y="9327"/>
                            <a:pt x="7824" y="4587"/>
                          </a:cubicBezTo>
                          <a:cubicBezTo>
                            <a:pt x="14098" y="-153"/>
                            <a:pt x="21131" y="-1429"/>
                            <a:pt x="23531" y="1746"/>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4" name="Freeform: Shape 2583">
                      <a:extLst>
                        <a:ext uri="{FF2B5EF4-FFF2-40B4-BE49-F238E27FC236}">
                          <a16:creationId xmlns:a16="http://schemas.microsoft.com/office/drawing/2014/main" id="{77D999DD-928D-0899-52BA-52A5350B1948}"/>
                        </a:ext>
                      </a:extLst>
                    </p:cNvPr>
                    <p:cNvSpPr/>
                    <p:nvPr/>
                  </p:nvSpPr>
                  <p:spPr>
                    <a:xfrm>
                      <a:off x="7283181" y="4954743"/>
                      <a:ext cx="24587" cy="20369"/>
                    </a:xfrm>
                    <a:custGeom>
                      <a:avLst/>
                      <a:gdLst>
                        <a:gd name="connsiteX0" fmla="*/ 23839 w 24587"/>
                        <a:gd name="connsiteY0" fmla="*/ 1837 h 20369"/>
                        <a:gd name="connsiteX1" fmla="*/ 16517 w 24587"/>
                        <a:gd name="connsiteY1" fmla="*/ 16026 h 20369"/>
                        <a:gd name="connsiteX2" fmla="*/ 749 w 24587"/>
                        <a:gd name="connsiteY2" fmla="*/ 18532 h 20369"/>
                        <a:gd name="connsiteX3" fmla="*/ 8071 w 24587"/>
                        <a:gd name="connsiteY3" fmla="*/ 4344 h 20369"/>
                        <a:gd name="connsiteX4" fmla="*/ 23839 w 24587"/>
                        <a:gd name="connsiteY4" fmla="*/ 1837 h 20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7" h="20369">
                          <a:moveTo>
                            <a:pt x="23839" y="1837"/>
                          </a:moveTo>
                          <a:cubicBezTo>
                            <a:pt x="26163" y="5058"/>
                            <a:pt x="22897" y="11408"/>
                            <a:pt x="16517" y="16026"/>
                          </a:cubicBezTo>
                          <a:cubicBezTo>
                            <a:pt x="10137" y="20628"/>
                            <a:pt x="3088" y="21753"/>
                            <a:pt x="749" y="18532"/>
                          </a:cubicBezTo>
                          <a:cubicBezTo>
                            <a:pt x="-1575" y="15312"/>
                            <a:pt x="1691" y="8962"/>
                            <a:pt x="8071" y="4344"/>
                          </a:cubicBezTo>
                          <a:cubicBezTo>
                            <a:pt x="14451" y="-259"/>
                            <a:pt x="21500" y="-1383"/>
                            <a:pt x="23839" y="1837"/>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5" name="Freeform: Shape 2584">
                      <a:extLst>
                        <a:ext uri="{FF2B5EF4-FFF2-40B4-BE49-F238E27FC236}">
                          <a16:creationId xmlns:a16="http://schemas.microsoft.com/office/drawing/2014/main" id="{50B47DDA-A583-720B-94BF-41FE73F73B10}"/>
                        </a:ext>
                      </a:extLst>
                    </p:cNvPr>
                    <p:cNvSpPr/>
                    <p:nvPr/>
                  </p:nvSpPr>
                  <p:spPr>
                    <a:xfrm>
                      <a:off x="7405912" y="4897672"/>
                      <a:ext cx="24338" cy="20686"/>
                    </a:xfrm>
                    <a:custGeom>
                      <a:avLst/>
                      <a:gdLst>
                        <a:gd name="connsiteX0" fmla="*/ 23531 w 24338"/>
                        <a:gd name="connsiteY0" fmla="*/ 1745 h 20686"/>
                        <a:gd name="connsiteX1" fmla="*/ 16513 w 24338"/>
                        <a:gd name="connsiteY1" fmla="*/ 16086 h 20686"/>
                        <a:gd name="connsiteX2" fmla="*/ 806 w 24338"/>
                        <a:gd name="connsiteY2" fmla="*/ 18941 h 20686"/>
                        <a:gd name="connsiteX3" fmla="*/ 7824 w 24338"/>
                        <a:gd name="connsiteY3" fmla="*/ 4601 h 20686"/>
                        <a:gd name="connsiteX4" fmla="*/ 23531 w 24338"/>
                        <a:gd name="connsiteY4" fmla="*/ 1745 h 2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8" h="20686">
                          <a:moveTo>
                            <a:pt x="23531" y="1745"/>
                          </a:moveTo>
                          <a:cubicBezTo>
                            <a:pt x="25932" y="4920"/>
                            <a:pt x="22802" y="11346"/>
                            <a:pt x="16513" y="16086"/>
                          </a:cubicBezTo>
                          <a:cubicBezTo>
                            <a:pt x="10239" y="20840"/>
                            <a:pt x="3206" y="22116"/>
                            <a:pt x="806" y="18941"/>
                          </a:cubicBezTo>
                          <a:cubicBezTo>
                            <a:pt x="-1595" y="15767"/>
                            <a:pt x="1550" y="9341"/>
                            <a:pt x="7824" y="4601"/>
                          </a:cubicBezTo>
                          <a:cubicBezTo>
                            <a:pt x="14098" y="-153"/>
                            <a:pt x="21131" y="-1430"/>
                            <a:pt x="23531" y="1745"/>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6" name="Freeform: Shape 2585">
                      <a:extLst>
                        <a:ext uri="{FF2B5EF4-FFF2-40B4-BE49-F238E27FC236}">
                          <a16:creationId xmlns:a16="http://schemas.microsoft.com/office/drawing/2014/main" id="{A7E035A0-4368-E326-C09C-55EA20CAB642}"/>
                        </a:ext>
                      </a:extLst>
                    </p:cNvPr>
                    <p:cNvSpPr/>
                    <p:nvPr/>
                  </p:nvSpPr>
                  <p:spPr>
                    <a:xfrm>
                      <a:off x="7387516" y="4936484"/>
                      <a:ext cx="24336" cy="20687"/>
                    </a:xfrm>
                    <a:custGeom>
                      <a:avLst/>
                      <a:gdLst>
                        <a:gd name="connsiteX0" fmla="*/ 23531 w 24336"/>
                        <a:gd name="connsiteY0" fmla="*/ 1745 h 20687"/>
                        <a:gd name="connsiteX1" fmla="*/ 16513 w 24336"/>
                        <a:gd name="connsiteY1" fmla="*/ 16086 h 20687"/>
                        <a:gd name="connsiteX2" fmla="*/ 806 w 24336"/>
                        <a:gd name="connsiteY2" fmla="*/ 18942 h 20687"/>
                        <a:gd name="connsiteX3" fmla="*/ 7824 w 24336"/>
                        <a:gd name="connsiteY3" fmla="*/ 4601 h 20687"/>
                        <a:gd name="connsiteX4" fmla="*/ 23531 w 24336"/>
                        <a:gd name="connsiteY4" fmla="*/ 1745 h 20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6" h="20687">
                          <a:moveTo>
                            <a:pt x="23531" y="1745"/>
                          </a:moveTo>
                          <a:cubicBezTo>
                            <a:pt x="25931" y="4920"/>
                            <a:pt x="22787" y="11346"/>
                            <a:pt x="16513" y="16086"/>
                          </a:cubicBezTo>
                          <a:cubicBezTo>
                            <a:pt x="10239" y="20840"/>
                            <a:pt x="3206" y="22117"/>
                            <a:pt x="806" y="18942"/>
                          </a:cubicBezTo>
                          <a:cubicBezTo>
                            <a:pt x="-1595" y="15766"/>
                            <a:pt x="1550" y="9341"/>
                            <a:pt x="7824" y="4601"/>
                          </a:cubicBezTo>
                          <a:cubicBezTo>
                            <a:pt x="14098" y="-154"/>
                            <a:pt x="21131" y="-1429"/>
                            <a:pt x="23531" y="1745"/>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558" name="Graphic 3200">
                <a:extLst>
                  <a:ext uri="{FF2B5EF4-FFF2-40B4-BE49-F238E27FC236}">
                    <a16:creationId xmlns:a16="http://schemas.microsoft.com/office/drawing/2014/main" id="{6DF86102-AA9A-09E0-B3D2-DA74DF305E4F}"/>
                  </a:ext>
                </a:extLst>
              </p:cNvPr>
              <p:cNvGrpSpPr/>
              <p:nvPr/>
            </p:nvGrpSpPr>
            <p:grpSpPr>
              <a:xfrm>
                <a:off x="7342920" y="3985669"/>
                <a:ext cx="677199" cy="1127562"/>
                <a:chOff x="7342920" y="3985669"/>
                <a:chExt cx="677199" cy="1127562"/>
              </a:xfrm>
            </p:grpSpPr>
            <p:grpSp>
              <p:nvGrpSpPr>
                <p:cNvPr id="2559" name="Graphic 3200">
                  <a:extLst>
                    <a:ext uri="{FF2B5EF4-FFF2-40B4-BE49-F238E27FC236}">
                      <a16:creationId xmlns:a16="http://schemas.microsoft.com/office/drawing/2014/main" id="{82962987-A51F-DDC9-1DCD-C2DAB2BA55B4}"/>
                    </a:ext>
                  </a:extLst>
                </p:cNvPr>
                <p:cNvGrpSpPr/>
                <p:nvPr/>
              </p:nvGrpSpPr>
              <p:grpSpPr>
                <a:xfrm>
                  <a:off x="7367897" y="3985669"/>
                  <a:ext cx="652222" cy="404848"/>
                  <a:chOff x="7367897" y="3985669"/>
                  <a:chExt cx="652222" cy="404848"/>
                </a:xfrm>
              </p:grpSpPr>
              <p:sp>
                <p:nvSpPr>
                  <p:cNvPr id="2572" name="Freeform: Shape 2571">
                    <a:extLst>
                      <a:ext uri="{FF2B5EF4-FFF2-40B4-BE49-F238E27FC236}">
                        <a16:creationId xmlns:a16="http://schemas.microsoft.com/office/drawing/2014/main" id="{4E7A5535-B70E-9B85-8C9B-F79AAC875A7A}"/>
                      </a:ext>
                    </a:extLst>
                  </p:cNvPr>
                  <p:cNvSpPr/>
                  <p:nvPr/>
                </p:nvSpPr>
                <p:spPr>
                  <a:xfrm>
                    <a:off x="7367897" y="3985669"/>
                    <a:ext cx="652222" cy="404848"/>
                  </a:xfrm>
                  <a:custGeom>
                    <a:avLst/>
                    <a:gdLst>
                      <a:gd name="connsiteX0" fmla="*/ 643602 w 652222"/>
                      <a:gd name="connsiteY0" fmla="*/ 87879 h 404848"/>
                      <a:gd name="connsiteX1" fmla="*/ 520844 w 652222"/>
                      <a:gd name="connsiteY1" fmla="*/ 332286 h 404848"/>
                      <a:gd name="connsiteX2" fmla="*/ 88769 w 652222"/>
                      <a:gd name="connsiteY2" fmla="*/ 389617 h 404848"/>
                      <a:gd name="connsiteX3" fmla="*/ 94541 w 652222"/>
                      <a:gd name="connsiteY3" fmla="*/ 174513 h 404848"/>
                      <a:gd name="connsiteX4" fmla="*/ 355096 w 652222"/>
                      <a:gd name="connsiteY4" fmla="*/ 57756 h 404848"/>
                      <a:gd name="connsiteX5" fmla="*/ 643602 w 652222"/>
                      <a:gd name="connsiteY5" fmla="*/ 87864 h 40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222" h="404848">
                        <a:moveTo>
                          <a:pt x="643602" y="87879"/>
                        </a:moveTo>
                        <a:cubicBezTo>
                          <a:pt x="643602" y="87879"/>
                          <a:pt x="700734" y="249480"/>
                          <a:pt x="520844" y="332286"/>
                        </a:cubicBezTo>
                        <a:cubicBezTo>
                          <a:pt x="305710" y="431315"/>
                          <a:pt x="180020" y="405369"/>
                          <a:pt x="88769" y="389617"/>
                        </a:cubicBezTo>
                        <a:cubicBezTo>
                          <a:pt x="-2483" y="373863"/>
                          <a:pt x="-56289" y="251166"/>
                          <a:pt x="94541" y="174513"/>
                        </a:cubicBezTo>
                        <a:cubicBezTo>
                          <a:pt x="226626" y="107385"/>
                          <a:pt x="262006" y="108767"/>
                          <a:pt x="355096" y="57756"/>
                        </a:cubicBezTo>
                        <a:cubicBezTo>
                          <a:pt x="448185" y="6745"/>
                          <a:pt x="597983" y="-54095"/>
                          <a:pt x="643602" y="87864"/>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3" name="Freeform: Shape 2572">
                    <a:extLst>
                      <a:ext uri="{FF2B5EF4-FFF2-40B4-BE49-F238E27FC236}">
                        <a16:creationId xmlns:a16="http://schemas.microsoft.com/office/drawing/2014/main" id="{2F81CE37-03FF-3A8F-C590-9548D6B6F869}"/>
                      </a:ext>
                    </a:extLst>
                  </p:cNvPr>
                  <p:cNvSpPr/>
                  <p:nvPr/>
                </p:nvSpPr>
                <p:spPr>
                  <a:xfrm>
                    <a:off x="7562562" y="4253424"/>
                    <a:ext cx="97890" cy="137086"/>
                  </a:xfrm>
                  <a:custGeom>
                    <a:avLst/>
                    <a:gdLst>
                      <a:gd name="connsiteX0" fmla="*/ 97890 w 97890"/>
                      <a:gd name="connsiteY0" fmla="*/ 133240 h 137086"/>
                      <a:gd name="connsiteX1" fmla="*/ 14583 w 97890"/>
                      <a:gd name="connsiteY1" fmla="*/ 0 h 137086"/>
                      <a:gd name="connsiteX2" fmla="*/ 0 w 97890"/>
                      <a:gd name="connsiteY2" fmla="*/ 136065 h 137086"/>
                      <a:gd name="connsiteX3" fmla="*/ 97875 w 97890"/>
                      <a:gd name="connsiteY3" fmla="*/ 133240 h 137086"/>
                    </a:gdLst>
                    <a:ahLst/>
                    <a:cxnLst>
                      <a:cxn ang="0">
                        <a:pos x="connsiteX0" y="connsiteY0"/>
                      </a:cxn>
                      <a:cxn ang="0">
                        <a:pos x="connsiteX1" y="connsiteY1"/>
                      </a:cxn>
                      <a:cxn ang="0">
                        <a:pos x="connsiteX2" y="connsiteY2"/>
                      </a:cxn>
                      <a:cxn ang="0">
                        <a:pos x="connsiteX3" y="connsiteY3"/>
                      </a:cxn>
                    </a:cxnLst>
                    <a:rect l="l" t="t" r="r" b="b"/>
                    <a:pathLst>
                      <a:path w="97890" h="137086">
                        <a:moveTo>
                          <a:pt x="97890" y="133240"/>
                        </a:moveTo>
                        <a:cubicBezTo>
                          <a:pt x="74314" y="53457"/>
                          <a:pt x="14583" y="0"/>
                          <a:pt x="14583" y="0"/>
                        </a:cubicBezTo>
                        <a:lnTo>
                          <a:pt x="0" y="136065"/>
                        </a:lnTo>
                        <a:cubicBezTo>
                          <a:pt x="29258" y="137842"/>
                          <a:pt x="61614" y="137538"/>
                          <a:pt x="97875" y="133240"/>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60" name="Freeform: Shape 2559">
                  <a:extLst>
                    <a:ext uri="{FF2B5EF4-FFF2-40B4-BE49-F238E27FC236}">
                      <a16:creationId xmlns:a16="http://schemas.microsoft.com/office/drawing/2014/main" id="{3E096170-DD32-5AC6-D3A7-150BF270B95B}"/>
                    </a:ext>
                  </a:extLst>
                </p:cNvPr>
                <p:cNvSpPr/>
                <p:nvPr/>
              </p:nvSpPr>
              <p:spPr>
                <a:xfrm>
                  <a:off x="7367656" y="4199154"/>
                  <a:ext cx="291105" cy="779972"/>
                </a:xfrm>
                <a:custGeom>
                  <a:avLst/>
                  <a:gdLst>
                    <a:gd name="connsiteX0" fmla="*/ 202046 w 291105"/>
                    <a:gd name="connsiteY0" fmla="*/ 40324 h 779972"/>
                    <a:gd name="connsiteX1" fmla="*/ 260439 w 291105"/>
                    <a:gd name="connsiteY1" fmla="*/ 232839 h 779972"/>
                    <a:gd name="connsiteX2" fmla="*/ 288224 w 291105"/>
                    <a:gd name="connsiteY2" fmla="*/ 570122 h 779972"/>
                    <a:gd name="connsiteX3" fmla="*/ 250489 w 291105"/>
                    <a:gd name="connsiteY3" fmla="*/ 777691 h 779972"/>
                    <a:gd name="connsiteX4" fmla="*/ 147039 w 291105"/>
                    <a:gd name="connsiteY4" fmla="*/ 558426 h 779972"/>
                    <a:gd name="connsiteX5" fmla="*/ 37 w 291105"/>
                    <a:gd name="connsiteY5" fmla="*/ 86657 h 779972"/>
                    <a:gd name="connsiteX6" fmla="*/ 202046 w 291105"/>
                    <a:gd name="connsiteY6" fmla="*/ 40324 h 77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105" h="779972">
                      <a:moveTo>
                        <a:pt x="202046" y="40324"/>
                      </a:moveTo>
                      <a:cubicBezTo>
                        <a:pt x="202046" y="40324"/>
                        <a:pt x="232200" y="88358"/>
                        <a:pt x="260439" y="232839"/>
                      </a:cubicBezTo>
                      <a:cubicBezTo>
                        <a:pt x="288695" y="377335"/>
                        <a:pt x="295926" y="446195"/>
                        <a:pt x="288224" y="570122"/>
                      </a:cubicBezTo>
                      <a:cubicBezTo>
                        <a:pt x="280522" y="694050"/>
                        <a:pt x="292979" y="763655"/>
                        <a:pt x="250489" y="777691"/>
                      </a:cubicBezTo>
                      <a:cubicBezTo>
                        <a:pt x="195665" y="795783"/>
                        <a:pt x="192172" y="704744"/>
                        <a:pt x="147039" y="558426"/>
                      </a:cubicBezTo>
                      <a:cubicBezTo>
                        <a:pt x="104232" y="419596"/>
                        <a:pt x="2999" y="169751"/>
                        <a:pt x="37" y="86657"/>
                      </a:cubicBezTo>
                      <a:cubicBezTo>
                        <a:pt x="-2728" y="9153"/>
                        <a:pt x="150533" y="-38182"/>
                        <a:pt x="202046" y="40324"/>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61" name="Graphic 3200">
                  <a:extLst>
                    <a:ext uri="{FF2B5EF4-FFF2-40B4-BE49-F238E27FC236}">
                      <a16:creationId xmlns:a16="http://schemas.microsoft.com/office/drawing/2014/main" id="{173F1BA2-B9C5-29EF-0EE6-746F375BC566}"/>
                    </a:ext>
                  </a:extLst>
                </p:cNvPr>
                <p:cNvGrpSpPr/>
                <p:nvPr/>
              </p:nvGrpSpPr>
              <p:grpSpPr>
                <a:xfrm>
                  <a:off x="7342920" y="4848869"/>
                  <a:ext cx="357304" cy="264361"/>
                  <a:chOff x="7342920" y="4848869"/>
                  <a:chExt cx="357304" cy="264361"/>
                </a:xfrm>
              </p:grpSpPr>
              <p:sp>
                <p:nvSpPr>
                  <p:cNvPr id="2562" name="Freeform: Shape 2561">
                    <a:extLst>
                      <a:ext uri="{FF2B5EF4-FFF2-40B4-BE49-F238E27FC236}">
                        <a16:creationId xmlns:a16="http://schemas.microsoft.com/office/drawing/2014/main" id="{6DA97868-5353-55C0-9CD0-1A30DCFEB961}"/>
                      </a:ext>
                    </a:extLst>
                  </p:cNvPr>
                  <p:cNvSpPr/>
                  <p:nvPr/>
                </p:nvSpPr>
                <p:spPr>
                  <a:xfrm>
                    <a:off x="7348448" y="4848869"/>
                    <a:ext cx="344495" cy="244013"/>
                  </a:xfrm>
                  <a:custGeom>
                    <a:avLst/>
                    <a:gdLst>
                      <a:gd name="connsiteX0" fmla="*/ 230460 w 344495"/>
                      <a:gd name="connsiteY0" fmla="*/ 16444 h 244013"/>
                      <a:gd name="connsiteX1" fmla="*/ 301219 w 344495"/>
                      <a:gd name="connsiteY1" fmla="*/ 22657 h 244013"/>
                      <a:gd name="connsiteX2" fmla="*/ 308252 w 344495"/>
                      <a:gd name="connsiteY2" fmla="*/ 41388 h 244013"/>
                      <a:gd name="connsiteX3" fmla="*/ 338027 w 344495"/>
                      <a:gd name="connsiteY3" fmla="*/ 117859 h 244013"/>
                      <a:gd name="connsiteX4" fmla="*/ 301401 w 344495"/>
                      <a:gd name="connsiteY4" fmla="*/ 194876 h 244013"/>
                      <a:gd name="connsiteX5" fmla="*/ 113049 w 344495"/>
                      <a:gd name="connsiteY5" fmla="*/ 235132 h 244013"/>
                      <a:gd name="connsiteX6" fmla="*/ 591 w 344495"/>
                      <a:gd name="connsiteY6" fmla="*/ 222068 h 244013"/>
                      <a:gd name="connsiteX7" fmla="*/ 83153 w 344495"/>
                      <a:gd name="connsiteY7" fmla="*/ 147344 h 244013"/>
                      <a:gd name="connsiteX8" fmla="*/ 199713 w 344495"/>
                      <a:gd name="connsiteY8" fmla="*/ 73213 h 244013"/>
                      <a:gd name="connsiteX9" fmla="*/ 230460 w 344495"/>
                      <a:gd name="connsiteY9" fmla="*/ 16444 h 24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4495" h="244013">
                        <a:moveTo>
                          <a:pt x="230460" y="16444"/>
                        </a:moveTo>
                        <a:cubicBezTo>
                          <a:pt x="249175" y="-8043"/>
                          <a:pt x="286681" y="-4534"/>
                          <a:pt x="301219" y="22657"/>
                        </a:cubicBezTo>
                        <a:cubicBezTo>
                          <a:pt x="303999" y="27852"/>
                          <a:pt x="306460" y="34035"/>
                          <a:pt x="308252" y="41388"/>
                        </a:cubicBezTo>
                        <a:cubicBezTo>
                          <a:pt x="317397" y="78742"/>
                          <a:pt x="323671" y="85229"/>
                          <a:pt x="338027" y="117859"/>
                        </a:cubicBezTo>
                        <a:cubicBezTo>
                          <a:pt x="352397" y="150489"/>
                          <a:pt x="343936" y="180992"/>
                          <a:pt x="301401" y="194876"/>
                        </a:cubicBezTo>
                        <a:cubicBezTo>
                          <a:pt x="258867" y="208761"/>
                          <a:pt x="174785" y="219911"/>
                          <a:pt x="113049" y="235132"/>
                        </a:cubicBezTo>
                        <a:cubicBezTo>
                          <a:pt x="51313" y="250338"/>
                          <a:pt x="6591" y="246040"/>
                          <a:pt x="591" y="222068"/>
                        </a:cubicBezTo>
                        <a:cubicBezTo>
                          <a:pt x="-5425" y="198097"/>
                          <a:pt x="35378" y="170693"/>
                          <a:pt x="83153" y="147344"/>
                        </a:cubicBezTo>
                        <a:cubicBezTo>
                          <a:pt x="130929" y="123996"/>
                          <a:pt x="181089" y="95726"/>
                          <a:pt x="199713" y="73213"/>
                        </a:cubicBezTo>
                        <a:cubicBezTo>
                          <a:pt x="216013" y="53541"/>
                          <a:pt x="217578" y="33291"/>
                          <a:pt x="230460" y="16444"/>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63" name="Graphic 3200">
                    <a:extLst>
                      <a:ext uri="{FF2B5EF4-FFF2-40B4-BE49-F238E27FC236}">
                        <a16:creationId xmlns:a16="http://schemas.microsoft.com/office/drawing/2014/main" id="{BB4C2D6D-AC90-A3F9-13D8-7A9680F16E90}"/>
                      </a:ext>
                    </a:extLst>
                  </p:cNvPr>
                  <p:cNvGrpSpPr/>
                  <p:nvPr/>
                </p:nvGrpSpPr>
                <p:grpSpPr>
                  <a:xfrm>
                    <a:off x="7342920" y="4928321"/>
                    <a:ext cx="357304" cy="184909"/>
                    <a:chOff x="7342920" y="4928321"/>
                    <a:chExt cx="357304" cy="184909"/>
                  </a:xfrm>
                </p:grpSpPr>
                <p:sp>
                  <p:nvSpPr>
                    <p:cNvPr id="2564" name="Freeform: Shape 2563">
                      <a:extLst>
                        <a:ext uri="{FF2B5EF4-FFF2-40B4-BE49-F238E27FC236}">
                          <a16:creationId xmlns:a16="http://schemas.microsoft.com/office/drawing/2014/main" id="{73219E29-E503-ABA9-2A01-3E1EE93745E3}"/>
                        </a:ext>
                      </a:extLst>
                    </p:cNvPr>
                    <p:cNvSpPr/>
                    <p:nvPr/>
                  </p:nvSpPr>
                  <p:spPr>
                    <a:xfrm>
                      <a:off x="7342920" y="5006163"/>
                      <a:ext cx="357304" cy="107067"/>
                    </a:xfrm>
                    <a:custGeom>
                      <a:avLst/>
                      <a:gdLst>
                        <a:gd name="connsiteX0" fmla="*/ 1986 w 357304"/>
                        <a:gd name="connsiteY0" fmla="*/ 64045 h 107067"/>
                        <a:gd name="connsiteX1" fmla="*/ 42 w 357304"/>
                        <a:gd name="connsiteY1" fmla="*/ 76669 h 107067"/>
                        <a:gd name="connsiteX2" fmla="*/ 29588 w 357304"/>
                        <a:gd name="connsiteY2" fmla="*/ 104073 h 107067"/>
                        <a:gd name="connsiteX3" fmla="*/ 141211 w 357304"/>
                        <a:gd name="connsiteY3" fmla="*/ 93014 h 107067"/>
                        <a:gd name="connsiteX4" fmla="*/ 307643 w 357304"/>
                        <a:gd name="connsiteY4" fmla="*/ 62845 h 107067"/>
                        <a:gd name="connsiteX5" fmla="*/ 350876 w 357304"/>
                        <a:gd name="connsiteY5" fmla="*/ 47259 h 107067"/>
                        <a:gd name="connsiteX6" fmla="*/ 357302 w 357304"/>
                        <a:gd name="connsiteY6" fmla="*/ 35547 h 107067"/>
                        <a:gd name="connsiteX7" fmla="*/ 351393 w 357304"/>
                        <a:gd name="connsiteY7" fmla="*/ 0 h 107067"/>
                        <a:gd name="connsiteX8" fmla="*/ 272946 w 357304"/>
                        <a:gd name="connsiteY8" fmla="*/ 43249 h 107067"/>
                        <a:gd name="connsiteX9" fmla="*/ 87906 w 357304"/>
                        <a:gd name="connsiteY9" fmla="*/ 82973 h 107067"/>
                        <a:gd name="connsiteX10" fmla="*/ 1971 w 357304"/>
                        <a:gd name="connsiteY10" fmla="*/ 64076 h 10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304" h="107067">
                          <a:moveTo>
                            <a:pt x="1986" y="64045"/>
                          </a:moveTo>
                          <a:cubicBezTo>
                            <a:pt x="1986" y="64045"/>
                            <a:pt x="-338" y="72400"/>
                            <a:pt x="42" y="76669"/>
                          </a:cubicBezTo>
                          <a:cubicBezTo>
                            <a:pt x="1044" y="87606"/>
                            <a:pt x="9977" y="97040"/>
                            <a:pt x="29588" y="104073"/>
                          </a:cubicBezTo>
                          <a:cubicBezTo>
                            <a:pt x="49200" y="111107"/>
                            <a:pt x="87921" y="105076"/>
                            <a:pt x="141211" y="93014"/>
                          </a:cubicBezTo>
                          <a:cubicBezTo>
                            <a:pt x="194516" y="80952"/>
                            <a:pt x="274450" y="68374"/>
                            <a:pt x="307643" y="62845"/>
                          </a:cubicBezTo>
                          <a:cubicBezTo>
                            <a:pt x="329487" y="59199"/>
                            <a:pt x="343706" y="51862"/>
                            <a:pt x="350876" y="47259"/>
                          </a:cubicBezTo>
                          <a:cubicBezTo>
                            <a:pt x="354871" y="44692"/>
                            <a:pt x="357256" y="40286"/>
                            <a:pt x="357302" y="35547"/>
                          </a:cubicBezTo>
                          <a:cubicBezTo>
                            <a:pt x="357362" y="29000"/>
                            <a:pt x="356314" y="17774"/>
                            <a:pt x="351393" y="0"/>
                          </a:cubicBezTo>
                          <a:cubicBezTo>
                            <a:pt x="351393" y="0"/>
                            <a:pt x="335305" y="30671"/>
                            <a:pt x="272946" y="43249"/>
                          </a:cubicBezTo>
                          <a:cubicBezTo>
                            <a:pt x="210603" y="55811"/>
                            <a:pt x="105512" y="79950"/>
                            <a:pt x="87906" y="82973"/>
                          </a:cubicBezTo>
                          <a:cubicBezTo>
                            <a:pt x="70315" y="85996"/>
                            <a:pt x="25608" y="80162"/>
                            <a:pt x="1971" y="64076"/>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5" name="Freeform: Shape 2564">
                      <a:extLst>
                        <a:ext uri="{FF2B5EF4-FFF2-40B4-BE49-F238E27FC236}">
                          <a16:creationId xmlns:a16="http://schemas.microsoft.com/office/drawing/2014/main" id="{5C08F5CE-B4D0-8344-C4FE-C3BF9ECF5254}"/>
                        </a:ext>
                      </a:extLst>
                    </p:cNvPr>
                    <p:cNvSpPr/>
                    <p:nvPr/>
                  </p:nvSpPr>
                  <p:spPr>
                    <a:xfrm>
                      <a:off x="7344780" y="4928321"/>
                      <a:ext cx="349676" cy="168656"/>
                    </a:xfrm>
                    <a:custGeom>
                      <a:avLst/>
                      <a:gdLst>
                        <a:gd name="connsiteX0" fmla="*/ 4820 w 349676"/>
                        <a:gd name="connsiteY0" fmla="*/ 151397 h 168656"/>
                        <a:gd name="connsiteX1" fmla="*/ 20 w 349676"/>
                        <a:gd name="connsiteY1" fmla="*/ 141097 h 168656"/>
                        <a:gd name="connsiteX2" fmla="*/ 10790 w 349676"/>
                        <a:gd name="connsiteY2" fmla="*/ 111171 h 168656"/>
                        <a:gd name="connsiteX3" fmla="*/ 117051 w 349676"/>
                        <a:gd name="connsiteY3" fmla="*/ 47476 h 168656"/>
                        <a:gd name="connsiteX4" fmla="*/ 179394 w 349676"/>
                        <a:gd name="connsiteY4" fmla="*/ 6916 h 168656"/>
                        <a:gd name="connsiteX5" fmla="*/ 231681 w 349676"/>
                        <a:gd name="connsiteY5" fmla="*/ 73620 h 168656"/>
                        <a:gd name="connsiteX6" fmla="*/ 290683 w 349676"/>
                        <a:gd name="connsiteY6" fmla="*/ 49481 h 168656"/>
                        <a:gd name="connsiteX7" fmla="*/ 324133 w 349676"/>
                        <a:gd name="connsiteY7" fmla="*/ 293 h 168656"/>
                        <a:gd name="connsiteX8" fmla="*/ 327156 w 349676"/>
                        <a:gd name="connsiteY8" fmla="*/ 961 h 168656"/>
                        <a:gd name="connsiteX9" fmla="*/ 349517 w 349676"/>
                        <a:gd name="connsiteY9" fmla="*/ 77812 h 168656"/>
                        <a:gd name="connsiteX10" fmla="*/ 326898 w 349676"/>
                        <a:gd name="connsiteY10" fmla="*/ 106477 h 168656"/>
                        <a:gd name="connsiteX11" fmla="*/ 190469 w 349676"/>
                        <a:gd name="connsiteY11" fmla="*/ 143680 h 168656"/>
                        <a:gd name="connsiteX12" fmla="*/ 4820 w 349676"/>
                        <a:gd name="connsiteY12" fmla="*/ 151382 h 16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9676" h="168656">
                          <a:moveTo>
                            <a:pt x="4820" y="151397"/>
                          </a:moveTo>
                          <a:cubicBezTo>
                            <a:pt x="1888" y="148769"/>
                            <a:pt x="142" y="145032"/>
                            <a:pt x="20" y="141097"/>
                          </a:cubicBezTo>
                          <a:cubicBezTo>
                            <a:pt x="-193" y="134003"/>
                            <a:pt x="1159" y="121911"/>
                            <a:pt x="10790" y="111171"/>
                          </a:cubicBezTo>
                          <a:cubicBezTo>
                            <a:pt x="25541" y="94750"/>
                            <a:pt x="92578" y="59887"/>
                            <a:pt x="117051" y="47476"/>
                          </a:cubicBezTo>
                          <a:cubicBezTo>
                            <a:pt x="141523" y="35080"/>
                            <a:pt x="168669" y="13615"/>
                            <a:pt x="179394" y="6916"/>
                          </a:cubicBezTo>
                          <a:cubicBezTo>
                            <a:pt x="190119" y="217"/>
                            <a:pt x="229342" y="14633"/>
                            <a:pt x="231681" y="73620"/>
                          </a:cubicBezTo>
                          <a:cubicBezTo>
                            <a:pt x="231681" y="73620"/>
                            <a:pt x="272910" y="65234"/>
                            <a:pt x="290683" y="49481"/>
                          </a:cubicBezTo>
                          <a:cubicBezTo>
                            <a:pt x="307545" y="34533"/>
                            <a:pt x="313545" y="6278"/>
                            <a:pt x="324133" y="293"/>
                          </a:cubicBezTo>
                          <a:cubicBezTo>
                            <a:pt x="325151" y="-284"/>
                            <a:pt x="326458" y="19"/>
                            <a:pt x="327156" y="961"/>
                          </a:cubicBezTo>
                          <a:cubicBezTo>
                            <a:pt x="332822" y="8587"/>
                            <a:pt x="351492" y="43815"/>
                            <a:pt x="349517" y="77812"/>
                          </a:cubicBezTo>
                          <a:cubicBezTo>
                            <a:pt x="349517" y="77812"/>
                            <a:pt x="353042" y="94066"/>
                            <a:pt x="326898" y="106477"/>
                          </a:cubicBezTo>
                          <a:cubicBezTo>
                            <a:pt x="300754" y="118873"/>
                            <a:pt x="220303" y="135310"/>
                            <a:pt x="190469" y="143680"/>
                          </a:cubicBezTo>
                          <a:cubicBezTo>
                            <a:pt x="161591" y="151792"/>
                            <a:pt x="48494" y="190665"/>
                            <a:pt x="4820" y="15138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6" name="Freeform: Shape 2565">
                      <a:extLst>
                        <a:ext uri="{FF2B5EF4-FFF2-40B4-BE49-F238E27FC236}">
                          <a16:creationId xmlns:a16="http://schemas.microsoft.com/office/drawing/2014/main" id="{19128090-62F4-0E5D-542F-0545530BA010}"/>
                        </a:ext>
                      </a:extLst>
                    </p:cNvPr>
                    <p:cNvSpPr/>
                    <p:nvPr/>
                  </p:nvSpPr>
                  <p:spPr>
                    <a:xfrm>
                      <a:off x="7465392" y="5030282"/>
                      <a:ext cx="26754" cy="17432"/>
                    </a:xfrm>
                    <a:custGeom>
                      <a:avLst/>
                      <a:gdLst>
                        <a:gd name="connsiteX0" fmla="*/ 26441 w 26754"/>
                        <a:gd name="connsiteY0" fmla="*/ 3042 h 17432"/>
                        <a:gd name="connsiteX1" fmla="*/ 16248 w 26754"/>
                        <a:gd name="connsiteY1" fmla="*/ 15332 h 17432"/>
                        <a:gd name="connsiteX2" fmla="*/ 313 w 26754"/>
                        <a:gd name="connsiteY2" fmla="*/ 14390 h 17432"/>
                        <a:gd name="connsiteX3" fmla="*/ 10506 w 26754"/>
                        <a:gd name="connsiteY3" fmla="*/ 2100 h 17432"/>
                        <a:gd name="connsiteX4" fmla="*/ 26441 w 26754"/>
                        <a:gd name="connsiteY4" fmla="*/ 3042 h 1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2">
                          <a:moveTo>
                            <a:pt x="26441" y="3042"/>
                          </a:moveTo>
                          <a:cubicBezTo>
                            <a:pt x="28021" y="6688"/>
                            <a:pt x="23464" y="12187"/>
                            <a:pt x="16248" y="15332"/>
                          </a:cubicBezTo>
                          <a:cubicBezTo>
                            <a:pt x="9032" y="18461"/>
                            <a:pt x="1893" y="18051"/>
                            <a:pt x="313" y="14390"/>
                          </a:cubicBezTo>
                          <a:cubicBezTo>
                            <a:pt x="-1267" y="10744"/>
                            <a:pt x="3290" y="5245"/>
                            <a:pt x="10506" y="2100"/>
                          </a:cubicBezTo>
                          <a:cubicBezTo>
                            <a:pt x="17722" y="-1029"/>
                            <a:pt x="24861" y="-618"/>
                            <a:pt x="26441" y="3042"/>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7" name="Freeform: Shape 2566">
                      <a:extLst>
                        <a:ext uri="{FF2B5EF4-FFF2-40B4-BE49-F238E27FC236}">
                          <a16:creationId xmlns:a16="http://schemas.microsoft.com/office/drawing/2014/main" id="{7B944736-29E0-74CA-8D16-DA3A6FD3F9FF}"/>
                        </a:ext>
                      </a:extLst>
                    </p:cNvPr>
                    <p:cNvSpPr/>
                    <p:nvPr/>
                  </p:nvSpPr>
                  <p:spPr>
                    <a:xfrm>
                      <a:off x="7455669" y="4981003"/>
                      <a:ext cx="26754" cy="17432"/>
                    </a:xfrm>
                    <a:custGeom>
                      <a:avLst/>
                      <a:gdLst>
                        <a:gd name="connsiteX0" fmla="*/ 26441 w 26754"/>
                        <a:gd name="connsiteY0" fmla="*/ 3043 h 17432"/>
                        <a:gd name="connsiteX1" fmla="*/ 16248 w 26754"/>
                        <a:gd name="connsiteY1" fmla="*/ 15332 h 17432"/>
                        <a:gd name="connsiteX2" fmla="*/ 313 w 26754"/>
                        <a:gd name="connsiteY2" fmla="*/ 14390 h 17432"/>
                        <a:gd name="connsiteX3" fmla="*/ 10506 w 26754"/>
                        <a:gd name="connsiteY3" fmla="*/ 2101 h 17432"/>
                        <a:gd name="connsiteX4" fmla="*/ 26441 w 26754"/>
                        <a:gd name="connsiteY4" fmla="*/ 3043 h 1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2">
                          <a:moveTo>
                            <a:pt x="26441" y="3043"/>
                          </a:moveTo>
                          <a:cubicBezTo>
                            <a:pt x="28021" y="6688"/>
                            <a:pt x="23464" y="12188"/>
                            <a:pt x="16248" y="15332"/>
                          </a:cubicBezTo>
                          <a:cubicBezTo>
                            <a:pt x="9032" y="18461"/>
                            <a:pt x="1893" y="18051"/>
                            <a:pt x="313" y="14390"/>
                          </a:cubicBezTo>
                          <a:cubicBezTo>
                            <a:pt x="-1267" y="10744"/>
                            <a:pt x="3290" y="5245"/>
                            <a:pt x="10506" y="2101"/>
                          </a:cubicBezTo>
                          <a:cubicBezTo>
                            <a:pt x="17722" y="-1029"/>
                            <a:pt x="24862" y="-619"/>
                            <a:pt x="26441" y="3043"/>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8" name="Freeform: Shape 2567">
                      <a:extLst>
                        <a:ext uri="{FF2B5EF4-FFF2-40B4-BE49-F238E27FC236}">
                          <a16:creationId xmlns:a16="http://schemas.microsoft.com/office/drawing/2014/main" id="{34DFEFC5-3A4C-5494-D8DA-AEAA605D09E6}"/>
                        </a:ext>
                      </a:extLst>
                    </p:cNvPr>
                    <p:cNvSpPr/>
                    <p:nvPr/>
                  </p:nvSpPr>
                  <p:spPr>
                    <a:xfrm>
                      <a:off x="7424163" y="5015532"/>
                      <a:ext cx="26754" cy="17438"/>
                    </a:xfrm>
                    <a:custGeom>
                      <a:avLst/>
                      <a:gdLst>
                        <a:gd name="connsiteX0" fmla="*/ 26441 w 26754"/>
                        <a:gd name="connsiteY0" fmla="*/ 3043 h 17438"/>
                        <a:gd name="connsiteX1" fmla="*/ 16248 w 26754"/>
                        <a:gd name="connsiteY1" fmla="*/ 15332 h 17438"/>
                        <a:gd name="connsiteX2" fmla="*/ 313 w 26754"/>
                        <a:gd name="connsiteY2" fmla="*/ 14390 h 17438"/>
                        <a:gd name="connsiteX3" fmla="*/ 10506 w 26754"/>
                        <a:gd name="connsiteY3" fmla="*/ 2101 h 17438"/>
                        <a:gd name="connsiteX4" fmla="*/ 26441 w 26754"/>
                        <a:gd name="connsiteY4" fmla="*/ 3043 h 17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8">
                          <a:moveTo>
                            <a:pt x="26441" y="3043"/>
                          </a:moveTo>
                          <a:cubicBezTo>
                            <a:pt x="28021" y="6688"/>
                            <a:pt x="23464" y="12188"/>
                            <a:pt x="16248" y="15332"/>
                          </a:cubicBezTo>
                          <a:cubicBezTo>
                            <a:pt x="9032" y="18477"/>
                            <a:pt x="1893" y="18051"/>
                            <a:pt x="313" y="14390"/>
                          </a:cubicBezTo>
                          <a:cubicBezTo>
                            <a:pt x="-1267" y="10744"/>
                            <a:pt x="3290" y="5245"/>
                            <a:pt x="10506" y="2101"/>
                          </a:cubicBezTo>
                          <a:cubicBezTo>
                            <a:pt x="17722" y="-1029"/>
                            <a:pt x="24862" y="-619"/>
                            <a:pt x="26441" y="3043"/>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9" name="Freeform: Shape 2568">
                      <a:extLst>
                        <a:ext uri="{FF2B5EF4-FFF2-40B4-BE49-F238E27FC236}">
                          <a16:creationId xmlns:a16="http://schemas.microsoft.com/office/drawing/2014/main" id="{EC9EC536-C603-78A5-BF82-1D40D18A41FE}"/>
                        </a:ext>
                      </a:extLst>
                    </p:cNvPr>
                    <p:cNvSpPr/>
                    <p:nvPr/>
                  </p:nvSpPr>
                  <p:spPr>
                    <a:xfrm>
                      <a:off x="7365830" y="5039670"/>
                      <a:ext cx="26754" cy="17432"/>
                    </a:xfrm>
                    <a:custGeom>
                      <a:avLst/>
                      <a:gdLst>
                        <a:gd name="connsiteX0" fmla="*/ 26441 w 26754"/>
                        <a:gd name="connsiteY0" fmla="*/ 3042 h 17432"/>
                        <a:gd name="connsiteX1" fmla="*/ 16248 w 26754"/>
                        <a:gd name="connsiteY1" fmla="*/ 15332 h 17432"/>
                        <a:gd name="connsiteX2" fmla="*/ 313 w 26754"/>
                        <a:gd name="connsiteY2" fmla="*/ 14390 h 17432"/>
                        <a:gd name="connsiteX3" fmla="*/ 10506 w 26754"/>
                        <a:gd name="connsiteY3" fmla="*/ 2101 h 17432"/>
                        <a:gd name="connsiteX4" fmla="*/ 26441 w 26754"/>
                        <a:gd name="connsiteY4" fmla="*/ 3042 h 1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2">
                          <a:moveTo>
                            <a:pt x="26441" y="3042"/>
                          </a:moveTo>
                          <a:cubicBezTo>
                            <a:pt x="28021" y="6688"/>
                            <a:pt x="23464" y="12187"/>
                            <a:pt x="16248" y="15332"/>
                          </a:cubicBezTo>
                          <a:cubicBezTo>
                            <a:pt x="9032" y="18461"/>
                            <a:pt x="1893" y="18051"/>
                            <a:pt x="313" y="14390"/>
                          </a:cubicBezTo>
                          <a:cubicBezTo>
                            <a:pt x="-1267" y="10744"/>
                            <a:pt x="3290" y="5245"/>
                            <a:pt x="10506" y="2101"/>
                          </a:cubicBezTo>
                          <a:cubicBezTo>
                            <a:pt x="17722" y="-1029"/>
                            <a:pt x="24861" y="-618"/>
                            <a:pt x="26441" y="3042"/>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0" name="Freeform: Shape 2569">
                      <a:extLst>
                        <a:ext uri="{FF2B5EF4-FFF2-40B4-BE49-F238E27FC236}">
                          <a16:creationId xmlns:a16="http://schemas.microsoft.com/office/drawing/2014/main" id="{38E8CC48-83EC-E1B7-576E-BBAA820A1047}"/>
                        </a:ext>
                      </a:extLst>
                    </p:cNvPr>
                    <p:cNvSpPr/>
                    <p:nvPr/>
                  </p:nvSpPr>
                  <p:spPr>
                    <a:xfrm>
                      <a:off x="7519365" y="4998442"/>
                      <a:ext cx="26754" cy="17432"/>
                    </a:xfrm>
                    <a:custGeom>
                      <a:avLst/>
                      <a:gdLst>
                        <a:gd name="connsiteX0" fmla="*/ 26441 w 26754"/>
                        <a:gd name="connsiteY0" fmla="*/ 3043 h 17432"/>
                        <a:gd name="connsiteX1" fmla="*/ 16248 w 26754"/>
                        <a:gd name="connsiteY1" fmla="*/ 15332 h 17432"/>
                        <a:gd name="connsiteX2" fmla="*/ 313 w 26754"/>
                        <a:gd name="connsiteY2" fmla="*/ 14390 h 17432"/>
                        <a:gd name="connsiteX3" fmla="*/ 10506 w 26754"/>
                        <a:gd name="connsiteY3" fmla="*/ 2101 h 17432"/>
                        <a:gd name="connsiteX4" fmla="*/ 26441 w 26754"/>
                        <a:gd name="connsiteY4" fmla="*/ 3043 h 1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2">
                          <a:moveTo>
                            <a:pt x="26441" y="3043"/>
                          </a:moveTo>
                          <a:cubicBezTo>
                            <a:pt x="28021" y="6688"/>
                            <a:pt x="23464" y="12188"/>
                            <a:pt x="16248" y="15332"/>
                          </a:cubicBezTo>
                          <a:cubicBezTo>
                            <a:pt x="9032" y="18461"/>
                            <a:pt x="1893" y="18051"/>
                            <a:pt x="313" y="14390"/>
                          </a:cubicBezTo>
                          <a:cubicBezTo>
                            <a:pt x="-1267" y="10744"/>
                            <a:pt x="3290" y="5245"/>
                            <a:pt x="10506" y="2101"/>
                          </a:cubicBezTo>
                          <a:cubicBezTo>
                            <a:pt x="17722" y="-1029"/>
                            <a:pt x="24861" y="-619"/>
                            <a:pt x="26441" y="3043"/>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1" name="Freeform: Shape 2570">
                      <a:extLst>
                        <a:ext uri="{FF2B5EF4-FFF2-40B4-BE49-F238E27FC236}">
                          <a16:creationId xmlns:a16="http://schemas.microsoft.com/office/drawing/2014/main" id="{65A7429A-9EFB-15B8-AE7B-0DB331AE4CD1}"/>
                        </a:ext>
                      </a:extLst>
                    </p:cNvPr>
                    <p:cNvSpPr/>
                    <p:nvPr/>
                  </p:nvSpPr>
                  <p:spPr>
                    <a:xfrm>
                      <a:off x="7510645" y="4952186"/>
                      <a:ext cx="26754" cy="17432"/>
                    </a:xfrm>
                    <a:custGeom>
                      <a:avLst/>
                      <a:gdLst>
                        <a:gd name="connsiteX0" fmla="*/ 26441 w 26754"/>
                        <a:gd name="connsiteY0" fmla="*/ 3043 h 17432"/>
                        <a:gd name="connsiteX1" fmla="*/ 16248 w 26754"/>
                        <a:gd name="connsiteY1" fmla="*/ 15332 h 17432"/>
                        <a:gd name="connsiteX2" fmla="*/ 313 w 26754"/>
                        <a:gd name="connsiteY2" fmla="*/ 14390 h 17432"/>
                        <a:gd name="connsiteX3" fmla="*/ 10506 w 26754"/>
                        <a:gd name="connsiteY3" fmla="*/ 2101 h 17432"/>
                        <a:gd name="connsiteX4" fmla="*/ 26441 w 26754"/>
                        <a:gd name="connsiteY4" fmla="*/ 3043 h 1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4" h="17432">
                          <a:moveTo>
                            <a:pt x="26441" y="3043"/>
                          </a:moveTo>
                          <a:cubicBezTo>
                            <a:pt x="28021" y="6688"/>
                            <a:pt x="23464" y="12187"/>
                            <a:pt x="16248" y="15332"/>
                          </a:cubicBezTo>
                          <a:cubicBezTo>
                            <a:pt x="9032" y="18461"/>
                            <a:pt x="1893" y="18051"/>
                            <a:pt x="313" y="14390"/>
                          </a:cubicBezTo>
                          <a:cubicBezTo>
                            <a:pt x="-1267" y="10744"/>
                            <a:pt x="3290" y="5245"/>
                            <a:pt x="10506" y="2101"/>
                          </a:cubicBezTo>
                          <a:cubicBezTo>
                            <a:pt x="17722" y="-1029"/>
                            <a:pt x="24861" y="-619"/>
                            <a:pt x="26441" y="3043"/>
                          </a:cubicBezTo>
                          <a:close/>
                        </a:path>
                      </a:pathLst>
                    </a:custGeom>
                    <a:solidFill>
                      <a:srgbClr val="CCE5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28" name="Graphic 3200">
              <a:extLst>
                <a:ext uri="{FF2B5EF4-FFF2-40B4-BE49-F238E27FC236}">
                  <a16:creationId xmlns:a16="http://schemas.microsoft.com/office/drawing/2014/main" id="{F73D34C3-0CCC-8C48-AC99-A73BD6C65AF8}"/>
                </a:ext>
              </a:extLst>
            </p:cNvPr>
            <p:cNvGrpSpPr/>
            <p:nvPr/>
          </p:nvGrpSpPr>
          <p:grpSpPr>
            <a:xfrm>
              <a:off x="7134459" y="3727718"/>
              <a:ext cx="977483" cy="901598"/>
              <a:chOff x="7114463" y="3965416"/>
              <a:chExt cx="911724" cy="840944"/>
            </a:xfrm>
          </p:grpSpPr>
          <p:sp>
            <p:nvSpPr>
              <p:cNvPr id="2555" name="Freeform: Shape 2554">
                <a:extLst>
                  <a:ext uri="{FF2B5EF4-FFF2-40B4-BE49-F238E27FC236}">
                    <a16:creationId xmlns:a16="http://schemas.microsoft.com/office/drawing/2014/main" id="{7D8850A6-1F66-4F9B-FE63-E48899036219}"/>
                  </a:ext>
                </a:extLst>
              </p:cNvPr>
              <p:cNvSpPr/>
              <p:nvPr/>
            </p:nvSpPr>
            <p:spPr>
              <a:xfrm>
                <a:off x="7114463" y="3965416"/>
                <a:ext cx="911724" cy="840944"/>
              </a:xfrm>
              <a:custGeom>
                <a:avLst/>
                <a:gdLst>
                  <a:gd name="connsiteX0" fmla="*/ 542814 w 911724"/>
                  <a:gd name="connsiteY0" fmla="*/ 10819 h 840944"/>
                  <a:gd name="connsiteX1" fmla="*/ 114658 w 911724"/>
                  <a:gd name="connsiteY1" fmla="*/ 75213 h 840944"/>
                  <a:gd name="connsiteX2" fmla="*/ 25898 w 911724"/>
                  <a:gd name="connsiteY2" fmla="*/ 132650 h 840944"/>
                  <a:gd name="connsiteX3" fmla="*/ 32855 w 911724"/>
                  <a:gd name="connsiteY3" fmla="*/ 358903 h 840944"/>
                  <a:gd name="connsiteX4" fmla="*/ 241715 w 911724"/>
                  <a:gd name="connsiteY4" fmla="*/ 802721 h 840944"/>
                  <a:gd name="connsiteX5" fmla="*/ 321771 w 911724"/>
                  <a:gd name="connsiteY5" fmla="*/ 806199 h 840944"/>
                  <a:gd name="connsiteX6" fmla="*/ 427940 w 911724"/>
                  <a:gd name="connsiteY6" fmla="*/ 832312 h 840944"/>
                  <a:gd name="connsiteX7" fmla="*/ 588067 w 911724"/>
                  <a:gd name="connsiteY7" fmla="*/ 811425 h 840944"/>
                  <a:gd name="connsiteX8" fmla="*/ 525405 w 911724"/>
                  <a:gd name="connsiteY8" fmla="*/ 444185 h 840944"/>
                  <a:gd name="connsiteX9" fmla="*/ 910039 w 911724"/>
                  <a:gd name="connsiteY9" fmla="*/ 141354 h 840944"/>
                  <a:gd name="connsiteX10" fmla="*/ 542798 w 911724"/>
                  <a:gd name="connsiteY10" fmla="*/ 10819 h 84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724" h="840944">
                    <a:moveTo>
                      <a:pt x="542814" y="10819"/>
                    </a:moveTo>
                    <a:cubicBezTo>
                      <a:pt x="542814" y="10819"/>
                      <a:pt x="192982" y="45621"/>
                      <a:pt x="114658" y="75213"/>
                    </a:cubicBezTo>
                    <a:cubicBezTo>
                      <a:pt x="36334" y="104805"/>
                      <a:pt x="25898" y="132650"/>
                      <a:pt x="25898" y="132650"/>
                    </a:cubicBezTo>
                    <a:cubicBezTo>
                      <a:pt x="25898" y="132650"/>
                      <a:pt x="-36765" y="202270"/>
                      <a:pt x="32855" y="358903"/>
                    </a:cubicBezTo>
                    <a:cubicBezTo>
                      <a:pt x="102475" y="515536"/>
                      <a:pt x="217348" y="717439"/>
                      <a:pt x="241715" y="802721"/>
                    </a:cubicBezTo>
                    <a:cubicBezTo>
                      <a:pt x="241715" y="802721"/>
                      <a:pt x="274785" y="816651"/>
                      <a:pt x="321771" y="806199"/>
                    </a:cubicBezTo>
                    <a:cubicBezTo>
                      <a:pt x="368756" y="795763"/>
                      <a:pt x="372250" y="823608"/>
                      <a:pt x="427940" y="832312"/>
                    </a:cubicBezTo>
                    <a:cubicBezTo>
                      <a:pt x="483630" y="841017"/>
                      <a:pt x="535841" y="853200"/>
                      <a:pt x="588067" y="811425"/>
                    </a:cubicBezTo>
                    <a:cubicBezTo>
                      <a:pt x="588067" y="811425"/>
                      <a:pt x="556744" y="559059"/>
                      <a:pt x="525405" y="444185"/>
                    </a:cubicBezTo>
                    <a:cubicBezTo>
                      <a:pt x="525405" y="444185"/>
                      <a:pt x="941378" y="409382"/>
                      <a:pt x="910039" y="141354"/>
                    </a:cubicBezTo>
                    <a:cubicBezTo>
                      <a:pt x="901335" y="90875"/>
                      <a:pt x="910039" y="-37914"/>
                      <a:pt x="542798" y="10819"/>
                    </a:cubicBezTo>
                    <a:close/>
                  </a:path>
                </a:pathLst>
              </a:custGeom>
              <a:solidFill>
                <a:srgbClr val="3C5D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6" name="Freeform: Shape 2555">
                <a:extLst>
                  <a:ext uri="{FF2B5EF4-FFF2-40B4-BE49-F238E27FC236}">
                    <a16:creationId xmlns:a16="http://schemas.microsoft.com/office/drawing/2014/main" id="{8547DA10-AAF4-2B65-BF67-F88085860427}"/>
                  </a:ext>
                </a:extLst>
              </p:cNvPr>
              <p:cNvSpPr/>
              <p:nvPr/>
            </p:nvSpPr>
            <p:spPr>
              <a:xfrm>
                <a:off x="7268167" y="4265800"/>
                <a:ext cx="254897" cy="527660"/>
              </a:xfrm>
              <a:custGeom>
                <a:avLst/>
                <a:gdLst>
                  <a:gd name="connsiteX0" fmla="*/ 254898 w 254897"/>
                  <a:gd name="connsiteY0" fmla="*/ 527661 h 527660"/>
                  <a:gd name="connsiteX1" fmla="*/ 181131 w 254897"/>
                  <a:gd name="connsiteY1" fmla="*/ 314365 h 527660"/>
                  <a:gd name="connsiteX2" fmla="*/ 4460 w 254897"/>
                  <a:gd name="connsiteY2" fmla="*/ 582 h 527660"/>
                  <a:gd name="connsiteX3" fmla="*/ 192 w 254897"/>
                  <a:gd name="connsiteY3" fmla="*/ 3756 h 527660"/>
                  <a:gd name="connsiteX4" fmla="*/ 175996 w 254897"/>
                  <a:gd name="connsiteY4" fmla="*/ 504342 h 527660"/>
                  <a:gd name="connsiteX5" fmla="*/ 254898 w 254897"/>
                  <a:gd name="connsiteY5" fmla="*/ 527645 h 52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897" h="527660">
                    <a:moveTo>
                      <a:pt x="254898" y="527661"/>
                    </a:moveTo>
                    <a:cubicBezTo>
                      <a:pt x="248320" y="489729"/>
                      <a:pt x="229514" y="434419"/>
                      <a:pt x="181131" y="314365"/>
                    </a:cubicBezTo>
                    <a:cubicBezTo>
                      <a:pt x="99920" y="112903"/>
                      <a:pt x="29920" y="20056"/>
                      <a:pt x="4460" y="582"/>
                    </a:cubicBezTo>
                    <a:cubicBezTo>
                      <a:pt x="2243" y="-1105"/>
                      <a:pt x="-796" y="1159"/>
                      <a:pt x="192" y="3756"/>
                    </a:cubicBezTo>
                    <a:cubicBezTo>
                      <a:pt x="19985" y="55816"/>
                      <a:pt x="143625" y="382602"/>
                      <a:pt x="175996" y="504342"/>
                    </a:cubicBezTo>
                    <a:cubicBezTo>
                      <a:pt x="210161" y="499405"/>
                      <a:pt x="219503" y="517346"/>
                      <a:pt x="254898" y="527645"/>
                    </a:cubicBezTo>
                    <a:close/>
                  </a:path>
                </a:pathLst>
              </a:custGeom>
              <a:solidFill>
                <a:srgbClr val="3559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 name="Graphic 3200">
              <a:extLst>
                <a:ext uri="{FF2B5EF4-FFF2-40B4-BE49-F238E27FC236}">
                  <a16:creationId xmlns:a16="http://schemas.microsoft.com/office/drawing/2014/main" id="{FB652E0D-3E17-176A-2C06-1D785AC2B562}"/>
                </a:ext>
              </a:extLst>
            </p:cNvPr>
            <p:cNvGrpSpPr/>
            <p:nvPr/>
          </p:nvGrpSpPr>
          <p:grpSpPr>
            <a:xfrm>
              <a:off x="6985727" y="2974028"/>
              <a:ext cx="1134874" cy="1269389"/>
              <a:chOff x="6975737" y="3262430"/>
              <a:chExt cx="1058527" cy="1183993"/>
            </a:xfrm>
          </p:grpSpPr>
          <p:grpSp>
            <p:nvGrpSpPr>
              <p:cNvPr id="2522" name="Graphic 3200">
                <a:extLst>
                  <a:ext uri="{FF2B5EF4-FFF2-40B4-BE49-F238E27FC236}">
                    <a16:creationId xmlns:a16="http://schemas.microsoft.com/office/drawing/2014/main" id="{D73E7347-2857-7FAF-FE84-753CC0B0D49E}"/>
                  </a:ext>
                </a:extLst>
              </p:cNvPr>
              <p:cNvGrpSpPr/>
              <p:nvPr/>
            </p:nvGrpSpPr>
            <p:grpSpPr>
              <a:xfrm>
                <a:off x="6975737" y="3352232"/>
                <a:ext cx="614448" cy="893685"/>
                <a:chOff x="6975737" y="3352232"/>
                <a:chExt cx="614448" cy="893685"/>
              </a:xfrm>
            </p:grpSpPr>
            <p:grpSp>
              <p:nvGrpSpPr>
                <p:cNvPr id="2541" name="Graphic 3200">
                  <a:extLst>
                    <a:ext uri="{FF2B5EF4-FFF2-40B4-BE49-F238E27FC236}">
                      <a16:creationId xmlns:a16="http://schemas.microsoft.com/office/drawing/2014/main" id="{9C4B07C0-9DD7-1B0E-8DF3-3FC6D2D4AE14}"/>
                    </a:ext>
                  </a:extLst>
                </p:cNvPr>
                <p:cNvGrpSpPr/>
                <p:nvPr/>
              </p:nvGrpSpPr>
              <p:grpSpPr>
                <a:xfrm>
                  <a:off x="6975737" y="4049377"/>
                  <a:ext cx="261128" cy="196539"/>
                  <a:chOff x="6975737" y="4049377"/>
                  <a:chExt cx="261128" cy="196539"/>
                </a:xfrm>
              </p:grpSpPr>
              <p:grpSp>
                <p:nvGrpSpPr>
                  <p:cNvPr id="2550" name="Graphic 3200">
                    <a:extLst>
                      <a:ext uri="{FF2B5EF4-FFF2-40B4-BE49-F238E27FC236}">
                        <a16:creationId xmlns:a16="http://schemas.microsoft.com/office/drawing/2014/main" id="{4E7219F9-D6F2-C127-0172-DE81CE4DEB7B}"/>
                      </a:ext>
                    </a:extLst>
                  </p:cNvPr>
                  <p:cNvGrpSpPr/>
                  <p:nvPr/>
                </p:nvGrpSpPr>
                <p:grpSpPr>
                  <a:xfrm>
                    <a:off x="6975737" y="4049377"/>
                    <a:ext cx="261128" cy="161923"/>
                    <a:chOff x="6975737" y="4049377"/>
                    <a:chExt cx="261128" cy="161923"/>
                  </a:xfrm>
                </p:grpSpPr>
                <p:sp>
                  <p:nvSpPr>
                    <p:cNvPr id="2552" name="Freeform: Shape 2551">
                      <a:extLst>
                        <a:ext uri="{FF2B5EF4-FFF2-40B4-BE49-F238E27FC236}">
                          <a16:creationId xmlns:a16="http://schemas.microsoft.com/office/drawing/2014/main" id="{838B1A6D-476F-ACEA-692C-DD10C21CB9CC}"/>
                        </a:ext>
                      </a:extLst>
                    </p:cNvPr>
                    <p:cNvSpPr/>
                    <p:nvPr/>
                  </p:nvSpPr>
                  <p:spPr>
                    <a:xfrm>
                      <a:off x="6975737" y="4049377"/>
                      <a:ext cx="261128" cy="161923"/>
                    </a:xfrm>
                    <a:custGeom>
                      <a:avLst/>
                      <a:gdLst>
                        <a:gd name="connsiteX0" fmla="*/ 185694 w 261128"/>
                        <a:gd name="connsiteY0" fmla="*/ 17730 h 161923"/>
                        <a:gd name="connsiteX1" fmla="*/ 130293 w 261128"/>
                        <a:gd name="connsiteY1" fmla="*/ 63971 h 161923"/>
                        <a:gd name="connsiteX2" fmla="*/ 46165 w 261128"/>
                        <a:gd name="connsiteY2" fmla="*/ 92894 h 161923"/>
                        <a:gd name="connsiteX3" fmla="*/ 35334 w 261128"/>
                        <a:gd name="connsiteY3" fmla="*/ 101098 h 161923"/>
                        <a:gd name="connsiteX4" fmla="*/ 12973 w 261128"/>
                        <a:gd name="connsiteY4" fmla="*/ 111260 h 161923"/>
                        <a:gd name="connsiteX5" fmla="*/ 197 w 261128"/>
                        <a:gd name="connsiteY5" fmla="*/ 142949 h 161923"/>
                        <a:gd name="connsiteX6" fmla="*/ 13353 w 261128"/>
                        <a:gd name="connsiteY6" fmla="*/ 156438 h 161923"/>
                        <a:gd name="connsiteX7" fmla="*/ 46743 w 261128"/>
                        <a:gd name="connsiteY7" fmla="*/ 134852 h 161923"/>
                        <a:gd name="connsiteX8" fmla="*/ 89186 w 261128"/>
                        <a:gd name="connsiteY8" fmla="*/ 154205 h 161923"/>
                        <a:gd name="connsiteX9" fmla="*/ 146881 w 261128"/>
                        <a:gd name="connsiteY9" fmla="*/ 146275 h 161923"/>
                        <a:gd name="connsiteX10" fmla="*/ 228927 w 261128"/>
                        <a:gd name="connsiteY10" fmla="*/ 94246 h 161923"/>
                        <a:gd name="connsiteX11" fmla="*/ 249936 w 261128"/>
                        <a:gd name="connsiteY11" fmla="*/ 15633 h 161923"/>
                        <a:gd name="connsiteX12" fmla="*/ 185679 w 261128"/>
                        <a:gd name="connsiteY12" fmla="*/ 17715 h 16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1128" h="161923">
                          <a:moveTo>
                            <a:pt x="185694" y="17730"/>
                          </a:moveTo>
                          <a:cubicBezTo>
                            <a:pt x="185694" y="17730"/>
                            <a:pt x="156649" y="51621"/>
                            <a:pt x="130293" y="63971"/>
                          </a:cubicBezTo>
                          <a:cubicBezTo>
                            <a:pt x="103936" y="76321"/>
                            <a:pt x="53791" y="90616"/>
                            <a:pt x="46165" y="92894"/>
                          </a:cubicBezTo>
                          <a:cubicBezTo>
                            <a:pt x="38554" y="95173"/>
                            <a:pt x="35334" y="101098"/>
                            <a:pt x="35334" y="101098"/>
                          </a:cubicBezTo>
                          <a:cubicBezTo>
                            <a:pt x="35334" y="101098"/>
                            <a:pt x="19353" y="103710"/>
                            <a:pt x="12973" y="111260"/>
                          </a:cubicBezTo>
                          <a:cubicBezTo>
                            <a:pt x="6593" y="118810"/>
                            <a:pt x="197" y="142949"/>
                            <a:pt x="197" y="142949"/>
                          </a:cubicBezTo>
                          <a:cubicBezTo>
                            <a:pt x="197" y="142949"/>
                            <a:pt x="-2658" y="163380"/>
                            <a:pt x="13353" y="156438"/>
                          </a:cubicBezTo>
                          <a:cubicBezTo>
                            <a:pt x="29364" y="149496"/>
                            <a:pt x="40970" y="138908"/>
                            <a:pt x="46743" y="134852"/>
                          </a:cubicBezTo>
                          <a:cubicBezTo>
                            <a:pt x="52500" y="130811"/>
                            <a:pt x="79540" y="141323"/>
                            <a:pt x="89186" y="154205"/>
                          </a:cubicBezTo>
                          <a:cubicBezTo>
                            <a:pt x="98832" y="167087"/>
                            <a:pt x="123305" y="163441"/>
                            <a:pt x="146881" y="146275"/>
                          </a:cubicBezTo>
                          <a:cubicBezTo>
                            <a:pt x="170472" y="129110"/>
                            <a:pt x="187638" y="117686"/>
                            <a:pt x="228927" y="94246"/>
                          </a:cubicBezTo>
                          <a:cubicBezTo>
                            <a:pt x="270216" y="70807"/>
                            <a:pt x="265324" y="34926"/>
                            <a:pt x="249936" y="15633"/>
                          </a:cubicBezTo>
                          <a:cubicBezTo>
                            <a:pt x="234548" y="-3674"/>
                            <a:pt x="211032" y="-7426"/>
                            <a:pt x="185679" y="17715"/>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3" name="Freeform: Shape 2552">
                      <a:extLst>
                        <a:ext uri="{FF2B5EF4-FFF2-40B4-BE49-F238E27FC236}">
                          <a16:creationId xmlns:a16="http://schemas.microsoft.com/office/drawing/2014/main" id="{E1C0671E-5FF9-C2AD-3C63-4A1D547A3436}"/>
                        </a:ext>
                      </a:extLst>
                    </p:cNvPr>
                    <p:cNvSpPr/>
                    <p:nvPr/>
                  </p:nvSpPr>
                  <p:spPr>
                    <a:xfrm>
                      <a:off x="6985884" y="4178259"/>
                      <a:ext cx="42914" cy="28665"/>
                    </a:xfrm>
                    <a:custGeom>
                      <a:avLst/>
                      <a:gdLst>
                        <a:gd name="connsiteX0" fmla="*/ 42899 w 42914"/>
                        <a:gd name="connsiteY0" fmla="*/ 5271 h 28665"/>
                        <a:gd name="connsiteX1" fmla="*/ 24123 w 42914"/>
                        <a:gd name="connsiteY1" fmla="*/ 0 h 28665"/>
                        <a:gd name="connsiteX2" fmla="*/ 0 w 42914"/>
                        <a:gd name="connsiteY2" fmla="*/ 28665 h 28665"/>
                        <a:gd name="connsiteX3" fmla="*/ 3236 w 42914"/>
                        <a:gd name="connsiteY3" fmla="*/ 27572 h 28665"/>
                        <a:gd name="connsiteX4" fmla="*/ 36625 w 42914"/>
                        <a:gd name="connsiteY4" fmla="*/ 5985 h 28665"/>
                        <a:gd name="connsiteX5" fmla="*/ 42914 w 42914"/>
                        <a:gd name="connsiteY5" fmla="*/ 5271 h 2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14" h="28665">
                          <a:moveTo>
                            <a:pt x="42899" y="5271"/>
                          </a:moveTo>
                          <a:cubicBezTo>
                            <a:pt x="39360" y="4603"/>
                            <a:pt x="29106" y="2324"/>
                            <a:pt x="24123" y="0"/>
                          </a:cubicBezTo>
                          <a:cubicBezTo>
                            <a:pt x="24123" y="0"/>
                            <a:pt x="19353" y="13778"/>
                            <a:pt x="0" y="28665"/>
                          </a:cubicBezTo>
                          <a:cubicBezTo>
                            <a:pt x="988" y="28437"/>
                            <a:pt x="2051" y="28073"/>
                            <a:pt x="3236" y="27572"/>
                          </a:cubicBezTo>
                          <a:cubicBezTo>
                            <a:pt x="19247" y="20629"/>
                            <a:pt x="30853" y="10041"/>
                            <a:pt x="36625" y="5985"/>
                          </a:cubicBezTo>
                          <a:cubicBezTo>
                            <a:pt x="37871" y="5119"/>
                            <a:pt x="40089" y="4922"/>
                            <a:pt x="42914" y="5271"/>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4" name="Freeform: Shape 2553">
                      <a:extLst>
                        <a:ext uri="{FF2B5EF4-FFF2-40B4-BE49-F238E27FC236}">
                          <a16:creationId xmlns:a16="http://schemas.microsoft.com/office/drawing/2014/main" id="{0C6FF256-2922-0E7D-BA3F-8D4E5A83D34E}"/>
                        </a:ext>
                      </a:extLst>
                    </p:cNvPr>
                    <p:cNvSpPr/>
                    <p:nvPr/>
                  </p:nvSpPr>
                  <p:spPr>
                    <a:xfrm>
                      <a:off x="7010964" y="4147421"/>
                      <a:ext cx="18794" cy="3828"/>
                    </a:xfrm>
                    <a:custGeom>
                      <a:avLst/>
                      <a:gdLst>
                        <a:gd name="connsiteX0" fmla="*/ 76 w 18794"/>
                        <a:gd name="connsiteY0" fmla="*/ 2917 h 3828"/>
                        <a:gd name="connsiteX1" fmla="*/ 4649 w 18794"/>
                        <a:gd name="connsiteY1" fmla="*/ 1185 h 3828"/>
                        <a:gd name="connsiteX2" fmla="*/ 7049 w 18794"/>
                        <a:gd name="connsiteY2" fmla="*/ 592 h 3828"/>
                        <a:gd name="connsiteX3" fmla="*/ 9510 w 18794"/>
                        <a:gd name="connsiteY3" fmla="*/ 228 h 3828"/>
                        <a:gd name="connsiteX4" fmla="*/ 14629 w 18794"/>
                        <a:gd name="connsiteY4" fmla="*/ 349 h 3828"/>
                        <a:gd name="connsiteX5" fmla="*/ 18776 w 18794"/>
                        <a:gd name="connsiteY5" fmla="*/ 3585 h 3828"/>
                        <a:gd name="connsiteX6" fmla="*/ 18700 w 18794"/>
                        <a:gd name="connsiteY6" fmla="*/ 3813 h 3828"/>
                        <a:gd name="connsiteX7" fmla="*/ 18609 w 18794"/>
                        <a:gd name="connsiteY7" fmla="*/ 3828 h 3828"/>
                        <a:gd name="connsiteX8" fmla="*/ 16194 w 18794"/>
                        <a:gd name="connsiteY8" fmla="*/ 3524 h 3828"/>
                        <a:gd name="connsiteX9" fmla="*/ 14006 w 18794"/>
                        <a:gd name="connsiteY9" fmla="*/ 3312 h 3828"/>
                        <a:gd name="connsiteX10" fmla="*/ 11834 w 18794"/>
                        <a:gd name="connsiteY10" fmla="*/ 2993 h 3828"/>
                        <a:gd name="connsiteX11" fmla="*/ 9586 w 18794"/>
                        <a:gd name="connsiteY11" fmla="*/ 2658 h 3828"/>
                        <a:gd name="connsiteX12" fmla="*/ 7277 w 18794"/>
                        <a:gd name="connsiteY12" fmla="*/ 2613 h 3828"/>
                        <a:gd name="connsiteX13" fmla="*/ 4922 w 18794"/>
                        <a:gd name="connsiteY13" fmla="*/ 2704 h 3828"/>
                        <a:gd name="connsiteX14" fmla="*/ 182 w 18794"/>
                        <a:gd name="connsiteY14" fmla="*/ 3236 h 3828"/>
                        <a:gd name="connsiteX15" fmla="*/ 0 w 18794"/>
                        <a:gd name="connsiteY15" fmla="*/ 3114 h 3828"/>
                        <a:gd name="connsiteX16" fmla="*/ 76 w 18794"/>
                        <a:gd name="connsiteY16" fmla="*/ 2947 h 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94" h="3828">
                          <a:moveTo>
                            <a:pt x="76" y="2917"/>
                          </a:moveTo>
                          <a:cubicBezTo>
                            <a:pt x="1550" y="2203"/>
                            <a:pt x="3084" y="1656"/>
                            <a:pt x="4649" y="1185"/>
                          </a:cubicBezTo>
                          <a:cubicBezTo>
                            <a:pt x="5438" y="957"/>
                            <a:pt x="6244" y="760"/>
                            <a:pt x="7049" y="592"/>
                          </a:cubicBezTo>
                          <a:cubicBezTo>
                            <a:pt x="7854" y="441"/>
                            <a:pt x="8689" y="319"/>
                            <a:pt x="9510" y="228"/>
                          </a:cubicBezTo>
                          <a:cubicBezTo>
                            <a:pt x="11165" y="61"/>
                            <a:pt x="12943" y="-243"/>
                            <a:pt x="14629" y="349"/>
                          </a:cubicBezTo>
                          <a:cubicBezTo>
                            <a:pt x="16285" y="881"/>
                            <a:pt x="17941" y="1929"/>
                            <a:pt x="18776" y="3585"/>
                          </a:cubicBezTo>
                          <a:cubicBezTo>
                            <a:pt x="18822" y="3661"/>
                            <a:pt x="18776" y="3767"/>
                            <a:pt x="18700" y="3813"/>
                          </a:cubicBezTo>
                          <a:cubicBezTo>
                            <a:pt x="18670" y="3828"/>
                            <a:pt x="18639" y="3828"/>
                            <a:pt x="18609" y="3828"/>
                          </a:cubicBezTo>
                          <a:cubicBezTo>
                            <a:pt x="18609" y="3828"/>
                            <a:pt x="16194" y="3524"/>
                            <a:pt x="16194" y="3524"/>
                          </a:cubicBezTo>
                          <a:cubicBezTo>
                            <a:pt x="15449" y="3433"/>
                            <a:pt x="14720" y="3373"/>
                            <a:pt x="14006" y="3312"/>
                          </a:cubicBezTo>
                          <a:cubicBezTo>
                            <a:pt x="13292" y="3236"/>
                            <a:pt x="12563" y="3145"/>
                            <a:pt x="11834" y="2993"/>
                          </a:cubicBezTo>
                          <a:cubicBezTo>
                            <a:pt x="11105" y="2826"/>
                            <a:pt x="10345" y="2689"/>
                            <a:pt x="9586" y="2658"/>
                          </a:cubicBezTo>
                          <a:cubicBezTo>
                            <a:pt x="8826" y="2613"/>
                            <a:pt x="8051" y="2598"/>
                            <a:pt x="7277" y="2613"/>
                          </a:cubicBezTo>
                          <a:cubicBezTo>
                            <a:pt x="6502" y="2613"/>
                            <a:pt x="5712" y="2643"/>
                            <a:pt x="4922" y="2704"/>
                          </a:cubicBezTo>
                          <a:cubicBezTo>
                            <a:pt x="3342" y="2795"/>
                            <a:pt x="1762" y="2978"/>
                            <a:pt x="182" y="3236"/>
                          </a:cubicBezTo>
                          <a:cubicBezTo>
                            <a:pt x="91" y="3236"/>
                            <a:pt x="15" y="3190"/>
                            <a:pt x="0" y="3114"/>
                          </a:cubicBezTo>
                          <a:cubicBezTo>
                            <a:pt x="0" y="3053"/>
                            <a:pt x="30" y="2978"/>
                            <a:pt x="76" y="2947"/>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51" name="Freeform: Shape 2550">
                    <a:extLst>
                      <a:ext uri="{FF2B5EF4-FFF2-40B4-BE49-F238E27FC236}">
                        <a16:creationId xmlns:a16="http://schemas.microsoft.com/office/drawing/2014/main" id="{9CB017FA-B198-37A8-F532-FF671C8D8BB0}"/>
                      </a:ext>
                    </a:extLst>
                  </p:cNvPr>
                  <p:cNvSpPr/>
                  <p:nvPr/>
                </p:nvSpPr>
                <p:spPr>
                  <a:xfrm>
                    <a:off x="7001241" y="4179834"/>
                    <a:ext cx="131281" cy="66082"/>
                  </a:xfrm>
                  <a:custGeom>
                    <a:avLst/>
                    <a:gdLst>
                      <a:gd name="connsiteX0" fmla="*/ 131281 w 131281"/>
                      <a:gd name="connsiteY0" fmla="*/ 8906 h 66082"/>
                      <a:gd name="connsiteX1" fmla="*/ 96342 w 131281"/>
                      <a:gd name="connsiteY1" fmla="*/ 41400 h 66082"/>
                      <a:gd name="connsiteX2" fmla="*/ 34956 w 131281"/>
                      <a:gd name="connsiteY2" fmla="*/ 64201 h 66082"/>
                      <a:gd name="connsiteX3" fmla="*/ 275 w 131281"/>
                      <a:gd name="connsiteY3" fmla="*/ 60282 h 66082"/>
                      <a:gd name="connsiteX4" fmla="*/ 22119 w 131281"/>
                      <a:gd name="connsiteY4" fmla="*/ 40655 h 66082"/>
                      <a:gd name="connsiteX5" fmla="*/ 62998 w 131281"/>
                      <a:gd name="connsiteY5" fmla="*/ 17504 h 66082"/>
                      <a:gd name="connsiteX6" fmla="*/ 131281 w 131281"/>
                      <a:gd name="connsiteY6" fmla="*/ 8906 h 6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81" h="66082">
                        <a:moveTo>
                          <a:pt x="131281" y="8906"/>
                        </a:moveTo>
                        <a:cubicBezTo>
                          <a:pt x="131281" y="8906"/>
                          <a:pt x="112308" y="26513"/>
                          <a:pt x="96342" y="41400"/>
                        </a:cubicBezTo>
                        <a:cubicBezTo>
                          <a:pt x="80376" y="56287"/>
                          <a:pt x="56359" y="61467"/>
                          <a:pt x="34956" y="64201"/>
                        </a:cubicBezTo>
                        <a:cubicBezTo>
                          <a:pt x="13536" y="66935"/>
                          <a:pt x="2250" y="67498"/>
                          <a:pt x="275" y="60282"/>
                        </a:cubicBezTo>
                        <a:cubicBezTo>
                          <a:pt x="-1715" y="53081"/>
                          <a:pt x="7263" y="43101"/>
                          <a:pt x="22119" y="40655"/>
                        </a:cubicBezTo>
                        <a:cubicBezTo>
                          <a:pt x="36991" y="38209"/>
                          <a:pt x="57499" y="32422"/>
                          <a:pt x="62998" y="17504"/>
                        </a:cubicBezTo>
                        <a:cubicBezTo>
                          <a:pt x="68497" y="2587"/>
                          <a:pt x="109801" y="-8578"/>
                          <a:pt x="131281" y="8906"/>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42" name="Graphic 3200">
                  <a:extLst>
                    <a:ext uri="{FF2B5EF4-FFF2-40B4-BE49-F238E27FC236}">
                      <a16:creationId xmlns:a16="http://schemas.microsoft.com/office/drawing/2014/main" id="{AE562FD5-60A3-CDC4-773B-63CD89F2DA50}"/>
                    </a:ext>
                  </a:extLst>
                </p:cNvPr>
                <p:cNvGrpSpPr/>
                <p:nvPr/>
              </p:nvGrpSpPr>
              <p:grpSpPr>
                <a:xfrm>
                  <a:off x="7121494" y="3812358"/>
                  <a:ext cx="415491" cy="364123"/>
                  <a:chOff x="7121494" y="3812358"/>
                  <a:chExt cx="415491" cy="364123"/>
                </a:xfrm>
              </p:grpSpPr>
              <p:sp>
                <p:nvSpPr>
                  <p:cNvPr id="2548" name="Freeform: Shape 2547">
                    <a:extLst>
                      <a:ext uri="{FF2B5EF4-FFF2-40B4-BE49-F238E27FC236}">
                        <a16:creationId xmlns:a16="http://schemas.microsoft.com/office/drawing/2014/main" id="{C32FE1A1-DB92-F489-490C-A5C74EB52427}"/>
                      </a:ext>
                    </a:extLst>
                  </p:cNvPr>
                  <p:cNvSpPr/>
                  <p:nvPr/>
                </p:nvSpPr>
                <p:spPr>
                  <a:xfrm>
                    <a:off x="7122455" y="3823255"/>
                    <a:ext cx="389149" cy="338248"/>
                  </a:xfrm>
                  <a:custGeom>
                    <a:avLst/>
                    <a:gdLst>
                      <a:gd name="connsiteX0" fmla="*/ 370320 w 389149"/>
                      <a:gd name="connsiteY0" fmla="*/ 114896 h 338248"/>
                      <a:gd name="connsiteX1" fmla="*/ 218562 w 389149"/>
                      <a:gd name="connsiteY1" fmla="*/ 235299 h 338248"/>
                      <a:gd name="connsiteX2" fmla="*/ 13303 w 389149"/>
                      <a:gd name="connsiteY2" fmla="*/ 336228 h 338248"/>
                      <a:gd name="connsiteX3" fmla="*/ 33415 w 389149"/>
                      <a:gd name="connsiteY3" fmla="*/ 250262 h 338248"/>
                      <a:gd name="connsiteX4" fmla="*/ 191826 w 389149"/>
                      <a:gd name="connsiteY4" fmla="*/ 93356 h 338248"/>
                      <a:gd name="connsiteX5" fmla="*/ 330519 w 389149"/>
                      <a:gd name="connsiteY5" fmla="*/ 1132 h 338248"/>
                      <a:gd name="connsiteX6" fmla="*/ 370335 w 389149"/>
                      <a:gd name="connsiteY6" fmla="*/ 114896 h 3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49" h="338248">
                        <a:moveTo>
                          <a:pt x="370320" y="114896"/>
                        </a:moveTo>
                        <a:cubicBezTo>
                          <a:pt x="370320" y="114896"/>
                          <a:pt x="297661" y="177787"/>
                          <a:pt x="218562" y="235299"/>
                        </a:cubicBezTo>
                        <a:cubicBezTo>
                          <a:pt x="148198" y="286447"/>
                          <a:pt x="40646" y="350477"/>
                          <a:pt x="13303" y="336228"/>
                        </a:cubicBezTo>
                        <a:cubicBezTo>
                          <a:pt x="-14041" y="321979"/>
                          <a:pt x="4811" y="282406"/>
                          <a:pt x="33415" y="250262"/>
                        </a:cubicBezTo>
                        <a:cubicBezTo>
                          <a:pt x="74917" y="203611"/>
                          <a:pt x="155808" y="128082"/>
                          <a:pt x="191826" y="93356"/>
                        </a:cubicBezTo>
                        <a:cubicBezTo>
                          <a:pt x="242184" y="44805"/>
                          <a:pt x="288121" y="-8469"/>
                          <a:pt x="330519" y="1132"/>
                        </a:cubicBezTo>
                        <a:cubicBezTo>
                          <a:pt x="385328" y="13527"/>
                          <a:pt x="408479" y="61029"/>
                          <a:pt x="370335" y="114896"/>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9" name="Freeform: Shape 2548">
                    <a:extLst>
                      <a:ext uri="{FF2B5EF4-FFF2-40B4-BE49-F238E27FC236}">
                        <a16:creationId xmlns:a16="http://schemas.microsoft.com/office/drawing/2014/main" id="{35608AE3-C91B-3549-9AD2-C16E2BCEDAA6}"/>
                      </a:ext>
                    </a:extLst>
                  </p:cNvPr>
                  <p:cNvSpPr/>
                  <p:nvPr/>
                </p:nvSpPr>
                <p:spPr>
                  <a:xfrm>
                    <a:off x="7121494" y="3812358"/>
                    <a:ext cx="415491" cy="364123"/>
                  </a:xfrm>
                  <a:custGeom>
                    <a:avLst/>
                    <a:gdLst>
                      <a:gd name="connsiteX0" fmla="*/ 309849 w 415491"/>
                      <a:gd name="connsiteY0" fmla="*/ 2124 h 364123"/>
                      <a:gd name="connsiteX1" fmla="*/ 228957 w 415491"/>
                      <a:gd name="connsiteY1" fmla="*/ 49671 h 364123"/>
                      <a:gd name="connsiteX2" fmla="*/ 0 w 415491"/>
                      <a:gd name="connsiteY2" fmla="*/ 264365 h 364123"/>
                      <a:gd name="connsiteX3" fmla="*/ 81044 w 415491"/>
                      <a:gd name="connsiteY3" fmla="*/ 364123 h 364123"/>
                      <a:gd name="connsiteX4" fmla="*/ 315743 w 415491"/>
                      <a:gd name="connsiteY4" fmla="*/ 197008 h 364123"/>
                      <a:gd name="connsiteX5" fmla="*/ 415152 w 415491"/>
                      <a:gd name="connsiteY5" fmla="*/ 60305 h 364123"/>
                      <a:gd name="connsiteX6" fmla="*/ 309849 w 415491"/>
                      <a:gd name="connsiteY6" fmla="*/ 2124 h 36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491" h="364123">
                        <a:moveTo>
                          <a:pt x="309849" y="2124"/>
                        </a:moveTo>
                        <a:cubicBezTo>
                          <a:pt x="309849" y="2124"/>
                          <a:pt x="282992" y="4995"/>
                          <a:pt x="228957" y="49671"/>
                        </a:cubicBezTo>
                        <a:cubicBezTo>
                          <a:pt x="182732" y="87877"/>
                          <a:pt x="55720" y="214219"/>
                          <a:pt x="0" y="264365"/>
                        </a:cubicBezTo>
                        <a:cubicBezTo>
                          <a:pt x="0" y="264365"/>
                          <a:pt x="9828" y="290630"/>
                          <a:pt x="81044" y="364123"/>
                        </a:cubicBezTo>
                        <a:cubicBezTo>
                          <a:pt x="81044" y="364123"/>
                          <a:pt x="206809" y="283353"/>
                          <a:pt x="315743" y="197008"/>
                        </a:cubicBezTo>
                        <a:cubicBezTo>
                          <a:pt x="389951" y="138189"/>
                          <a:pt x="410079" y="87208"/>
                          <a:pt x="415152" y="60305"/>
                        </a:cubicBezTo>
                        <a:cubicBezTo>
                          <a:pt x="420226" y="33402"/>
                          <a:pt x="367590" y="-10120"/>
                          <a:pt x="309849" y="2124"/>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43" name="Graphic 3200">
                  <a:extLst>
                    <a:ext uri="{FF2B5EF4-FFF2-40B4-BE49-F238E27FC236}">
                      <a16:creationId xmlns:a16="http://schemas.microsoft.com/office/drawing/2014/main" id="{68D96A50-BD51-CEA4-C15E-42FD230648A7}"/>
                    </a:ext>
                  </a:extLst>
                </p:cNvPr>
                <p:cNvGrpSpPr/>
                <p:nvPr/>
              </p:nvGrpSpPr>
              <p:grpSpPr>
                <a:xfrm>
                  <a:off x="7235182" y="3352232"/>
                  <a:ext cx="355002" cy="700565"/>
                  <a:chOff x="7235182" y="3352232"/>
                  <a:chExt cx="355002" cy="700565"/>
                </a:xfrm>
              </p:grpSpPr>
              <p:sp>
                <p:nvSpPr>
                  <p:cNvPr id="2544" name="Freeform: Shape 2543">
                    <a:extLst>
                      <a:ext uri="{FF2B5EF4-FFF2-40B4-BE49-F238E27FC236}">
                        <a16:creationId xmlns:a16="http://schemas.microsoft.com/office/drawing/2014/main" id="{92099BD1-3A6B-1540-B3DD-7E41E9E12B22}"/>
                      </a:ext>
                    </a:extLst>
                  </p:cNvPr>
                  <p:cNvSpPr/>
                  <p:nvPr/>
                </p:nvSpPr>
                <p:spPr>
                  <a:xfrm>
                    <a:off x="7367377" y="3379544"/>
                    <a:ext cx="209802" cy="530328"/>
                  </a:xfrm>
                  <a:custGeom>
                    <a:avLst/>
                    <a:gdLst>
                      <a:gd name="connsiteX0" fmla="*/ 65439 w 209802"/>
                      <a:gd name="connsiteY0" fmla="*/ 23462 h 530328"/>
                      <a:gd name="connsiteX1" fmla="*/ 25654 w 209802"/>
                      <a:gd name="connsiteY1" fmla="*/ 174794 h 530328"/>
                      <a:gd name="connsiteX2" fmla="*/ 1258 w 209802"/>
                      <a:gd name="connsiteY2" fmla="*/ 483017 h 530328"/>
                      <a:gd name="connsiteX3" fmla="*/ 110283 w 209802"/>
                      <a:gd name="connsiteY3" fmla="*/ 505682 h 530328"/>
                      <a:gd name="connsiteX4" fmla="*/ 188288 w 209802"/>
                      <a:gd name="connsiteY4" fmla="*/ 318910 h 530328"/>
                      <a:gd name="connsiteX5" fmla="*/ 171548 w 209802"/>
                      <a:gd name="connsiteY5" fmla="*/ 27913 h 530328"/>
                      <a:gd name="connsiteX6" fmla="*/ 65439 w 209802"/>
                      <a:gd name="connsiteY6" fmla="*/ 23462 h 53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802" h="530328">
                        <a:moveTo>
                          <a:pt x="65439" y="23462"/>
                        </a:moveTo>
                        <a:cubicBezTo>
                          <a:pt x="65439" y="23462"/>
                          <a:pt x="37625" y="74761"/>
                          <a:pt x="25654" y="174794"/>
                        </a:cubicBezTo>
                        <a:cubicBezTo>
                          <a:pt x="13699" y="274811"/>
                          <a:pt x="-5031" y="444204"/>
                          <a:pt x="1258" y="483017"/>
                        </a:cubicBezTo>
                        <a:cubicBezTo>
                          <a:pt x="7547" y="521830"/>
                          <a:pt x="66518" y="554703"/>
                          <a:pt x="110283" y="505682"/>
                        </a:cubicBezTo>
                        <a:cubicBezTo>
                          <a:pt x="154048" y="456661"/>
                          <a:pt x="168829" y="389335"/>
                          <a:pt x="188288" y="318910"/>
                        </a:cubicBezTo>
                        <a:cubicBezTo>
                          <a:pt x="229714" y="168915"/>
                          <a:pt x="204178" y="67120"/>
                          <a:pt x="171548" y="27913"/>
                        </a:cubicBezTo>
                        <a:cubicBezTo>
                          <a:pt x="138918" y="-11280"/>
                          <a:pt x="80205" y="-5841"/>
                          <a:pt x="65439" y="2346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45" name="Graphic 3200">
                    <a:extLst>
                      <a:ext uri="{FF2B5EF4-FFF2-40B4-BE49-F238E27FC236}">
                        <a16:creationId xmlns:a16="http://schemas.microsoft.com/office/drawing/2014/main" id="{4120AE1B-63D8-F658-6C41-479B26B6984F}"/>
                      </a:ext>
                    </a:extLst>
                  </p:cNvPr>
                  <p:cNvGrpSpPr/>
                  <p:nvPr/>
                </p:nvGrpSpPr>
                <p:grpSpPr>
                  <a:xfrm>
                    <a:off x="7235182" y="3352232"/>
                    <a:ext cx="355002" cy="700565"/>
                    <a:chOff x="7235182" y="3352232"/>
                    <a:chExt cx="355002" cy="700565"/>
                  </a:xfrm>
                </p:grpSpPr>
                <p:sp>
                  <p:nvSpPr>
                    <p:cNvPr id="2546" name="Freeform: Shape 2545">
                      <a:extLst>
                        <a:ext uri="{FF2B5EF4-FFF2-40B4-BE49-F238E27FC236}">
                          <a16:creationId xmlns:a16="http://schemas.microsoft.com/office/drawing/2014/main" id="{FABB673E-0C37-DB84-2E51-07B0C8ECB53B}"/>
                        </a:ext>
                      </a:extLst>
                    </p:cNvPr>
                    <p:cNvSpPr/>
                    <p:nvPr/>
                  </p:nvSpPr>
                  <p:spPr>
                    <a:xfrm>
                      <a:off x="7357785" y="3352232"/>
                      <a:ext cx="232400" cy="567734"/>
                    </a:xfrm>
                    <a:custGeom>
                      <a:avLst/>
                      <a:gdLst>
                        <a:gd name="connsiteX0" fmla="*/ 50939 w 232400"/>
                        <a:gd name="connsiteY0" fmla="*/ 86261 h 567734"/>
                        <a:gd name="connsiteX1" fmla="*/ 24020 w 232400"/>
                        <a:gd name="connsiteY1" fmla="*/ 230149 h 567734"/>
                        <a:gd name="connsiteX2" fmla="*/ 657 w 232400"/>
                        <a:gd name="connsiteY2" fmla="*/ 442852 h 567734"/>
                        <a:gd name="connsiteX3" fmla="*/ 55572 w 232400"/>
                        <a:gd name="connsiteY3" fmla="*/ 565898 h 567734"/>
                        <a:gd name="connsiteX4" fmla="*/ 149831 w 232400"/>
                        <a:gd name="connsiteY4" fmla="*/ 500501 h 567734"/>
                        <a:gd name="connsiteX5" fmla="*/ 227305 w 232400"/>
                        <a:gd name="connsiteY5" fmla="*/ 255305 h 567734"/>
                        <a:gd name="connsiteX6" fmla="*/ 186275 w 232400"/>
                        <a:gd name="connsiteY6" fmla="*/ 23416 h 567734"/>
                        <a:gd name="connsiteX7" fmla="*/ 50954 w 232400"/>
                        <a:gd name="connsiteY7" fmla="*/ 86276 h 56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400" h="567734">
                          <a:moveTo>
                            <a:pt x="50939" y="86261"/>
                          </a:moveTo>
                          <a:cubicBezTo>
                            <a:pt x="50939" y="86261"/>
                            <a:pt x="44148" y="125332"/>
                            <a:pt x="24020" y="230149"/>
                          </a:cubicBezTo>
                          <a:cubicBezTo>
                            <a:pt x="3892" y="334981"/>
                            <a:pt x="3437" y="403189"/>
                            <a:pt x="657" y="442852"/>
                          </a:cubicBezTo>
                          <a:cubicBezTo>
                            <a:pt x="-4827" y="521176"/>
                            <a:pt x="24962" y="555265"/>
                            <a:pt x="55572" y="565898"/>
                          </a:cubicBezTo>
                          <a:cubicBezTo>
                            <a:pt x="85878" y="576441"/>
                            <a:pt x="123354" y="539861"/>
                            <a:pt x="149831" y="500501"/>
                          </a:cubicBezTo>
                          <a:cubicBezTo>
                            <a:pt x="176309" y="461127"/>
                            <a:pt x="215882" y="315643"/>
                            <a:pt x="227305" y="255305"/>
                          </a:cubicBezTo>
                          <a:cubicBezTo>
                            <a:pt x="238728" y="194951"/>
                            <a:pt x="233336" y="72072"/>
                            <a:pt x="186275" y="23416"/>
                          </a:cubicBezTo>
                          <a:cubicBezTo>
                            <a:pt x="139213" y="-25241"/>
                            <a:pt x="72282" y="4913"/>
                            <a:pt x="50954" y="86276"/>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7" name="Freeform: Shape 2546">
                      <a:extLst>
                        <a:ext uri="{FF2B5EF4-FFF2-40B4-BE49-F238E27FC236}">
                          <a16:creationId xmlns:a16="http://schemas.microsoft.com/office/drawing/2014/main" id="{5A8D4CEB-76C0-4E5F-B0F3-936B990295E3}"/>
                        </a:ext>
                      </a:extLst>
                    </p:cNvPr>
                    <p:cNvSpPr/>
                    <p:nvPr/>
                  </p:nvSpPr>
                  <p:spPr>
                    <a:xfrm>
                      <a:off x="7235182" y="3548991"/>
                      <a:ext cx="308740" cy="503806"/>
                    </a:xfrm>
                    <a:custGeom>
                      <a:avLst/>
                      <a:gdLst>
                        <a:gd name="connsiteX0" fmla="*/ 308740 w 308740"/>
                        <a:gd name="connsiteY0" fmla="*/ 324766 h 503806"/>
                        <a:gd name="connsiteX1" fmla="*/ 191664 w 308740"/>
                        <a:gd name="connsiteY1" fmla="*/ 0 h 503806"/>
                        <a:gd name="connsiteX2" fmla="*/ 223610 w 308740"/>
                        <a:gd name="connsiteY2" fmla="*/ 210880 h 503806"/>
                        <a:gd name="connsiteX3" fmla="*/ 250847 w 308740"/>
                        <a:gd name="connsiteY3" fmla="*/ 286895 h 503806"/>
                        <a:gd name="connsiteX4" fmla="*/ 0 w 308740"/>
                        <a:gd name="connsiteY4" fmla="*/ 503807 h 503806"/>
                        <a:gd name="connsiteX5" fmla="*/ 127026 w 308740"/>
                        <a:gd name="connsiteY5" fmla="*/ 486641 h 503806"/>
                        <a:gd name="connsiteX6" fmla="*/ 291893 w 308740"/>
                        <a:gd name="connsiteY6" fmla="*/ 334367 h 503806"/>
                        <a:gd name="connsiteX7" fmla="*/ 308740 w 308740"/>
                        <a:gd name="connsiteY7" fmla="*/ 324782 h 50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740" h="503806">
                          <a:moveTo>
                            <a:pt x="308740" y="324766"/>
                          </a:moveTo>
                          <a:lnTo>
                            <a:pt x="191664" y="0"/>
                          </a:lnTo>
                          <a:cubicBezTo>
                            <a:pt x="191664" y="0"/>
                            <a:pt x="186301" y="95718"/>
                            <a:pt x="223610" y="210880"/>
                          </a:cubicBezTo>
                          <a:cubicBezTo>
                            <a:pt x="234289" y="243829"/>
                            <a:pt x="245819" y="229079"/>
                            <a:pt x="250847" y="286895"/>
                          </a:cubicBezTo>
                          <a:cubicBezTo>
                            <a:pt x="257273" y="360875"/>
                            <a:pt x="-106" y="494175"/>
                            <a:pt x="0" y="503807"/>
                          </a:cubicBezTo>
                          <a:cubicBezTo>
                            <a:pt x="6350" y="498474"/>
                            <a:pt x="104514" y="500540"/>
                            <a:pt x="127026" y="486641"/>
                          </a:cubicBezTo>
                          <a:cubicBezTo>
                            <a:pt x="205381" y="438243"/>
                            <a:pt x="288187" y="349725"/>
                            <a:pt x="291893" y="334367"/>
                          </a:cubicBezTo>
                          <a:cubicBezTo>
                            <a:pt x="298744" y="332058"/>
                            <a:pt x="304532" y="329065"/>
                            <a:pt x="308740" y="324782"/>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523" name="Graphic 3200">
                <a:extLst>
                  <a:ext uri="{FF2B5EF4-FFF2-40B4-BE49-F238E27FC236}">
                    <a16:creationId xmlns:a16="http://schemas.microsoft.com/office/drawing/2014/main" id="{D7F7540C-1A8D-D20C-0DF2-E3AC4DF6D5F7}"/>
                  </a:ext>
                </a:extLst>
              </p:cNvPr>
              <p:cNvGrpSpPr/>
              <p:nvPr/>
            </p:nvGrpSpPr>
            <p:grpSpPr>
              <a:xfrm>
                <a:off x="7139631" y="3262430"/>
                <a:ext cx="894632" cy="1183993"/>
                <a:chOff x="7139631" y="3262430"/>
                <a:chExt cx="894632" cy="1183993"/>
              </a:xfrm>
            </p:grpSpPr>
            <p:grpSp>
              <p:nvGrpSpPr>
                <p:cNvPr id="2524" name="Graphic 3200">
                  <a:extLst>
                    <a:ext uri="{FF2B5EF4-FFF2-40B4-BE49-F238E27FC236}">
                      <a16:creationId xmlns:a16="http://schemas.microsoft.com/office/drawing/2014/main" id="{A3BEFB4E-797F-6EF0-3771-804574734DCC}"/>
                    </a:ext>
                  </a:extLst>
                </p:cNvPr>
                <p:cNvGrpSpPr/>
                <p:nvPr/>
              </p:nvGrpSpPr>
              <p:grpSpPr>
                <a:xfrm>
                  <a:off x="7421482" y="3274420"/>
                  <a:ext cx="591747" cy="1052522"/>
                  <a:chOff x="7421482" y="3274420"/>
                  <a:chExt cx="591747" cy="1052522"/>
                </a:xfrm>
              </p:grpSpPr>
              <p:sp>
                <p:nvSpPr>
                  <p:cNvPr id="2537" name="Freeform: Shape 2536">
                    <a:extLst>
                      <a:ext uri="{FF2B5EF4-FFF2-40B4-BE49-F238E27FC236}">
                        <a16:creationId xmlns:a16="http://schemas.microsoft.com/office/drawing/2014/main" id="{0C623C32-4785-6AB9-5771-C8E1DA89A149}"/>
                      </a:ext>
                    </a:extLst>
                  </p:cNvPr>
                  <p:cNvSpPr/>
                  <p:nvPr/>
                </p:nvSpPr>
                <p:spPr>
                  <a:xfrm>
                    <a:off x="7565701" y="3744291"/>
                    <a:ext cx="447527" cy="582650"/>
                  </a:xfrm>
                  <a:custGeom>
                    <a:avLst/>
                    <a:gdLst>
                      <a:gd name="connsiteX0" fmla="*/ 203518 w 447527"/>
                      <a:gd name="connsiteY0" fmla="*/ 799 h 582650"/>
                      <a:gd name="connsiteX1" fmla="*/ 388573 w 447527"/>
                      <a:gd name="connsiteY1" fmla="*/ 136104 h 582650"/>
                      <a:gd name="connsiteX2" fmla="*/ 437686 w 447527"/>
                      <a:gd name="connsiteY2" fmla="*/ 310937 h 582650"/>
                      <a:gd name="connsiteX3" fmla="*/ 344444 w 447527"/>
                      <a:gd name="connsiteY3" fmla="*/ 548203 h 582650"/>
                      <a:gd name="connsiteX4" fmla="*/ 35582 w 447527"/>
                      <a:gd name="connsiteY4" fmla="*/ 449128 h 582650"/>
                      <a:gd name="connsiteX5" fmla="*/ 1448 w 447527"/>
                      <a:gd name="connsiteY5" fmla="*/ 161078 h 582650"/>
                      <a:gd name="connsiteX6" fmla="*/ 203533 w 447527"/>
                      <a:gd name="connsiteY6" fmla="*/ 799 h 5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527" h="582650">
                        <a:moveTo>
                          <a:pt x="203518" y="799"/>
                        </a:moveTo>
                        <a:cubicBezTo>
                          <a:pt x="203518" y="799"/>
                          <a:pt x="372744" y="2895"/>
                          <a:pt x="388573" y="136104"/>
                        </a:cubicBezTo>
                        <a:cubicBezTo>
                          <a:pt x="392583" y="176193"/>
                          <a:pt x="412317" y="257480"/>
                          <a:pt x="437686" y="310937"/>
                        </a:cubicBezTo>
                        <a:cubicBezTo>
                          <a:pt x="463054" y="364393"/>
                          <a:pt x="441923" y="482715"/>
                          <a:pt x="344444" y="548203"/>
                        </a:cubicBezTo>
                        <a:cubicBezTo>
                          <a:pt x="246963" y="613691"/>
                          <a:pt x="64961" y="588550"/>
                          <a:pt x="35582" y="449128"/>
                        </a:cubicBezTo>
                        <a:cubicBezTo>
                          <a:pt x="5884" y="308233"/>
                          <a:pt x="22260" y="257647"/>
                          <a:pt x="1448" y="161078"/>
                        </a:cubicBezTo>
                        <a:cubicBezTo>
                          <a:pt x="-14077" y="89058"/>
                          <a:pt x="98032" y="-9896"/>
                          <a:pt x="203533" y="799"/>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38" name="Graphic 3200">
                    <a:extLst>
                      <a:ext uri="{FF2B5EF4-FFF2-40B4-BE49-F238E27FC236}">
                        <a16:creationId xmlns:a16="http://schemas.microsoft.com/office/drawing/2014/main" id="{B2CC6D1E-628C-0152-17CC-CC682DE34A97}"/>
                      </a:ext>
                    </a:extLst>
                  </p:cNvPr>
                  <p:cNvGrpSpPr/>
                  <p:nvPr/>
                </p:nvGrpSpPr>
                <p:grpSpPr>
                  <a:xfrm>
                    <a:off x="7421482" y="3274420"/>
                    <a:ext cx="568993" cy="800013"/>
                    <a:chOff x="7421482" y="3274420"/>
                    <a:chExt cx="568993" cy="800013"/>
                  </a:xfrm>
                </p:grpSpPr>
                <p:sp>
                  <p:nvSpPr>
                    <p:cNvPr id="2539" name="Freeform: Shape 2538">
                      <a:extLst>
                        <a:ext uri="{FF2B5EF4-FFF2-40B4-BE49-F238E27FC236}">
                          <a16:creationId xmlns:a16="http://schemas.microsoft.com/office/drawing/2014/main" id="{06110374-D57F-A140-5DEE-17620E4EF5F2}"/>
                        </a:ext>
                      </a:extLst>
                    </p:cNvPr>
                    <p:cNvSpPr/>
                    <p:nvPr/>
                  </p:nvSpPr>
                  <p:spPr>
                    <a:xfrm>
                      <a:off x="7426075" y="3277204"/>
                      <a:ext cx="529355" cy="797228"/>
                    </a:xfrm>
                    <a:custGeom>
                      <a:avLst/>
                      <a:gdLst>
                        <a:gd name="connsiteX0" fmla="*/ 178353 w 529355"/>
                        <a:gd name="connsiteY0" fmla="*/ 22853 h 797228"/>
                        <a:gd name="connsiteX1" fmla="*/ 405366 w 529355"/>
                        <a:gd name="connsiteY1" fmla="*/ 13146 h 797228"/>
                        <a:gd name="connsiteX2" fmla="*/ 503135 w 529355"/>
                        <a:gd name="connsiteY2" fmla="*/ 312468 h 797228"/>
                        <a:gd name="connsiteX3" fmla="*/ 524493 w 529355"/>
                        <a:gd name="connsiteY3" fmla="*/ 574587 h 797228"/>
                        <a:gd name="connsiteX4" fmla="*/ 389233 w 529355"/>
                        <a:gd name="connsiteY4" fmla="*/ 785512 h 797228"/>
                        <a:gd name="connsiteX5" fmla="*/ 165775 w 529355"/>
                        <a:gd name="connsiteY5" fmla="*/ 689035 h 797228"/>
                        <a:gd name="connsiteX6" fmla="*/ 50051 w 529355"/>
                        <a:gd name="connsiteY6" fmla="*/ 390792 h 797228"/>
                        <a:gd name="connsiteX7" fmla="*/ 39812 w 529355"/>
                        <a:gd name="connsiteY7" fmla="*/ 100782 h 797228"/>
                        <a:gd name="connsiteX8" fmla="*/ 178338 w 529355"/>
                        <a:gd name="connsiteY8" fmla="*/ 22868 h 79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9355" h="797228">
                          <a:moveTo>
                            <a:pt x="178353" y="22853"/>
                          </a:moveTo>
                          <a:cubicBezTo>
                            <a:pt x="178353" y="22853"/>
                            <a:pt x="307521" y="-21307"/>
                            <a:pt x="405366" y="13146"/>
                          </a:cubicBezTo>
                          <a:cubicBezTo>
                            <a:pt x="503226" y="47599"/>
                            <a:pt x="503439" y="214395"/>
                            <a:pt x="503135" y="312468"/>
                          </a:cubicBezTo>
                          <a:cubicBezTo>
                            <a:pt x="502831" y="409462"/>
                            <a:pt x="512082" y="491173"/>
                            <a:pt x="524493" y="574587"/>
                          </a:cubicBezTo>
                          <a:cubicBezTo>
                            <a:pt x="536904" y="658000"/>
                            <a:pt x="536129" y="742097"/>
                            <a:pt x="389233" y="785512"/>
                          </a:cubicBezTo>
                          <a:cubicBezTo>
                            <a:pt x="242353" y="828928"/>
                            <a:pt x="190111" y="741520"/>
                            <a:pt x="165775" y="689035"/>
                          </a:cubicBezTo>
                          <a:cubicBezTo>
                            <a:pt x="141424" y="636535"/>
                            <a:pt x="88332" y="470909"/>
                            <a:pt x="50051" y="390792"/>
                          </a:cubicBezTo>
                          <a:cubicBezTo>
                            <a:pt x="11785" y="310675"/>
                            <a:pt x="-35109" y="157961"/>
                            <a:pt x="39812" y="100782"/>
                          </a:cubicBezTo>
                          <a:cubicBezTo>
                            <a:pt x="114734" y="43589"/>
                            <a:pt x="134816" y="39244"/>
                            <a:pt x="178338" y="22868"/>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0" name="Freeform: Shape 2539">
                      <a:extLst>
                        <a:ext uri="{FF2B5EF4-FFF2-40B4-BE49-F238E27FC236}">
                          <a16:creationId xmlns:a16="http://schemas.microsoft.com/office/drawing/2014/main" id="{B4103542-789A-CE9B-F9F4-26BE0DD80C42}"/>
                        </a:ext>
                      </a:extLst>
                    </p:cNvPr>
                    <p:cNvSpPr/>
                    <p:nvPr/>
                  </p:nvSpPr>
                  <p:spPr>
                    <a:xfrm>
                      <a:off x="7421482" y="3274420"/>
                      <a:ext cx="568993" cy="748166"/>
                    </a:xfrm>
                    <a:custGeom>
                      <a:avLst/>
                      <a:gdLst>
                        <a:gd name="connsiteX0" fmla="*/ 98272 w 568993"/>
                        <a:gd name="connsiteY0" fmla="*/ 64967 h 748166"/>
                        <a:gd name="connsiteX1" fmla="*/ 140594 w 568993"/>
                        <a:gd name="connsiteY1" fmla="*/ 105101 h 748166"/>
                        <a:gd name="connsiteX2" fmla="*/ 251214 w 568993"/>
                        <a:gd name="connsiteY2" fmla="*/ 8563 h 748166"/>
                        <a:gd name="connsiteX3" fmla="*/ 436088 w 568993"/>
                        <a:gd name="connsiteY3" fmla="*/ 25820 h 748166"/>
                        <a:gd name="connsiteX4" fmla="*/ 507986 w 568993"/>
                        <a:gd name="connsiteY4" fmla="*/ 214719 h 748166"/>
                        <a:gd name="connsiteX5" fmla="*/ 526762 w 568993"/>
                        <a:gd name="connsiteY5" fmla="*/ 535019 h 748166"/>
                        <a:gd name="connsiteX6" fmla="*/ 568993 w 568993"/>
                        <a:gd name="connsiteY6" fmla="*/ 740172 h 748166"/>
                        <a:gd name="connsiteX7" fmla="*/ 304003 w 568993"/>
                        <a:gd name="connsiteY7" fmla="*/ 745200 h 748166"/>
                        <a:gd name="connsiteX8" fmla="*/ 150134 w 568993"/>
                        <a:gd name="connsiteY8" fmla="*/ 715031 h 748166"/>
                        <a:gd name="connsiteX9" fmla="*/ 126998 w 568993"/>
                        <a:gd name="connsiteY9" fmla="*/ 588324 h 748166"/>
                        <a:gd name="connsiteX10" fmla="*/ 35990 w 568993"/>
                        <a:gd name="connsiteY10" fmla="*/ 363559 h 748166"/>
                        <a:gd name="connsiteX11" fmla="*/ 3314 w 568993"/>
                        <a:gd name="connsiteY11" fmla="*/ 171227 h 748166"/>
                        <a:gd name="connsiteX12" fmla="*/ 48066 w 568993"/>
                        <a:gd name="connsiteY12" fmla="*/ 94543 h 748166"/>
                        <a:gd name="connsiteX13" fmla="*/ 98257 w 568993"/>
                        <a:gd name="connsiteY13" fmla="*/ 64967 h 74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93" h="748166">
                          <a:moveTo>
                            <a:pt x="98272" y="64967"/>
                          </a:moveTo>
                          <a:cubicBezTo>
                            <a:pt x="98272" y="64967"/>
                            <a:pt x="98363" y="107623"/>
                            <a:pt x="140594" y="105101"/>
                          </a:cubicBezTo>
                          <a:cubicBezTo>
                            <a:pt x="182825" y="102594"/>
                            <a:pt x="229598" y="52814"/>
                            <a:pt x="251214" y="8563"/>
                          </a:cubicBezTo>
                          <a:cubicBezTo>
                            <a:pt x="251214" y="8563"/>
                            <a:pt x="364690" y="-19434"/>
                            <a:pt x="436088" y="25820"/>
                          </a:cubicBezTo>
                          <a:cubicBezTo>
                            <a:pt x="447147" y="33370"/>
                            <a:pt x="503459" y="68901"/>
                            <a:pt x="507986" y="214719"/>
                          </a:cubicBezTo>
                          <a:cubicBezTo>
                            <a:pt x="512513" y="360536"/>
                            <a:pt x="523238" y="499320"/>
                            <a:pt x="526762" y="535019"/>
                          </a:cubicBezTo>
                          <a:cubicBezTo>
                            <a:pt x="530286" y="570718"/>
                            <a:pt x="558937" y="701451"/>
                            <a:pt x="568993" y="740172"/>
                          </a:cubicBezTo>
                          <a:cubicBezTo>
                            <a:pt x="568993" y="740172"/>
                            <a:pt x="439597" y="754087"/>
                            <a:pt x="304003" y="745200"/>
                          </a:cubicBezTo>
                          <a:cubicBezTo>
                            <a:pt x="228200" y="740233"/>
                            <a:pt x="171766" y="725088"/>
                            <a:pt x="150134" y="715031"/>
                          </a:cubicBezTo>
                          <a:cubicBezTo>
                            <a:pt x="150134" y="715031"/>
                            <a:pt x="154661" y="663747"/>
                            <a:pt x="126998" y="588324"/>
                          </a:cubicBezTo>
                          <a:cubicBezTo>
                            <a:pt x="113418" y="551304"/>
                            <a:pt x="57105" y="426419"/>
                            <a:pt x="35990" y="363559"/>
                          </a:cubicBezTo>
                          <a:cubicBezTo>
                            <a:pt x="18733" y="312199"/>
                            <a:pt x="-9720" y="242670"/>
                            <a:pt x="3314" y="171227"/>
                          </a:cubicBezTo>
                          <a:cubicBezTo>
                            <a:pt x="8950" y="140344"/>
                            <a:pt x="23578" y="114216"/>
                            <a:pt x="48066" y="94543"/>
                          </a:cubicBezTo>
                          <a:cubicBezTo>
                            <a:pt x="59536" y="85338"/>
                            <a:pt x="78494" y="74005"/>
                            <a:pt x="98257" y="64967"/>
                          </a:cubicBezTo>
                          <a:close/>
                        </a:path>
                      </a:pathLst>
                    </a:custGeom>
                    <a:solidFill>
                      <a:srgbClr val="3C5D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525" name="Graphic 3200">
                  <a:extLst>
                    <a:ext uri="{FF2B5EF4-FFF2-40B4-BE49-F238E27FC236}">
                      <a16:creationId xmlns:a16="http://schemas.microsoft.com/office/drawing/2014/main" id="{12BF9E1B-4BB8-6167-A057-DAFDCA810BF2}"/>
                    </a:ext>
                  </a:extLst>
                </p:cNvPr>
                <p:cNvGrpSpPr/>
                <p:nvPr/>
              </p:nvGrpSpPr>
              <p:grpSpPr>
                <a:xfrm>
                  <a:off x="7139631" y="3262430"/>
                  <a:ext cx="894632" cy="1183993"/>
                  <a:chOff x="7139631" y="3262430"/>
                  <a:chExt cx="894632" cy="1183993"/>
                </a:xfrm>
              </p:grpSpPr>
              <p:grpSp>
                <p:nvGrpSpPr>
                  <p:cNvPr id="2526" name="Graphic 3200">
                    <a:extLst>
                      <a:ext uri="{FF2B5EF4-FFF2-40B4-BE49-F238E27FC236}">
                        <a16:creationId xmlns:a16="http://schemas.microsoft.com/office/drawing/2014/main" id="{2A9CBD12-CE93-96C1-C387-1A5C8A194192}"/>
                      </a:ext>
                    </a:extLst>
                  </p:cNvPr>
                  <p:cNvGrpSpPr/>
                  <p:nvPr/>
                </p:nvGrpSpPr>
                <p:grpSpPr>
                  <a:xfrm>
                    <a:off x="7402951" y="3262430"/>
                    <a:ext cx="631313" cy="1183993"/>
                    <a:chOff x="7402951" y="3262430"/>
                    <a:chExt cx="631313" cy="1183993"/>
                  </a:xfrm>
                </p:grpSpPr>
                <p:sp>
                  <p:nvSpPr>
                    <p:cNvPr id="2533" name="Freeform: Shape 2532">
                      <a:extLst>
                        <a:ext uri="{FF2B5EF4-FFF2-40B4-BE49-F238E27FC236}">
                          <a16:creationId xmlns:a16="http://schemas.microsoft.com/office/drawing/2014/main" id="{B6AC3462-598D-968F-3352-043B4A2FC8E2}"/>
                        </a:ext>
                      </a:extLst>
                    </p:cNvPr>
                    <p:cNvSpPr/>
                    <p:nvPr/>
                  </p:nvSpPr>
                  <p:spPr>
                    <a:xfrm>
                      <a:off x="7402966" y="3267123"/>
                      <a:ext cx="631297" cy="1179300"/>
                    </a:xfrm>
                    <a:custGeom>
                      <a:avLst/>
                      <a:gdLst>
                        <a:gd name="connsiteX0" fmla="*/ 253369 w 631297"/>
                        <a:gd name="connsiteY0" fmla="*/ 46 h 1179300"/>
                        <a:gd name="connsiteX1" fmla="*/ 253977 w 631297"/>
                        <a:gd name="connsiteY1" fmla="*/ 50404 h 1179300"/>
                        <a:gd name="connsiteX2" fmla="*/ 232026 w 631297"/>
                        <a:gd name="connsiteY2" fmla="*/ 356789 h 1179300"/>
                        <a:gd name="connsiteX3" fmla="*/ 258671 w 631297"/>
                        <a:gd name="connsiteY3" fmla="*/ 533778 h 1179300"/>
                        <a:gd name="connsiteX4" fmla="*/ 284814 w 631297"/>
                        <a:gd name="connsiteY4" fmla="*/ 686629 h 1179300"/>
                        <a:gd name="connsiteX5" fmla="*/ 207386 w 631297"/>
                        <a:gd name="connsiteY5" fmla="*/ 808308 h 1179300"/>
                        <a:gd name="connsiteX6" fmla="*/ 0 w 631297"/>
                        <a:gd name="connsiteY6" fmla="*/ 922741 h 1179300"/>
                        <a:gd name="connsiteX7" fmla="*/ 196327 w 631297"/>
                        <a:gd name="connsiteY7" fmla="*/ 1063227 h 1179300"/>
                        <a:gd name="connsiteX8" fmla="*/ 245986 w 631297"/>
                        <a:gd name="connsiteY8" fmla="*/ 1179301 h 1179300"/>
                        <a:gd name="connsiteX9" fmla="*/ 258671 w 631297"/>
                        <a:gd name="connsiteY9" fmla="*/ 1149208 h 1179300"/>
                        <a:gd name="connsiteX10" fmla="*/ 301919 w 631297"/>
                        <a:gd name="connsiteY10" fmla="*/ 1145182 h 1179300"/>
                        <a:gd name="connsiteX11" fmla="*/ 614670 w 631297"/>
                        <a:gd name="connsiteY11" fmla="*/ 970198 h 1179300"/>
                        <a:gd name="connsiteX12" fmla="*/ 621703 w 631297"/>
                        <a:gd name="connsiteY12" fmla="*/ 795214 h 1179300"/>
                        <a:gd name="connsiteX13" fmla="*/ 553314 w 631297"/>
                        <a:gd name="connsiteY13" fmla="*/ 544807 h 1179300"/>
                        <a:gd name="connsiteX14" fmla="*/ 534203 w 631297"/>
                        <a:gd name="connsiteY14" fmla="*/ 229033 h 1179300"/>
                        <a:gd name="connsiteX15" fmla="*/ 356546 w 631297"/>
                        <a:gd name="connsiteY15" fmla="*/ 4436 h 1179300"/>
                        <a:gd name="connsiteX16" fmla="*/ 253369 w 631297"/>
                        <a:gd name="connsiteY16" fmla="*/ 0 h 117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1297" h="1179300">
                          <a:moveTo>
                            <a:pt x="253369" y="46"/>
                          </a:moveTo>
                          <a:cubicBezTo>
                            <a:pt x="253369" y="46"/>
                            <a:pt x="257501" y="22240"/>
                            <a:pt x="253977" y="50404"/>
                          </a:cubicBezTo>
                          <a:cubicBezTo>
                            <a:pt x="250453" y="78567"/>
                            <a:pt x="217443" y="199411"/>
                            <a:pt x="232026" y="356789"/>
                          </a:cubicBezTo>
                          <a:cubicBezTo>
                            <a:pt x="246609" y="514167"/>
                            <a:pt x="258671" y="533778"/>
                            <a:pt x="258671" y="533778"/>
                          </a:cubicBezTo>
                          <a:cubicBezTo>
                            <a:pt x="258671" y="533778"/>
                            <a:pt x="281807" y="635345"/>
                            <a:pt x="284814" y="686629"/>
                          </a:cubicBezTo>
                          <a:cubicBezTo>
                            <a:pt x="287837" y="737914"/>
                            <a:pt x="258671" y="775131"/>
                            <a:pt x="207386" y="808308"/>
                          </a:cubicBezTo>
                          <a:cubicBezTo>
                            <a:pt x="156102" y="841500"/>
                            <a:pt x="38858" y="851086"/>
                            <a:pt x="0" y="922741"/>
                          </a:cubicBezTo>
                          <a:cubicBezTo>
                            <a:pt x="0" y="922741"/>
                            <a:pt x="110848" y="911379"/>
                            <a:pt x="196327" y="1063227"/>
                          </a:cubicBezTo>
                          <a:cubicBezTo>
                            <a:pt x="230021" y="1129596"/>
                            <a:pt x="245986" y="1179301"/>
                            <a:pt x="245986" y="1179301"/>
                          </a:cubicBezTo>
                          <a:cubicBezTo>
                            <a:pt x="245986" y="1179301"/>
                            <a:pt x="249632" y="1173346"/>
                            <a:pt x="258671" y="1149208"/>
                          </a:cubicBezTo>
                          <a:cubicBezTo>
                            <a:pt x="258671" y="1149208"/>
                            <a:pt x="283812" y="1162287"/>
                            <a:pt x="301919" y="1145182"/>
                          </a:cubicBezTo>
                          <a:cubicBezTo>
                            <a:pt x="301919" y="1145182"/>
                            <a:pt x="534219" y="1124067"/>
                            <a:pt x="614670" y="970198"/>
                          </a:cubicBezTo>
                          <a:cubicBezTo>
                            <a:pt x="621703" y="955113"/>
                            <a:pt x="643836" y="902826"/>
                            <a:pt x="621703" y="795214"/>
                          </a:cubicBezTo>
                          <a:cubicBezTo>
                            <a:pt x="599585" y="687617"/>
                            <a:pt x="563370" y="664481"/>
                            <a:pt x="553314" y="544807"/>
                          </a:cubicBezTo>
                          <a:cubicBezTo>
                            <a:pt x="543257" y="425133"/>
                            <a:pt x="536224" y="305459"/>
                            <a:pt x="534203" y="229033"/>
                          </a:cubicBezTo>
                          <a:cubicBezTo>
                            <a:pt x="532198" y="152608"/>
                            <a:pt x="531180" y="1762"/>
                            <a:pt x="356546" y="4436"/>
                          </a:cubicBezTo>
                          <a:cubicBezTo>
                            <a:pt x="356546" y="4436"/>
                            <a:pt x="272480" y="3357"/>
                            <a:pt x="253369" y="0"/>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4" name="Freeform: Shape 2533">
                      <a:extLst>
                        <a:ext uri="{FF2B5EF4-FFF2-40B4-BE49-F238E27FC236}">
                          <a16:creationId xmlns:a16="http://schemas.microsoft.com/office/drawing/2014/main" id="{3FCA2C19-2644-FB2E-B5D9-3C82A880685A}"/>
                        </a:ext>
                      </a:extLst>
                    </p:cNvPr>
                    <p:cNvSpPr/>
                    <p:nvPr/>
                  </p:nvSpPr>
                  <p:spPr>
                    <a:xfrm>
                      <a:off x="7631293" y="3267154"/>
                      <a:ext cx="176571" cy="536573"/>
                    </a:xfrm>
                    <a:custGeom>
                      <a:avLst/>
                      <a:gdLst>
                        <a:gd name="connsiteX0" fmla="*/ 25300 w 176571"/>
                        <a:gd name="connsiteY0" fmla="*/ 245622 h 536573"/>
                        <a:gd name="connsiteX1" fmla="*/ 176571 w 176571"/>
                        <a:gd name="connsiteY1" fmla="*/ 8203 h 536573"/>
                        <a:gd name="connsiteX2" fmla="*/ 128218 w 176571"/>
                        <a:gd name="connsiteY2" fmla="*/ 4436 h 536573"/>
                        <a:gd name="connsiteX3" fmla="*/ 25042 w 176571"/>
                        <a:gd name="connsiteY3" fmla="*/ 0 h 536573"/>
                        <a:gd name="connsiteX4" fmla="*/ 25649 w 176571"/>
                        <a:gd name="connsiteY4" fmla="*/ 50358 h 536573"/>
                        <a:gd name="connsiteX5" fmla="*/ 3699 w 176571"/>
                        <a:gd name="connsiteY5" fmla="*/ 356743 h 536573"/>
                        <a:gd name="connsiteX6" fmla="*/ 30343 w 176571"/>
                        <a:gd name="connsiteY6" fmla="*/ 533733 h 536573"/>
                        <a:gd name="connsiteX7" fmla="*/ 30875 w 176571"/>
                        <a:gd name="connsiteY7" fmla="*/ 536118 h 536573"/>
                        <a:gd name="connsiteX8" fmla="*/ 30981 w 176571"/>
                        <a:gd name="connsiteY8" fmla="*/ 536573 h 536573"/>
                        <a:gd name="connsiteX9" fmla="*/ 65541 w 176571"/>
                        <a:gd name="connsiteY9" fmla="*/ 277796 h 536573"/>
                        <a:gd name="connsiteX10" fmla="*/ 25315 w 176571"/>
                        <a:gd name="connsiteY10" fmla="*/ 245622 h 536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571" h="536573">
                          <a:moveTo>
                            <a:pt x="25300" y="245622"/>
                          </a:moveTo>
                          <a:cubicBezTo>
                            <a:pt x="25300" y="245622"/>
                            <a:pt x="80109" y="49522"/>
                            <a:pt x="176571" y="8203"/>
                          </a:cubicBezTo>
                          <a:cubicBezTo>
                            <a:pt x="162140" y="5499"/>
                            <a:pt x="146098" y="4162"/>
                            <a:pt x="128218" y="4436"/>
                          </a:cubicBezTo>
                          <a:cubicBezTo>
                            <a:pt x="128218" y="4436"/>
                            <a:pt x="44152" y="3357"/>
                            <a:pt x="25042" y="0"/>
                          </a:cubicBezTo>
                          <a:cubicBezTo>
                            <a:pt x="25042" y="0"/>
                            <a:pt x="29174" y="22194"/>
                            <a:pt x="25649" y="50358"/>
                          </a:cubicBezTo>
                          <a:cubicBezTo>
                            <a:pt x="22125" y="78522"/>
                            <a:pt x="-10885" y="199365"/>
                            <a:pt x="3699" y="356743"/>
                          </a:cubicBezTo>
                          <a:cubicBezTo>
                            <a:pt x="18282" y="514121"/>
                            <a:pt x="30343" y="533733"/>
                            <a:pt x="30343" y="533733"/>
                          </a:cubicBezTo>
                          <a:cubicBezTo>
                            <a:pt x="30343" y="533733"/>
                            <a:pt x="30541" y="534568"/>
                            <a:pt x="30875" y="536118"/>
                          </a:cubicBezTo>
                          <a:cubicBezTo>
                            <a:pt x="30951" y="536224"/>
                            <a:pt x="30936" y="536406"/>
                            <a:pt x="30981" y="536573"/>
                          </a:cubicBezTo>
                          <a:cubicBezTo>
                            <a:pt x="30981" y="536573"/>
                            <a:pt x="41661" y="401010"/>
                            <a:pt x="65541" y="277796"/>
                          </a:cubicBezTo>
                          <a:lnTo>
                            <a:pt x="25315" y="245622"/>
                          </a:ln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5" name="Freeform: Shape 2534">
                      <a:extLst>
                        <a:ext uri="{FF2B5EF4-FFF2-40B4-BE49-F238E27FC236}">
                          <a16:creationId xmlns:a16="http://schemas.microsoft.com/office/drawing/2014/main" id="{81EC8902-AE26-D41F-6375-A6613EBDF9A1}"/>
                        </a:ext>
                      </a:extLst>
                    </p:cNvPr>
                    <p:cNvSpPr/>
                    <p:nvPr/>
                  </p:nvSpPr>
                  <p:spPr>
                    <a:xfrm>
                      <a:off x="7631293" y="3262430"/>
                      <a:ext cx="129540" cy="541312"/>
                    </a:xfrm>
                    <a:custGeom>
                      <a:avLst/>
                      <a:gdLst>
                        <a:gd name="connsiteX0" fmla="*/ 128218 w 129540"/>
                        <a:gd name="connsiteY0" fmla="*/ 9175 h 541312"/>
                        <a:gd name="connsiteX1" fmla="*/ 25042 w 129540"/>
                        <a:gd name="connsiteY1" fmla="*/ 4739 h 541312"/>
                        <a:gd name="connsiteX2" fmla="*/ 25649 w 129540"/>
                        <a:gd name="connsiteY2" fmla="*/ 55097 h 541312"/>
                        <a:gd name="connsiteX3" fmla="*/ 3699 w 129540"/>
                        <a:gd name="connsiteY3" fmla="*/ 361482 h 541312"/>
                        <a:gd name="connsiteX4" fmla="*/ 30343 w 129540"/>
                        <a:gd name="connsiteY4" fmla="*/ 538471 h 541312"/>
                        <a:gd name="connsiteX5" fmla="*/ 30754 w 129540"/>
                        <a:gd name="connsiteY5" fmla="*/ 540309 h 541312"/>
                        <a:gd name="connsiteX6" fmla="*/ 30981 w 129540"/>
                        <a:gd name="connsiteY6" fmla="*/ 541312 h 541312"/>
                        <a:gd name="connsiteX7" fmla="*/ 49955 w 129540"/>
                        <a:gd name="connsiteY7" fmla="*/ 284753 h 541312"/>
                        <a:gd name="connsiteX8" fmla="*/ 19786 w 129540"/>
                        <a:gd name="connsiteY8" fmla="*/ 252320 h 541312"/>
                        <a:gd name="connsiteX9" fmla="*/ 129540 w 129540"/>
                        <a:gd name="connsiteY9" fmla="*/ 9144 h 541312"/>
                        <a:gd name="connsiteX10" fmla="*/ 128218 w 129540"/>
                        <a:gd name="connsiteY10" fmla="*/ 9144 h 541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540" h="541312">
                          <a:moveTo>
                            <a:pt x="128218" y="9175"/>
                          </a:moveTo>
                          <a:cubicBezTo>
                            <a:pt x="128218" y="9175"/>
                            <a:pt x="52963" y="-8082"/>
                            <a:pt x="25042" y="4739"/>
                          </a:cubicBezTo>
                          <a:cubicBezTo>
                            <a:pt x="25042" y="4739"/>
                            <a:pt x="29174" y="26933"/>
                            <a:pt x="25649" y="55097"/>
                          </a:cubicBezTo>
                          <a:cubicBezTo>
                            <a:pt x="22125" y="83261"/>
                            <a:pt x="-10885" y="204104"/>
                            <a:pt x="3699" y="361482"/>
                          </a:cubicBezTo>
                          <a:cubicBezTo>
                            <a:pt x="18282" y="518860"/>
                            <a:pt x="30343" y="538471"/>
                            <a:pt x="30343" y="538471"/>
                          </a:cubicBezTo>
                          <a:cubicBezTo>
                            <a:pt x="30343" y="538471"/>
                            <a:pt x="30496" y="539109"/>
                            <a:pt x="30754" y="540309"/>
                          </a:cubicBezTo>
                          <a:lnTo>
                            <a:pt x="30981" y="541312"/>
                          </a:lnTo>
                          <a:cubicBezTo>
                            <a:pt x="30981" y="541312"/>
                            <a:pt x="27336" y="400903"/>
                            <a:pt x="49955" y="284753"/>
                          </a:cubicBezTo>
                          <a:lnTo>
                            <a:pt x="19786" y="252320"/>
                          </a:lnTo>
                          <a:cubicBezTo>
                            <a:pt x="19786" y="252320"/>
                            <a:pt x="19786" y="154324"/>
                            <a:pt x="129540" y="9144"/>
                          </a:cubicBezTo>
                          <a:cubicBezTo>
                            <a:pt x="129100" y="9144"/>
                            <a:pt x="128659" y="9144"/>
                            <a:pt x="128218" y="9144"/>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6" name="Freeform: Shape 2535">
                      <a:extLst>
                        <a:ext uri="{FF2B5EF4-FFF2-40B4-BE49-F238E27FC236}">
                          <a16:creationId xmlns:a16="http://schemas.microsoft.com/office/drawing/2014/main" id="{4187DA51-75AD-9B9E-C26D-7CA71D36C463}"/>
                        </a:ext>
                      </a:extLst>
                    </p:cNvPr>
                    <p:cNvSpPr/>
                    <p:nvPr/>
                  </p:nvSpPr>
                  <p:spPr>
                    <a:xfrm>
                      <a:off x="7402951" y="3396492"/>
                      <a:ext cx="555698" cy="849427"/>
                    </a:xfrm>
                    <a:custGeom>
                      <a:avLst/>
                      <a:gdLst>
                        <a:gd name="connsiteX0" fmla="*/ 553329 w 555698"/>
                        <a:gd name="connsiteY0" fmla="*/ 415469 h 849427"/>
                        <a:gd name="connsiteX1" fmla="*/ 534918 w 555698"/>
                        <a:gd name="connsiteY1" fmla="*/ 122482 h 849427"/>
                        <a:gd name="connsiteX2" fmla="*/ 321273 w 555698"/>
                        <a:gd name="connsiteY2" fmla="*/ 24744 h 849427"/>
                        <a:gd name="connsiteX3" fmla="*/ 323521 w 555698"/>
                        <a:gd name="connsiteY3" fmla="*/ 220964 h 849427"/>
                        <a:gd name="connsiteX4" fmla="*/ 325025 w 555698"/>
                        <a:gd name="connsiteY4" fmla="*/ 386910 h 849427"/>
                        <a:gd name="connsiteX5" fmla="*/ 266190 w 555698"/>
                        <a:gd name="connsiteY5" fmla="*/ 439471 h 849427"/>
                        <a:gd name="connsiteX6" fmla="*/ 284814 w 555698"/>
                        <a:gd name="connsiteY6" fmla="*/ 557261 h 849427"/>
                        <a:gd name="connsiteX7" fmla="*/ 207386 w 555698"/>
                        <a:gd name="connsiteY7" fmla="*/ 678940 h 849427"/>
                        <a:gd name="connsiteX8" fmla="*/ 0 w 555698"/>
                        <a:gd name="connsiteY8" fmla="*/ 793373 h 849427"/>
                        <a:gd name="connsiteX9" fmla="*/ 131310 w 555698"/>
                        <a:gd name="connsiteY9" fmla="*/ 849428 h 849427"/>
                        <a:gd name="connsiteX10" fmla="*/ 142491 w 555698"/>
                        <a:gd name="connsiteY10" fmla="*/ 836470 h 849427"/>
                        <a:gd name="connsiteX11" fmla="*/ 211883 w 555698"/>
                        <a:gd name="connsiteY11" fmla="*/ 767078 h 849427"/>
                        <a:gd name="connsiteX12" fmla="*/ 260160 w 555698"/>
                        <a:gd name="connsiteY12" fmla="*/ 768582 h 849427"/>
                        <a:gd name="connsiteX13" fmla="*/ 483435 w 555698"/>
                        <a:gd name="connsiteY13" fmla="*/ 557382 h 849427"/>
                        <a:gd name="connsiteX14" fmla="*/ 555699 w 555698"/>
                        <a:gd name="connsiteY14" fmla="*/ 438362 h 849427"/>
                        <a:gd name="connsiteX15" fmla="*/ 553329 w 555698"/>
                        <a:gd name="connsiteY15" fmla="*/ 415469 h 84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5698" h="849427">
                          <a:moveTo>
                            <a:pt x="553329" y="415469"/>
                          </a:moveTo>
                          <a:cubicBezTo>
                            <a:pt x="544230" y="307112"/>
                            <a:pt x="537591" y="198740"/>
                            <a:pt x="534918" y="122482"/>
                          </a:cubicBezTo>
                          <a:cubicBezTo>
                            <a:pt x="502743" y="10160"/>
                            <a:pt x="403698" y="-31098"/>
                            <a:pt x="321273" y="24744"/>
                          </a:cubicBezTo>
                          <a:cubicBezTo>
                            <a:pt x="321273" y="24744"/>
                            <a:pt x="305429" y="76788"/>
                            <a:pt x="323521" y="220964"/>
                          </a:cubicBezTo>
                          <a:cubicBezTo>
                            <a:pt x="338955" y="344041"/>
                            <a:pt x="326544" y="373329"/>
                            <a:pt x="325025" y="386910"/>
                          </a:cubicBezTo>
                          <a:cubicBezTo>
                            <a:pt x="324068" y="395478"/>
                            <a:pt x="290693" y="421454"/>
                            <a:pt x="266190" y="439471"/>
                          </a:cubicBezTo>
                          <a:cubicBezTo>
                            <a:pt x="273224" y="473741"/>
                            <a:pt x="282931" y="525284"/>
                            <a:pt x="284814" y="557261"/>
                          </a:cubicBezTo>
                          <a:cubicBezTo>
                            <a:pt x="287837" y="608545"/>
                            <a:pt x="258671" y="645763"/>
                            <a:pt x="207386" y="678940"/>
                          </a:cubicBezTo>
                          <a:cubicBezTo>
                            <a:pt x="156102" y="712132"/>
                            <a:pt x="38858" y="721718"/>
                            <a:pt x="0" y="793373"/>
                          </a:cubicBezTo>
                          <a:cubicBezTo>
                            <a:pt x="0" y="793373"/>
                            <a:pt x="63422" y="786871"/>
                            <a:pt x="131310" y="849428"/>
                          </a:cubicBezTo>
                          <a:cubicBezTo>
                            <a:pt x="135199" y="843594"/>
                            <a:pt x="139042" y="838885"/>
                            <a:pt x="142491" y="836470"/>
                          </a:cubicBezTo>
                          <a:cubicBezTo>
                            <a:pt x="157575" y="825912"/>
                            <a:pt x="196798" y="804797"/>
                            <a:pt x="211883" y="767078"/>
                          </a:cubicBezTo>
                          <a:cubicBezTo>
                            <a:pt x="211883" y="767078"/>
                            <a:pt x="240548" y="776132"/>
                            <a:pt x="260160" y="768582"/>
                          </a:cubicBezTo>
                          <a:cubicBezTo>
                            <a:pt x="279771" y="761032"/>
                            <a:pt x="451747" y="590559"/>
                            <a:pt x="483435" y="557382"/>
                          </a:cubicBezTo>
                          <a:cubicBezTo>
                            <a:pt x="505857" y="533897"/>
                            <a:pt x="538563" y="502528"/>
                            <a:pt x="555699" y="438362"/>
                          </a:cubicBezTo>
                          <a:cubicBezTo>
                            <a:pt x="554803" y="431116"/>
                            <a:pt x="553997" y="423520"/>
                            <a:pt x="553329" y="415469"/>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27" name="Graphic 3200">
                    <a:extLst>
                      <a:ext uri="{FF2B5EF4-FFF2-40B4-BE49-F238E27FC236}">
                        <a16:creationId xmlns:a16="http://schemas.microsoft.com/office/drawing/2014/main" id="{B88BBA7E-D63C-3AEB-DA2C-B6239F1E46BE}"/>
                      </a:ext>
                    </a:extLst>
                  </p:cNvPr>
                  <p:cNvGrpSpPr/>
                  <p:nvPr/>
                </p:nvGrpSpPr>
                <p:grpSpPr>
                  <a:xfrm>
                    <a:off x="7139631" y="3316418"/>
                    <a:ext cx="439461" cy="812986"/>
                    <a:chOff x="7139631" y="3316418"/>
                    <a:chExt cx="439461" cy="812986"/>
                  </a:xfrm>
                </p:grpSpPr>
                <p:grpSp>
                  <p:nvGrpSpPr>
                    <p:cNvPr id="2528" name="Graphic 3200">
                      <a:extLst>
                        <a:ext uri="{FF2B5EF4-FFF2-40B4-BE49-F238E27FC236}">
                          <a16:creationId xmlns:a16="http://schemas.microsoft.com/office/drawing/2014/main" id="{7BF39239-A4AC-DC2C-52AC-C55C96D89497}"/>
                        </a:ext>
                      </a:extLst>
                    </p:cNvPr>
                    <p:cNvGrpSpPr/>
                    <p:nvPr/>
                  </p:nvGrpSpPr>
                  <p:grpSpPr>
                    <a:xfrm>
                      <a:off x="7139631" y="3316418"/>
                      <a:ext cx="439461" cy="812986"/>
                      <a:chOff x="7139631" y="3316418"/>
                      <a:chExt cx="439461" cy="812986"/>
                    </a:xfrm>
                  </p:grpSpPr>
                  <p:sp>
                    <p:nvSpPr>
                      <p:cNvPr id="2531" name="Freeform: Shape 2530">
                        <a:extLst>
                          <a:ext uri="{FF2B5EF4-FFF2-40B4-BE49-F238E27FC236}">
                            <a16:creationId xmlns:a16="http://schemas.microsoft.com/office/drawing/2014/main" id="{6B26A049-B494-606B-017A-12ABD86C445A}"/>
                          </a:ext>
                        </a:extLst>
                      </p:cNvPr>
                      <p:cNvSpPr/>
                      <p:nvPr/>
                    </p:nvSpPr>
                    <p:spPr>
                      <a:xfrm>
                        <a:off x="7139631" y="3316448"/>
                        <a:ext cx="439461" cy="812956"/>
                      </a:xfrm>
                      <a:custGeom>
                        <a:avLst/>
                        <a:gdLst>
                          <a:gd name="connsiteX0" fmla="*/ 393232 w 439461"/>
                          <a:gd name="connsiteY0" fmla="*/ 0 h 812956"/>
                          <a:gd name="connsiteX1" fmla="*/ 397835 w 439461"/>
                          <a:gd name="connsiteY1" fmla="*/ 12426 h 812956"/>
                          <a:gd name="connsiteX2" fmla="*/ 380958 w 439461"/>
                          <a:gd name="connsiteY2" fmla="*/ 109360 h 812956"/>
                          <a:gd name="connsiteX3" fmla="*/ 410383 w 439461"/>
                          <a:gd name="connsiteY3" fmla="*/ 464553 h 812956"/>
                          <a:gd name="connsiteX4" fmla="*/ 433002 w 439461"/>
                          <a:gd name="connsiteY4" fmla="*/ 689303 h 812956"/>
                          <a:gd name="connsiteX5" fmla="*/ 196525 w 439461"/>
                          <a:gd name="connsiteY5" fmla="*/ 812957 h 812956"/>
                          <a:gd name="connsiteX6" fmla="*/ 0 w 439461"/>
                          <a:gd name="connsiteY6" fmla="*/ 782499 h 812956"/>
                          <a:gd name="connsiteX7" fmla="*/ 133574 w 439461"/>
                          <a:gd name="connsiteY7" fmla="*/ 700407 h 812956"/>
                          <a:gd name="connsiteX8" fmla="*/ 330691 w 439461"/>
                          <a:gd name="connsiteY8" fmla="*/ 628326 h 812956"/>
                          <a:gd name="connsiteX9" fmla="*/ 362364 w 439461"/>
                          <a:gd name="connsiteY9" fmla="*/ 597398 h 812956"/>
                          <a:gd name="connsiteX10" fmla="*/ 358840 w 439461"/>
                          <a:gd name="connsiteY10" fmla="*/ 568490 h 812956"/>
                          <a:gd name="connsiteX11" fmla="*/ 354602 w 439461"/>
                          <a:gd name="connsiteY11" fmla="*/ 459647 h 812956"/>
                          <a:gd name="connsiteX12" fmla="*/ 298228 w 439461"/>
                          <a:gd name="connsiteY12" fmla="*/ 341066 h 812956"/>
                          <a:gd name="connsiteX13" fmla="*/ 282673 w 439461"/>
                          <a:gd name="connsiteY13" fmla="*/ 193532 h 812956"/>
                          <a:gd name="connsiteX14" fmla="*/ 393202 w 439461"/>
                          <a:gd name="connsiteY14" fmla="*/ 0 h 81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461" h="812956">
                            <a:moveTo>
                              <a:pt x="393232" y="0"/>
                            </a:moveTo>
                            <a:lnTo>
                              <a:pt x="397835" y="12426"/>
                            </a:lnTo>
                            <a:cubicBezTo>
                              <a:pt x="397835" y="12426"/>
                              <a:pt x="386988" y="59822"/>
                              <a:pt x="380958" y="109360"/>
                            </a:cubicBezTo>
                            <a:cubicBezTo>
                              <a:pt x="374927" y="158882"/>
                              <a:pt x="398321" y="369519"/>
                              <a:pt x="410383" y="464553"/>
                            </a:cubicBezTo>
                            <a:cubicBezTo>
                              <a:pt x="422444" y="559587"/>
                              <a:pt x="452613" y="637259"/>
                              <a:pt x="433002" y="689303"/>
                            </a:cubicBezTo>
                            <a:cubicBezTo>
                              <a:pt x="413390" y="741347"/>
                              <a:pt x="318705" y="776013"/>
                              <a:pt x="196525" y="812957"/>
                            </a:cubicBezTo>
                            <a:cubicBezTo>
                              <a:pt x="196525" y="812957"/>
                              <a:pt x="87485" y="740268"/>
                              <a:pt x="0" y="782499"/>
                            </a:cubicBezTo>
                            <a:cubicBezTo>
                              <a:pt x="0" y="782499"/>
                              <a:pt x="12077" y="727857"/>
                              <a:pt x="133574" y="700407"/>
                            </a:cubicBezTo>
                            <a:cubicBezTo>
                              <a:pt x="326180" y="656901"/>
                              <a:pt x="330691" y="628326"/>
                              <a:pt x="330691" y="628326"/>
                            </a:cubicBezTo>
                            <a:cubicBezTo>
                              <a:pt x="330691" y="628326"/>
                              <a:pt x="326164" y="595149"/>
                              <a:pt x="362364" y="597398"/>
                            </a:cubicBezTo>
                            <a:cubicBezTo>
                              <a:pt x="362364" y="597398"/>
                              <a:pt x="372421" y="592613"/>
                              <a:pt x="358840" y="568490"/>
                            </a:cubicBezTo>
                            <a:cubicBezTo>
                              <a:pt x="349755" y="552326"/>
                              <a:pt x="380700" y="526228"/>
                              <a:pt x="354602" y="459647"/>
                            </a:cubicBezTo>
                            <a:cubicBezTo>
                              <a:pt x="344439" y="433731"/>
                              <a:pt x="311733" y="398306"/>
                              <a:pt x="298228" y="341066"/>
                            </a:cubicBezTo>
                            <a:cubicBezTo>
                              <a:pt x="283721" y="279574"/>
                              <a:pt x="291726" y="254630"/>
                              <a:pt x="282673" y="193532"/>
                            </a:cubicBezTo>
                            <a:cubicBezTo>
                              <a:pt x="273619" y="132450"/>
                              <a:pt x="284085" y="47548"/>
                              <a:pt x="393202" y="0"/>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2" name="Freeform: Shape 2531">
                        <a:extLst>
                          <a:ext uri="{FF2B5EF4-FFF2-40B4-BE49-F238E27FC236}">
                            <a16:creationId xmlns:a16="http://schemas.microsoft.com/office/drawing/2014/main" id="{8CFAD027-1676-9FE4-AB3E-A12D575313DD}"/>
                          </a:ext>
                        </a:extLst>
                      </p:cNvPr>
                      <p:cNvSpPr/>
                      <p:nvPr/>
                    </p:nvSpPr>
                    <p:spPr>
                      <a:xfrm>
                        <a:off x="7458808" y="3316418"/>
                        <a:ext cx="89656" cy="452202"/>
                      </a:xfrm>
                      <a:custGeom>
                        <a:avLst/>
                        <a:gdLst>
                          <a:gd name="connsiteX0" fmla="*/ 39405 w 89656"/>
                          <a:gd name="connsiteY0" fmla="*/ 231054 h 452202"/>
                          <a:gd name="connsiteX1" fmla="*/ 12259 w 89656"/>
                          <a:gd name="connsiteY1" fmla="*/ 245637 h 452202"/>
                          <a:gd name="connsiteX2" fmla="*/ 89657 w 89656"/>
                          <a:gd name="connsiteY2" fmla="*/ 452203 h 452202"/>
                          <a:gd name="connsiteX3" fmla="*/ 89110 w 89656"/>
                          <a:gd name="connsiteY3" fmla="*/ 447782 h 452202"/>
                          <a:gd name="connsiteX4" fmla="*/ 61781 w 89656"/>
                          <a:gd name="connsiteY4" fmla="*/ 109359 h 452202"/>
                          <a:gd name="connsiteX5" fmla="*/ 78659 w 89656"/>
                          <a:gd name="connsiteY5" fmla="*/ 12426 h 452202"/>
                          <a:gd name="connsiteX6" fmla="*/ 74056 w 89656"/>
                          <a:gd name="connsiteY6" fmla="*/ 0 h 452202"/>
                          <a:gd name="connsiteX7" fmla="*/ 0 w 89656"/>
                          <a:gd name="connsiteY7" fmla="*/ 51725 h 452202"/>
                          <a:gd name="connsiteX8" fmla="*/ 39420 w 89656"/>
                          <a:gd name="connsiteY8" fmla="*/ 231038 h 45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56" h="452202">
                            <a:moveTo>
                              <a:pt x="39405" y="231054"/>
                            </a:moveTo>
                            <a:cubicBezTo>
                              <a:pt x="24822" y="237084"/>
                              <a:pt x="12259" y="245637"/>
                              <a:pt x="12259" y="245637"/>
                            </a:cubicBezTo>
                            <a:cubicBezTo>
                              <a:pt x="31369" y="325587"/>
                              <a:pt x="89657" y="452203"/>
                              <a:pt x="89657" y="452203"/>
                            </a:cubicBezTo>
                            <a:lnTo>
                              <a:pt x="89110" y="447782"/>
                            </a:lnTo>
                            <a:cubicBezTo>
                              <a:pt x="76638" y="346732"/>
                              <a:pt x="56085" y="156147"/>
                              <a:pt x="61781" y="109359"/>
                            </a:cubicBezTo>
                            <a:cubicBezTo>
                              <a:pt x="67812" y="59837"/>
                              <a:pt x="78659" y="12426"/>
                              <a:pt x="78659" y="12426"/>
                            </a:cubicBezTo>
                            <a:lnTo>
                              <a:pt x="74056" y="0"/>
                            </a:lnTo>
                            <a:cubicBezTo>
                              <a:pt x="40970" y="14416"/>
                              <a:pt x="17470" y="31354"/>
                              <a:pt x="0" y="51725"/>
                            </a:cubicBezTo>
                            <a:cubicBezTo>
                              <a:pt x="8841" y="105258"/>
                              <a:pt x="39420" y="231038"/>
                              <a:pt x="39420" y="231038"/>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29" name="Freeform: Shape 2528">
                      <a:extLst>
                        <a:ext uri="{FF2B5EF4-FFF2-40B4-BE49-F238E27FC236}">
                          <a16:creationId xmlns:a16="http://schemas.microsoft.com/office/drawing/2014/main" id="{EF3C66FC-4759-CC2E-CC1E-52D2F3CB1EFC}"/>
                        </a:ext>
                      </a:extLst>
                    </p:cNvPr>
                    <p:cNvSpPr/>
                    <p:nvPr/>
                  </p:nvSpPr>
                  <p:spPr>
                    <a:xfrm>
                      <a:off x="7470164" y="3316433"/>
                      <a:ext cx="78452" cy="453402"/>
                    </a:xfrm>
                    <a:custGeom>
                      <a:avLst/>
                      <a:gdLst>
                        <a:gd name="connsiteX0" fmla="*/ 78452 w 78452"/>
                        <a:gd name="connsiteY0" fmla="*/ 453403 h 453402"/>
                        <a:gd name="connsiteX1" fmla="*/ 50425 w 78452"/>
                        <a:gd name="connsiteY1" fmla="*/ 109359 h 453402"/>
                        <a:gd name="connsiteX2" fmla="*/ 67302 w 78452"/>
                        <a:gd name="connsiteY2" fmla="*/ 12426 h 453402"/>
                        <a:gd name="connsiteX3" fmla="*/ 62699 w 78452"/>
                        <a:gd name="connsiteY3" fmla="*/ 0 h 453402"/>
                        <a:gd name="connsiteX4" fmla="*/ 599 w 78452"/>
                        <a:gd name="connsiteY4" fmla="*/ 38281 h 453402"/>
                        <a:gd name="connsiteX5" fmla="*/ 6 w 78452"/>
                        <a:gd name="connsiteY5" fmla="*/ 39754 h 453402"/>
                        <a:gd name="connsiteX6" fmla="*/ 34581 w 78452"/>
                        <a:gd name="connsiteY6" fmla="*/ 234046 h 453402"/>
                        <a:gd name="connsiteX7" fmla="*/ 12463 w 78452"/>
                        <a:gd name="connsiteY7" fmla="*/ 249131 h 453402"/>
                        <a:gd name="connsiteX8" fmla="*/ 78452 w 78452"/>
                        <a:gd name="connsiteY8" fmla="*/ 453388 h 45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52" h="453402">
                          <a:moveTo>
                            <a:pt x="78452" y="453403"/>
                          </a:moveTo>
                          <a:cubicBezTo>
                            <a:pt x="66071" y="353978"/>
                            <a:pt x="44622" y="157028"/>
                            <a:pt x="50425" y="109359"/>
                          </a:cubicBezTo>
                          <a:cubicBezTo>
                            <a:pt x="56455" y="59837"/>
                            <a:pt x="67302" y="12426"/>
                            <a:pt x="67302" y="12426"/>
                          </a:cubicBezTo>
                          <a:lnTo>
                            <a:pt x="62699" y="0"/>
                          </a:lnTo>
                          <a:cubicBezTo>
                            <a:pt x="37193" y="11104"/>
                            <a:pt x="16823" y="24093"/>
                            <a:pt x="599" y="38281"/>
                          </a:cubicBezTo>
                          <a:cubicBezTo>
                            <a:pt x="173" y="38646"/>
                            <a:pt x="-40" y="39192"/>
                            <a:pt x="6" y="39754"/>
                          </a:cubicBezTo>
                          <a:cubicBezTo>
                            <a:pt x="7936" y="122651"/>
                            <a:pt x="34581" y="234046"/>
                            <a:pt x="34581" y="234046"/>
                          </a:cubicBezTo>
                          <a:cubicBezTo>
                            <a:pt x="19496" y="242097"/>
                            <a:pt x="12463" y="249131"/>
                            <a:pt x="12463" y="249131"/>
                          </a:cubicBezTo>
                          <a:cubicBezTo>
                            <a:pt x="34004" y="324873"/>
                            <a:pt x="62745" y="408772"/>
                            <a:pt x="78452" y="453388"/>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0" name="Freeform: Shape 2529">
                      <a:extLst>
                        <a:ext uri="{FF2B5EF4-FFF2-40B4-BE49-F238E27FC236}">
                          <a16:creationId xmlns:a16="http://schemas.microsoft.com/office/drawing/2014/main" id="{7C6C3BDE-918B-2B65-6EDB-F66FD5F20706}"/>
                        </a:ext>
                      </a:extLst>
                    </p:cNvPr>
                    <p:cNvSpPr/>
                    <p:nvPr/>
                  </p:nvSpPr>
                  <p:spPr>
                    <a:xfrm>
                      <a:off x="7441384" y="3947236"/>
                      <a:ext cx="137702" cy="147503"/>
                    </a:xfrm>
                    <a:custGeom>
                      <a:avLst/>
                      <a:gdLst>
                        <a:gd name="connsiteX0" fmla="*/ 0 w 137702"/>
                        <a:gd name="connsiteY0" fmla="*/ 147504 h 147503"/>
                        <a:gd name="connsiteX1" fmla="*/ 131249 w 137702"/>
                        <a:gd name="connsiteY1" fmla="*/ 58485 h 147503"/>
                        <a:gd name="connsiteX2" fmla="*/ 136931 w 137702"/>
                        <a:gd name="connsiteY2" fmla="*/ 0 h 147503"/>
                        <a:gd name="connsiteX3" fmla="*/ 0 w 137702"/>
                        <a:gd name="connsiteY3" fmla="*/ 147504 h 147503"/>
                      </a:gdLst>
                      <a:ahLst/>
                      <a:cxnLst>
                        <a:cxn ang="0">
                          <a:pos x="connsiteX0" y="connsiteY0"/>
                        </a:cxn>
                        <a:cxn ang="0">
                          <a:pos x="connsiteX1" y="connsiteY1"/>
                        </a:cxn>
                        <a:cxn ang="0">
                          <a:pos x="connsiteX2" y="connsiteY2"/>
                        </a:cxn>
                        <a:cxn ang="0">
                          <a:pos x="connsiteX3" y="connsiteY3"/>
                        </a:cxn>
                      </a:cxnLst>
                      <a:rect l="l" t="t" r="r" b="b"/>
                      <a:pathLst>
                        <a:path w="137702" h="147503">
                          <a:moveTo>
                            <a:pt x="0" y="147504"/>
                          </a:moveTo>
                          <a:cubicBezTo>
                            <a:pt x="68891" y="121785"/>
                            <a:pt x="117790" y="94229"/>
                            <a:pt x="131249" y="58485"/>
                          </a:cubicBezTo>
                          <a:cubicBezTo>
                            <a:pt x="137615" y="41593"/>
                            <a:pt x="138723" y="22012"/>
                            <a:pt x="136931" y="0"/>
                          </a:cubicBezTo>
                          <a:lnTo>
                            <a:pt x="0" y="147504"/>
                          </a:ln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30" name="Graphic 3200">
              <a:extLst>
                <a:ext uri="{FF2B5EF4-FFF2-40B4-BE49-F238E27FC236}">
                  <a16:creationId xmlns:a16="http://schemas.microsoft.com/office/drawing/2014/main" id="{18F4C9FE-9CB0-8A2F-6BD5-701CC229A234}"/>
                </a:ext>
              </a:extLst>
            </p:cNvPr>
            <p:cNvGrpSpPr/>
            <p:nvPr/>
          </p:nvGrpSpPr>
          <p:grpSpPr>
            <a:xfrm>
              <a:off x="7566017" y="2875903"/>
              <a:ext cx="163219" cy="222941"/>
              <a:chOff x="7516989" y="3170906"/>
              <a:chExt cx="152239" cy="207943"/>
            </a:xfrm>
          </p:grpSpPr>
          <p:sp>
            <p:nvSpPr>
              <p:cNvPr id="2520" name="Freeform: Shape 2519">
                <a:extLst>
                  <a:ext uri="{FF2B5EF4-FFF2-40B4-BE49-F238E27FC236}">
                    <a16:creationId xmlns:a16="http://schemas.microsoft.com/office/drawing/2014/main" id="{F615461E-A331-F7CF-2BCD-CE3CDAE3D3BD}"/>
                  </a:ext>
                </a:extLst>
              </p:cNvPr>
              <p:cNvSpPr/>
              <p:nvPr/>
            </p:nvSpPr>
            <p:spPr>
              <a:xfrm>
                <a:off x="7516989" y="3170922"/>
                <a:ext cx="152239" cy="207928"/>
              </a:xfrm>
              <a:custGeom>
                <a:avLst/>
                <a:gdLst>
                  <a:gd name="connsiteX0" fmla="*/ 105440 w 152239"/>
                  <a:gd name="connsiteY0" fmla="*/ 12773 h 207928"/>
                  <a:gd name="connsiteX1" fmla="*/ 119750 w 152239"/>
                  <a:gd name="connsiteY1" fmla="*/ 39813 h 207928"/>
                  <a:gd name="connsiteX2" fmla="*/ 147033 w 152239"/>
                  <a:gd name="connsiteY2" fmla="*/ 120447 h 207928"/>
                  <a:gd name="connsiteX3" fmla="*/ 80633 w 152239"/>
                  <a:gd name="connsiteY3" fmla="*/ 207718 h 207928"/>
                  <a:gd name="connsiteX4" fmla="*/ 13899 w 152239"/>
                  <a:gd name="connsiteY4" fmla="*/ 157998 h 207928"/>
                  <a:gd name="connsiteX5" fmla="*/ 926 w 152239"/>
                  <a:gd name="connsiteY5" fmla="*/ 82287 h 207928"/>
                  <a:gd name="connsiteX6" fmla="*/ 52803 w 152239"/>
                  <a:gd name="connsiteY6" fmla="*/ 1851 h 207928"/>
                  <a:gd name="connsiteX7" fmla="*/ 105455 w 152239"/>
                  <a:gd name="connsiteY7" fmla="*/ 12788 h 20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39" h="207928">
                    <a:moveTo>
                      <a:pt x="105440" y="12773"/>
                    </a:moveTo>
                    <a:cubicBezTo>
                      <a:pt x="113066" y="19913"/>
                      <a:pt x="117957" y="29514"/>
                      <a:pt x="119750" y="39813"/>
                    </a:cubicBezTo>
                    <a:cubicBezTo>
                      <a:pt x="122758" y="57116"/>
                      <a:pt x="130976" y="96171"/>
                      <a:pt x="147033" y="120447"/>
                    </a:cubicBezTo>
                    <a:cubicBezTo>
                      <a:pt x="168133" y="152363"/>
                      <a:pt x="120904" y="205743"/>
                      <a:pt x="80633" y="207718"/>
                    </a:cubicBezTo>
                    <a:cubicBezTo>
                      <a:pt x="37005" y="209860"/>
                      <a:pt x="21267" y="195763"/>
                      <a:pt x="13899" y="157998"/>
                    </a:cubicBezTo>
                    <a:cubicBezTo>
                      <a:pt x="6532" y="120234"/>
                      <a:pt x="5104" y="112760"/>
                      <a:pt x="926" y="82287"/>
                    </a:cubicBezTo>
                    <a:cubicBezTo>
                      <a:pt x="-5742" y="33706"/>
                      <a:pt x="24837" y="7381"/>
                      <a:pt x="52803" y="1851"/>
                    </a:cubicBezTo>
                    <a:cubicBezTo>
                      <a:pt x="77671" y="-3071"/>
                      <a:pt x="94199" y="2246"/>
                      <a:pt x="105455" y="12788"/>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1" name="Freeform: Shape 2520">
                <a:extLst>
                  <a:ext uri="{FF2B5EF4-FFF2-40B4-BE49-F238E27FC236}">
                    <a16:creationId xmlns:a16="http://schemas.microsoft.com/office/drawing/2014/main" id="{8C5E600E-FEFD-2552-08B9-2DFFAD8FCBD7}"/>
                  </a:ext>
                </a:extLst>
              </p:cNvPr>
              <p:cNvSpPr/>
              <p:nvPr/>
            </p:nvSpPr>
            <p:spPr>
              <a:xfrm>
                <a:off x="7516989" y="3170906"/>
                <a:ext cx="110375" cy="155810"/>
              </a:xfrm>
              <a:custGeom>
                <a:avLst/>
                <a:gdLst>
                  <a:gd name="connsiteX0" fmla="*/ 52803 w 110375"/>
                  <a:gd name="connsiteY0" fmla="*/ 1851 h 155810"/>
                  <a:gd name="connsiteX1" fmla="*/ 105455 w 110375"/>
                  <a:gd name="connsiteY1" fmla="*/ 12789 h 155810"/>
                  <a:gd name="connsiteX2" fmla="*/ 107247 w 110375"/>
                  <a:gd name="connsiteY2" fmla="*/ 50386 h 155810"/>
                  <a:gd name="connsiteX3" fmla="*/ 13474 w 110375"/>
                  <a:gd name="connsiteY3" fmla="*/ 155811 h 155810"/>
                  <a:gd name="connsiteX4" fmla="*/ 926 w 110375"/>
                  <a:gd name="connsiteY4" fmla="*/ 82302 h 155810"/>
                  <a:gd name="connsiteX5" fmla="*/ 52803 w 110375"/>
                  <a:gd name="connsiteY5" fmla="*/ 1866 h 15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375" h="155810">
                    <a:moveTo>
                      <a:pt x="52803" y="1851"/>
                    </a:moveTo>
                    <a:cubicBezTo>
                      <a:pt x="77671" y="-3071"/>
                      <a:pt x="94199" y="2246"/>
                      <a:pt x="105455" y="12789"/>
                    </a:cubicBezTo>
                    <a:cubicBezTo>
                      <a:pt x="113081" y="19928"/>
                      <a:pt x="110331" y="40406"/>
                      <a:pt x="107247" y="50386"/>
                    </a:cubicBezTo>
                    <a:cubicBezTo>
                      <a:pt x="91054" y="102886"/>
                      <a:pt x="54550" y="139511"/>
                      <a:pt x="13474" y="155811"/>
                    </a:cubicBezTo>
                    <a:cubicBezTo>
                      <a:pt x="6471" y="119960"/>
                      <a:pt x="5028" y="112167"/>
                      <a:pt x="926" y="82302"/>
                    </a:cubicBezTo>
                    <a:cubicBezTo>
                      <a:pt x="-5742" y="33722"/>
                      <a:pt x="24837" y="7396"/>
                      <a:pt x="52803" y="1866"/>
                    </a:cubicBezTo>
                    <a:close/>
                  </a:path>
                </a:pathLst>
              </a:custGeom>
              <a:solidFill>
                <a:srgbClr val="CE7E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1" name="Freeform: Shape 30">
              <a:extLst>
                <a:ext uri="{FF2B5EF4-FFF2-40B4-BE49-F238E27FC236}">
                  <a16:creationId xmlns:a16="http://schemas.microsoft.com/office/drawing/2014/main" id="{7460B9D2-5A84-18CB-6DCE-3A0CC5D29F83}"/>
                </a:ext>
              </a:extLst>
            </p:cNvPr>
            <p:cNvSpPr/>
            <p:nvPr/>
          </p:nvSpPr>
          <p:spPr>
            <a:xfrm>
              <a:off x="7460796" y="2625807"/>
              <a:ext cx="286080" cy="386421"/>
            </a:xfrm>
            <a:custGeom>
              <a:avLst/>
              <a:gdLst>
                <a:gd name="connsiteX0" fmla="*/ 144353 w 266834"/>
                <a:gd name="connsiteY0" fmla="*/ 256 h 360425"/>
                <a:gd name="connsiteX1" fmla="*/ 10005 w 266834"/>
                <a:gd name="connsiteY1" fmla="*/ 88075 h 360425"/>
                <a:gd name="connsiteX2" fmla="*/ 70298 w 266834"/>
                <a:gd name="connsiteY2" fmla="*/ 358746 h 360425"/>
                <a:gd name="connsiteX3" fmla="*/ 258027 w 266834"/>
                <a:gd name="connsiteY3" fmla="*/ 205561 h 360425"/>
                <a:gd name="connsiteX4" fmla="*/ 144353 w 266834"/>
                <a:gd name="connsiteY4" fmla="*/ 256 h 36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34" h="360425">
                  <a:moveTo>
                    <a:pt x="144353" y="256"/>
                  </a:moveTo>
                  <a:cubicBezTo>
                    <a:pt x="144353" y="256"/>
                    <a:pt x="34234" y="-9284"/>
                    <a:pt x="10005" y="88075"/>
                  </a:cubicBezTo>
                  <a:cubicBezTo>
                    <a:pt x="-14224" y="185433"/>
                    <a:pt x="5433" y="345561"/>
                    <a:pt x="70298" y="358746"/>
                  </a:cubicBezTo>
                  <a:cubicBezTo>
                    <a:pt x="135148" y="371932"/>
                    <a:pt x="227873" y="306201"/>
                    <a:pt x="258027" y="205561"/>
                  </a:cubicBezTo>
                  <a:cubicBezTo>
                    <a:pt x="288181" y="104922"/>
                    <a:pt x="238613" y="3325"/>
                    <a:pt x="144353" y="256"/>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6DB5AE7A-4ED2-8DBC-17AB-2BEF4E302D7B}"/>
                </a:ext>
              </a:extLst>
            </p:cNvPr>
            <p:cNvSpPr/>
            <p:nvPr/>
          </p:nvSpPr>
          <p:spPr>
            <a:xfrm>
              <a:off x="7472077" y="2650877"/>
              <a:ext cx="130911" cy="75985"/>
            </a:xfrm>
            <a:custGeom>
              <a:avLst/>
              <a:gdLst>
                <a:gd name="connsiteX0" fmla="*/ 0 w 122104"/>
                <a:gd name="connsiteY0" fmla="*/ 62777 h 70873"/>
                <a:gd name="connsiteX1" fmla="*/ 122104 w 122104"/>
                <a:gd name="connsiteY1" fmla="*/ 70874 h 70873"/>
                <a:gd name="connsiteX2" fmla="*/ 37992 w 122104"/>
                <a:gd name="connsiteY2" fmla="*/ 3715 h 70873"/>
                <a:gd name="connsiteX3" fmla="*/ 0 w 122104"/>
                <a:gd name="connsiteY3" fmla="*/ 62777 h 70873"/>
              </a:gdLst>
              <a:ahLst/>
              <a:cxnLst>
                <a:cxn ang="0">
                  <a:pos x="connsiteX0" y="connsiteY0"/>
                </a:cxn>
                <a:cxn ang="0">
                  <a:pos x="connsiteX1" y="connsiteY1"/>
                </a:cxn>
                <a:cxn ang="0">
                  <a:pos x="connsiteX2" y="connsiteY2"/>
                </a:cxn>
                <a:cxn ang="0">
                  <a:pos x="connsiteX3" y="connsiteY3"/>
                </a:cxn>
              </a:cxnLst>
              <a:rect l="l" t="t" r="r" b="b"/>
              <a:pathLst>
                <a:path w="122104" h="70873">
                  <a:moveTo>
                    <a:pt x="0" y="62777"/>
                  </a:moveTo>
                  <a:cubicBezTo>
                    <a:pt x="8810" y="60833"/>
                    <a:pt x="52484" y="53070"/>
                    <a:pt x="122104" y="70874"/>
                  </a:cubicBezTo>
                  <a:cubicBezTo>
                    <a:pt x="122104" y="70874"/>
                    <a:pt x="112534" y="-19132"/>
                    <a:pt x="37992" y="3715"/>
                  </a:cubicBezTo>
                  <a:cubicBezTo>
                    <a:pt x="21449" y="16521"/>
                    <a:pt x="7261" y="35297"/>
                    <a:pt x="0" y="62777"/>
                  </a:cubicBezTo>
                  <a:close/>
                </a:path>
              </a:pathLst>
            </a:custGeom>
            <a:solidFill>
              <a:srgbClr val="3C5D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3" name="Graphic 3200">
              <a:extLst>
                <a:ext uri="{FF2B5EF4-FFF2-40B4-BE49-F238E27FC236}">
                  <a16:creationId xmlns:a16="http://schemas.microsoft.com/office/drawing/2014/main" id="{5B8FE713-3145-CA3E-13E6-D4E67C6E0982}"/>
                </a:ext>
              </a:extLst>
            </p:cNvPr>
            <p:cNvGrpSpPr/>
            <p:nvPr/>
          </p:nvGrpSpPr>
          <p:grpSpPr>
            <a:xfrm>
              <a:off x="7648591" y="2800753"/>
              <a:ext cx="58795" cy="85193"/>
              <a:chOff x="7594008" y="3100812"/>
              <a:chExt cx="54840" cy="79462"/>
            </a:xfrm>
          </p:grpSpPr>
          <p:sp>
            <p:nvSpPr>
              <p:cNvPr id="2516" name="Freeform: Shape 2515">
                <a:extLst>
                  <a:ext uri="{FF2B5EF4-FFF2-40B4-BE49-F238E27FC236}">
                    <a16:creationId xmlns:a16="http://schemas.microsoft.com/office/drawing/2014/main" id="{9C62E73D-42E4-BBC8-5772-B8ACD6696FA9}"/>
                  </a:ext>
                </a:extLst>
              </p:cNvPr>
              <p:cNvSpPr/>
              <p:nvPr/>
            </p:nvSpPr>
            <p:spPr>
              <a:xfrm>
                <a:off x="7594008" y="3100812"/>
                <a:ext cx="54840" cy="79462"/>
              </a:xfrm>
              <a:custGeom>
                <a:avLst/>
                <a:gdLst>
                  <a:gd name="connsiteX0" fmla="*/ 3933 w 54840"/>
                  <a:gd name="connsiteY0" fmla="*/ 27391 h 79462"/>
                  <a:gd name="connsiteX1" fmla="*/ 42457 w 54840"/>
                  <a:gd name="connsiteY1" fmla="*/ 1141 h 79462"/>
                  <a:gd name="connsiteX2" fmla="*/ 15387 w 54840"/>
                  <a:gd name="connsiteY2" fmla="*/ 79085 h 79462"/>
                  <a:gd name="connsiteX3" fmla="*/ 3933 w 54840"/>
                  <a:gd name="connsiteY3" fmla="*/ 27391 h 79462"/>
                </a:gdLst>
                <a:ahLst/>
                <a:cxnLst>
                  <a:cxn ang="0">
                    <a:pos x="connsiteX0" y="connsiteY0"/>
                  </a:cxn>
                  <a:cxn ang="0">
                    <a:pos x="connsiteX1" y="connsiteY1"/>
                  </a:cxn>
                  <a:cxn ang="0">
                    <a:pos x="connsiteX2" y="connsiteY2"/>
                  </a:cxn>
                  <a:cxn ang="0">
                    <a:pos x="connsiteX3" y="connsiteY3"/>
                  </a:cxn>
                </a:cxnLst>
                <a:rect l="l" t="t" r="r" b="b"/>
                <a:pathLst>
                  <a:path w="54840" h="79462">
                    <a:moveTo>
                      <a:pt x="3933" y="27391"/>
                    </a:moveTo>
                    <a:cubicBezTo>
                      <a:pt x="3933" y="27391"/>
                      <a:pt x="12151" y="-6576"/>
                      <a:pt x="42457" y="1141"/>
                    </a:cubicBezTo>
                    <a:cubicBezTo>
                      <a:pt x="72763" y="8842"/>
                      <a:pt x="41075" y="85465"/>
                      <a:pt x="15387" y="79085"/>
                    </a:cubicBezTo>
                    <a:cubicBezTo>
                      <a:pt x="-10301" y="72705"/>
                      <a:pt x="3933" y="27391"/>
                      <a:pt x="3933" y="27391"/>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17" name="Graphic 3200">
                <a:extLst>
                  <a:ext uri="{FF2B5EF4-FFF2-40B4-BE49-F238E27FC236}">
                    <a16:creationId xmlns:a16="http://schemas.microsoft.com/office/drawing/2014/main" id="{6F52418F-7350-57B4-33F0-38439BA1406E}"/>
                  </a:ext>
                </a:extLst>
              </p:cNvPr>
              <p:cNvGrpSpPr/>
              <p:nvPr/>
            </p:nvGrpSpPr>
            <p:grpSpPr>
              <a:xfrm>
                <a:off x="7609639" y="3120418"/>
                <a:ext cx="23793" cy="42538"/>
                <a:chOff x="7609639" y="3120418"/>
                <a:chExt cx="23793" cy="42538"/>
              </a:xfrm>
              <a:solidFill>
                <a:srgbClr val="CE7E6B"/>
              </a:solidFill>
            </p:grpSpPr>
            <p:sp>
              <p:nvSpPr>
                <p:cNvPr id="2518" name="Freeform: Shape 2517">
                  <a:extLst>
                    <a:ext uri="{FF2B5EF4-FFF2-40B4-BE49-F238E27FC236}">
                      <a16:creationId xmlns:a16="http://schemas.microsoft.com/office/drawing/2014/main" id="{82EBC4ED-9EF4-490E-C59A-47A1B5F96B18}"/>
                    </a:ext>
                  </a:extLst>
                </p:cNvPr>
                <p:cNvSpPr/>
                <p:nvPr/>
              </p:nvSpPr>
              <p:spPr>
                <a:xfrm>
                  <a:off x="7609639" y="3120418"/>
                  <a:ext cx="19519" cy="42538"/>
                </a:xfrm>
                <a:custGeom>
                  <a:avLst/>
                  <a:gdLst>
                    <a:gd name="connsiteX0" fmla="*/ 3417 w 19519"/>
                    <a:gd name="connsiteY0" fmla="*/ 42526 h 42538"/>
                    <a:gd name="connsiteX1" fmla="*/ 5802 w 19519"/>
                    <a:gd name="connsiteY1" fmla="*/ 39564 h 42538"/>
                    <a:gd name="connsiteX2" fmla="*/ 17894 w 19519"/>
                    <a:gd name="connsiteY2" fmla="*/ 5126 h 42538"/>
                    <a:gd name="connsiteX3" fmla="*/ 19307 w 19519"/>
                    <a:gd name="connsiteY3" fmla="*/ 1632 h 42538"/>
                    <a:gd name="connsiteX4" fmla="*/ 15828 w 19519"/>
                    <a:gd name="connsiteY4" fmla="*/ 204 h 42538"/>
                    <a:gd name="connsiteX5" fmla="*/ 485 w 19519"/>
                    <a:gd name="connsiteY5" fmla="*/ 40171 h 42538"/>
                    <a:gd name="connsiteX6" fmla="*/ 3402 w 19519"/>
                    <a:gd name="connsiteY6" fmla="*/ 42526 h 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9" h="42538">
                      <a:moveTo>
                        <a:pt x="3417" y="42526"/>
                      </a:moveTo>
                      <a:cubicBezTo>
                        <a:pt x="4921" y="42359"/>
                        <a:pt x="5969" y="41022"/>
                        <a:pt x="5802" y="39564"/>
                      </a:cubicBezTo>
                      <a:cubicBezTo>
                        <a:pt x="2627" y="12053"/>
                        <a:pt x="17271" y="5399"/>
                        <a:pt x="17894" y="5126"/>
                      </a:cubicBezTo>
                      <a:cubicBezTo>
                        <a:pt x="19246" y="4549"/>
                        <a:pt x="19884" y="2984"/>
                        <a:pt x="19307" y="1632"/>
                      </a:cubicBezTo>
                      <a:cubicBezTo>
                        <a:pt x="18730" y="280"/>
                        <a:pt x="17195" y="-358"/>
                        <a:pt x="15828" y="204"/>
                      </a:cubicBezTo>
                      <a:cubicBezTo>
                        <a:pt x="15053" y="523"/>
                        <a:pt x="-3176" y="8438"/>
                        <a:pt x="485" y="40171"/>
                      </a:cubicBezTo>
                      <a:cubicBezTo>
                        <a:pt x="652" y="41630"/>
                        <a:pt x="1959" y="42663"/>
                        <a:pt x="3402" y="42526"/>
                      </a:cubicBezTo>
                      <a:close/>
                    </a:path>
                  </a:pathLst>
                </a:custGeom>
                <a:solidFill>
                  <a:srgbClr val="CE7E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9" name="Freeform: Shape 2518">
                  <a:extLst>
                    <a:ext uri="{FF2B5EF4-FFF2-40B4-BE49-F238E27FC236}">
                      <a16:creationId xmlns:a16="http://schemas.microsoft.com/office/drawing/2014/main" id="{539683EE-596A-6E9B-FEFD-3577FAB2F248}"/>
                    </a:ext>
                  </a:extLst>
                </p:cNvPr>
                <p:cNvSpPr/>
                <p:nvPr/>
              </p:nvSpPr>
              <p:spPr>
                <a:xfrm>
                  <a:off x="7610688" y="3139841"/>
                  <a:ext cx="22744" cy="10979"/>
                </a:xfrm>
                <a:custGeom>
                  <a:avLst/>
                  <a:gdLst>
                    <a:gd name="connsiteX0" fmla="*/ 2945 w 22744"/>
                    <a:gd name="connsiteY0" fmla="*/ 10966 h 10979"/>
                    <a:gd name="connsiteX1" fmla="*/ 4601 w 22744"/>
                    <a:gd name="connsiteY1" fmla="*/ 10161 h 10979"/>
                    <a:gd name="connsiteX2" fmla="*/ 19139 w 22744"/>
                    <a:gd name="connsiteY2" fmla="*/ 5938 h 10979"/>
                    <a:gd name="connsiteX3" fmla="*/ 22572 w 22744"/>
                    <a:gd name="connsiteY3" fmla="*/ 4358 h 10979"/>
                    <a:gd name="connsiteX4" fmla="*/ 21023 w 22744"/>
                    <a:gd name="connsiteY4" fmla="*/ 925 h 10979"/>
                    <a:gd name="connsiteX5" fmla="*/ 743 w 22744"/>
                    <a:gd name="connsiteY5" fmla="*/ 6454 h 10979"/>
                    <a:gd name="connsiteX6" fmla="*/ 819 w 22744"/>
                    <a:gd name="connsiteY6" fmla="*/ 10237 h 10979"/>
                    <a:gd name="connsiteX7" fmla="*/ 2945 w 22744"/>
                    <a:gd name="connsiteY7" fmla="*/ 10966 h 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44" h="10979">
                      <a:moveTo>
                        <a:pt x="2945" y="10966"/>
                      </a:moveTo>
                      <a:cubicBezTo>
                        <a:pt x="3553" y="10905"/>
                        <a:pt x="4146" y="10632"/>
                        <a:pt x="4601" y="10161"/>
                      </a:cubicBezTo>
                      <a:cubicBezTo>
                        <a:pt x="11316" y="3188"/>
                        <a:pt x="18835" y="5816"/>
                        <a:pt x="19139" y="5938"/>
                      </a:cubicBezTo>
                      <a:cubicBezTo>
                        <a:pt x="20521" y="6439"/>
                        <a:pt x="22056" y="5740"/>
                        <a:pt x="22572" y="4358"/>
                      </a:cubicBezTo>
                      <a:cubicBezTo>
                        <a:pt x="23089" y="2976"/>
                        <a:pt x="22405" y="1457"/>
                        <a:pt x="21023" y="925"/>
                      </a:cubicBezTo>
                      <a:cubicBezTo>
                        <a:pt x="20582" y="758"/>
                        <a:pt x="9964" y="-3146"/>
                        <a:pt x="743" y="6454"/>
                      </a:cubicBezTo>
                      <a:cubicBezTo>
                        <a:pt x="-275" y="7518"/>
                        <a:pt x="-244" y="9204"/>
                        <a:pt x="819" y="10237"/>
                      </a:cubicBezTo>
                      <a:cubicBezTo>
                        <a:pt x="1411" y="10799"/>
                        <a:pt x="2186" y="11042"/>
                        <a:pt x="2945" y="10966"/>
                      </a:cubicBezTo>
                      <a:close/>
                    </a:path>
                  </a:pathLst>
                </a:custGeom>
                <a:solidFill>
                  <a:srgbClr val="CE7E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4" name="Freeform: Shape 33">
              <a:extLst>
                <a:ext uri="{FF2B5EF4-FFF2-40B4-BE49-F238E27FC236}">
                  <a16:creationId xmlns:a16="http://schemas.microsoft.com/office/drawing/2014/main" id="{C714BD4E-F368-C67B-8576-4CA6A0E46445}"/>
                </a:ext>
              </a:extLst>
            </p:cNvPr>
            <p:cNvSpPr/>
            <p:nvPr/>
          </p:nvSpPr>
          <p:spPr>
            <a:xfrm>
              <a:off x="7466076" y="2602590"/>
              <a:ext cx="333034" cy="461914"/>
            </a:xfrm>
            <a:custGeom>
              <a:avLst/>
              <a:gdLst>
                <a:gd name="connsiteX0" fmla="*/ 68 w 310630"/>
                <a:gd name="connsiteY0" fmla="*/ 134475 h 430839"/>
                <a:gd name="connsiteX1" fmla="*/ 43878 w 310630"/>
                <a:gd name="connsiteY1" fmla="*/ 57488 h 430839"/>
                <a:gd name="connsiteX2" fmla="*/ 157020 w 310630"/>
                <a:gd name="connsiteY2" fmla="*/ 171481 h 430839"/>
                <a:gd name="connsiteX3" fmla="*/ 138335 w 310630"/>
                <a:gd name="connsiteY3" fmla="*/ 360683 h 430839"/>
                <a:gd name="connsiteX4" fmla="*/ 62533 w 310630"/>
                <a:gd name="connsiteY4" fmla="*/ 381647 h 430839"/>
                <a:gd name="connsiteX5" fmla="*/ 62624 w 310630"/>
                <a:gd name="connsiteY5" fmla="*/ 405041 h 430839"/>
                <a:gd name="connsiteX6" fmla="*/ 216401 w 310630"/>
                <a:gd name="connsiteY6" fmla="*/ 395227 h 430839"/>
                <a:gd name="connsiteX7" fmla="*/ 310585 w 310630"/>
                <a:gd name="connsiteY7" fmla="*/ 172665 h 430839"/>
                <a:gd name="connsiteX8" fmla="*/ 119408 w 310630"/>
                <a:gd name="connsiteY8" fmla="*/ 765 h 430839"/>
                <a:gd name="connsiteX9" fmla="*/ 52 w 310630"/>
                <a:gd name="connsiteY9" fmla="*/ 134475 h 43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630" h="430839">
                  <a:moveTo>
                    <a:pt x="68" y="134475"/>
                  </a:moveTo>
                  <a:cubicBezTo>
                    <a:pt x="68" y="134475"/>
                    <a:pt x="14621" y="76173"/>
                    <a:pt x="43878" y="57488"/>
                  </a:cubicBezTo>
                  <a:cubicBezTo>
                    <a:pt x="62198" y="64050"/>
                    <a:pt x="129342" y="112221"/>
                    <a:pt x="157020" y="171481"/>
                  </a:cubicBezTo>
                  <a:cubicBezTo>
                    <a:pt x="184698" y="230755"/>
                    <a:pt x="174915" y="320868"/>
                    <a:pt x="138335" y="360683"/>
                  </a:cubicBezTo>
                  <a:cubicBezTo>
                    <a:pt x="111827" y="389531"/>
                    <a:pt x="77420" y="387647"/>
                    <a:pt x="62533" y="381647"/>
                  </a:cubicBezTo>
                  <a:cubicBezTo>
                    <a:pt x="62533" y="381647"/>
                    <a:pt x="59327" y="393025"/>
                    <a:pt x="62624" y="405041"/>
                  </a:cubicBezTo>
                  <a:cubicBezTo>
                    <a:pt x="62624" y="405041"/>
                    <a:pt x="130588" y="469162"/>
                    <a:pt x="216401" y="395227"/>
                  </a:cubicBezTo>
                  <a:cubicBezTo>
                    <a:pt x="301425" y="321977"/>
                    <a:pt x="309461" y="211311"/>
                    <a:pt x="310585" y="172665"/>
                  </a:cubicBezTo>
                  <a:cubicBezTo>
                    <a:pt x="312059" y="122171"/>
                    <a:pt x="278411" y="-11281"/>
                    <a:pt x="119408" y="765"/>
                  </a:cubicBezTo>
                  <a:cubicBezTo>
                    <a:pt x="80215" y="3089"/>
                    <a:pt x="-2378" y="27790"/>
                    <a:pt x="52" y="134475"/>
                  </a:cubicBezTo>
                  <a:close/>
                </a:path>
              </a:pathLst>
            </a:custGeom>
            <a:solidFill>
              <a:srgbClr val="30A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D430E0BD-170B-CBE0-CE26-31986FB03AAC}"/>
                </a:ext>
              </a:extLst>
            </p:cNvPr>
            <p:cNvSpPr/>
            <p:nvPr/>
          </p:nvSpPr>
          <p:spPr>
            <a:xfrm>
              <a:off x="7527509" y="2922025"/>
              <a:ext cx="350379" cy="290761"/>
            </a:xfrm>
            <a:custGeom>
              <a:avLst/>
              <a:gdLst>
                <a:gd name="connsiteX0" fmla="*/ 13192 w 326808"/>
                <a:gd name="connsiteY0" fmla="*/ 116605 h 271200"/>
                <a:gd name="connsiteX1" fmla="*/ 143 w 326808"/>
                <a:gd name="connsiteY1" fmla="*/ 132556 h 271200"/>
                <a:gd name="connsiteX2" fmla="*/ 7101 w 326808"/>
                <a:gd name="connsiteY2" fmla="*/ 162148 h 271200"/>
                <a:gd name="connsiteX3" fmla="*/ 52066 w 326808"/>
                <a:gd name="connsiteY3" fmla="*/ 268028 h 271200"/>
                <a:gd name="connsiteX4" fmla="*/ 176221 w 326808"/>
                <a:gd name="connsiteY4" fmla="*/ 208268 h 271200"/>
                <a:gd name="connsiteX5" fmla="*/ 326809 w 326808"/>
                <a:gd name="connsiteY5" fmla="*/ 61432 h 271200"/>
                <a:gd name="connsiteX6" fmla="*/ 210446 w 326808"/>
                <a:gd name="connsiteY6" fmla="*/ 0 h 271200"/>
                <a:gd name="connsiteX7" fmla="*/ 49605 w 326808"/>
                <a:gd name="connsiteY7" fmla="*/ 99637 h 271200"/>
                <a:gd name="connsiteX8" fmla="*/ 13208 w 326808"/>
                <a:gd name="connsiteY8" fmla="*/ 116605 h 2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808" h="271200">
                  <a:moveTo>
                    <a:pt x="13192" y="116605"/>
                  </a:moveTo>
                  <a:cubicBezTo>
                    <a:pt x="13192" y="116605"/>
                    <a:pt x="-1603" y="123852"/>
                    <a:pt x="143" y="132556"/>
                  </a:cubicBezTo>
                  <a:cubicBezTo>
                    <a:pt x="1890" y="141260"/>
                    <a:pt x="7101" y="152274"/>
                    <a:pt x="7101" y="162148"/>
                  </a:cubicBezTo>
                  <a:cubicBezTo>
                    <a:pt x="7101" y="172022"/>
                    <a:pt x="2756" y="256423"/>
                    <a:pt x="52066" y="268028"/>
                  </a:cubicBezTo>
                  <a:cubicBezTo>
                    <a:pt x="101375" y="279634"/>
                    <a:pt x="143150" y="259324"/>
                    <a:pt x="176221" y="208268"/>
                  </a:cubicBezTo>
                  <a:cubicBezTo>
                    <a:pt x="209292" y="157211"/>
                    <a:pt x="254287" y="53305"/>
                    <a:pt x="326809" y="61432"/>
                  </a:cubicBezTo>
                  <a:cubicBezTo>
                    <a:pt x="326809" y="61432"/>
                    <a:pt x="276299" y="9570"/>
                    <a:pt x="210446" y="0"/>
                  </a:cubicBezTo>
                  <a:cubicBezTo>
                    <a:pt x="210446" y="0"/>
                    <a:pt x="137059" y="93986"/>
                    <a:pt x="49605" y="99637"/>
                  </a:cubicBezTo>
                  <a:cubicBezTo>
                    <a:pt x="39169" y="100306"/>
                    <a:pt x="20013" y="110514"/>
                    <a:pt x="13208" y="116605"/>
                  </a:cubicBezTo>
                  <a:close/>
                </a:path>
              </a:pathLst>
            </a:custGeom>
            <a:solidFill>
              <a:srgbClr val="30A6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AF6A2E23-1C3A-6BFE-CA17-0B4B057994C8}"/>
                </a:ext>
              </a:extLst>
            </p:cNvPr>
            <p:cNvSpPr/>
            <p:nvPr/>
          </p:nvSpPr>
          <p:spPr>
            <a:xfrm>
              <a:off x="7541652" y="2922301"/>
              <a:ext cx="213321" cy="133500"/>
            </a:xfrm>
            <a:custGeom>
              <a:avLst/>
              <a:gdLst>
                <a:gd name="connsiteX0" fmla="*/ 0 w 198970"/>
                <a:gd name="connsiteY0" fmla="*/ 116347 h 124519"/>
                <a:gd name="connsiteX1" fmla="*/ 51056 w 198970"/>
                <a:gd name="connsiteY1" fmla="*/ 114175 h 124519"/>
                <a:gd name="connsiteX2" fmla="*/ 151711 w 198970"/>
                <a:gd name="connsiteY2" fmla="*/ 47168 h 124519"/>
                <a:gd name="connsiteX3" fmla="*/ 198970 w 198970"/>
                <a:gd name="connsiteY3" fmla="*/ 0 h 124519"/>
                <a:gd name="connsiteX4" fmla="*/ 149539 w 198970"/>
                <a:gd name="connsiteY4" fmla="*/ 61083 h 124519"/>
                <a:gd name="connsiteX5" fmla="*/ 51208 w 198970"/>
                <a:gd name="connsiteY5" fmla="*/ 121558 h 124519"/>
                <a:gd name="connsiteX6" fmla="*/ 15 w 198970"/>
                <a:gd name="connsiteY6" fmla="*/ 116332 h 124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970" h="124519">
                  <a:moveTo>
                    <a:pt x="0" y="116347"/>
                  </a:moveTo>
                  <a:cubicBezTo>
                    <a:pt x="0" y="116347"/>
                    <a:pt x="19642" y="108053"/>
                    <a:pt x="51056" y="114175"/>
                  </a:cubicBezTo>
                  <a:cubicBezTo>
                    <a:pt x="97905" y="123320"/>
                    <a:pt x="130824" y="85889"/>
                    <a:pt x="151711" y="47168"/>
                  </a:cubicBezTo>
                  <a:cubicBezTo>
                    <a:pt x="172599" y="8446"/>
                    <a:pt x="193304" y="0"/>
                    <a:pt x="198970" y="0"/>
                  </a:cubicBezTo>
                  <a:cubicBezTo>
                    <a:pt x="198970" y="0"/>
                    <a:pt x="165641" y="17135"/>
                    <a:pt x="149539" y="61083"/>
                  </a:cubicBezTo>
                  <a:cubicBezTo>
                    <a:pt x="133437" y="105030"/>
                    <a:pt x="97328" y="134181"/>
                    <a:pt x="51208" y="121558"/>
                  </a:cubicBezTo>
                  <a:cubicBezTo>
                    <a:pt x="40909" y="119233"/>
                    <a:pt x="13216" y="113719"/>
                    <a:pt x="15" y="116332"/>
                  </a:cubicBezTo>
                  <a:close/>
                </a:path>
              </a:pathLst>
            </a:custGeom>
            <a:solidFill>
              <a:srgbClr val="309D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8EEF573F-7549-5B0C-F91E-9559A95330E4}"/>
                </a:ext>
              </a:extLst>
            </p:cNvPr>
            <p:cNvSpPr/>
            <p:nvPr/>
          </p:nvSpPr>
          <p:spPr>
            <a:xfrm>
              <a:off x="7547084" y="2963083"/>
              <a:ext cx="210414" cy="194414"/>
            </a:xfrm>
            <a:custGeom>
              <a:avLst/>
              <a:gdLst>
                <a:gd name="connsiteX0" fmla="*/ 433 w 196259"/>
                <a:gd name="connsiteY0" fmla="*/ 111380 h 181335"/>
                <a:gd name="connsiteX1" fmla="*/ 1421 w 196259"/>
                <a:gd name="connsiteY1" fmla="*/ 121618 h 181335"/>
                <a:gd name="connsiteX2" fmla="*/ 3015 w 196259"/>
                <a:gd name="connsiteY2" fmla="*/ 131720 h 181335"/>
                <a:gd name="connsiteX3" fmla="*/ 8575 w 196259"/>
                <a:gd name="connsiteY3" fmla="*/ 151119 h 181335"/>
                <a:gd name="connsiteX4" fmla="*/ 19027 w 196259"/>
                <a:gd name="connsiteY4" fmla="*/ 167176 h 181335"/>
                <a:gd name="connsiteX5" fmla="*/ 26668 w 196259"/>
                <a:gd name="connsiteY5" fmla="*/ 171840 h 181335"/>
                <a:gd name="connsiteX6" fmla="*/ 28794 w 196259"/>
                <a:gd name="connsiteY6" fmla="*/ 172508 h 181335"/>
                <a:gd name="connsiteX7" fmla="*/ 31088 w 196259"/>
                <a:gd name="connsiteY7" fmla="*/ 173024 h 181335"/>
                <a:gd name="connsiteX8" fmla="*/ 33397 w 196259"/>
                <a:gd name="connsiteY8" fmla="*/ 173389 h 181335"/>
                <a:gd name="connsiteX9" fmla="*/ 35706 w 196259"/>
                <a:gd name="connsiteY9" fmla="*/ 173602 h 181335"/>
                <a:gd name="connsiteX10" fmla="*/ 53829 w 196259"/>
                <a:gd name="connsiteY10" fmla="*/ 170077 h 181335"/>
                <a:gd name="connsiteX11" fmla="*/ 69886 w 196259"/>
                <a:gd name="connsiteY11" fmla="*/ 159565 h 181335"/>
                <a:gd name="connsiteX12" fmla="*/ 77010 w 196259"/>
                <a:gd name="connsiteY12" fmla="*/ 152775 h 181335"/>
                <a:gd name="connsiteX13" fmla="*/ 83588 w 196259"/>
                <a:gd name="connsiteY13" fmla="*/ 145331 h 181335"/>
                <a:gd name="connsiteX14" fmla="*/ 95452 w 196259"/>
                <a:gd name="connsiteY14" fmla="*/ 129183 h 181335"/>
                <a:gd name="connsiteX15" fmla="*/ 105964 w 196259"/>
                <a:gd name="connsiteY15" fmla="*/ 111896 h 181335"/>
                <a:gd name="connsiteX16" fmla="*/ 116492 w 196259"/>
                <a:gd name="connsiteY16" fmla="*/ 94092 h 181335"/>
                <a:gd name="connsiteX17" fmla="*/ 139248 w 196259"/>
                <a:gd name="connsiteY17" fmla="*/ 59518 h 181335"/>
                <a:gd name="connsiteX18" fmla="*/ 164981 w 196259"/>
                <a:gd name="connsiteY18" fmla="*/ 27025 h 181335"/>
                <a:gd name="connsiteX19" fmla="*/ 179579 w 196259"/>
                <a:gd name="connsiteY19" fmla="*/ 12259 h 181335"/>
                <a:gd name="connsiteX20" fmla="*/ 196259 w 196259"/>
                <a:gd name="connsiteY20" fmla="*/ 0 h 181335"/>
                <a:gd name="connsiteX21" fmla="*/ 192294 w 196259"/>
                <a:gd name="connsiteY21" fmla="*/ 3296 h 181335"/>
                <a:gd name="connsiteX22" fmla="*/ 191307 w 196259"/>
                <a:gd name="connsiteY22" fmla="*/ 4117 h 181335"/>
                <a:gd name="connsiteX23" fmla="*/ 190380 w 196259"/>
                <a:gd name="connsiteY23" fmla="*/ 5013 h 181335"/>
                <a:gd name="connsiteX24" fmla="*/ 188542 w 196259"/>
                <a:gd name="connsiteY24" fmla="*/ 6790 h 181335"/>
                <a:gd name="connsiteX25" fmla="*/ 186689 w 196259"/>
                <a:gd name="connsiteY25" fmla="*/ 8552 h 181335"/>
                <a:gd name="connsiteX26" fmla="*/ 184926 w 196259"/>
                <a:gd name="connsiteY26" fmla="*/ 10406 h 181335"/>
                <a:gd name="connsiteX27" fmla="*/ 181448 w 196259"/>
                <a:gd name="connsiteY27" fmla="*/ 14143 h 181335"/>
                <a:gd name="connsiteX28" fmla="*/ 178121 w 196259"/>
                <a:gd name="connsiteY28" fmla="*/ 18032 h 181335"/>
                <a:gd name="connsiteX29" fmla="*/ 174855 w 196259"/>
                <a:gd name="connsiteY29" fmla="*/ 21951 h 181335"/>
                <a:gd name="connsiteX30" fmla="*/ 168596 w 196259"/>
                <a:gd name="connsiteY30" fmla="*/ 30032 h 181335"/>
                <a:gd name="connsiteX31" fmla="*/ 165528 w 196259"/>
                <a:gd name="connsiteY31" fmla="*/ 34104 h 181335"/>
                <a:gd name="connsiteX32" fmla="*/ 162550 w 196259"/>
                <a:gd name="connsiteY32" fmla="*/ 38251 h 181335"/>
                <a:gd name="connsiteX33" fmla="*/ 159588 w 196259"/>
                <a:gd name="connsiteY33" fmla="*/ 42413 h 181335"/>
                <a:gd name="connsiteX34" fmla="*/ 156717 w 196259"/>
                <a:gd name="connsiteY34" fmla="*/ 46651 h 181335"/>
                <a:gd name="connsiteX35" fmla="*/ 151036 w 196259"/>
                <a:gd name="connsiteY35" fmla="*/ 55158 h 181335"/>
                <a:gd name="connsiteX36" fmla="*/ 145491 w 196259"/>
                <a:gd name="connsiteY36" fmla="*/ 63741 h 181335"/>
                <a:gd name="connsiteX37" fmla="*/ 124300 w 196259"/>
                <a:gd name="connsiteY37" fmla="*/ 98756 h 181335"/>
                <a:gd name="connsiteX38" fmla="*/ 114213 w 196259"/>
                <a:gd name="connsiteY38" fmla="*/ 116560 h 181335"/>
                <a:gd name="connsiteX39" fmla="*/ 103443 w 196259"/>
                <a:gd name="connsiteY39" fmla="*/ 134485 h 181335"/>
                <a:gd name="connsiteX40" fmla="*/ 75734 w 196259"/>
                <a:gd name="connsiteY40" fmla="*/ 166508 h 181335"/>
                <a:gd name="connsiteX41" fmla="*/ 66924 w 196259"/>
                <a:gd name="connsiteY41" fmla="*/ 172857 h 181335"/>
                <a:gd name="connsiteX42" fmla="*/ 57095 w 196259"/>
                <a:gd name="connsiteY42" fmla="*/ 177840 h 181335"/>
                <a:gd name="connsiteX43" fmla="*/ 46325 w 196259"/>
                <a:gd name="connsiteY43" fmla="*/ 180832 h 181335"/>
                <a:gd name="connsiteX44" fmla="*/ 35053 w 196259"/>
                <a:gd name="connsiteY44" fmla="*/ 181076 h 181335"/>
                <a:gd name="connsiteX45" fmla="*/ 32258 w 196259"/>
                <a:gd name="connsiteY45" fmla="*/ 180665 h 181335"/>
                <a:gd name="connsiteX46" fmla="*/ 29508 w 196259"/>
                <a:gd name="connsiteY46" fmla="*/ 180058 h 181335"/>
                <a:gd name="connsiteX47" fmla="*/ 26820 w 196259"/>
                <a:gd name="connsiteY47" fmla="*/ 179283 h 181335"/>
                <a:gd name="connsiteX48" fmla="*/ 24100 w 196259"/>
                <a:gd name="connsiteY48" fmla="*/ 178250 h 181335"/>
                <a:gd name="connsiteX49" fmla="*/ 14682 w 196259"/>
                <a:gd name="connsiteY49" fmla="*/ 171657 h 181335"/>
                <a:gd name="connsiteX50" fmla="*/ 8272 w 196259"/>
                <a:gd name="connsiteY50" fmla="*/ 162634 h 181335"/>
                <a:gd name="connsiteX51" fmla="*/ 4185 w 196259"/>
                <a:gd name="connsiteY51" fmla="*/ 152714 h 181335"/>
                <a:gd name="connsiteX52" fmla="*/ 418 w 196259"/>
                <a:gd name="connsiteY52" fmla="*/ 132100 h 181335"/>
                <a:gd name="connsiteX53" fmla="*/ 448 w 196259"/>
                <a:gd name="connsiteY53" fmla="*/ 111410 h 18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6259" h="181335">
                  <a:moveTo>
                    <a:pt x="433" y="111380"/>
                  </a:moveTo>
                  <a:cubicBezTo>
                    <a:pt x="646" y="114813"/>
                    <a:pt x="965" y="118231"/>
                    <a:pt x="1421" y="121618"/>
                  </a:cubicBezTo>
                  <a:cubicBezTo>
                    <a:pt x="1846" y="125006"/>
                    <a:pt x="2362" y="128378"/>
                    <a:pt x="3015" y="131720"/>
                  </a:cubicBezTo>
                  <a:cubicBezTo>
                    <a:pt x="4337" y="138389"/>
                    <a:pt x="6038" y="144967"/>
                    <a:pt x="8575" y="151119"/>
                  </a:cubicBezTo>
                  <a:cubicBezTo>
                    <a:pt x="11067" y="157241"/>
                    <a:pt x="14424" y="163044"/>
                    <a:pt x="19027" y="167176"/>
                  </a:cubicBezTo>
                  <a:cubicBezTo>
                    <a:pt x="21320" y="169227"/>
                    <a:pt x="23888" y="170822"/>
                    <a:pt x="26668" y="171840"/>
                  </a:cubicBezTo>
                  <a:cubicBezTo>
                    <a:pt x="27382" y="172052"/>
                    <a:pt x="28035" y="172326"/>
                    <a:pt x="28794" y="172508"/>
                  </a:cubicBezTo>
                  <a:cubicBezTo>
                    <a:pt x="29554" y="172675"/>
                    <a:pt x="30313" y="172872"/>
                    <a:pt x="31088" y="173024"/>
                  </a:cubicBezTo>
                  <a:lnTo>
                    <a:pt x="33397" y="173389"/>
                  </a:lnTo>
                  <a:lnTo>
                    <a:pt x="35706" y="173602"/>
                  </a:lnTo>
                  <a:cubicBezTo>
                    <a:pt x="41904" y="173981"/>
                    <a:pt x="48072" y="172630"/>
                    <a:pt x="53829" y="170077"/>
                  </a:cubicBezTo>
                  <a:cubicBezTo>
                    <a:pt x="59601" y="167525"/>
                    <a:pt x="64949" y="163819"/>
                    <a:pt x="69886" y="159565"/>
                  </a:cubicBezTo>
                  <a:cubicBezTo>
                    <a:pt x="72347" y="157423"/>
                    <a:pt x="74717" y="155145"/>
                    <a:pt x="77010" y="152775"/>
                  </a:cubicBezTo>
                  <a:cubicBezTo>
                    <a:pt x="79274" y="150375"/>
                    <a:pt x="81477" y="147914"/>
                    <a:pt x="83588" y="145331"/>
                  </a:cubicBezTo>
                  <a:cubicBezTo>
                    <a:pt x="87826" y="140212"/>
                    <a:pt x="91746" y="134789"/>
                    <a:pt x="95452" y="129183"/>
                  </a:cubicBezTo>
                  <a:cubicBezTo>
                    <a:pt x="99189" y="123593"/>
                    <a:pt x="102592" y="117836"/>
                    <a:pt x="105964" y="111896"/>
                  </a:cubicBezTo>
                  <a:cubicBezTo>
                    <a:pt x="109412" y="105926"/>
                    <a:pt x="112876" y="99956"/>
                    <a:pt x="116492" y="94092"/>
                  </a:cubicBezTo>
                  <a:cubicBezTo>
                    <a:pt x="123692" y="82335"/>
                    <a:pt x="131227" y="70759"/>
                    <a:pt x="139248" y="59518"/>
                  </a:cubicBezTo>
                  <a:cubicBezTo>
                    <a:pt x="147253" y="48262"/>
                    <a:pt x="155775" y="37354"/>
                    <a:pt x="164981" y="27025"/>
                  </a:cubicBezTo>
                  <a:cubicBezTo>
                    <a:pt x="169599" y="21875"/>
                    <a:pt x="174475" y="16938"/>
                    <a:pt x="179579" y="12259"/>
                  </a:cubicBezTo>
                  <a:cubicBezTo>
                    <a:pt x="184790" y="7702"/>
                    <a:pt x="190243" y="3357"/>
                    <a:pt x="196259" y="0"/>
                  </a:cubicBezTo>
                  <a:lnTo>
                    <a:pt x="192294" y="3296"/>
                  </a:lnTo>
                  <a:cubicBezTo>
                    <a:pt x="191960" y="3570"/>
                    <a:pt x="191626" y="3828"/>
                    <a:pt x="191307" y="4117"/>
                  </a:cubicBezTo>
                  <a:lnTo>
                    <a:pt x="190380" y="5013"/>
                  </a:lnTo>
                  <a:lnTo>
                    <a:pt x="188542" y="6790"/>
                  </a:lnTo>
                  <a:lnTo>
                    <a:pt x="186689" y="8552"/>
                  </a:lnTo>
                  <a:cubicBezTo>
                    <a:pt x="186066" y="9130"/>
                    <a:pt x="185519" y="9798"/>
                    <a:pt x="184926" y="10406"/>
                  </a:cubicBezTo>
                  <a:lnTo>
                    <a:pt x="181448" y="14143"/>
                  </a:lnTo>
                  <a:lnTo>
                    <a:pt x="178121" y="18032"/>
                  </a:lnTo>
                  <a:cubicBezTo>
                    <a:pt x="177012" y="19323"/>
                    <a:pt x="175888" y="20599"/>
                    <a:pt x="174855" y="21951"/>
                  </a:cubicBezTo>
                  <a:cubicBezTo>
                    <a:pt x="172743" y="24624"/>
                    <a:pt x="170586" y="27252"/>
                    <a:pt x="168596" y="30032"/>
                  </a:cubicBezTo>
                  <a:lnTo>
                    <a:pt x="165528" y="34104"/>
                  </a:lnTo>
                  <a:lnTo>
                    <a:pt x="162550" y="38251"/>
                  </a:lnTo>
                  <a:lnTo>
                    <a:pt x="159588" y="42413"/>
                  </a:lnTo>
                  <a:lnTo>
                    <a:pt x="156717" y="46651"/>
                  </a:lnTo>
                  <a:cubicBezTo>
                    <a:pt x="154788" y="49462"/>
                    <a:pt x="152904" y="52302"/>
                    <a:pt x="151036" y="55158"/>
                  </a:cubicBezTo>
                  <a:cubicBezTo>
                    <a:pt x="149137" y="57984"/>
                    <a:pt x="147329" y="60885"/>
                    <a:pt x="145491" y="63741"/>
                  </a:cubicBezTo>
                  <a:cubicBezTo>
                    <a:pt x="138184" y="75256"/>
                    <a:pt x="131120" y="86938"/>
                    <a:pt x="124300" y="98756"/>
                  </a:cubicBezTo>
                  <a:cubicBezTo>
                    <a:pt x="120882" y="104665"/>
                    <a:pt x="117509" y="110590"/>
                    <a:pt x="114213" y="116560"/>
                  </a:cubicBezTo>
                  <a:cubicBezTo>
                    <a:pt x="110856" y="122575"/>
                    <a:pt x="107316" y="128667"/>
                    <a:pt x="103443" y="134485"/>
                  </a:cubicBezTo>
                  <a:cubicBezTo>
                    <a:pt x="95665" y="146121"/>
                    <a:pt x="86854" y="157317"/>
                    <a:pt x="75734" y="166508"/>
                  </a:cubicBezTo>
                  <a:cubicBezTo>
                    <a:pt x="72939" y="168771"/>
                    <a:pt x="70007" y="170913"/>
                    <a:pt x="66924" y="172857"/>
                  </a:cubicBezTo>
                  <a:cubicBezTo>
                    <a:pt x="63840" y="174802"/>
                    <a:pt x="60543" y="176473"/>
                    <a:pt x="57095" y="177840"/>
                  </a:cubicBezTo>
                  <a:cubicBezTo>
                    <a:pt x="53647" y="179207"/>
                    <a:pt x="50047" y="180270"/>
                    <a:pt x="46325" y="180832"/>
                  </a:cubicBezTo>
                  <a:cubicBezTo>
                    <a:pt x="42603" y="181395"/>
                    <a:pt x="38805" y="181501"/>
                    <a:pt x="35053" y="181076"/>
                  </a:cubicBezTo>
                  <a:lnTo>
                    <a:pt x="32258" y="180665"/>
                  </a:lnTo>
                  <a:lnTo>
                    <a:pt x="29508" y="180058"/>
                  </a:lnTo>
                  <a:cubicBezTo>
                    <a:pt x="28597" y="179815"/>
                    <a:pt x="27716" y="179541"/>
                    <a:pt x="26820" y="179283"/>
                  </a:cubicBezTo>
                  <a:cubicBezTo>
                    <a:pt x="25923" y="179010"/>
                    <a:pt x="24996" y="178599"/>
                    <a:pt x="24100" y="178250"/>
                  </a:cubicBezTo>
                  <a:cubicBezTo>
                    <a:pt x="20500" y="176701"/>
                    <a:pt x="17295" y="174392"/>
                    <a:pt x="14682" y="171657"/>
                  </a:cubicBezTo>
                  <a:cubicBezTo>
                    <a:pt x="12054" y="168923"/>
                    <a:pt x="9973" y="165839"/>
                    <a:pt x="8272" y="162634"/>
                  </a:cubicBezTo>
                  <a:cubicBezTo>
                    <a:pt x="6585" y="159413"/>
                    <a:pt x="5218" y="156102"/>
                    <a:pt x="4185" y="152714"/>
                  </a:cubicBezTo>
                  <a:cubicBezTo>
                    <a:pt x="2150" y="145924"/>
                    <a:pt x="965" y="139012"/>
                    <a:pt x="418" y="132100"/>
                  </a:cubicBezTo>
                  <a:cubicBezTo>
                    <a:pt x="-114" y="125188"/>
                    <a:pt x="-175" y="118261"/>
                    <a:pt x="448" y="111410"/>
                  </a:cubicBezTo>
                  <a:close/>
                </a:path>
              </a:pathLst>
            </a:custGeom>
            <a:solidFill>
              <a:srgbClr val="309D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BBE4631E-0980-80BF-F55B-DF5620998085}"/>
                </a:ext>
              </a:extLst>
            </p:cNvPr>
            <p:cNvSpPr/>
            <p:nvPr/>
          </p:nvSpPr>
          <p:spPr>
            <a:xfrm>
              <a:off x="7601669" y="2993865"/>
              <a:ext cx="163256" cy="197015"/>
            </a:xfrm>
            <a:custGeom>
              <a:avLst/>
              <a:gdLst>
                <a:gd name="connsiteX0" fmla="*/ 0 w 152273"/>
                <a:gd name="connsiteY0" fmla="*/ 181866 h 183761"/>
                <a:gd name="connsiteX1" fmla="*/ 7839 w 152273"/>
                <a:gd name="connsiteY1" fmla="*/ 181987 h 183761"/>
                <a:gd name="connsiteX2" fmla="*/ 15540 w 152273"/>
                <a:gd name="connsiteY2" fmla="*/ 181091 h 183761"/>
                <a:gd name="connsiteX3" fmla="*/ 23014 w 152273"/>
                <a:gd name="connsiteY3" fmla="*/ 179314 h 183761"/>
                <a:gd name="connsiteX4" fmla="*/ 26645 w 152273"/>
                <a:gd name="connsiteY4" fmla="*/ 178098 h 183761"/>
                <a:gd name="connsiteX5" fmla="*/ 28422 w 152273"/>
                <a:gd name="connsiteY5" fmla="*/ 177430 h 183761"/>
                <a:gd name="connsiteX6" fmla="*/ 30169 w 152273"/>
                <a:gd name="connsiteY6" fmla="*/ 176686 h 183761"/>
                <a:gd name="connsiteX7" fmla="*/ 54490 w 152273"/>
                <a:gd name="connsiteY7" fmla="*/ 159201 h 183761"/>
                <a:gd name="connsiteX8" fmla="*/ 71489 w 152273"/>
                <a:gd name="connsiteY8" fmla="*/ 134288 h 183761"/>
                <a:gd name="connsiteX9" fmla="*/ 73190 w 152273"/>
                <a:gd name="connsiteY9" fmla="*/ 130885 h 183761"/>
                <a:gd name="connsiteX10" fmla="*/ 74770 w 152273"/>
                <a:gd name="connsiteY10" fmla="*/ 127406 h 183761"/>
                <a:gd name="connsiteX11" fmla="*/ 77899 w 152273"/>
                <a:gd name="connsiteY11" fmla="*/ 120266 h 183761"/>
                <a:gd name="connsiteX12" fmla="*/ 84279 w 152273"/>
                <a:gd name="connsiteY12" fmla="*/ 105835 h 183761"/>
                <a:gd name="connsiteX13" fmla="*/ 90872 w 152273"/>
                <a:gd name="connsiteY13" fmla="*/ 91495 h 183761"/>
                <a:gd name="connsiteX14" fmla="*/ 94290 w 152273"/>
                <a:gd name="connsiteY14" fmla="*/ 84370 h 183761"/>
                <a:gd name="connsiteX15" fmla="*/ 97754 w 152273"/>
                <a:gd name="connsiteY15" fmla="*/ 77261 h 183761"/>
                <a:gd name="connsiteX16" fmla="*/ 101308 w 152273"/>
                <a:gd name="connsiteY16" fmla="*/ 70197 h 183761"/>
                <a:gd name="connsiteX17" fmla="*/ 104985 w 152273"/>
                <a:gd name="connsiteY17" fmla="*/ 63179 h 183761"/>
                <a:gd name="connsiteX18" fmla="*/ 108752 w 152273"/>
                <a:gd name="connsiteY18" fmla="*/ 56206 h 183761"/>
                <a:gd name="connsiteX19" fmla="*/ 112656 w 152273"/>
                <a:gd name="connsiteY19" fmla="*/ 49310 h 183761"/>
                <a:gd name="connsiteX20" fmla="*/ 130080 w 152273"/>
                <a:gd name="connsiteY20" fmla="*/ 22695 h 183761"/>
                <a:gd name="connsiteX21" fmla="*/ 152274 w 152273"/>
                <a:gd name="connsiteY21" fmla="*/ 0 h 183761"/>
                <a:gd name="connsiteX22" fmla="*/ 133984 w 152273"/>
                <a:gd name="connsiteY22" fmla="*/ 25323 h 183761"/>
                <a:gd name="connsiteX23" fmla="*/ 119309 w 152273"/>
                <a:gd name="connsiteY23" fmla="*/ 52849 h 183761"/>
                <a:gd name="connsiteX24" fmla="*/ 105957 w 152273"/>
                <a:gd name="connsiteY24" fmla="*/ 81165 h 183761"/>
                <a:gd name="connsiteX25" fmla="*/ 93014 w 152273"/>
                <a:gd name="connsiteY25" fmla="*/ 109754 h 183761"/>
                <a:gd name="connsiteX26" fmla="*/ 86543 w 152273"/>
                <a:gd name="connsiteY26" fmla="*/ 124079 h 183761"/>
                <a:gd name="connsiteX27" fmla="*/ 83201 w 152273"/>
                <a:gd name="connsiteY27" fmla="*/ 131280 h 183761"/>
                <a:gd name="connsiteX28" fmla="*/ 81439 w 152273"/>
                <a:gd name="connsiteY28" fmla="*/ 134941 h 183761"/>
                <a:gd name="connsiteX29" fmla="*/ 79509 w 152273"/>
                <a:gd name="connsiteY29" fmla="*/ 138526 h 183761"/>
                <a:gd name="connsiteX30" fmla="*/ 75377 w 152273"/>
                <a:gd name="connsiteY30" fmla="*/ 145544 h 183761"/>
                <a:gd name="connsiteX31" fmla="*/ 73099 w 152273"/>
                <a:gd name="connsiteY31" fmla="*/ 148932 h 183761"/>
                <a:gd name="connsiteX32" fmla="*/ 70714 w 152273"/>
                <a:gd name="connsiteY32" fmla="*/ 152259 h 183761"/>
                <a:gd name="connsiteX33" fmla="*/ 59807 w 152273"/>
                <a:gd name="connsiteY33" fmla="*/ 164502 h 183761"/>
                <a:gd name="connsiteX34" fmla="*/ 46727 w 152273"/>
                <a:gd name="connsiteY34" fmla="*/ 174437 h 183761"/>
                <a:gd name="connsiteX35" fmla="*/ 31780 w 152273"/>
                <a:gd name="connsiteY35" fmla="*/ 181076 h 183761"/>
                <a:gd name="connsiteX36" fmla="*/ 15814 w 152273"/>
                <a:gd name="connsiteY36" fmla="*/ 183734 h 183761"/>
                <a:gd name="connsiteX37" fmla="*/ 0 w 152273"/>
                <a:gd name="connsiteY37" fmla="*/ 181896 h 18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273" h="183761">
                  <a:moveTo>
                    <a:pt x="0" y="181866"/>
                  </a:moveTo>
                  <a:cubicBezTo>
                    <a:pt x="2628" y="182139"/>
                    <a:pt x="5241" y="182139"/>
                    <a:pt x="7839" y="181987"/>
                  </a:cubicBezTo>
                  <a:cubicBezTo>
                    <a:pt x="10436" y="181850"/>
                    <a:pt x="13004" y="181547"/>
                    <a:pt x="15540" y="181091"/>
                  </a:cubicBezTo>
                  <a:cubicBezTo>
                    <a:pt x="18077" y="180635"/>
                    <a:pt x="20569" y="180027"/>
                    <a:pt x="23014" y="179314"/>
                  </a:cubicBezTo>
                  <a:cubicBezTo>
                    <a:pt x="24229" y="178919"/>
                    <a:pt x="25445" y="178569"/>
                    <a:pt x="26645" y="178098"/>
                  </a:cubicBezTo>
                  <a:cubicBezTo>
                    <a:pt x="27238" y="177870"/>
                    <a:pt x="27845" y="177658"/>
                    <a:pt x="28422" y="177430"/>
                  </a:cubicBezTo>
                  <a:lnTo>
                    <a:pt x="30169" y="176686"/>
                  </a:lnTo>
                  <a:cubicBezTo>
                    <a:pt x="39496" y="172690"/>
                    <a:pt x="47700" y="166568"/>
                    <a:pt x="54490" y="159201"/>
                  </a:cubicBezTo>
                  <a:cubicBezTo>
                    <a:pt x="61326" y="151848"/>
                    <a:pt x="66931" y="143357"/>
                    <a:pt x="71489" y="134288"/>
                  </a:cubicBezTo>
                  <a:lnTo>
                    <a:pt x="73190" y="130885"/>
                  </a:lnTo>
                  <a:lnTo>
                    <a:pt x="74770" y="127406"/>
                  </a:lnTo>
                  <a:cubicBezTo>
                    <a:pt x="75833" y="125143"/>
                    <a:pt x="76866" y="122667"/>
                    <a:pt x="77899" y="120266"/>
                  </a:cubicBezTo>
                  <a:cubicBezTo>
                    <a:pt x="79996" y="115451"/>
                    <a:pt x="82122" y="110636"/>
                    <a:pt x="84279" y="105835"/>
                  </a:cubicBezTo>
                  <a:cubicBezTo>
                    <a:pt x="86436" y="101035"/>
                    <a:pt x="88670" y="96265"/>
                    <a:pt x="90872" y="91495"/>
                  </a:cubicBezTo>
                  <a:lnTo>
                    <a:pt x="94290" y="84370"/>
                  </a:lnTo>
                  <a:cubicBezTo>
                    <a:pt x="95445" y="82001"/>
                    <a:pt x="96554" y="79616"/>
                    <a:pt x="97754" y="77261"/>
                  </a:cubicBezTo>
                  <a:lnTo>
                    <a:pt x="101308" y="70197"/>
                  </a:lnTo>
                  <a:lnTo>
                    <a:pt x="104985" y="63179"/>
                  </a:lnTo>
                  <a:cubicBezTo>
                    <a:pt x="106200" y="60840"/>
                    <a:pt x="107491" y="58531"/>
                    <a:pt x="108752" y="56206"/>
                  </a:cubicBezTo>
                  <a:cubicBezTo>
                    <a:pt x="110028" y="53897"/>
                    <a:pt x="111319" y="51588"/>
                    <a:pt x="112656" y="49310"/>
                  </a:cubicBezTo>
                  <a:cubicBezTo>
                    <a:pt x="117973" y="40165"/>
                    <a:pt x="123639" y="31157"/>
                    <a:pt x="130080" y="22695"/>
                  </a:cubicBezTo>
                  <a:cubicBezTo>
                    <a:pt x="136566" y="14295"/>
                    <a:pt x="143752" y="6259"/>
                    <a:pt x="152274" y="0"/>
                  </a:cubicBezTo>
                  <a:cubicBezTo>
                    <a:pt x="145195" y="7823"/>
                    <a:pt x="139255" y="16376"/>
                    <a:pt x="133984" y="25323"/>
                  </a:cubicBezTo>
                  <a:cubicBezTo>
                    <a:pt x="128682" y="34256"/>
                    <a:pt x="123897" y="43507"/>
                    <a:pt x="119309" y="52849"/>
                  </a:cubicBezTo>
                  <a:cubicBezTo>
                    <a:pt x="114737" y="62207"/>
                    <a:pt x="110271" y="71640"/>
                    <a:pt x="105957" y="81165"/>
                  </a:cubicBezTo>
                  <a:cubicBezTo>
                    <a:pt x="101612" y="90675"/>
                    <a:pt x="97298" y="100199"/>
                    <a:pt x="93014" y="109754"/>
                  </a:cubicBezTo>
                  <a:lnTo>
                    <a:pt x="86543" y="124079"/>
                  </a:lnTo>
                  <a:cubicBezTo>
                    <a:pt x="85449" y="126464"/>
                    <a:pt x="84401" y="128819"/>
                    <a:pt x="83201" y="131280"/>
                  </a:cubicBezTo>
                  <a:lnTo>
                    <a:pt x="81439" y="134941"/>
                  </a:lnTo>
                  <a:cubicBezTo>
                    <a:pt x="80816" y="136141"/>
                    <a:pt x="80147" y="137326"/>
                    <a:pt x="79509" y="138526"/>
                  </a:cubicBezTo>
                  <a:cubicBezTo>
                    <a:pt x="78264" y="140926"/>
                    <a:pt x="76775" y="143220"/>
                    <a:pt x="75377" y="145544"/>
                  </a:cubicBezTo>
                  <a:cubicBezTo>
                    <a:pt x="74679" y="146714"/>
                    <a:pt x="73858" y="147808"/>
                    <a:pt x="73099" y="148932"/>
                  </a:cubicBezTo>
                  <a:cubicBezTo>
                    <a:pt x="72324" y="150056"/>
                    <a:pt x="71565" y="151180"/>
                    <a:pt x="70714" y="152259"/>
                  </a:cubicBezTo>
                  <a:cubicBezTo>
                    <a:pt x="67508" y="156664"/>
                    <a:pt x="63771" y="160720"/>
                    <a:pt x="59807" y="164502"/>
                  </a:cubicBezTo>
                  <a:cubicBezTo>
                    <a:pt x="55811" y="168255"/>
                    <a:pt x="51452" y="171627"/>
                    <a:pt x="46727" y="174437"/>
                  </a:cubicBezTo>
                  <a:cubicBezTo>
                    <a:pt x="42018" y="177263"/>
                    <a:pt x="36990" y="179496"/>
                    <a:pt x="31780" y="181076"/>
                  </a:cubicBezTo>
                  <a:cubicBezTo>
                    <a:pt x="26554" y="182610"/>
                    <a:pt x="21191" y="183582"/>
                    <a:pt x="15814" y="183734"/>
                  </a:cubicBezTo>
                  <a:cubicBezTo>
                    <a:pt x="10452" y="183886"/>
                    <a:pt x="5059" y="183430"/>
                    <a:pt x="0" y="181896"/>
                  </a:cubicBezTo>
                  <a:close/>
                </a:path>
              </a:pathLst>
            </a:custGeom>
            <a:solidFill>
              <a:srgbClr val="309D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F1C5F702-EBC5-EDEE-02CE-A3FA98B3AB83}"/>
                </a:ext>
              </a:extLst>
            </p:cNvPr>
            <p:cNvSpPr/>
            <p:nvPr/>
          </p:nvSpPr>
          <p:spPr>
            <a:xfrm>
              <a:off x="7278603" y="3918547"/>
              <a:ext cx="380187" cy="183251"/>
            </a:xfrm>
            <a:custGeom>
              <a:avLst/>
              <a:gdLst>
                <a:gd name="connsiteX0" fmla="*/ 4973 w 354610"/>
                <a:gd name="connsiteY0" fmla="*/ 8556 h 170923"/>
                <a:gd name="connsiteX1" fmla="*/ 5 w 354610"/>
                <a:gd name="connsiteY1" fmla="*/ 148494 h 170923"/>
                <a:gd name="connsiteX2" fmla="*/ 8527 w 354610"/>
                <a:gd name="connsiteY2" fmla="*/ 157685 h 170923"/>
                <a:gd name="connsiteX3" fmla="*/ 345386 w 354610"/>
                <a:gd name="connsiteY3" fmla="*/ 170916 h 170923"/>
                <a:gd name="connsiteX4" fmla="*/ 354439 w 354610"/>
                <a:gd name="connsiteY4" fmla="*/ 160328 h 170923"/>
                <a:gd name="connsiteX5" fmla="*/ 328038 w 354610"/>
                <a:gd name="connsiteY5" fmla="*/ 26694 h 170923"/>
                <a:gd name="connsiteX6" fmla="*/ 319895 w 354610"/>
                <a:gd name="connsiteY6" fmla="*/ 19554 h 170923"/>
                <a:gd name="connsiteX7" fmla="*/ 14406 w 354610"/>
                <a:gd name="connsiteY7" fmla="*/ 18 h 170923"/>
                <a:gd name="connsiteX8" fmla="*/ 4973 w 354610"/>
                <a:gd name="connsiteY8" fmla="*/ 8556 h 17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610" h="170923">
                  <a:moveTo>
                    <a:pt x="4973" y="8556"/>
                  </a:moveTo>
                  <a:lnTo>
                    <a:pt x="5" y="148494"/>
                  </a:lnTo>
                  <a:cubicBezTo>
                    <a:pt x="-162" y="153386"/>
                    <a:pt x="3636" y="157488"/>
                    <a:pt x="8527" y="157685"/>
                  </a:cubicBezTo>
                  <a:lnTo>
                    <a:pt x="345386" y="170916"/>
                  </a:lnTo>
                  <a:cubicBezTo>
                    <a:pt x="351113" y="171144"/>
                    <a:pt x="355548" y="165949"/>
                    <a:pt x="354439" y="160328"/>
                  </a:cubicBezTo>
                  <a:lnTo>
                    <a:pt x="328038" y="26694"/>
                  </a:lnTo>
                  <a:cubicBezTo>
                    <a:pt x="327263" y="22744"/>
                    <a:pt x="323921" y="19812"/>
                    <a:pt x="319895" y="19554"/>
                  </a:cubicBezTo>
                  <a:lnTo>
                    <a:pt x="14406" y="18"/>
                  </a:lnTo>
                  <a:cubicBezTo>
                    <a:pt x="9408" y="-301"/>
                    <a:pt x="5140" y="3558"/>
                    <a:pt x="4973" y="8556"/>
                  </a:cubicBezTo>
                  <a:close/>
                </a:path>
              </a:pathLst>
            </a:custGeom>
            <a:solidFill>
              <a:srgbClr val="35123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E83FE47E-C96D-B79E-132B-896B99D8F9C8}"/>
                </a:ext>
              </a:extLst>
            </p:cNvPr>
            <p:cNvSpPr/>
            <p:nvPr/>
          </p:nvSpPr>
          <p:spPr>
            <a:xfrm>
              <a:off x="7286599" y="3927390"/>
              <a:ext cx="360822" cy="165059"/>
            </a:xfrm>
            <a:custGeom>
              <a:avLst/>
              <a:gdLst>
                <a:gd name="connsiteX0" fmla="*/ 4897 w 336548"/>
                <a:gd name="connsiteY0" fmla="*/ 8556 h 153955"/>
                <a:gd name="connsiteX1" fmla="*/ 5 w 336548"/>
                <a:gd name="connsiteY1" fmla="*/ 130903 h 153955"/>
                <a:gd name="connsiteX2" fmla="*/ 8528 w 336548"/>
                <a:gd name="connsiteY2" fmla="*/ 140094 h 153955"/>
                <a:gd name="connsiteX3" fmla="*/ 327324 w 336548"/>
                <a:gd name="connsiteY3" fmla="*/ 153948 h 153955"/>
                <a:gd name="connsiteX4" fmla="*/ 336378 w 336548"/>
                <a:gd name="connsiteY4" fmla="*/ 143360 h 153955"/>
                <a:gd name="connsiteX5" fmla="*/ 309900 w 336548"/>
                <a:gd name="connsiteY5" fmla="*/ 27316 h 153955"/>
                <a:gd name="connsiteX6" fmla="*/ 301757 w 336548"/>
                <a:gd name="connsiteY6" fmla="*/ 20177 h 153955"/>
                <a:gd name="connsiteX7" fmla="*/ 14330 w 336548"/>
                <a:gd name="connsiteY7" fmla="*/ 18 h 153955"/>
                <a:gd name="connsiteX8" fmla="*/ 4897 w 336548"/>
                <a:gd name="connsiteY8" fmla="*/ 8556 h 1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548" h="153955">
                  <a:moveTo>
                    <a:pt x="4897" y="8556"/>
                  </a:moveTo>
                  <a:lnTo>
                    <a:pt x="5" y="130903"/>
                  </a:lnTo>
                  <a:cubicBezTo>
                    <a:pt x="-162" y="135795"/>
                    <a:pt x="3636" y="139896"/>
                    <a:pt x="8528" y="140094"/>
                  </a:cubicBezTo>
                  <a:lnTo>
                    <a:pt x="327324" y="153948"/>
                  </a:lnTo>
                  <a:cubicBezTo>
                    <a:pt x="333051" y="154176"/>
                    <a:pt x="337486" y="148980"/>
                    <a:pt x="336378" y="143360"/>
                  </a:cubicBezTo>
                  <a:lnTo>
                    <a:pt x="309900" y="27316"/>
                  </a:lnTo>
                  <a:cubicBezTo>
                    <a:pt x="309125" y="23367"/>
                    <a:pt x="305783" y="20435"/>
                    <a:pt x="301757" y="20177"/>
                  </a:cubicBezTo>
                  <a:lnTo>
                    <a:pt x="14330" y="18"/>
                  </a:lnTo>
                  <a:cubicBezTo>
                    <a:pt x="9332" y="-301"/>
                    <a:pt x="5064" y="3558"/>
                    <a:pt x="4897" y="8556"/>
                  </a:cubicBezTo>
                  <a:close/>
                </a:path>
              </a:pathLst>
            </a:custGeom>
            <a:solidFill>
              <a:srgbClr val="EFF3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B6EF57B7-23C1-9186-CEF9-EF5F08355CED}"/>
                </a:ext>
              </a:extLst>
            </p:cNvPr>
            <p:cNvSpPr/>
            <p:nvPr/>
          </p:nvSpPr>
          <p:spPr>
            <a:xfrm>
              <a:off x="7542538" y="3809783"/>
              <a:ext cx="171550" cy="105375"/>
            </a:xfrm>
            <a:custGeom>
              <a:avLst/>
              <a:gdLst>
                <a:gd name="connsiteX0" fmla="*/ 2623 w 160009"/>
                <a:gd name="connsiteY0" fmla="*/ 14360 h 98286"/>
                <a:gd name="connsiteX1" fmla="*/ 13682 w 160009"/>
                <a:gd name="connsiteY1" fmla="*/ 52580 h 98286"/>
                <a:gd name="connsiteX2" fmla="*/ 132353 w 160009"/>
                <a:gd name="connsiteY2" fmla="*/ 96832 h 98286"/>
                <a:gd name="connsiteX3" fmla="*/ 159499 w 160009"/>
                <a:gd name="connsiteY3" fmla="*/ 69184 h 98286"/>
                <a:gd name="connsiteX4" fmla="*/ 2623 w 160009"/>
                <a:gd name="connsiteY4" fmla="*/ 14375 h 9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9" h="98286">
                  <a:moveTo>
                    <a:pt x="2623" y="14360"/>
                  </a:moveTo>
                  <a:cubicBezTo>
                    <a:pt x="2623" y="14360"/>
                    <a:pt x="-8056" y="33090"/>
                    <a:pt x="13682" y="52580"/>
                  </a:cubicBezTo>
                  <a:cubicBezTo>
                    <a:pt x="33628" y="70445"/>
                    <a:pt x="95136" y="105885"/>
                    <a:pt x="132353" y="96832"/>
                  </a:cubicBezTo>
                  <a:cubicBezTo>
                    <a:pt x="132353" y="96832"/>
                    <a:pt x="150461" y="93809"/>
                    <a:pt x="159499" y="69184"/>
                  </a:cubicBezTo>
                  <a:cubicBezTo>
                    <a:pt x="168553" y="44544"/>
                    <a:pt x="54910" y="-31380"/>
                    <a:pt x="2623" y="14375"/>
                  </a:cubicBezTo>
                  <a:close/>
                </a:path>
              </a:pathLst>
            </a:custGeom>
            <a:solidFill>
              <a:srgbClr val="77BA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2DAEB9A3-1838-A152-91DD-9CA3E49502CD}"/>
                </a:ext>
              </a:extLst>
            </p:cNvPr>
            <p:cNvSpPr/>
            <p:nvPr/>
          </p:nvSpPr>
          <p:spPr>
            <a:xfrm>
              <a:off x="7801911" y="3016153"/>
              <a:ext cx="207196" cy="619360"/>
            </a:xfrm>
            <a:custGeom>
              <a:avLst/>
              <a:gdLst>
                <a:gd name="connsiteX0" fmla="*/ 140957 w 193257"/>
                <a:gd name="connsiteY0" fmla="*/ 26865 h 577693"/>
                <a:gd name="connsiteX1" fmla="*/ 162027 w 193257"/>
                <a:gd name="connsiteY1" fmla="*/ 67182 h 577693"/>
                <a:gd name="connsiteX2" fmla="*/ 188094 w 193257"/>
                <a:gd name="connsiteY2" fmla="*/ 286235 h 577693"/>
                <a:gd name="connsiteX3" fmla="*/ 141261 w 193257"/>
                <a:gd name="connsiteY3" fmla="*/ 576867 h 577693"/>
                <a:gd name="connsiteX4" fmla="*/ 24929 w 193257"/>
                <a:gd name="connsiteY4" fmla="*/ 360078 h 577693"/>
                <a:gd name="connsiteX5" fmla="*/ 18761 w 193257"/>
                <a:gd name="connsiteY5" fmla="*/ 45838 h 577693"/>
                <a:gd name="connsiteX6" fmla="*/ 140957 w 193257"/>
                <a:gd name="connsiteY6" fmla="*/ 26865 h 57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257" h="577693">
                  <a:moveTo>
                    <a:pt x="140957" y="26865"/>
                  </a:moveTo>
                  <a:cubicBezTo>
                    <a:pt x="150998" y="38486"/>
                    <a:pt x="158062" y="52355"/>
                    <a:pt x="162027" y="67182"/>
                  </a:cubicBezTo>
                  <a:cubicBezTo>
                    <a:pt x="169486" y="95072"/>
                    <a:pt x="183294" y="161821"/>
                    <a:pt x="188094" y="286235"/>
                  </a:cubicBezTo>
                  <a:cubicBezTo>
                    <a:pt x="194794" y="460034"/>
                    <a:pt x="205670" y="563332"/>
                    <a:pt x="141261" y="576867"/>
                  </a:cubicBezTo>
                  <a:cubicBezTo>
                    <a:pt x="76851" y="590402"/>
                    <a:pt x="43887" y="434361"/>
                    <a:pt x="24929" y="360078"/>
                  </a:cubicBezTo>
                  <a:cubicBezTo>
                    <a:pt x="5971" y="285794"/>
                    <a:pt x="-16983" y="105326"/>
                    <a:pt x="18761" y="45838"/>
                  </a:cubicBezTo>
                  <a:cubicBezTo>
                    <a:pt x="49675" y="-5598"/>
                    <a:pt x="103663" y="-16323"/>
                    <a:pt x="140957" y="2686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797C696C-8B28-5AAE-E063-B83B44FF832A}"/>
                </a:ext>
              </a:extLst>
            </p:cNvPr>
            <p:cNvSpPr/>
            <p:nvPr/>
          </p:nvSpPr>
          <p:spPr>
            <a:xfrm>
              <a:off x="7786810" y="3001450"/>
              <a:ext cx="231924" cy="678784"/>
            </a:xfrm>
            <a:custGeom>
              <a:avLst/>
              <a:gdLst>
                <a:gd name="connsiteX0" fmla="*/ 107647 w 216322"/>
                <a:gd name="connsiteY0" fmla="*/ 1022 h 633120"/>
                <a:gd name="connsiteX1" fmla="*/ 7083 w 216322"/>
                <a:gd name="connsiteY1" fmla="*/ 89524 h 633120"/>
                <a:gd name="connsiteX2" fmla="*/ 27196 w 216322"/>
                <a:gd name="connsiteY2" fmla="*/ 406300 h 633120"/>
                <a:gd name="connsiteX3" fmla="*/ 37252 w 216322"/>
                <a:gd name="connsiteY3" fmla="*/ 558149 h 633120"/>
                <a:gd name="connsiteX4" fmla="*/ 179044 w 216322"/>
                <a:gd name="connsiteY4" fmla="*/ 610436 h 633120"/>
                <a:gd name="connsiteX5" fmla="*/ 216247 w 216322"/>
                <a:gd name="connsiteY5" fmla="*/ 410310 h 633120"/>
                <a:gd name="connsiteX6" fmla="*/ 198139 w 216322"/>
                <a:gd name="connsiteY6" fmla="*/ 113647 h 633120"/>
                <a:gd name="connsiteX7" fmla="*/ 107632 w 216322"/>
                <a:gd name="connsiteY7" fmla="*/ 1022 h 63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322" h="633120">
                  <a:moveTo>
                    <a:pt x="107647" y="1022"/>
                  </a:moveTo>
                  <a:cubicBezTo>
                    <a:pt x="107647" y="1022"/>
                    <a:pt x="29201" y="-16068"/>
                    <a:pt x="7083" y="89524"/>
                  </a:cubicBezTo>
                  <a:cubicBezTo>
                    <a:pt x="-15035" y="195116"/>
                    <a:pt x="21165" y="344959"/>
                    <a:pt x="27196" y="406300"/>
                  </a:cubicBezTo>
                  <a:cubicBezTo>
                    <a:pt x="33227" y="467641"/>
                    <a:pt x="37252" y="512849"/>
                    <a:pt x="37252" y="558149"/>
                  </a:cubicBezTo>
                  <a:cubicBezTo>
                    <a:pt x="37252" y="622512"/>
                    <a:pt x="134793" y="659715"/>
                    <a:pt x="179044" y="610436"/>
                  </a:cubicBezTo>
                  <a:cubicBezTo>
                    <a:pt x="223295" y="561156"/>
                    <a:pt x="215244" y="476680"/>
                    <a:pt x="216247" y="410310"/>
                  </a:cubicBezTo>
                  <a:cubicBezTo>
                    <a:pt x="217249" y="343942"/>
                    <a:pt x="208195" y="171980"/>
                    <a:pt x="198139" y="113647"/>
                  </a:cubicBezTo>
                  <a:cubicBezTo>
                    <a:pt x="188083" y="55314"/>
                    <a:pt x="149862" y="6050"/>
                    <a:pt x="107632" y="1022"/>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761C63EF-115D-23B0-E8B1-ADF463BB4CB6}"/>
                </a:ext>
              </a:extLst>
            </p:cNvPr>
            <p:cNvSpPr/>
            <p:nvPr/>
          </p:nvSpPr>
          <p:spPr>
            <a:xfrm>
              <a:off x="7420383" y="3773388"/>
              <a:ext cx="303952" cy="306253"/>
            </a:xfrm>
            <a:custGeom>
              <a:avLst/>
              <a:gdLst>
                <a:gd name="connsiteX0" fmla="*/ 186954 w 283504"/>
                <a:gd name="connsiteY0" fmla="*/ 29213 h 285650"/>
                <a:gd name="connsiteX1" fmla="*/ 138632 w 283504"/>
                <a:gd name="connsiteY1" fmla="*/ 77004 h 285650"/>
                <a:gd name="connsiteX2" fmla="*/ 53198 w 283504"/>
                <a:gd name="connsiteY2" fmla="*/ 127772 h 285650"/>
                <a:gd name="connsiteX3" fmla="*/ 11135 w 283504"/>
                <a:gd name="connsiteY3" fmla="*/ 209286 h 285650"/>
                <a:gd name="connsiteX4" fmla="*/ 5484 w 283504"/>
                <a:gd name="connsiteY4" fmla="*/ 265416 h 285650"/>
                <a:gd name="connsiteX5" fmla="*/ 21024 w 283504"/>
                <a:gd name="connsiteY5" fmla="*/ 253476 h 285650"/>
                <a:gd name="connsiteX6" fmla="*/ 28984 w 283504"/>
                <a:gd name="connsiteY6" fmla="*/ 275853 h 285650"/>
                <a:gd name="connsiteX7" fmla="*/ 51193 w 283504"/>
                <a:gd name="connsiteY7" fmla="*/ 266541 h 285650"/>
                <a:gd name="connsiteX8" fmla="*/ 61249 w 283504"/>
                <a:gd name="connsiteY8" fmla="*/ 285651 h 285650"/>
                <a:gd name="connsiteX9" fmla="*/ 82365 w 283504"/>
                <a:gd name="connsiteY9" fmla="*/ 265538 h 285650"/>
                <a:gd name="connsiteX10" fmla="*/ 109511 w 283504"/>
                <a:gd name="connsiteY10" fmla="*/ 262515 h 285650"/>
                <a:gd name="connsiteX11" fmla="*/ 137751 w 283504"/>
                <a:gd name="connsiteY11" fmla="*/ 209711 h 285650"/>
                <a:gd name="connsiteX12" fmla="*/ 192970 w 283504"/>
                <a:gd name="connsiteY12" fmla="*/ 166979 h 285650"/>
                <a:gd name="connsiteX13" fmla="*/ 261359 w 283504"/>
                <a:gd name="connsiteY13" fmla="*/ 86528 h 285650"/>
                <a:gd name="connsiteX14" fmla="*/ 256331 w 283504"/>
                <a:gd name="connsiteY14" fmla="*/ 4072 h 285650"/>
                <a:gd name="connsiteX15" fmla="*/ 186939 w 283504"/>
                <a:gd name="connsiteY15" fmla="*/ 29213 h 28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504" h="285650">
                  <a:moveTo>
                    <a:pt x="186954" y="29213"/>
                  </a:moveTo>
                  <a:cubicBezTo>
                    <a:pt x="186954" y="29213"/>
                    <a:pt x="171824" y="60916"/>
                    <a:pt x="138632" y="77004"/>
                  </a:cubicBezTo>
                  <a:cubicBezTo>
                    <a:pt x="105440" y="93091"/>
                    <a:pt x="76410" y="109634"/>
                    <a:pt x="53198" y="127772"/>
                  </a:cubicBezTo>
                  <a:cubicBezTo>
                    <a:pt x="37157" y="140304"/>
                    <a:pt x="20188" y="182125"/>
                    <a:pt x="11135" y="209286"/>
                  </a:cubicBezTo>
                  <a:cubicBezTo>
                    <a:pt x="2081" y="236432"/>
                    <a:pt x="-5591" y="263411"/>
                    <a:pt x="5484" y="265416"/>
                  </a:cubicBezTo>
                  <a:cubicBezTo>
                    <a:pt x="16543" y="267422"/>
                    <a:pt x="21024" y="253476"/>
                    <a:pt x="21024" y="253476"/>
                  </a:cubicBezTo>
                  <a:cubicBezTo>
                    <a:pt x="21024" y="253476"/>
                    <a:pt x="19414" y="274121"/>
                    <a:pt x="28984" y="275853"/>
                  </a:cubicBezTo>
                  <a:cubicBezTo>
                    <a:pt x="43962" y="278572"/>
                    <a:pt x="51193" y="266541"/>
                    <a:pt x="51193" y="266541"/>
                  </a:cubicBezTo>
                  <a:cubicBezTo>
                    <a:pt x="51193" y="266541"/>
                    <a:pt x="49188" y="285651"/>
                    <a:pt x="61249" y="285651"/>
                  </a:cubicBezTo>
                  <a:cubicBezTo>
                    <a:pt x="73311" y="285651"/>
                    <a:pt x="82365" y="265538"/>
                    <a:pt x="82365" y="265538"/>
                  </a:cubicBezTo>
                  <a:cubicBezTo>
                    <a:pt x="82365" y="265538"/>
                    <a:pt x="91419" y="289342"/>
                    <a:pt x="109511" y="262515"/>
                  </a:cubicBezTo>
                  <a:cubicBezTo>
                    <a:pt x="123411" y="241931"/>
                    <a:pt x="123669" y="226801"/>
                    <a:pt x="137751" y="209711"/>
                  </a:cubicBezTo>
                  <a:cubicBezTo>
                    <a:pt x="151833" y="192622"/>
                    <a:pt x="180908" y="186089"/>
                    <a:pt x="192970" y="166979"/>
                  </a:cubicBezTo>
                  <a:cubicBezTo>
                    <a:pt x="205032" y="147869"/>
                    <a:pt x="232755" y="108403"/>
                    <a:pt x="261359" y="86528"/>
                  </a:cubicBezTo>
                  <a:cubicBezTo>
                    <a:pt x="295554" y="60385"/>
                    <a:pt x="287214" y="16863"/>
                    <a:pt x="256331" y="4072"/>
                  </a:cubicBezTo>
                  <a:cubicBezTo>
                    <a:pt x="215103" y="-13018"/>
                    <a:pt x="186939" y="29213"/>
                    <a:pt x="186939" y="29213"/>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65A580BD-02CD-0EA4-E3B6-865CCF2017A1}"/>
                </a:ext>
              </a:extLst>
            </p:cNvPr>
            <p:cNvSpPr/>
            <p:nvPr/>
          </p:nvSpPr>
          <p:spPr>
            <a:xfrm>
              <a:off x="7442693" y="3938882"/>
              <a:ext cx="54719" cy="106491"/>
            </a:xfrm>
            <a:custGeom>
              <a:avLst/>
              <a:gdLst>
                <a:gd name="connsiteX0" fmla="*/ 2 w 51038"/>
                <a:gd name="connsiteY0" fmla="*/ 99039 h 99327"/>
                <a:gd name="connsiteX1" fmla="*/ 3861 w 51038"/>
                <a:gd name="connsiteY1" fmla="*/ 85488 h 99327"/>
                <a:gd name="connsiteX2" fmla="*/ 8008 w 51038"/>
                <a:gd name="connsiteY2" fmla="*/ 72014 h 99327"/>
                <a:gd name="connsiteX3" fmla="*/ 17684 w 51038"/>
                <a:gd name="connsiteY3" fmla="*/ 45430 h 99327"/>
                <a:gd name="connsiteX4" fmla="*/ 23579 w 51038"/>
                <a:gd name="connsiteY4" fmla="*/ 32518 h 99327"/>
                <a:gd name="connsiteX5" fmla="*/ 30627 w 51038"/>
                <a:gd name="connsiteY5" fmla="*/ 20152 h 99327"/>
                <a:gd name="connsiteX6" fmla="*/ 39407 w 51038"/>
                <a:gd name="connsiteY6" fmla="*/ 8850 h 99327"/>
                <a:gd name="connsiteX7" fmla="*/ 41944 w 51038"/>
                <a:gd name="connsiteY7" fmla="*/ 6283 h 99327"/>
                <a:gd name="connsiteX8" fmla="*/ 43281 w 51038"/>
                <a:gd name="connsiteY8" fmla="*/ 5068 h 99327"/>
                <a:gd name="connsiteX9" fmla="*/ 43950 w 51038"/>
                <a:gd name="connsiteY9" fmla="*/ 4460 h 99327"/>
                <a:gd name="connsiteX10" fmla="*/ 44648 w 51038"/>
                <a:gd name="connsiteY10" fmla="*/ 3898 h 99327"/>
                <a:gd name="connsiteX11" fmla="*/ 46076 w 51038"/>
                <a:gd name="connsiteY11" fmla="*/ 2789 h 99327"/>
                <a:gd name="connsiteX12" fmla="*/ 47580 w 51038"/>
                <a:gd name="connsiteY12" fmla="*/ 1771 h 99327"/>
                <a:gd name="connsiteX13" fmla="*/ 50709 w 51038"/>
                <a:gd name="connsiteY13" fmla="*/ 24 h 99327"/>
                <a:gd name="connsiteX14" fmla="*/ 51013 w 51038"/>
                <a:gd name="connsiteY14" fmla="*/ 116 h 99327"/>
                <a:gd name="connsiteX15" fmla="*/ 50968 w 51038"/>
                <a:gd name="connsiteY15" fmla="*/ 389 h 99327"/>
                <a:gd name="connsiteX16" fmla="*/ 41883 w 51038"/>
                <a:gd name="connsiteY16" fmla="*/ 10840 h 99327"/>
                <a:gd name="connsiteX17" fmla="*/ 34470 w 51038"/>
                <a:gd name="connsiteY17" fmla="*/ 22537 h 99327"/>
                <a:gd name="connsiteX18" fmla="*/ 27543 w 51038"/>
                <a:gd name="connsiteY18" fmla="*/ 34599 h 99327"/>
                <a:gd name="connsiteX19" fmla="*/ 20981 w 51038"/>
                <a:gd name="connsiteY19" fmla="*/ 46934 h 99327"/>
                <a:gd name="connsiteX20" fmla="*/ 15345 w 51038"/>
                <a:gd name="connsiteY20" fmla="*/ 59725 h 99327"/>
                <a:gd name="connsiteX21" fmla="*/ 10150 w 51038"/>
                <a:gd name="connsiteY21" fmla="*/ 72774 h 99327"/>
                <a:gd name="connsiteX22" fmla="*/ 443 w 51038"/>
                <a:gd name="connsiteY22" fmla="*/ 99175 h 99327"/>
                <a:gd name="connsiteX23" fmla="*/ 154 w 51038"/>
                <a:gd name="connsiteY23" fmla="*/ 99312 h 99327"/>
                <a:gd name="connsiteX24" fmla="*/ 2 w 51038"/>
                <a:gd name="connsiteY24" fmla="*/ 99039 h 9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38" h="99327">
                  <a:moveTo>
                    <a:pt x="2" y="99039"/>
                  </a:moveTo>
                  <a:cubicBezTo>
                    <a:pt x="1232" y="94497"/>
                    <a:pt x="2524" y="89985"/>
                    <a:pt x="3861" y="85488"/>
                  </a:cubicBezTo>
                  <a:cubicBezTo>
                    <a:pt x="5197" y="80992"/>
                    <a:pt x="6580" y="76496"/>
                    <a:pt x="8008" y="72014"/>
                  </a:cubicBezTo>
                  <a:cubicBezTo>
                    <a:pt x="10909" y="63067"/>
                    <a:pt x="13947" y="54165"/>
                    <a:pt x="17684" y="45430"/>
                  </a:cubicBezTo>
                  <a:cubicBezTo>
                    <a:pt x="19568" y="41085"/>
                    <a:pt x="21497" y="36771"/>
                    <a:pt x="23579" y="32518"/>
                  </a:cubicBezTo>
                  <a:cubicBezTo>
                    <a:pt x="25660" y="28264"/>
                    <a:pt x="27999" y="24117"/>
                    <a:pt x="30627" y="20152"/>
                  </a:cubicBezTo>
                  <a:cubicBezTo>
                    <a:pt x="33270" y="16188"/>
                    <a:pt x="36142" y="12359"/>
                    <a:pt x="39407" y="8850"/>
                  </a:cubicBezTo>
                  <a:cubicBezTo>
                    <a:pt x="40258" y="8000"/>
                    <a:pt x="41063" y="7103"/>
                    <a:pt x="41944" y="6283"/>
                  </a:cubicBezTo>
                  <a:lnTo>
                    <a:pt x="43281" y="5068"/>
                  </a:lnTo>
                  <a:lnTo>
                    <a:pt x="43950" y="4460"/>
                  </a:lnTo>
                  <a:lnTo>
                    <a:pt x="44648" y="3898"/>
                  </a:lnTo>
                  <a:lnTo>
                    <a:pt x="46076" y="2789"/>
                  </a:lnTo>
                  <a:cubicBezTo>
                    <a:pt x="46562" y="2440"/>
                    <a:pt x="47064" y="2106"/>
                    <a:pt x="47580" y="1771"/>
                  </a:cubicBezTo>
                  <a:cubicBezTo>
                    <a:pt x="48552" y="1073"/>
                    <a:pt x="49661" y="556"/>
                    <a:pt x="50709" y="24"/>
                  </a:cubicBezTo>
                  <a:cubicBezTo>
                    <a:pt x="50816" y="-36"/>
                    <a:pt x="50953" y="24"/>
                    <a:pt x="51013" y="116"/>
                  </a:cubicBezTo>
                  <a:cubicBezTo>
                    <a:pt x="51059" y="207"/>
                    <a:pt x="51044" y="328"/>
                    <a:pt x="50968" y="389"/>
                  </a:cubicBezTo>
                  <a:cubicBezTo>
                    <a:pt x="47428" y="3488"/>
                    <a:pt x="44557" y="7103"/>
                    <a:pt x="41883" y="10840"/>
                  </a:cubicBezTo>
                  <a:cubicBezTo>
                    <a:pt x="39240" y="14623"/>
                    <a:pt x="36810" y="18542"/>
                    <a:pt x="34470" y="22537"/>
                  </a:cubicBezTo>
                  <a:cubicBezTo>
                    <a:pt x="32131" y="26533"/>
                    <a:pt x="29852" y="30558"/>
                    <a:pt x="27543" y="34599"/>
                  </a:cubicBezTo>
                  <a:cubicBezTo>
                    <a:pt x="25234" y="38640"/>
                    <a:pt x="23016" y="42741"/>
                    <a:pt x="20981" y="46934"/>
                  </a:cubicBezTo>
                  <a:cubicBezTo>
                    <a:pt x="18945" y="51096"/>
                    <a:pt x="17122" y="55395"/>
                    <a:pt x="15345" y="59725"/>
                  </a:cubicBezTo>
                  <a:cubicBezTo>
                    <a:pt x="13537" y="64039"/>
                    <a:pt x="11821" y="68399"/>
                    <a:pt x="10150" y="72774"/>
                  </a:cubicBezTo>
                  <a:cubicBezTo>
                    <a:pt x="6747" y="81508"/>
                    <a:pt x="3572" y="90334"/>
                    <a:pt x="443" y="99175"/>
                  </a:cubicBezTo>
                  <a:cubicBezTo>
                    <a:pt x="397" y="99297"/>
                    <a:pt x="276" y="99358"/>
                    <a:pt x="154" y="99312"/>
                  </a:cubicBezTo>
                  <a:cubicBezTo>
                    <a:pt x="48" y="99267"/>
                    <a:pt x="-13" y="99145"/>
                    <a:pt x="2" y="99039"/>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887AC72F-E83E-0ECB-1BA5-36E3FA7E5E6A}"/>
                </a:ext>
              </a:extLst>
            </p:cNvPr>
            <p:cNvSpPr/>
            <p:nvPr/>
          </p:nvSpPr>
          <p:spPr>
            <a:xfrm>
              <a:off x="7475040" y="3953597"/>
              <a:ext cx="54365" cy="105736"/>
            </a:xfrm>
            <a:custGeom>
              <a:avLst/>
              <a:gdLst>
                <a:gd name="connsiteX0" fmla="*/ 0 w 50708"/>
                <a:gd name="connsiteY0" fmla="*/ 98363 h 98623"/>
                <a:gd name="connsiteX1" fmla="*/ 2233 w 50708"/>
                <a:gd name="connsiteY1" fmla="*/ 91786 h 98623"/>
                <a:gd name="connsiteX2" fmla="*/ 4512 w 50708"/>
                <a:gd name="connsiteY2" fmla="*/ 85223 h 98623"/>
                <a:gd name="connsiteX3" fmla="*/ 9145 w 50708"/>
                <a:gd name="connsiteY3" fmla="*/ 72128 h 98623"/>
                <a:gd name="connsiteX4" fmla="*/ 13960 w 50708"/>
                <a:gd name="connsiteY4" fmla="*/ 59095 h 98623"/>
                <a:gd name="connsiteX5" fmla="*/ 19065 w 50708"/>
                <a:gd name="connsiteY5" fmla="*/ 46137 h 98623"/>
                <a:gd name="connsiteX6" fmla="*/ 24898 w 50708"/>
                <a:gd name="connsiteY6" fmla="*/ 33316 h 98623"/>
                <a:gd name="connsiteX7" fmla="*/ 32235 w 50708"/>
                <a:gd name="connsiteY7" fmla="*/ 21345 h 98623"/>
                <a:gd name="connsiteX8" fmla="*/ 40773 w 50708"/>
                <a:gd name="connsiteY8" fmla="*/ 10271 h 98623"/>
                <a:gd name="connsiteX9" fmla="*/ 50328 w 50708"/>
                <a:gd name="connsiteY9" fmla="*/ 63 h 98623"/>
                <a:gd name="connsiteX10" fmla="*/ 50647 w 50708"/>
                <a:gd name="connsiteY10" fmla="*/ 63 h 98623"/>
                <a:gd name="connsiteX11" fmla="*/ 50677 w 50708"/>
                <a:gd name="connsiteY11" fmla="*/ 336 h 98623"/>
                <a:gd name="connsiteX12" fmla="*/ 43340 w 50708"/>
                <a:gd name="connsiteY12" fmla="*/ 12140 h 98623"/>
                <a:gd name="connsiteX13" fmla="*/ 36002 w 50708"/>
                <a:gd name="connsiteY13" fmla="*/ 23821 h 98623"/>
                <a:gd name="connsiteX14" fmla="*/ 28802 w 50708"/>
                <a:gd name="connsiteY14" fmla="*/ 35488 h 98623"/>
                <a:gd name="connsiteX15" fmla="*/ 22376 w 50708"/>
                <a:gd name="connsiteY15" fmla="*/ 47565 h 98623"/>
                <a:gd name="connsiteX16" fmla="*/ 16741 w 50708"/>
                <a:gd name="connsiteY16" fmla="*/ 60204 h 98623"/>
                <a:gd name="connsiteX17" fmla="*/ 11257 w 50708"/>
                <a:gd name="connsiteY17" fmla="*/ 72934 h 98623"/>
                <a:gd name="connsiteX18" fmla="*/ 426 w 50708"/>
                <a:gd name="connsiteY18" fmla="*/ 98485 h 98623"/>
                <a:gd name="connsiteX19" fmla="*/ 137 w 50708"/>
                <a:gd name="connsiteY19" fmla="*/ 98606 h 98623"/>
                <a:gd name="connsiteX20" fmla="*/ 15 w 50708"/>
                <a:gd name="connsiteY20" fmla="*/ 98318 h 9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08" h="98623">
                  <a:moveTo>
                    <a:pt x="0" y="98363"/>
                  </a:moveTo>
                  <a:lnTo>
                    <a:pt x="2233" y="91786"/>
                  </a:lnTo>
                  <a:lnTo>
                    <a:pt x="4512" y="85223"/>
                  </a:lnTo>
                  <a:lnTo>
                    <a:pt x="9145" y="72128"/>
                  </a:lnTo>
                  <a:cubicBezTo>
                    <a:pt x="10725" y="67784"/>
                    <a:pt x="12320" y="63424"/>
                    <a:pt x="13960" y="59095"/>
                  </a:cubicBezTo>
                  <a:cubicBezTo>
                    <a:pt x="15601" y="54765"/>
                    <a:pt x="17288" y="50451"/>
                    <a:pt x="19065" y="46137"/>
                  </a:cubicBezTo>
                  <a:cubicBezTo>
                    <a:pt x="20812" y="41838"/>
                    <a:pt x="22726" y="37493"/>
                    <a:pt x="24898" y="33316"/>
                  </a:cubicBezTo>
                  <a:cubicBezTo>
                    <a:pt x="27086" y="29153"/>
                    <a:pt x="29546" y="25173"/>
                    <a:pt x="32235" y="21345"/>
                  </a:cubicBezTo>
                  <a:cubicBezTo>
                    <a:pt x="34924" y="17517"/>
                    <a:pt x="37765" y="13826"/>
                    <a:pt x="40773" y="10271"/>
                  </a:cubicBezTo>
                  <a:cubicBezTo>
                    <a:pt x="43780" y="6716"/>
                    <a:pt x="46910" y="3268"/>
                    <a:pt x="50328" y="63"/>
                  </a:cubicBezTo>
                  <a:cubicBezTo>
                    <a:pt x="50419" y="-28"/>
                    <a:pt x="50571" y="-13"/>
                    <a:pt x="50647" y="63"/>
                  </a:cubicBezTo>
                  <a:cubicBezTo>
                    <a:pt x="50723" y="139"/>
                    <a:pt x="50723" y="245"/>
                    <a:pt x="50677" y="336"/>
                  </a:cubicBezTo>
                  <a:cubicBezTo>
                    <a:pt x="48277" y="4331"/>
                    <a:pt x="45801" y="8236"/>
                    <a:pt x="43340" y="12140"/>
                  </a:cubicBezTo>
                  <a:cubicBezTo>
                    <a:pt x="40879" y="16044"/>
                    <a:pt x="38418" y="19932"/>
                    <a:pt x="36002" y="23821"/>
                  </a:cubicBezTo>
                  <a:cubicBezTo>
                    <a:pt x="33587" y="27725"/>
                    <a:pt x="31172" y="31599"/>
                    <a:pt x="28802" y="35488"/>
                  </a:cubicBezTo>
                  <a:cubicBezTo>
                    <a:pt x="26433" y="39392"/>
                    <a:pt x="24306" y="43372"/>
                    <a:pt x="22376" y="47565"/>
                  </a:cubicBezTo>
                  <a:cubicBezTo>
                    <a:pt x="20447" y="51742"/>
                    <a:pt x="18579" y="55965"/>
                    <a:pt x="16741" y="60204"/>
                  </a:cubicBezTo>
                  <a:cubicBezTo>
                    <a:pt x="14887" y="64427"/>
                    <a:pt x="13064" y="68680"/>
                    <a:pt x="11257" y="72934"/>
                  </a:cubicBezTo>
                  <a:cubicBezTo>
                    <a:pt x="7596" y="81425"/>
                    <a:pt x="4041" y="89963"/>
                    <a:pt x="426" y="98485"/>
                  </a:cubicBezTo>
                  <a:cubicBezTo>
                    <a:pt x="380" y="98606"/>
                    <a:pt x="243" y="98652"/>
                    <a:pt x="137" y="98606"/>
                  </a:cubicBezTo>
                  <a:cubicBezTo>
                    <a:pt x="31" y="98561"/>
                    <a:pt x="-30" y="98439"/>
                    <a:pt x="15" y="98318"/>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74568C85-24F6-A0DA-5587-759906A9A451}"/>
                </a:ext>
              </a:extLst>
            </p:cNvPr>
            <p:cNvSpPr/>
            <p:nvPr/>
          </p:nvSpPr>
          <p:spPr>
            <a:xfrm>
              <a:off x="7508460" y="3966218"/>
              <a:ext cx="50781" cy="92105"/>
            </a:xfrm>
            <a:custGeom>
              <a:avLst/>
              <a:gdLst>
                <a:gd name="connsiteX0" fmla="*/ 0 w 47365"/>
                <a:gd name="connsiteY0" fmla="*/ 85589 h 85909"/>
                <a:gd name="connsiteX1" fmla="*/ 2005 w 47365"/>
                <a:gd name="connsiteY1" fmla="*/ 79771 h 85909"/>
                <a:gd name="connsiteX2" fmla="*/ 4086 w 47365"/>
                <a:gd name="connsiteY2" fmla="*/ 73983 h 85909"/>
                <a:gd name="connsiteX3" fmla="*/ 8340 w 47365"/>
                <a:gd name="connsiteY3" fmla="*/ 62438 h 85909"/>
                <a:gd name="connsiteX4" fmla="*/ 10558 w 47365"/>
                <a:gd name="connsiteY4" fmla="*/ 56696 h 85909"/>
                <a:gd name="connsiteX5" fmla="*/ 12821 w 47365"/>
                <a:gd name="connsiteY5" fmla="*/ 50969 h 85909"/>
                <a:gd name="connsiteX6" fmla="*/ 17591 w 47365"/>
                <a:gd name="connsiteY6" fmla="*/ 39591 h 85909"/>
                <a:gd name="connsiteX7" fmla="*/ 20098 w 47365"/>
                <a:gd name="connsiteY7" fmla="*/ 33924 h 85909"/>
                <a:gd name="connsiteX8" fmla="*/ 22786 w 47365"/>
                <a:gd name="connsiteY8" fmla="*/ 28289 h 85909"/>
                <a:gd name="connsiteX9" fmla="*/ 24321 w 47365"/>
                <a:gd name="connsiteY9" fmla="*/ 25493 h 85909"/>
                <a:gd name="connsiteX10" fmla="*/ 26053 w 47365"/>
                <a:gd name="connsiteY10" fmla="*/ 22805 h 85909"/>
                <a:gd name="connsiteX11" fmla="*/ 29790 w 47365"/>
                <a:gd name="connsiteY11" fmla="*/ 17837 h 85909"/>
                <a:gd name="connsiteX12" fmla="*/ 37977 w 47365"/>
                <a:gd name="connsiteY12" fmla="*/ 8540 h 85909"/>
                <a:gd name="connsiteX13" fmla="*/ 47001 w 47365"/>
                <a:gd name="connsiteY13" fmla="*/ 49 h 85909"/>
                <a:gd name="connsiteX14" fmla="*/ 47320 w 47365"/>
                <a:gd name="connsiteY14" fmla="*/ 79 h 85909"/>
                <a:gd name="connsiteX15" fmla="*/ 47320 w 47365"/>
                <a:gd name="connsiteY15" fmla="*/ 352 h 85909"/>
                <a:gd name="connsiteX16" fmla="*/ 40423 w 47365"/>
                <a:gd name="connsiteY16" fmla="*/ 10561 h 85909"/>
                <a:gd name="connsiteX17" fmla="*/ 33405 w 47365"/>
                <a:gd name="connsiteY17" fmla="*/ 20556 h 85909"/>
                <a:gd name="connsiteX18" fmla="*/ 31658 w 47365"/>
                <a:gd name="connsiteY18" fmla="*/ 23048 h 85909"/>
                <a:gd name="connsiteX19" fmla="*/ 29911 w 47365"/>
                <a:gd name="connsiteY19" fmla="*/ 25524 h 85909"/>
                <a:gd name="connsiteX20" fmla="*/ 28271 w 47365"/>
                <a:gd name="connsiteY20" fmla="*/ 27970 h 85909"/>
                <a:gd name="connsiteX21" fmla="*/ 26706 w 47365"/>
                <a:gd name="connsiteY21" fmla="*/ 30491 h 85909"/>
                <a:gd name="connsiteX22" fmla="*/ 23698 w 47365"/>
                <a:gd name="connsiteY22" fmla="*/ 35732 h 85909"/>
                <a:gd name="connsiteX23" fmla="*/ 20888 w 47365"/>
                <a:gd name="connsiteY23" fmla="*/ 41140 h 85909"/>
                <a:gd name="connsiteX24" fmla="*/ 15601 w 47365"/>
                <a:gd name="connsiteY24" fmla="*/ 52184 h 85909"/>
                <a:gd name="connsiteX25" fmla="*/ 13004 w 47365"/>
                <a:gd name="connsiteY25" fmla="*/ 57744 h 85909"/>
                <a:gd name="connsiteX26" fmla="*/ 10452 w 47365"/>
                <a:gd name="connsiteY26" fmla="*/ 63334 h 85909"/>
                <a:gd name="connsiteX27" fmla="*/ 5393 w 47365"/>
                <a:gd name="connsiteY27" fmla="*/ 74530 h 85909"/>
                <a:gd name="connsiteX28" fmla="*/ 441 w 47365"/>
                <a:gd name="connsiteY28" fmla="*/ 85771 h 85909"/>
                <a:gd name="connsiteX29" fmla="*/ 137 w 47365"/>
                <a:gd name="connsiteY29" fmla="*/ 85893 h 85909"/>
                <a:gd name="connsiteX30" fmla="*/ 15 w 47365"/>
                <a:gd name="connsiteY30" fmla="*/ 85604 h 8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365" h="85909">
                  <a:moveTo>
                    <a:pt x="0" y="85589"/>
                  </a:moveTo>
                  <a:lnTo>
                    <a:pt x="2005" y="79771"/>
                  </a:lnTo>
                  <a:lnTo>
                    <a:pt x="4086" y="73983"/>
                  </a:lnTo>
                  <a:cubicBezTo>
                    <a:pt x="5484" y="70124"/>
                    <a:pt x="6897" y="66281"/>
                    <a:pt x="8340" y="62438"/>
                  </a:cubicBezTo>
                  <a:cubicBezTo>
                    <a:pt x="9069" y="60524"/>
                    <a:pt x="9798" y="58610"/>
                    <a:pt x="10558" y="56696"/>
                  </a:cubicBezTo>
                  <a:cubicBezTo>
                    <a:pt x="11302" y="54782"/>
                    <a:pt x="12046" y="52867"/>
                    <a:pt x="12821" y="50969"/>
                  </a:cubicBezTo>
                  <a:cubicBezTo>
                    <a:pt x="14355" y="47156"/>
                    <a:pt x="15951" y="43373"/>
                    <a:pt x="17591" y="39591"/>
                  </a:cubicBezTo>
                  <a:lnTo>
                    <a:pt x="20098" y="33924"/>
                  </a:lnTo>
                  <a:cubicBezTo>
                    <a:pt x="20979" y="32041"/>
                    <a:pt x="21799" y="30157"/>
                    <a:pt x="22786" y="28289"/>
                  </a:cubicBezTo>
                  <a:cubicBezTo>
                    <a:pt x="23273" y="27362"/>
                    <a:pt x="23728" y="26420"/>
                    <a:pt x="24321" y="25493"/>
                  </a:cubicBezTo>
                  <a:cubicBezTo>
                    <a:pt x="24898" y="24582"/>
                    <a:pt x="25445" y="23610"/>
                    <a:pt x="26053" y="22805"/>
                  </a:cubicBezTo>
                  <a:cubicBezTo>
                    <a:pt x="27237" y="21103"/>
                    <a:pt x="28498" y="19447"/>
                    <a:pt x="29790" y="17837"/>
                  </a:cubicBezTo>
                  <a:cubicBezTo>
                    <a:pt x="32387" y="14617"/>
                    <a:pt x="35106" y="11503"/>
                    <a:pt x="37977" y="8540"/>
                  </a:cubicBezTo>
                  <a:cubicBezTo>
                    <a:pt x="40833" y="5563"/>
                    <a:pt x="43796" y="2692"/>
                    <a:pt x="47001" y="49"/>
                  </a:cubicBezTo>
                  <a:cubicBezTo>
                    <a:pt x="47092" y="-27"/>
                    <a:pt x="47244" y="-12"/>
                    <a:pt x="47320" y="79"/>
                  </a:cubicBezTo>
                  <a:cubicBezTo>
                    <a:pt x="47380" y="155"/>
                    <a:pt x="47380" y="261"/>
                    <a:pt x="47320" y="352"/>
                  </a:cubicBezTo>
                  <a:cubicBezTo>
                    <a:pt x="45087" y="3846"/>
                    <a:pt x="42763" y="7219"/>
                    <a:pt x="40423" y="10561"/>
                  </a:cubicBezTo>
                  <a:lnTo>
                    <a:pt x="33405" y="20556"/>
                  </a:lnTo>
                  <a:cubicBezTo>
                    <a:pt x="32813" y="21377"/>
                    <a:pt x="32220" y="22212"/>
                    <a:pt x="31658" y="23048"/>
                  </a:cubicBezTo>
                  <a:cubicBezTo>
                    <a:pt x="31065" y="23868"/>
                    <a:pt x="30488" y="24688"/>
                    <a:pt x="29911" y="25524"/>
                  </a:cubicBezTo>
                  <a:cubicBezTo>
                    <a:pt x="29303" y="26359"/>
                    <a:pt x="28802" y="27149"/>
                    <a:pt x="28271" y="27970"/>
                  </a:cubicBezTo>
                  <a:cubicBezTo>
                    <a:pt x="27724" y="28744"/>
                    <a:pt x="27222" y="29625"/>
                    <a:pt x="26706" y="30491"/>
                  </a:cubicBezTo>
                  <a:cubicBezTo>
                    <a:pt x="25643" y="32177"/>
                    <a:pt x="24685" y="33970"/>
                    <a:pt x="23698" y="35732"/>
                  </a:cubicBezTo>
                  <a:cubicBezTo>
                    <a:pt x="22741" y="37525"/>
                    <a:pt x="21799" y="39317"/>
                    <a:pt x="20888" y="41140"/>
                  </a:cubicBezTo>
                  <a:cubicBezTo>
                    <a:pt x="19080" y="44786"/>
                    <a:pt x="17318" y="48477"/>
                    <a:pt x="15601" y="52184"/>
                  </a:cubicBezTo>
                  <a:cubicBezTo>
                    <a:pt x="14735" y="54037"/>
                    <a:pt x="13854" y="55890"/>
                    <a:pt x="13004" y="57744"/>
                  </a:cubicBezTo>
                  <a:cubicBezTo>
                    <a:pt x="12138" y="59597"/>
                    <a:pt x="11302" y="61466"/>
                    <a:pt x="10452" y="63334"/>
                  </a:cubicBezTo>
                  <a:cubicBezTo>
                    <a:pt x="8735" y="67056"/>
                    <a:pt x="7064" y="70793"/>
                    <a:pt x="5393" y="74530"/>
                  </a:cubicBezTo>
                  <a:lnTo>
                    <a:pt x="441" y="85771"/>
                  </a:lnTo>
                  <a:cubicBezTo>
                    <a:pt x="395" y="85893"/>
                    <a:pt x="258" y="85938"/>
                    <a:pt x="137" y="85893"/>
                  </a:cubicBezTo>
                  <a:cubicBezTo>
                    <a:pt x="31" y="85847"/>
                    <a:pt x="-30" y="85725"/>
                    <a:pt x="15" y="85604"/>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D7C368DF-01DC-D919-45DF-1FD92FD58C75}"/>
                </a:ext>
              </a:extLst>
            </p:cNvPr>
            <p:cNvSpPr/>
            <p:nvPr/>
          </p:nvSpPr>
          <p:spPr>
            <a:xfrm>
              <a:off x="7581098" y="3499236"/>
              <a:ext cx="414760" cy="413731"/>
            </a:xfrm>
            <a:custGeom>
              <a:avLst/>
              <a:gdLst>
                <a:gd name="connsiteX0" fmla="*/ 379165 w 386858"/>
                <a:gd name="connsiteY0" fmla="*/ 109482 h 385898"/>
                <a:gd name="connsiteX1" fmla="*/ 235459 w 386858"/>
                <a:gd name="connsiteY1" fmla="*/ 249041 h 385898"/>
                <a:gd name="connsiteX2" fmla="*/ 51391 w 386858"/>
                <a:gd name="connsiteY2" fmla="*/ 378878 h 385898"/>
                <a:gd name="connsiteX3" fmla="*/ 19262 w 386858"/>
                <a:gd name="connsiteY3" fmla="*/ 307511 h 385898"/>
                <a:gd name="connsiteX4" fmla="*/ 150952 w 386858"/>
                <a:gd name="connsiteY4" fmla="*/ 142522 h 385898"/>
                <a:gd name="connsiteX5" fmla="*/ 292744 w 386858"/>
                <a:gd name="connsiteY5" fmla="*/ 2052 h 385898"/>
                <a:gd name="connsiteX6" fmla="*/ 379150 w 386858"/>
                <a:gd name="connsiteY6" fmla="*/ 109497 h 38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858" h="385898">
                  <a:moveTo>
                    <a:pt x="379165" y="109482"/>
                  </a:moveTo>
                  <a:cubicBezTo>
                    <a:pt x="379165" y="109482"/>
                    <a:pt x="335005" y="169213"/>
                    <a:pt x="235459" y="249041"/>
                  </a:cubicBezTo>
                  <a:cubicBezTo>
                    <a:pt x="135929" y="328869"/>
                    <a:pt x="107309" y="345609"/>
                    <a:pt x="51391" y="378878"/>
                  </a:cubicBezTo>
                  <a:cubicBezTo>
                    <a:pt x="9662" y="403715"/>
                    <a:pt x="-21950" y="358567"/>
                    <a:pt x="19262" y="307511"/>
                  </a:cubicBezTo>
                  <a:cubicBezTo>
                    <a:pt x="60490" y="256454"/>
                    <a:pt x="92422" y="207600"/>
                    <a:pt x="150952" y="142522"/>
                  </a:cubicBezTo>
                  <a:cubicBezTo>
                    <a:pt x="209483" y="77444"/>
                    <a:pt x="256803" y="13065"/>
                    <a:pt x="292744" y="2052"/>
                  </a:cubicBezTo>
                  <a:cubicBezTo>
                    <a:pt x="343588" y="-13534"/>
                    <a:pt x="409562" y="63317"/>
                    <a:pt x="379150" y="109497"/>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DFCD3E46-9957-AC1F-CD41-86230DEF0C78}"/>
                </a:ext>
              </a:extLst>
            </p:cNvPr>
            <p:cNvSpPr/>
            <p:nvPr/>
          </p:nvSpPr>
          <p:spPr>
            <a:xfrm>
              <a:off x="7545334" y="3486987"/>
              <a:ext cx="460250" cy="427156"/>
            </a:xfrm>
            <a:custGeom>
              <a:avLst/>
              <a:gdLst>
                <a:gd name="connsiteX0" fmla="*/ 265492 w 429287"/>
                <a:gd name="connsiteY0" fmla="*/ 35883 h 398420"/>
                <a:gd name="connsiteX1" fmla="*/ 155874 w 429287"/>
                <a:gd name="connsiteY1" fmla="*/ 151531 h 398420"/>
                <a:gd name="connsiteX2" fmla="*/ 0 w 429287"/>
                <a:gd name="connsiteY2" fmla="*/ 315456 h 398420"/>
                <a:gd name="connsiteX3" fmla="*/ 99561 w 429287"/>
                <a:gd name="connsiteY3" fmla="*/ 326515 h 398420"/>
                <a:gd name="connsiteX4" fmla="*/ 129730 w 429287"/>
                <a:gd name="connsiteY4" fmla="*/ 397913 h 398420"/>
                <a:gd name="connsiteX5" fmla="*/ 205153 w 429287"/>
                <a:gd name="connsiteY5" fmla="*/ 348633 h 398420"/>
                <a:gd name="connsiteX6" fmla="*/ 421365 w 429287"/>
                <a:gd name="connsiteY6" fmla="*/ 133424 h 398420"/>
                <a:gd name="connsiteX7" fmla="*/ 265492 w 429287"/>
                <a:gd name="connsiteY7" fmla="*/ 35883 h 39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87" h="398420">
                  <a:moveTo>
                    <a:pt x="265492" y="35883"/>
                  </a:moveTo>
                  <a:cubicBezTo>
                    <a:pt x="265492" y="35883"/>
                    <a:pt x="214207" y="93198"/>
                    <a:pt x="155874" y="151531"/>
                  </a:cubicBezTo>
                  <a:cubicBezTo>
                    <a:pt x="97541" y="209864"/>
                    <a:pt x="15084" y="294326"/>
                    <a:pt x="0" y="315456"/>
                  </a:cubicBezTo>
                  <a:cubicBezTo>
                    <a:pt x="0" y="315456"/>
                    <a:pt x="41228" y="291318"/>
                    <a:pt x="99561" y="326515"/>
                  </a:cubicBezTo>
                  <a:cubicBezTo>
                    <a:pt x="157894" y="361713"/>
                    <a:pt x="146820" y="390879"/>
                    <a:pt x="129730" y="397913"/>
                  </a:cubicBezTo>
                  <a:cubicBezTo>
                    <a:pt x="129730" y="397913"/>
                    <a:pt x="143812" y="406966"/>
                    <a:pt x="205153" y="348633"/>
                  </a:cubicBezTo>
                  <a:cubicBezTo>
                    <a:pt x="266494" y="290300"/>
                    <a:pt x="396619" y="182901"/>
                    <a:pt x="421365" y="133424"/>
                  </a:cubicBezTo>
                  <a:cubicBezTo>
                    <a:pt x="456562" y="63029"/>
                    <a:pt x="369078" y="-61673"/>
                    <a:pt x="265492" y="35883"/>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0" name="Graphic 3200">
              <a:extLst>
                <a:ext uri="{FF2B5EF4-FFF2-40B4-BE49-F238E27FC236}">
                  <a16:creationId xmlns:a16="http://schemas.microsoft.com/office/drawing/2014/main" id="{14657F31-C1A4-424C-F24E-9F572EE89157}"/>
                </a:ext>
              </a:extLst>
            </p:cNvPr>
            <p:cNvGrpSpPr/>
            <p:nvPr/>
          </p:nvGrpSpPr>
          <p:grpSpPr>
            <a:xfrm>
              <a:off x="8069851" y="3585337"/>
              <a:ext cx="1206505" cy="1798336"/>
              <a:chOff x="7986928" y="3832614"/>
              <a:chExt cx="1125339" cy="1677355"/>
            </a:xfrm>
            <a:solidFill>
              <a:srgbClr val="293463"/>
            </a:solidFill>
          </p:grpSpPr>
          <p:sp>
            <p:nvSpPr>
              <p:cNvPr id="2510" name="Freeform: Shape 2509">
                <a:extLst>
                  <a:ext uri="{FF2B5EF4-FFF2-40B4-BE49-F238E27FC236}">
                    <a16:creationId xmlns:a16="http://schemas.microsoft.com/office/drawing/2014/main" id="{C82B0F1F-5895-29FB-B7DD-CC96616174CD}"/>
                  </a:ext>
                </a:extLst>
              </p:cNvPr>
              <p:cNvSpPr/>
              <p:nvPr/>
            </p:nvSpPr>
            <p:spPr>
              <a:xfrm>
                <a:off x="8157111" y="4702614"/>
                <a:ext cx="190346" cy="791921"/>
              </a:xfrm>
              <a:custGeom>
                <a:avLst/>
                <a:gdLst>
                  <a:gd name="connsiteX0" fmla="*/ 14516 w 190346"/>
                  <a:gd name="connsiteY0" fmla="*/ 791922 h 791921"/>
                  <a:gd name="connsiteX1" fmla="*/ 13452 w 190346"/>
                  <a:gd name="connsiteY1" fmla="*/ 791876 h 791921"/>
                  <a:gd name="connsiteX2" fmla="*/ 38 w 190346"/>
                  <a:gd name="connsiteY2" fmla="*/ 777278 h 791921"/>
                  <a:gd name="connsiteX3" fmla="*/ 161730 w 190346"/>
                  <a:gd name="connsiteY3" fmla="*/ 10486 h 791921"/>
                  <a:gd name="connsiteX4" fmla="*/ 179185 w 190346"/>
                  <a:gd name="connsiteY4" fmla="*/ 369 h 791921"/>
                  <a:gd name="connsiteX5" fmla="*/ 189955 w 190346"/>
                  <a:gd name="connsiteY5" fmla="*/ 16791 h 791921"/>
                  <a:gd name="connsiteX6" fmla="*/ 28962 w 190346"/>
                  <a:gd name="connsiteY6" fmla="*/ 779268 h 791921"/>
                  <a:gd name="connsiteX7" fmla="*/ 14516 w 190346"/>
                  <a:gd name="connsiteY7" fmla="*/ 791922 h 79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346" h="791921">
                    <a:moveTo>
                      <a:pt x="14516" y="791922"/>
                    </a:moveTo>
                    <a:cubicBezTo>
                      <a:pt x="14166" y="791922"/>
                      <a:pt x="13801" y="791922"/>
                      <a:pt x="13452" y="791876"/>
                    </a:cubicBezTo>
                    <a:cubicBezTo>
                      <a:pt x="5461" y="791329"/>
                      <a:pt x="-539" y="784797"/>
                      <a:pt x="38" y="777278"/>
                    </a:cubicBezTo>
                    <a:cubicBezTo>
                      <a:pt x="18374" y="540740"/>
                      <a:pt x="160242" y="16380"/>
                      <a:pt x="161730" y="10486"/>
                    </a:cubicBezTo>
                    <a:cubicBezTo>
                      <a:pt x="163584" y="3164"/>
                      <a:pt x="171438" y="-1363"/>
                      <a:pt x="179185" y="369"/>
                    </a:cubicBezTo>
                    <a:cubicBezTo>
                      <a:pt x="186978" y="2116"/>
                      <a:pt x="191793" y="9469"/>
                      <a:pt x="189955" y="16791"/>
                    </a:cubicBezTo>
                    <a:cubicBezTo>
                      <a:pt x="188466" y="22669"/>
                      <a:pt x="47146" y="544918"/>
                      <a:pt x="28962" y="779268"/>
                    </a:cubicBezTo>
                    <a:cubicBezTo>
                      <a:pt x="28400" y="786438"/>
                      <a:pt x="22035" y="791922"/>
                      <a:pt x="14516" y="791922"/>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1" name="Freeform: Shape 2510">
                <a:extLst>
                  <a:ext uri="{FF2B5EF4-FFF2-40B4-BE49-F238E27FC236}">
                    <a16:creationId xmlns:a16="http://schemas.microsoft.com/office/drawing/2014/main" id="{6E4684CC-F483-3B17-CE59-4ADE28E7D53E}"/>
                  </a:ext>
                </a:extLst>
              </p:cNvPr>
              <p:cNvSpPr/>
              <p:nvPr/>
            </p:nvSpPr>
            <p:spPr>
              <a:xfrm>
                <a:off x="8686576" y="3832614"/>
                <a:ext cx="279039" cy="869761"/>
              </a:xfrm>
              <a:custGeom>
                <a:avLst/>
                <a:gdLst>
                  <a:gd name="connsiteX0" fmla="*/ 14879 w 279039"/>
                  <a:gd name="connsiteY0" fmla="*/ 869761 h 869761"/>
                  <a:gd name="connsiteX1" fmla="*/ 37 w 279039"/>
                  <a:gd name="connsiteY1" fmla="*/ 855907 h 869761"/>
                  <a:gd name="connsiteX2" fmla="*/ 13846 w 279039"/>
                  <a:gd name="connsiteY2" fmla="*/ 840018 h 869761"/>
                  <a:gd name="connsiteX3" fmla="*/ 249274 w 279039"/>
                  <a:gd name="connsiteY3" fmla="*/ 14468 h 869761"/>
                  <a:gd name="connsiteX4" fmla="*/ 264572 w 279039"/>
                  <a:gd name="connsiteY4" fmla="*/ 6 h 869761"/>
                  <a:gd name="connsiteX5" fmla="*/ 279034 w 279039"/>
                  <a:gd name="connsiteY5" fmla="*/ 15303 h 869761"/>
                  <a:gd name="connsiteX6" fmla="*/ 239036 w 279039"/>
                  <a:gd name="connsiteY6" fmla="*/ 431367 h 869761"/>
                  <a:gd name="connsiteX7" fmla="*/ 15927 w 279039"/>
                  <a:gd name="connsiteY7" fmla="*/ 869716 h 869761"/>
                  <a:gd name="connsiteX8" fmla="*/ 14879 w 279039"/>
                  <a:gd name="connsiteY8" fmla="*/ 869746 h 86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039" h="869761">
                    <a:moveTo>
                      <a:pt x="14879" y="869761"/>
                    </a:moveTo>
                    <a:cubicBezTo>
                      <a:pt x="7131" y="869761"/>
                      <a:pt x="584" y="863761"/>
                      <a:pt x="37" y="855907"/>
                    </a:cubicBezTo>
                    <a:cubicBezTo>
                      <a:pt x="-540" y="847704"/>
                      <a:pt x="5643" y="840595"/>
                      <a:pt x="13846" y="840018"/>
                    </a:cubicBezTo>
                    <a:cubicBezTo>
                      <a:pt x="188359" y="827865"/>
                      <a:pt x="242955" y="239977"/>
                      <a:pt x="249274" y="14468"/>
                    </a:cubicBezTo>
                    <a:cubicBezTo>
                      <a:pt x="249503" y="6249"/>
                      <a:pt x="256080" y="-222"/>
                      <a:pt x="264572" y="6"/>
                    </a:cubicBezTo>
                    <a:cubicBezTo>
                      <a:pt x="272790" y="234"/>
                      <a:pt x="279262" y="7085"/>
                      <a:pt x="279034" y="15303"/>
                    </a:cubicBezTo>
                    <a:cubicBezTo>
                      <a:pt x="278973" y="17369"/>
                      <a:pt x="272851" y="224755"/>
                      <a:pt x="239036" y="431367"/>
                    </a:cubicBezTo>
                    <a:cubicBezTo>
                      <a:pt x="192597" y="715148"/>
                      <a:pt x="117524" y="862637"/>
                      <a:pt x="15927" y="869716"/>
                    </a:cubicBezTo>
                    <a:cubicBezTo>
                      <a:pt x="15578" y="869746"/>
                      <a:pt x="15228" y="869746"/>
                      <a:pt x="14879" y="869746"/>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2" name="Freeform: Shape 2511">
                <a:extLst>
                  <a:ext uri="{FF2B5EF4-FFF2-40B4-BE49-F238E27FC236}">
                    <a16:creationId xmlns:a16="http://schemas.microsoft.com/office/drawing/2014/main" id="{304861FE-AA37-C8FE-44AE-526FE9D0F668}"/>
                  </a:ext>
                </a:extLst>
              </p:cNvPr>
              <p:cNvSpPr/>
              <p:nvPr/>
            </p:nvSpPr>
            <p:spPr>
              <a:xfrm>
                <a:off x="8883713" y="4647745"/>
                <a:ext cx="228554" cy="862224"/>
              </a:xfrm>
              <a:custGeom>
                <a:avLst/>
                <a:gdLst>
                  <a:gd name="connsiteX0" fmla="*/ 214011 w 228554"/>
                  <a:gd name="connsiteY0" fmla="*/ 862209 h 862224"/>
                  <a:gd name="connsiteX1" fmla="*/ 199656 w 228554"/>
                  <a:gd name="connsiteY1" fmla="*/ 850360 h 862224"/>
                  <a:gd name="connsiteX2" fmla="*/ 4255 w 228554"/>
                  <a:gd name="connsiteY2" fmla="*/ 23291 h 862224"/>
                  <a:gd name="connsiteX3" fmla="*/ 4255 w 228554"/>
                  <a:gd name="connsiteY3" fmla="*/ 3999 h 862224"/>
                  <a:gd name="connsiteX4" fmla="*/ 24763 w 228554"/>
                  <a:gd name="connsiteY4" fmla="*/ 3999 h 862224"/>
                  <a:gd name="connsiteX5" fmla="*/ 228428 w 228554"/>
                  <a:gd name="connsiteY5" fmla="*/ 846806 h 862224"/>
                  <a:gd name="connsiteX6" fmla="*/ 215956 w 228554"/>
                  <a:gd name="connsiteY6" fmla="*/ 862103 h 862224"/>
                  <a:gd name="connsiteX7" fmla="*/ 214027 w 228554"/>
                  <a:gd name="connsiteY7" fmla="*/ 862225 h 86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554" h="862224">
                    <a:moveTo>
                      <a:pt x="214011" y="862209"/>
                    </a:moveTo>
                    <a:cubicBezTo>
                      <a:pt x="206842" y="862209"/>
                      <a:pt x="200628" y="857227"/>
                      <a:pt x="199656" y="850360"/>
                    </a:cubicBezTo>
                    <a:cubicBezTo>
                      <a:pt x="168697" y="630578"/>
                      <a:pt x="77339" y="91924"/>
                      <a:pt x="4255" y="23291"/>
                    </a:cubicBezTo>
                    <a:cubicBezTo>
                      <a:pt x="-1411" y="17975"/>
                      <a:pt x="-1426" y="9331"/>
                      <a:pt x="4255" y="3999"/>
                    </a:cubicBezTo>
                    <a:cubicBezTo>
                      <a:pt x="9907" y="-1333"/>
                      <a:pt x="19097" y="-1333"/>
                      <a:pt x="24763" y="3999"/>
                    </a:cubicBezTo>
                    <a:cubicBezTo>
                      <a:pt x="119752" y="93200"/>
                      <a:pt x="223825" y="814160"/>
                      <a:pt x="228428" y="846806"/>
                    </a:cubicBezTo>
                    <a:cubicBezTo>
                      <a:pt x="229476" y="854265"/>
                      <a:pt x="223901" y="861131"/>
                      <a:pt x="215956" y="862103"/>
                    </a:cubicBezTo>
                    <a:cubicBezTo>
                      <a:pt x="215318" y="862194"/>
                      <a:pt x="214665" y="862225"/>
                      <a:pt x="214027" y="862225"/>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3" name="Freeform: Shape 2512">
                <a:extLst>
                  <a:ext uri="{FF2B5EF4-FFF2-40B4-BE49-F238E27FC236}">
                    <a16:creationId xmlns:a16="http://schemas.microsoft.com/office/drawing/2014/main" id="{84C81EB8-9711-CB4F-94FF-E94CA01F6169}"/>
                  </a:ext>
                </a:extLst>
              </p:cNvPr>
              <p:cNvSpPr/>
              <p:nvPr/>
            </p:nvSpPr>
            <p:spPr>
              <a:xfrm>
                <a:off x="8699269" y="4593099"/>
                <a:ext cx="165179" cy="711823"/>
              </a:xfrm>
              <a:custGeom>
                <a:avLst/>
                <a:gdLst>
                  <a:gd name="connsiteX0" fmla="*/ 148960 w 165179"/>
                  <a:gd name="connsiteY0" fmla="*/ 711824 h 711823"/>
                  <a:gd name="connsiteX1" fmla="*/ 132812 w 165179"/>
                  <a:gd name="connsiteY1" fmla="*/ 697438 h 711823"/>
                  <a:gd name="connsiteX2" fmla="*/ 102750 w 165179"/>
                  <a:gd name="connsiteY2" fmla="*/ 383153 h 711823"/>
                  <a:gd name="connsiteX3" fmla="*/ 6485 w 165179"/>
                  <a:gd name="connsiteY3" fmla="*/ 27412 h 711823"/>
                  <a:gd name="connsiteX4" fmla="*/ 3234 w 165179"/>
                  <a:gd name="connsiteY4" fmla="*/ 6099 h 711823"/>
                  <a:gd name="connsiteX5" fmla="*/ 25898 w 165179"/>
                  <a:gd name="connsiteY5" fmla="*/ 3031 h 711823"/>
                  <a:gd name="connsiteX6" fmla="*/ 165153 w 165179"/>
                  <a:gd name="connsiteY6" fmla="*/ 695752 h 711823"/>
                  <a:gd name="connsiteX7" fmla="*/ 149887 w 165179"/>
                  <a:gd name="connsiteY7" fmla="*/ 711793 h 711823"/>
                  <a:gd name="connsiteX8" fmla="*/ 148975 w 165179"/>
                  <a:gd name="connsiteY8" fmla="*/ 711824 h 71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79" h="711823">
                    <a:moveTo>
                      <a:pt x="148960" y="711824"/>
                    </a:moveTo>
                    <a:cubicBezTo>
                      <a:pt x="140423" y="711824"/>
                      <a:pt x="133283" y="705550"/>
                      <a:pt x="132812" y="697438"/>
                    </a:cubicBezTo>
                    <a:cubicBezTo>
                      <a:pt x="132721" y="695904"/>
                      <a:pt x="123561" y="542642"/>
                      <a:pt x="102750" y="383153"/>
                    </a:cubicBezTo>
                    <a:cubicBezTo>
                      <a:pt x="66747" y="107256"/>
                      <a:pt x="26977" y="41844"/>
                      <a:pt x="6485" y="27412"/>
                    </a:cubicBezTo>
                    <a:cubicBezTo>
                      <a:pt x="-670" y="22369"/>
                      <a:pt x="-2129" y="12829"/>
                      <a:pt x="3234" y="6099"/>
                    </a:cubicBezTo>
                    <a:cubicBezTo>
                      <a:pt x="8596" y="-630"/>
                      <a:pt x="18743" y="-1997"/>
                      <a:pt x="25898" y="3031"/>
                    </a:cubicBezTo>
                    <a:cubicBezTo>
                      <a:pt x="125718" y="73334"/>
                      <a:pt x="161401" y="632253"/>
                      <a:pt x="165153" y="695752"/>
                    </a:cubicBezTo>
                    <a:cubicBezTo>
                      <a:pt x="165655" y="704152"/>
                      <a:pt x="158804" y="711322"/>
                      <a:pt x="149887" y="711793"/>
                    </a:cubicBezTo>
                    <a:cubicBezTo>
                      <a:pt x="149582" y="711808"/>
                      <a:pt x="149279" y="711824"/>
                      <a:pt x="148975" y="71182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4" name="Freeform: Shape 2513">
                <a:extLst>
                  <a:ext uri="{FF2B5EF4-FFF2-40B4-BE49-F238E27FC236}">
                    <a16:creationId xmlns:a16="http://schemas.microsoft.com/office/drawing/2014/main" id="{59E2FB0F-DE76-87A4-FADC-4099B3C3D253}"/>
                  </a:ext>
                </a:extLst>
              </p:cNvPr>
              <p:cNvSpPr/>
              <p:nvPr/>
            </p:nvSpPr>
            <p:spPr>
              <a:xfrm>
                <a:off x="7986928" y="4635766"/>
                <a:ext cx="225278" cy="705676"/>
              </a:xfrm>
              <a:custGeom>
                <a:avLst/>
                <a:gdLst>
                  <a:gd name="connsiteX0" fmla="*/ 14894 w 225278"/>
                  <a:gd name="connsiteY0" fmla="*/ 705676 h 705676"/>
                  <a:gd name="connsiteX1" fmla="*/ 11795 w 225278"/>
                  <a:gd name="connsiteY1" fmla="*/ 705372 h 705676"/>
                  <a:gd name="connsiteX2" fmla="*/ 326 w 225278"/>
                  <a:gd name="connsiteY2" fmla="*/ 688769 h 705676"/>
                  <a:gd name="connsiteX3" fmla="*/ 198491 w 225278"/>
                  <a:gd name="connsiteY3" fmla="*/ 5588 h 705676"/>
                  <a:gd name="connsiteX4" fmla="*/ 219334 w 225278"/>
                  <a:gd name="connsiteY4" fmla="*/ 2823 h 705676"/>
                  <a:gd name="connsiteX5" fmla="*/ 222280 w 225278"/>
                  <a:gd name="connsiteY5" fmla="*/ 22420 h 705676"/>
                  <a:gd name="connsiteX6" fmla="*/ 29447 w 225278"/>
                  <a:gd name="connsiteY6" fmla="*/ 694587 h 705676"/>
                  <a:gd name="connsiteX7" fmla="*/ 14894 w 225278"/>
                  <a:gd name="connsiteY7" fmla="*/ 705676 h 70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278" h="705676">
                    <a:moveTo>
                      <a:pt x="14894" y="705676"/>
                    </a:moveTo>
                    <a:cubicBezTo>
                      <a:pt x="13861" y="705676"/>
                      <a:pt x="12828" y="705570"/>
                      <a:pt x="11795" y="705372"/>
                    </a:cubicBezTo>
                    <a:cubicBezTo>
                      <a:pt x="3744" y="703762"/>
                      <a:pt x="-1375" y="696334"/>
                      <a:pt x="326" y="688769"/>
                    </a:cubicBezTo>
                    <a:cubicBezTo>
                      <a:pt x="5916" y="663992"/>
                      <a:pt x="138047" y="81178"/>
                      <a:pt x="198491" y="5588"/>
                    </a:cubicBezTo>
                    <a:cubicBezTo>
                      <a:pt x="203428" y="-595"/>
                      <a:pt x="212771" y="-1840"/>
                      <a:pt x="219334" y="2823"/>
                    </a:cubicBezTo>
                    <a:cubicBezTo>
                      <a:pt x="225911" y="7472"/>
                      <a:pt x="227233" y="16237"/>
                      <a:pt x="222280" y="22420"/>
                    </a:cubicBezTo>
                    <a:cubicBezTo>
                      <a:pt x="175371" y="81072"/>
                      <a:pt x="67181" y="527517"/>
                      <a:pt x="29447" y="694587"/>
                    </a:cubicBezTo>
                    <a:cubicBezTo>
                      <a:pt x="27959" y="701164"/>
                      <a:pt x="21776" y="705676"/>
                      <a:pt x="14894" y="705676"/>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5" name="Freeform: Shape 2514">
                <a:extLst>
                  <a:ext uri="{FF2B5EF4-FFF2-40B4-BE49-F238E27FC236}">
                    <a16:creationId xmlns:a16="http://schemas.microsoft.com/office/drawing/2014/main" id="{2EC421FA-77E3-41DF-11E2-366E7A51434C}"/>
                  </a:ext>
                </a:extLst>
              </p:cNvPr>
              <p:cNvSpPr/>
              <p:nvPr/>
            </p:nvSpPr>
            <p:spPr>
              <a:xfrm>
                <a:off x="8879968" y="3837216"/>
                <a:ext cx="189379" cy="895459"/>
              </a:xfrm>
              <a:custGeom>
                <a:avLst/>
                <a:gdLst>
                  <a:gd name="connsiteX0" fmla="*/ 18193 w 189379"/>
                  <a:gd name="connsiteY0" fmla="*/ 895344 h 895459"/>
                  <a:gd name="connsiteX1" fmla="*/ 253 w 189379"/>
                  <a:gd name="connsiteY1" fmla="*/ 882781 h 895459"/>
                  <a:gd name="connsiteX2" fmla="*/ 13576 w 189379"/>
                  <a:gd name="connsiteY2" fmla="*/ 864582 h 895459"/>
                  <a:gd name="connsiteX3" fmla="*/ 140663 w 189379"/>
                  <a:gd name="connsiteY3" fmla="*/ 17294 h 895459"/>
                  <a:gd name="connsiteX4" fmla="*/ 155201 w 189379"/>
                  <a:gd name="connsiteY4" fmla="*/ 113 h 895459"/>
                  <a:gd name="connsiteX5" fmla="*/ 155383 w 189379"/>
                  <a:gd name="connsiteY5" fmla="*/ 98 h 895459"/>
                  <a:gd name="connsiteX6" fmla="*/ 173339 w 189379"/>
                  <a:gd name="connsiteY6" fmla="*/ 13846 h 895459"/>
                  <a:gd name="connsiteX7" fmla="*/ 188043 w 189379"/>
                  <a:gd name="connsiteY7" fmla="*/ 432811 h 895459"/>
                  <a:gd name="connsiteX8" fmla="*/ 19273 w 189379"/>
                  <a:gd name="connsiteY8" fmla="*/ 895177 h 895459"/>
                  <a:gd name="connsiteX9" fmla="*/ 18193 w 189379"/>
                  <a:gd name="connsiteY9" fmla="*/ 895329 h 89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379" h="895459">
                    <a:moveTo>
                      <a:pt x="18193" y="895344"/>
                    </a:moveTo>
                    <a:cubicBezTo>
                      <a:pt x="9657" y="896331"/>
                      <a:pt x="1773" y="890893"/>
                      <a:pt x="253" y="882781"/>
                    </a:cubicBezTo>
                    <a:cubicBezTo>
                      <a:pt x="-1326" y="874335"/>
                      <a:pt x="4643" y="866178"/>
                      <a:pt x="13576" y="864582"/>
                    </a:cubicBezTo>
                    <a:cubicBezTo>
                      <a:pt x="187041" y="833563"/>
                      <a:pt x="164117" y="242439"/>
                      <a:pt x="140663" y="17294"/>
                    </a:cubicBezTo>
                    <a:cubicBezTo>
                      <a:pt x="139781" y="8803"/>
                      <a:pt x="146284" y="1146"/>
                      <a:pt x="155201" y="113"/>
                    </a:cubicBezTo>
                    <a:cubicBezTo>
                      <a:pt x="155262" y="113"/>
                      <a:pt x="155322" y="113"/>
                      <a:pt x="155383" y="98"/>
                    </a:cubicBezTo>
                    <a:cubicBezTo>
                      <a:pt x="164406" y="-859"/>
                      <a:pt x="172442" y="5293"/>
                      <a:pt x="173339" y="13846"/>
                    </a:cubicBezTo>
                    <a:cubicBezTo>
                      <a:pt x="173551" y="15912"/>
                      <a:pt x="194834" y="223222"/>
                      <a:pt x="188043" y="432811"/>
                    </a:cubicBezTo>
                    <a:cubicBezTo>
                      <a:pt x="178701" y="721256"/>
                      <a:pt x="121917" y="876811"/>
                      <a:pt x="19273" y="895177"/>
                    </a:cubicBezTo>
                    <a:cubicBezTo>
                      <a:pt x="18908" y="895238"/>
                      <a:pt x="18543" y="895298"/>
                      <a:pt x="18193" y="895329"/>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1" name="Graphic 3200">
              <a:extLst>
                <a:ext uri="{FF2B5EF4-FFF2-40B4-BE49-F238E27FC236}">
                  <a16:creationId xmlns:a16="http://schemas.microsoft.com/office/drawing/2014/main" id="{3A87B429-57F5-D359-984F-EE5DD41B52B2}"/>
                </a:ext>
              </a:extLst>
            </p:cNvPr>
            <p:cNvGrpSpPr/>
            <p:nvPr/>
          </p:nvGrpSpPr>
          <p:grpSpPr>
            <a:xfrm>
              <a:off x="8171040" y="3530667"/>
              <a:ext cx="1080962" cy="1068351"/>
              <a:chOff x="8081310" y="3781622"/>
              <a:chExt cx="1008242" cy="996479"/>
            </a:xfrm>
          </p:grpSpPr>
          <p:grpSp>
            <p:nvGrpSpPr>
              <p:cNvPr id="2503" name="Graphic 3200">
                <a:extLst>
                  <a:ext uri="{FF2B5EF4-FFF2-40B4-BE49-F238E27FC236}">
                    <a16:creationId xmlns:a16="http://schemas.microsoft.com/office/drawing/2014/main" id="{2EEE63D2-1BE2-20A5-8FAB-5D974F80A305}"/>
                  </a:ext>
                </a:extLst>
              </p:cNvPr>
              <p:cNvGrpSpPr/>
              <p:nvPr/>
            </p:nvGrpSpPr>
            <p:grpSpPr>
              <a:xfrm>
                <a:off x="8081310" y="4569545"/>
                <a:ext cx="951325" cy="208556"/>
                <a:chOff x="8081310" y="4569545"/>
                <a:chExt cx="951325" cy="208556"/>
              </a:xfrm>
            </p:grpSpPr>
            <p:sp>
              <p:nvSpPr>
                <p:cNvPr id="2507" name="Freeform: Shape 2506">
                  <a:extLst>
                    <a:ext uri="{FF2B5EF4-FFF2-40B4-BE49-F238E27FC236}">
                      <a16:creationId xmlns:a16="http://schemas.microsoft.com/office/drawing/2014/main" id="{9E0042CB-9265-4758-0C07-770C61A0F193}"/>
                    </a:ext>
                  </a:extLst>
                </p:cNvPr>
                <p:cNvSpPr/>
                <p:nvPr/>
              </p:nvSpPr>
              <p:spPr>
                <a:xfrm>
                  <a:off x="8081310" y="4592657"/>
                  <a:ext cx="950743" cy="185444"/>
                </a:xfrm>
                <a:custGeom>
                  <a:avLst/>
                  <a:gdLst>
                    <a:gd name="connsiteX0" fmla="*/ 37740 w 950743"/>
                    <a:gd name="connsiteY0" fmla="*/ 14517 h 185444"/>
                    <a:gd name="connsiteX1" fmla="*/ 64886 w 950743"/>
                    <a:gd name="connsiteY1" fmla="*/ 10583 h 185444"/>
                    <a:gd name="connsiteX2" fmla="*/ 619582 w 950743"/>
                    <a:gd name="connsiteY2" fmla="*/ 40 h 185444"/>
                    <a:gd name="connsiteX3" fmla="*/ 664578 w 950743"/>
                    <a:gd name="connsiteY3" fmla="*/ 6770 h 185444"/>
                    <a:gd name="connsiteX4" fmla="*/ 856956 w 950743"/>
                    <a:gd name="connsiteY4" fmla="*/ 73078 h 185444"/>
                    <a:gd name="connsiteX5" fmla="*/ 950744 w 950743"/>
                    <a:gd name="connsiteY5" fmla="*/ 100118 h 185444"/>
                    <a:gd name="connsiteX6" fmla="*/ 936054 w 950743"/>
                    <a:gd name="connsiteY6" fmla="*/ 134829 h 185444"/>
                    <a:gd name="connsiteX7" fmla="*/ 930266 w 950743"/>
                    <a:gd name="connsiteY7" fmla="*/ 140329 h 185444"/>
                    <a:gd name="connsiteX8" fmla="*/ 929021 w 950743"/>
                    <a:gd name="connsiteY8" fmla="*/ 141225 h 185444"/>
                    <a:gd name="connsiteX9" fmla="*/ 927882 w 950743"/>
                    <a:gd name="connsiteY9" fmla="*/ 141680 h 185444"/>
                    <a:gd name="connsiteX10" fmla="*/ 926666 w 950743"/>
                    <a:gd name="connsiteY10" fmla="*/ 142167 h 185444"/>
                    <a:gd name="connsiteX11" fmla="*/ 924935 w 950743"/>
                    <a:gd name="connsiteY11" fmla="*/ 142546 h 185444"/>
                    <a:gd name="connsiteX12" fmla="*/ 920894 w 950743"/>
                    <a:gd name="connsiteY12" fmla="*/ 143428 h 185444"/>
                    <a:gd name="connsiteX13" fmla="*/ 128992 w 950743"/>
                    <a:gd name="connsiteY13" fmla="*/ 174842 h 185444"/>
                    <a:gd name="connsiteX14" fmla="*/ 117462 w 950743"/>
                    <a:gd name="connsiteY14" fmla="*/ 159135 h 185444"/>
                    <a:gd name="connsiteX15" fmla="*/ 108013 w 950743"/>
                    <a:gd name="connsiteY15" fmla="*/ 151919 h 185444"/>
                    <a:gd name="connsiteX16" fmla="*/ 2983 w 950743"/>
                    <a:gd name="connsiteY16" fmla="*/ 31121 h 185444"/>
                    <a:gd name="connsiteX17" fmla="*/ 370 w 950743"/>
                    <a:gd name="connsiteY17" fmla="*/ 28220 h 185444"/>
                    <a:gd name="connsiteX18" fmla="*/ 370 w 950743"/>
                    <a:gd name="connsiteY18" fmla="*/ 26397 h 185444"/>
                    <a:gd name="connsiteX19" fmla="*/ 37709 w 950743"/>
                    <a:gd name="connsiteY19" fmla="*/ 14533 h 18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0743" h="185444">
                      <a:moveTo>
                        <a:pt x="37740" y="14517"/>
                      </a:moveTo>
                      <a:cubicBezTo>
                        <a:pt x="49255" y="12193"/>
                        <a:pt x="60132" y="10583"/>
                        <a:pt x="64886" y="10583"/>
                      </a:cubicBezTo>
                      <a:cubicBezTo>
                        <a:pt x="193948" y="9459"/>
                        <a:pt x="512258" y="-719"/>
                        <a:pt x="619582" y="40"/>
                      </a:cubicBezTo>
                      <a:cubicBezTo>
                        <a:pt x="635791" y="192"/>
                        <a:pt x="650906" y="2410"/>
                        <a:pt x="664578" y="6770"/>
                      </a:cubicBezTo>
                      <a:cubicBezTo>
                        <a:pt x="725539" y="26442"/>
                        <a:pt x="774362" y="40069"/>
                        <a:pt x="856956" y="73078"/>
                      </a:cubicBezTo>
                      <a:cubicBezTo>
                        <a:pt x="927228" y="91247"/>
                        <a:pt x="950744" y="100118"/>
                        <a:pt x="950744" y="100118"/>
                      </a:cubicBezTo>
                      <a:cubicBezTo>
                        <a:pt x="950744" y="100118"/>
                        <a:pt x="946566" y="121947"/>
                        <a:pt x="936054" y="134829"/>
                      </a:cubicBezTo>
                      <a:cubicBezTo>
                        <a:pt x="934733" y="137002"/>
                        <a:pt x="932728" y="138825"/>
                        <a:pt x="930266" y="140329"/>
                      </a:cubicBezTo>
                      <a:cubicBezTo>
                        <a:pt x="929856" y="140617"/>
                        <a:pt x="929446" y="140967"/>
                        <a:pt x="929021" y="141225"/>
                      </a:cubicBezTo>
                      <a:cubicBezTo>
                        <a:pt x="928672" y="141438"/>
                        <a:pt x="928262" y="141514"/>
                        <a:pt x="927882" y="141680"/>
                      </a:cubicBezTo>
                      <a:cubicBezTo>
                        <a:pt x="927486" y="141848"/>
                        <a:pt x="927092" y="142015"/>
                        <a:pt x="926666" y="142167"/>
                      </a:cubicBezTo>
                      <a:cubicBezTo>
                        <a:pt x="926105" y="142334"/>
                        <a:pt x="925527" y="142470"/>
                        <a:pt x="924935" y="142546"/>
                      </a:cubicBezTo>
                      <a:cubicBezTo>
                        <a:pt x="923628" y="142896"/>
                        <a:pt x="922382" y="143321"/>
                        <a:pt x="920894" y="143428"/>
                      </a:cubicBezTo>
                      <a:cubicBezTo>
                        <a:pt x="747201" y="157023"/>
                        <a:pt x="429529" y="207001"/>
                        <a:pt x="128992" y="174842"/>
                      </a:cubicBezTo>
                      <a:cubicBezTo>
                        <a:pt x="124784" y="174387"/>
                        <a:pt x="120728" y="160623"/>
                        <a:pt x="117462" y="159135"/>
                      </a:cubicBezTo>
                      <a:cubicBezTo>
                        <a:pt x="113649" y="157358"/>
                        <a:pt x="110459" y="154927"/>
                        <a:pt x="108013" y="151919"/>
                      </a:cubicBezTo>
                      <a:cubicBezTo>
                        <a:pt x="83054" y="121416"/>
                        <a:pt x="31663" y="63296"/>
                        <a:pt x="2983" y="31121"/>
                      </a:cubicBezTo>
                      <a:cubicBezTo>
                        <a:pt x="2087" y="30103"/>
                        <a:pt x="1190" y="29176"/>
                        <a:pt x="370" y="28220"/>
                      </a:cubicBezTo>
                      <a:cubicBezTo>
                        <a:pt x="-116" y="27642"/>
                        <a:pt x="-131" y="27004"/>
                        <a:pt x="370" y="26397"/>
                      </a:cubicBezTo>
                      <a:cubicBezTo>
                        <a:pt x="3074" y="22660"/>
                        <a:pt x="21015" y="17859"/>
                        <a:pt x="37709" y="14533"/>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8" name="Freeform: Shape 2507">
                  <a:extLst>
                    <a:ext uri="{FF2B5EF4-FFF2-40B4-BE49-F238E27FC236}">
                      <a16:creationId xmlns:a16="http://schemas.microsoft.com/office/drawing/2014/main" id="{73416940-2BC5-F54A-8A2B-0ADB28B380FE}"/>
                    </a:ext>
                  </a:extLst>
                </p:cNvPr>
                <p:cNvSpPr/>
                <p:nvPr/>
              </p:nvSpPr>
              <p:spPr>
                <a:xfrm>
                  <a:off x="8081680" y="4600846"/>
                  <a:ext cx="168376" cy="166622"/>
                </a:xfrm>
                <a:custGeom>
                  <a:avLst/>
                  <a:gdLst>
                    <a:gd name="connsiteX0" fmla="*/ 0 w 168376"/>
                    <a:gd name="connsiteY0" fmla="*/ 18147 h 166622"/>
                    <a:gd name="connsiteX1" fmla="*/ 0 w 168376"/>
                    <a:gd name="connsiteY1" fmla="*/ 20031 h 166622"/>
                    <a:gd name="connsiteX2" fmla="*/ 2598 w 168376"/>
                    <a:gd name="connsiteY2" fmla="*/ 22917 h 166622"/>
                    <a:gd name="connsiteX3" fmla="*/ 107658 w 168376"/>
                    <a:gd name="connsiteY3" fmla="*/ 143715 h 166622"/>
                    <a:gd name="connsiteX4" fmla="*/ 128637 w 168376"/>
                    <a:gd name="connsiteY4" fmla="*/ 166623 h 166622"/>
                    <a:gd name="connsiteX5" fmla="*/ 131007 w 168376"/>
                    <a:gd name="connsiteY5" fmla="*/ 142075 h 166622"/>
                    <a:gd name="connsiteX6" fmla="*/ 145089 w 168376"/>
                    <a:gd name="connsiteY6" fmla="*/ 123602 h 166622"/>
                    <a:gd name="connsiteX7" fmla="*/ 168377 w 168376"/>
                    <a:gd name="connsiteY7" fmla="*/ 112133 h 166622"/>
                    <a:gd name="connsiteX8" fmla="*/ 47928 w 168376"/>
                    <a:gd name="connsiteY8" fmla="*/ 12055 h 166622"/>
                    <a:gd name="connsiteX9" fmla="*/ 37370 w 168376"/>
                    <a:gd name="connsiteY9" fmla="*/ 6328 h 166622"/>
                    <a:gd name="connsiteX10" fmla="*/ 16726 w 168376"/>
                    <a:gd name="connsiteY10" fmla="*/ 480 h 166622"/>
                    <a:gd name="connsiteX11" fmla="*/ 0 w 168376"/>
                    <a:gd name="connsiteY11" fmla="*/ 18147 h 16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376" h="166622">
                      <a:moveTo>
                        <a:pt x="0" y="18147"/>
                      </a:moveTo>
                      <a:lnTo>
                        <a:pt x="0" y="20031"/>
                      </a:lnTo>
                      <a:cubicBezTo>
                        <a:pt x="0" y="20031"/>
                        <a:pt x="2598" y="22917"/>
                        <a:pt x="2598" y="22917"/>
                      </a:cubicBezTo>
                      <a:cubicBezTo>
                        <a:pt x="31293" y="55091"/>
                        <a:pt x="82684" y="113212"/>
                        <a:pt x="107658" y="143715"/>
                      </a:cubicBezTo>
                      <a:cubicBezTo>
                        <a:pt x="110104" y="146723"/>
                        <a:pt x="124809" y="164846"/>
                        <a:pt x="128637" y="166623"/>
                      </a:cubicBezTo>
                      <a:cubicBezTo>
                        <a:pt x="127863" y="162385"/>
                        <a:pt x="126693" y="152784"/>
                        <a:pt x="131007" y="142075"/>
                      </a:cubicBezTo>
                      <a:cubicBezTo>
                        <a:pt x="134971" y="132231"/>
                        <a:pt x="141458" y="126640"/>
                        <a:pt x="145089" y="123602"/>
                      </a:cubicBezTo>
                      <a:cubicBezTo>
                        <a:pt x="153899" y="116204"/>
                        <a:pt x="163060" y="113333"/>
                        <a:pt x="168377" y="112133"/>
                      </a:cubicBezTo>
                      <a:lnTo>
                        <a:pt x="47928" y="12055"/>
                      </a:lnTo>
                      <a:cubicBezTo>
                        <a:pt x="47928" y="12055"/>
                        <a:pt x="43204" y="9230"/>
                        <a:pt x="37370" y="6328"/>
                      </a:cubicBezTo>
                      <a:cubicBezTo>
                        <a:pt x="29774" y="2546"/>
                        <a:pt x="20341" y="-1389"/>
                        <a:pt x="16726" y="480"/>
                      </a:cubicBezTo>
                      <a:cubicBezTo>
                        <a:pt x="10421" y="3731"/>
                        <a:pt x="0" y="18147"/>
                        <a:pt x="0" y="18147"/>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9" name="Freeform: Shape 2508">
                  <a:extLst>
                    <a:ext uri="{FF2B5EF4-FFF2-40B4-BE49-F238E27FC236}">
                      <a16:creationId xmlns:a16="http://schemas.microsoft.com/office/drawing/2014/main" id="{8A3A9C9A-F473-2CB7-05C1-813BCF02016C}"/>
                    </a:ext>
                  </a:extLst>
                </p:cNvPr>
                <p:cNvSpPr/>
                <p:nvPr/>
              </p:nvSpPr>
              <p:spPr>
                <a:xfrm>
                  <a:off x="8097749" y="4569545"/>
                  <a:ext cx="934886" cy="171813"/>
                </a:xfrm>
                <a:custGeom>
                  <a:avLst/>
                  <a:gdLst>
                    <a:gd name="connsiteX0" fmla="*/ 917777 w 934886"/>
                    <a:gd name="connsiteY0" fmla="*/ 135124 h 171813"/>
                    <a:gd name="connsiteX1" fmla="*/ 130949 w 934886"/>
                    <a:gd name="connsiteY1" fmla="*/ 162286 h 171813"/>
                    <a:gd name="connsiteX2" fmla="*/ 110198 w 934886"/>
                    <a:gd name="connsiteY2" fmla="*/ 152655 h 171813"/>
                    <a:gd name="connsiteX3" fmla="*/ 383 w 934886"/>
                    <a:gd name="connsiteY3" fmla="*/ 33953 h 171813"/>
                    <a:gd name="connsiteX4" fmla="*/ 64611 w 934886"/>
                    <a:gd name="connsiteY4" fmla="*/ 16104 h 171813"/>
                    <a:gd name="connsiteX5" fmla="*/ 617514 w 934886"/>
                    <a:gd name="connsiteY5" fmla="*/ 1 h 171813"/>
                    <a:gd name="connsiteX6" fmla="*/ 662327 w 934886"/>
                    <a:gd name="connsiteY6" fmla="*/ 6047 h 171813"/>
                    <a:gd name="connsiteX7" fmla="*/ 925935 w 934886"/>
                    <a:gd name="connsiteY7" fmla="*/ 107918 h 171813"/>
                    <a:gd name="connsiteX8" fmla="*/ 917808 w 934886"/>
                    <a:gd name="connsiteY8" fmla="*/ 135140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886" h="171813">
                      <a:moveTo>
                        <a:pt x="917777" y="135124"/>
                      </a:moveTo>
                      <a:cubicBezTo>
                        <a:pt x="745953" y="150240"/>
                        <a:pt x="430772" y="189888"/>
                        <a:pt x="130949" y="162286"/>
                      </a:cubicBezTo>
                      <a:cubicBezTo>
                        <a:pt x="121698" y="161435"/>
                        <a:pt x="114786" y="157911"/>
                        <a:pt x="110198" y="152655"/>
                      </a:cubicBezTo>
                      <a:cubicBezTo>
                        <a:pt x="83918" y="122546"/>
                        <a:pt x="29170" y="64350"/>
                        <a:pt x="383" y="33953"/>
                      </a:cubicBezTo>
                      <a:cubicBezTo>
                        <a:pt x="-5192" y="28059"/>
                        <a:pt x="51743" y="16362"/>
                        <a:pt x="64611" y="16104"/>
                      </a:cubicBezTo>
                      <a:cubicBezTo>
                        <a:pt x="193566" y="13658"/>
                        <a:pt x="510783" y="381"/>
                        <a:pt x="617514" y="1"/>
                      </a:cubicBezTo>
                      <a:cubicBezTo>
                        <a:pt x="633647" y="-59"/>
                        <a:pt x="648731" y="1946"/>
                        <a:pt x="662327" y="6047"/>
                      </a:cubicBezTo>
                      <a:cubicBezTo>
                        <a:pt x="730367" y="26585"/>
                        <a:pt x="827544" y="71763"/>
                        <a:pt x="925935" y="107918"/>
                      </a:cubicBezTo>
                      <a:cubicBezTo>
                        <a:pt x="940898" y="113417"/>
                        <a:pt x="936371" y="133499"/>
                        <a:pt x="917808" y="135140"/>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04" name="Graphic 3200">
                <a:extLst>
                  <a:ext uri="{FF2B5EF4-FFF2-40B4-BE49-F238E27FC236}">
                    <a16:creationId xmlns:a16="http://schemas.microsoft.com/office/drawing/2014/main" id="{C292ECFF-DFE4-AA41-C3BB-55D9FD363D26}"/>
                  </a:ext>
                </a:extLst>
              </p:cNvPr>
              <p:cNvGrpSpPr/>
              <p:nvPr/>
            </p:nvGrpSpPr>
            <p:grpSpPr>
              <a:xfrm>
                <a:off x="8889159" y="3781622"/>
                <a:ext cx="200394" cy="400262"/>
                <a:chOff x="8889159" y="3781622"/>
                <a:chExt cx="200394" cy="400262"/>
              </a:xfrm>
            </p:grpSpPr>
            <p:sp>
              <p:nvSpPr>
                <p:cNvPr id="2505" name="Freeform: Shape 2504">
                  <a:extLst>
                    <a:ext uri="{FF2B5EF4-FFF2-40B4-BE49-F238E27FC236}">
                      <a16:creationId xmlns:a16="http://schemas.microsoft.com/office/drawing/2014/main" id="{B1F7667B-0D62-09DC-7BC0-6F81A539C677}"/>
                    </a:ext>
                  </a:extLst>
                </p:cNvPr>
                <p:cNvSpPr/>
                <p:nvPr/>
              </p:nvSpPr>
              <p:spPr>
                <a:xfrm>
                  <a:off x="8898623" y="3783931"/>
                  <a:ext cx="190930" cy="397953"/>
                </a:xfrm>
                <a:custGeom>
                  <a:avLst/>
                  <a:gdLst>
                    <a:gd name="connsiteX0" fmla="*/ 173930 w 190930"/>
                    <a:gd name="connsiteY0" fmla="*/ 13355 h 397953"/>
                    <a:gd name="connsiteX1" fmla="*/ 37060 w 190930"/>
                    <a:gd name="connsiteY1" fmla="*/ 63 h 397953"/>
                    <a:gd name="connsiteX2" fmla="*/ 12253 w 190930"/>
                    <a:gd name="connsiteY2" fmla="*/ 39103 h 397953"/>
                    <a:gd name="connsiteX3" fmla="*/ 177 w 190930"/>
                    <a:gd name="connsiteY3" fmla="*/ 307724 h 397953"/>
                    <a:gd name="connsiteX4" fmla="*/ 25470 w 190930"/>
                    <a:gd name="connsiteY4" fmla="*/ 364569 h 397953"/>
                    <a:gd name="connsiteX5" fmla="*/ 144764 w 190930"/>
                    <a:gd name="connsiteY5" fmla="*/ 396196 h 397953"/>
                    <a:gd name="connsiteX6" fmla="*/ 173049 w 190930"/>
                    <a:gd name="connsiteY6" fmla="*/ 363839 h 397953"/>
                    <a:gd name="connsiteX7" fmla="*/ 190853 w 190930"/>
                    <a:gd name="connsiteY7" fmla="*/ 47124 h 397953"/>
                    <a:gd name="connsiteX8" fmla="*/ 173945 w 190930"/>
                    <a:gd name="connsiteY8" fmla="*/ 13355 h 39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30" h="397953">
                      <a:moveTo>
                        <a:pt x="173930" y="13355"/>
                      </a:moveTo>
                      <a:lnTo>
                        <a:pt x="37060" y="63"/>
                      </a:lnTo>
                      <a:cubicBezTo>
                        <a:pt x="24057" y="-1198"/>
                        <a:pt x="12649" y="16742"/>
                        <a:pt x="12253" y="39103"/>
                      </a:cubicBezTo>
                      <a:cubicBezTo>
                        <a:pt x="11266" y="94489"/>
                        <a:pt x="5448" y="221850"/>
                        <a:pt x="177" y="307724"/>
                      </a:cubicBezTo>
                      <a:cubicBezTo>
                        <a:pt x="-1540" y="335706"/>
                        <a:pt x="9412" y="360315"/>
                        <a:pt x="25470" y="364569"/>
                      </a:cubicBezTo>
                      <a:lnTo>
                        <a:pt x="144764" y="396196"/>
                      </a:lnTo>
                      <a:cubicBezTo>
                        <a:pt x="157691" y="403442"/>
                        <a:pt x="171697" y="387431"/>
                        <a:pt x="173049" y="363839"/>
                      </a:cubicBezTo>
                      <a:cubicBezTo>
                        <a:pt x="177713" y="282826"/>
                        <a:pt x="187131" y="118096"/>
                        <a:pt x="190853" y="47124"/>
                      </a:cubicBezTo>
                      <a:cubicBezTo>
                        <a:pt x="191780" y="29412"/>
                        <a:pt x="184245" y="14357"/>
                        <a:pt x="173945" y="13355"/>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6" name="Freeform: Shape 2505">
                  <a:extLst>
                    <a:ext uri="{FF2B5EF4-FFF2-40B4-BE49-F238E27FC236}">
                      <a16:creationId xmlns:a16="http://schemas.microsoft.com/office/drawing/2014/main" id="{CE5EE7C9-FDC5-6D44-177B-657D0ED6C728}"/>
                    </a:ext>
                  </a:extLst>
                </p:cNvPr>
                <p:cNvSpPr/>
                <p:nvPr/>
              </p:nvSpPr>
              <p:spPr>
                <a:xfrm>
                  <a:off x="8889159" y="3781622"/>
                  <a:ext cx="190930" cy="397953"/>
                </a:xfrm>
                <a:custGeom>
                  <a:avLst/>
                  <a:gdLst>
                    <a:gd name="connsiteX0" fmla="*/ 173930 w 190930"/>
                    <a:gd name="connsiteY0" fmla="*/ 13355 h 397953"/>
                    <a:gd name="connsiteX1" fmla="*/ 37060 w 190930"/>
                    <a:gd name="connsiteY1" fmla="*/ 63 h 397953"/>
                    <a:gd name="connsiteX2" fmla="*/ 12253 w 190930"/>
                    <a:gd name="connsiteY2" fmla="*/ 39103 h 397953"/>
                    <a:gd name="connsiteX3" fmla="*/ 177 w 190930"/>
                    <a:gd name="connsiteY3" fmla="*/ 307724 h 397953"/>
                    <a:gd name="connsiteX4" fmla="*/ 25470 w 190930"/>
                    <a:gd name="connsiteY4" fmla="*/ 364569 h 397953"/>
                    <a:gd name="connsiteX5" fmla="*/ 144764 w 190930"/>
                    <a:gd name="connsiteY5" fmla="*/ 396196 h 397953"/>
                    <a:gd name="connsiteX6" fmla="*/ 173049 w 190930"/>
                    <a:gd name="connsiteY6" fmla="*/ 363839 h 397953"/>
                    <a:gd name="connsiteX7" fmla="*/ 190853 w 190930"/>
                    <a:gd name="connsiteY7" fmla="*/ 47124 h 397953"/>
                    <a:gd name="connsiteX8" fmla="*/ 173945 w 190930"/>
                    <a:gd name="connsiteY8" fmla="*/ 13355 h 39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30" h="397953">
                      <a:moveTo>
                        <a:pt x="173930" y="13355"/>
                      </a:moveTo>
                      <a:lnTo>
                        <a:pt x="37060" y="63"/>
                      </a:lnTo>
                      <a:cubicBezTo>
                        <a:pt x="24057" y="-1198"/>
                        <a:pt x="12649" y="16742"/>
                        <a:pt x="12253" y="39103"/>
                      </a:cubicBezTo>
                      <a:cubicBezTo>
                        <a:pt x="11266" y="94489"/>
                        <a:pt x="5448" y="221850"/>
                        <a:pt x="177" y="307724"/>
                      </a:cubicBezTo>
                      <a:cubicBezTo>
                        <a:pt x="-1540" y="335706"/>
                        <a:pt x="9412" y="360315"/>
                        <a:pt x="25470" y="364569"/>
                      </a:cubicBezTo>
                      <a:lnTo>
                        <a:pt x="144764" y="396196"/>
                      </a:lnTo>
                      <a:cubicBezTo>
                        <a:pt x="157691" y="403442"/>
                        <a:pt x="171697" y="387431"/>
                        <a:pt x="173049" y="363839"/>
                      </a:cubicBezTo>
                      <a:cubicBezTo>
                        <a:pt x="177713" y="282826"/>
                        <a:pt x="187131" y="118096"/>
                        <a:pt x="190853" y="47124"/>
                      </a:cubicBezTo>
                      <a:cubicBezTo>
                        <a:pt x="191780" y="29412"/>
                        <a:pt x="184245" y="14357"/>
                        <a:pt x="173945" y="13355"/>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2" name="Graphic 3200">
              <a:extLst>
                <a:ext uri="{FF2B5EF4-FFF2-40B4-BE49-F238E27FC236}">
                  <a16:creationId xmlns:a16="http://schemas.microsoft.com/office/drawing/2014/main" id="{0C4F145E-51B2-ECEC-BD2C-7A65D3AC15A7}"/>
                </a:ext>
              </a:extLst>
            </p:cNvPr>
            <p:cNvGrpSpPr/>
            <p:nvPr/>
          </p:nvGrpSpPr>
          <p:grpSpPr>
            <a:xfrm>
              <a:off x="7685164" y="4073234"/>
              <a:ext cx="1162172" cy="1206916"/>
              <a:chOff x="7628120" y="4287688"/>
              <a:chExt cx="1083989" cy="1125722"/>
            </a:xfrm>
          </p:grpSpPr>
          <p:grpSp>
            <p:nvGrpSpPr>
              <p:cNvPr id="2483" name="Graphic 3200">
                <a:extLst>
                  <a:ext uri="{FF2B5EF4-FFF2-40B4-BE49-F238E27FC236}">
                    <a16:creationId xmlns:a16="http://schemas.microsoft.com/office/drawing/2014/main" id="{8814BA32-6CCB-0626-8FC0-B4FDB4A02050}"/>
                  </a:ext>
                </a:extLst>
              </p:cNvPr>
              <p:cNvGrpSpPr/>
              <p:nvPr/>
            </p:nvGrpSpPr>
            <p:grpSpPr>
              <a:xfrm>
                <a:off x="7819238" y="4287688"/>
                <a:ext cx="892871" cy="375471"/>
                <a:chOff x="7819238" y="4287688"/>
                <a:chExt cx="892871" cy="375471"/>
              </a:xfrm>
            </p:grpSpPr>
            <p:sp>
              <p:nvSpPr>
                <p:cNvPr id="2499" name="Freeform: Shape 2498">
                  <a:extLst>
                    <a:ext uri="{FF2B5EF4-FFF2-40B4-BE49-F238E27FC236}">
                      <a16:creationId xmlns:a16="http://schemas.microsoft.com/office/drawing/2014/main" id="{4ACE5EA2-F8B0-1545-B22E-AC49B31BB563}"/>
                    </a:ext>
                  </a:extLst>
                </p:cNvPr>
                <p:cNvSpPr/>
                <p:nvPr/>
              </p:nvSpPr>
              <p:spPr>
                <a:xfrm>
                  <a:off x="7822979" y="4292109"/>
                  <a:ext cx="883821" cy="366649"/>
                </a:xfrm>
                <a:custGeom>
                  <a:avLst/>
                  <a:gdLst>
                    <a:gd name="connsiteX0" fmla="*/ 883488 w 883821"/>
                    <a:gd name="connsiteY0" fmla="*/ 168837 h 366649"/>
                    <a:gd name="connsiteX1" fmla="*/ 643183 w 883821"/>
                    <a:gd name="connsiteY1" fmla="*/ 6 h 366649"/>
                    <a:gd name="connsiteX2" fmla="*/ 34529 w 883821"/>
                    <a:gd name="connsiteY2" fmla="*/ 73803 h 366649"/>
                    <a:gd name="connsiteX3" fmla="*/ 71139 w 883821"/>
                    <a:gd name="connsiteY3" fmla="*/ 253663 h 366649"/>
                    <a:gd name="connsiteX4" fmla="*/ 475445 w 883821"/>
                    <a:gd name="connsiteY4" fmla="*/ 354668 h 366649"/>
                    <a:gd name="connsiteX5" fmla="*/ 883488 w 883821"/>
                    <a:gd name="connsiteY5" fmla="*/ 168837 h 3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3821" h="366649">
                      <a:moveTo>
                        <a:pt x="883488" y="168837"/>
                      </a:moveTo>
                      <a:cubicBezTo>
                        <a:pt x="883488" y="168837"/>
                        <a:pt x="872125" y="-1119"/>
                        <a:pt x="643183" y="6"/>
                      </a:cubicBezTo>
                      <a:cubicBezTo>
                        <a:pt x="428839" y="1054"/>
                        <a:pt x="122150" y="3226"/>
                        <a:pt x="34529" y="73803"/>
                      </a:cubicBezTo>
                      <a:cubicBezTo>
                        <a:pt x="8067" y="92807"/>
                        <a:pt x="-42929" y="210460"/>
                        <a:pt x="71139" y="253663"/>
                      </a:cubicBezTo>
                      <a:cubicBezTo>
                        <a:pt x="185193" y="296866"/>
                        <a:pt x="368653" y="337988"/>
                        <a:pt x="475445" y="354668"/>
                      </a:cubicBezTo>
                      <a:cubicBezTo>
                        <a:pt x="582237" y="371347"/>
                        <a:pt x="895443" y="405603"/>
                        <a:pt x="883488" y="16883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00" name="Graphic 3200">
                  <a:extLst>
                    <a:ext uri="{FF2B5EF4-FFF2-40B4-BE49-F238E27FC236}">
                      <a16:creationId xmlns:a16="http://schemas.microsoft.com/office/drawing/2014/main" id="{37B855F2-D2D6-7823-9952-36B7DA2975CD}"/>
                    </a:ext>
                  </a:extLst>
                </p:cNvPr>
                <p:cNvGrpSpPr/>
                <p:nvPr/>
              </p:nvGrpSpPr>
              <p:grpSpPr>
                <a:xfrm>
                  <a:off x="7819238" y="4287688"/>
                  <a:ext cx="892871" cy="375471"/>
                  <a:chOff x="7819238" y="4287688"/>
                  <a:chExt cx="892871" cy="375471"/>
                </a:xfrm>
              </p:grpSpPr>
              <p:sp>
                <p:nvSpPr>
                  <p:cNvPr id="2501" name="Freeform: Shape 2500">
                    <a:extLst>
                      <a:ext uri="{FF2B5EF4-FFF2-40B4-BE49-F238E27FC236}">
                        <a16:creationId xmlns:a16="http://schemas.microsoft.com/office/drawing/2014/main" id="{3FA09B3A-3882-C79E-373F-642D93E7A97E}"/>
                      </a:ext>
                    </a:extLst>
                  </p:cNvPr>
                  <p:cNvSpPr/>
                  <p:nvPr/>
                </p:nvSpPr>
                <p:spPr>
                  <a:xfrm>
                    <a:off x="7819238" y="4287688"/>
                    <a:ext cx="892871" cy="375471"/>
                  </a:xfrm>
                  <a:custGeom>
                    <a:avLst/>
                    <a:gdLst>
                      <a:gd name="connsiteX0" fmla="*/ 892805 w 892871"/>
                      <a:gd name="connsiteY0" fmla="*/ 190819 h 375471"/>
                      <a:gd name="connsiteX1" fmla="*/ 774832 w 892871"/>
                      <a:gd name="connsiteY1" fmla="*/ 20696 h 375471"/>
                      <a:gd name="connsiteX2" fmla="*/ 548291 w 892871"/>
                      <a:gd name="connsiteY2" fmla="*/ 173 h 375471"/>
                      <a:gd name="connsiteX3" fmla="*/ 132834 w 892871"/>
                      <a:gd name="connsiteY3" fmla="*/ 36085 h 375471"/>
                      <a:gd name="connsiteX4" fmla="*/ 324 w 892871"/>
                      <a:gd name="connsiteY4" fmla="*/ 175856 h 375471"/>
                      <a:gd name="connsiteX5" fmla="*/ 145655 w 892871"/>
                      <a:gd name="connsiteY5" fmla="*/ 287418 h 375471"/>
                      <a:gd name="connsiteX6" fmla="*/ 622665 w 892871"/>
                      <a:gd name="connsiteY6" fmla="*/ 375465 h 375471"/>
                      <a:gd name="connsiteX7" fmla="*/ 892805 w 892871"/>
                      <a:gd name="connsiteY7" fmla="*/ 190819 h 37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2871" h="375471">
                        <a:moveTo>
                          <a:pt x="892805" y="190819"/>
                        </a:moveTo>
                        <a:cubicBezTo>
                          <a:pt x="892805" y="190819"/>
                          <a:pt x="899641" y="67712"/>
                          <a:pt x="774832" y="20696"/>
                        </a:cubicBezTo>
                        <a:cubicBezTo>
                          <a:pt x="745772" y="9577"/>
                          <a:pt x="678234" y="-1528"/>
                          <a:pt x="548291" y="173"/>
                        </a:cubicBezTo>
                        <a:cubicBezTo>
                          <a:pt x="418347" y="1875"/>
                          <a:pt x="231985" y="10427"/>
                          <a:pt x="132834" y="36085"/>
                        </a:cubicBezTo>
                        <a:cubicBezTo>
                          <a:pt x="33668" y="61727"/>
                          <a:pt x="-3945" y="87810"/>
                          <a:pt x="324" y="175856"/>
                        </a:cubicBezTo>
                        <a:cubicBezTo>
                          <a:pt x="3742" y="253649"/>
                          <a:pt x="110595" y="277164"/>
                          <a:pt x="145655" y="287418"/>
                        </a:cubicBezTo>
                        <a:cubicBezTo>
                          <a:pt x="145655" y="287418"/>
                          <a:pt x="414930" y="376331"/>
                          <a:pt x="622665" y="375465"/>
                        </a:cubicBezTo>
                        <a:cubicBezTo>
                          <a:pt x="830401" y="374614"/>
                          <a:pt x="892805" y="300240"/>
                          <a:pt x="892805" y="190819"/>
                        </a:cubicBezTo>
                        <a:close/>
                      </a:path>
                    </a:pathLst>
                  </a:custGeom>
                  <a:solidFill>
                    <a:srgbClr val="D465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2" name="Freeform: Shape 2501">
                    <a:extLst>
                      <a:ext uri="{FF2B5EF4-FFF2-40B4-BE49-F238E27FC236}">
                        <a16:creationId xmlns:a16="http://schemas.microsoft.com/office/drawing/2014/main" id="{33DE5E92-E8E4-586D-1811-27BF7E9A4D96}"/>
                      </a:ext>
                    </a:extLst>
                  </p:cNvPr>
                  <p:cNvSpPr/>
                  <p:nvPr/>
                </p:nvSpPr>
                <p:spPr>
                  <a:xfrm>
                    <a:off x="8005225" y="4466172"/>
                    <a:ext cx="84035" cy="144374"/>
                  </a:xfrm>
                  <a:custGeom>
                    <a:avLst/>
                    <a:gdLst>
                      <a:gd name="connsiteX0" fmla="*/ 0 w 84035"/>
                      <a:gd name="connsiteY0" fmla="*/ 121345 h 144374"/>
                      <a:gd name="connsiteX1" fmla="*/ 20218 w 84035"/>
                      <a:gd name="connsiteY1" fmla="*/ 0 h 144374"/>
                      <a:gd name="connsiteX2" fmla="*/ 84036 w 84035"/>
                      <a:gd name="connsiteY2" fmla="*/ 144374 h 144374"/>
                      <a:gd name="connsiteX3" fmla="*/ 0 w 84035"/>
                      <a:gd name="connsiteY3" fmla="*/ 121345 h 144374"/>
                    </a:gdLst>
                    <a:ahLst/>
                    <a:cxnLst>
                      <a:cxn ang="0">
                        <a:pos x="connsiteX0" y="connsiteY0"/>
                      </a:cxn>
                      <a:cxn ang="0">
                        <a:pos x="connsiteX1" y="connsiteY1"/>
                      </a:cxn>
                      <a:cxn ang="0">
                        <a:pos x="connsiteX2" y="connsiteY2"/>
                      </a:cxn>
                      <a:cxn ang="0">
                        <a:pos x="connsiteX3" y="connsiteY3"/>
                      </a:cxn>
                    </a:cxnLst>
                    <a:rect l="l" t="t" r="r" b="b"/>
                    <a:pathLst>
                      <a:path w="84035" h="144374">
                        <a:moveTo>
                          <a:pt x="0" y="121345"/>
                        </a:moveTo>
                        <a:lnTo>
                          <a:pt x="20218" y="0"/>
                        </a:lnTo>
                        <a:cubicBezTo>
                          <a:pt x="20218" y="0"/>
                          <a:pt x="64272" y="37112"/>
                          <a:pt x="84036" y="144374"/>
                        </a:cubicBezTo>
                        <a:cubicBezTo>
                          <a:pt x="50251" y="135792"/>
                          <a:pt x="21388" y="127649"/>
                          <a:pt x="0" y="121345"/>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484" name="Graphic 3200">
                <a:extLst>
                  <a:ext uri="{FF2B5EF4-FFF2-40B4-BE49-F238E27FC236}">
                    <a16:creationId xmlns:a16="http://schemas.microsoft.com/office/drawing/2014/main" id="{8F967BD3-7C4B-6931-AEE7-AB1045E0D389}"/>
                  </a:ext>
                </a:extLst>
              </p:cNvPr>
              <p:cNvGrpSpPr/>
              <p:nvPr/>
            </p:nvGrpSpPr>
            <p:grpSpPr>
              <a:xfrm>
                <a:off x="7628120" y="5048181"/>
                <a:ext cx="411136" cy="365229"/>
                <a:chOff x="7628120" y="5048181"/>
                <a:chExt cx="411136" cy="365229"/>
              </a:xfrm>
            </p:grpSpPr>
            <p:grpSp>
              <p:nvGrpSpPr>
                <p:cNvPr id="2488" name="Graphic 3200">
                  <a:extLst>
                    <a:ext uri="{FF2B5EF4-FFF2-40B4-BE49-F238E27FC236}">
                      <a16:creationId xmlns:a16="http://schemas.microsoft.com/office/drawing/2014/main" id="{A5B2CF50-D205-7568-B6AE-88EC032C3F7D}"/>
                    </a:ext>
                  </a:extLst>
                </p:cNvPr>
                <p:cNvGrpSpPr/>
                <p:nvPr/>
              </p:nvGrpSpPr>
              <p:grpSpPr>
                <a:xfrm>
                  <a:off x="7628120" y="5291582"/>
                  <a:ext cx="411136" cy="121828"/>
                  <a:chOff x="7628120" y="5291582"/>
                  <a:chExt cx="411136" cy="121828"/>
                </a:xfrm>
              </p:grpSpPr>
              <p:grpSp>
                <p:nvGrpSpPr>
                  <p:cNvPr id="2493" name="Graphic 3200">
                    <a:extLst>
                      <a:ext uri="{FF2B5EF4-FFF2-40B4-BE49-F238E27FC236}">
                        <a16:creationId xmlns:a16="http://schemas.microsoft.com/office/drawing/2014/main" id="{12F12E94-088E-4508-A311-4AF1EEACFAFB}"/>
                      </a:ext>
                    </a:extLst>
                  </p:cNvPr>
                  <p:cNvGrpSpPr/>
                  <p:nvPr/>
                </p:nvGrpSpPr>
                <p:grpSpPr>
                  <a:xfrm>
                    <a:off x="7928708" y="5335077"/>
                    <a:ext cx="106001" cy="78333"/>
                    <a:chOff x="7928708" y="5335077"/>
                    <a:chExt cx="106001" cy="78333"/>
                  </a:xfrm>
                </p:grpSpPr>
                <p:sp>
                  <p:nvSpPr>
                    <p:cNvPr id="2497" name="Freeform: Shape 2496">
                      <a:extLst>
                        <a:ext uri="{FF2B5EF4-FFF2-40B4-BE49-F238E27FC236}">
                          <a16:creationId xmlns:a16="http://schemas.microsoft.com/office/drawing/2014/main" id="{1036CF2E-7F44-1C16-FC51-B0A431EDB764}"/>
                        </a:ext>
                      </a:extLst>
                    </p:cNvPr>
                    <p:cNvSpPr/>
                    <p:nvPr/>
                  </p:nvSpPr>
                  <p:spPr>
                    <a:xfrm>
                      <a:off x="7959196" y="5335077"/>
                      <a:ext cx="75513" cy="78333"/>
                    </a:xfrm>
                    <a:custGeom>
                      <a:avLst/>
                      <a:gdLst>
                        <a:gd name="connsiteX0" fmla="*/ 75514 w 75513"/>
                        <a:gd name="connsiteY0" fmla="*/ 0 h 78333"/>
                        <a:gd name="connsiteX1" fmla="*/ 75514 w 75513"/>
                        <a:gd name="connsiteY1" fmla="*/ 68648 h 78333"/>
                        <a:gd name="connsiteX2" fmla="*/ 74435 w 75513"/>
                        <a:gd name="connsiteY2" fmla="*/ 70349 h 78333"/>
                        <a:gd name="connsiteX3" fmla="*/ 0 w 75513"/>
                        <a:gd name="connsiteY3" fmla="*/ 77504 h 78333"/>
                        <a:gd name="connsiteX4" fmla="*/ 0 w 75513"/>
                        <a:gd name="connsiteY4" fmla="*/ 17956 h 78333"/>
                        <a:gd name="connsiteX5" fmla="*/ 75514 w 75513"/>
                        <a:gd name="connsiteY5" fmla="*/ 0 h 7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3" h="78333">
                          <a:moveTo>
                            <a:pt x="75514" y="0"/>
                          </a:moveTo>
                          <a:lnTo>
                            <a:pt x="75514" y="68648"/>
                          </a:lnTo>
                          <a:cubicBezTo>
                            <a:pt x="75514" y="69377"/>
                            <a:pt x="75089" y="70045"/>
                            <a:pt x="74435" y="70349"/>
                          </a:cubicBezTo>
                          <a:cubicBezTo>
                            <a:pt x="69590" y="72613"/>
                            <a:pt x="48018" y="80968"/>
                            <a:pt x="0" y="77504"/>
                          </a:cubicBezTo>
                          <a:lnTo>
                            <a:pt x="0" y="17956"/>
                          </a:lnTo>
                          <a:lnTo>
                            <a:pt x="75514" y="0"/>
                          </a:ln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8" name="Freeform: Shape 2497">
                      <a:extLst>
                        <a:ext uri="{FF2B5EF4-FFF2-40B4-BE49-F238E27FC236}">
                          <a16:creationId xmlns:a16="http://schemas.microsoft.com/office/drawing/2014/main" id="{612743D2-51C8-9B31-EDBE-BFD60F5C1C96}"/>
                        </a:ext>
                      </a:extLst>
                    </p:cNvPr>
                    <p:cNvSpPr/>
                    <p:nvPr/>
                  </p:nvSpPr>
                  <p:spPr>
                    <a:xfrm>
                      <a:off x="7928708" y="5353017"/>
                      <a:ext cx="30487" cy="59563"/>
                    </a:xfrm>
                    <a:custGeom>
                      <a:avLst/>
                      <a:gdLst>
                        <a:gd name="connsiteX0" fmla="*/ 30488 w 30487"/>
                        <a:gd name="connsiteY0" fmla="*/ 59563 h 59563"/>
                        <a:gd name="connsiteX1" fmla="*/ 1489 w 30487"/>
                        <a:gd name="connsiteY1" fmla="*/ 46818 h 59563"/>
                        <a:gd name="connsiteX2" fmla="*/ 0 w 30487"/>
                        <a:gd name="connsiteY2" fmla="*/ 44540 h 59563"/>
                        <a:gd name="connsiteX3" fmla="*/ 0 w 30487"/>
                        <a:gd name="connsiteY3" fmla="*/ 0 h 59563"/>
                        <a:gd name="connsiteX4" fmla="*/ 30488 w 30487"/>
                        <a:gd name="connsiteY4" fmla="*/ 0 h 59563"/>
                        <a:gd name="connsiteX5" fmla="*/ 30488 w 30487"/>
                        <a:gd name="connsiteY5" fmla="*/ 59548 h 5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7" h="59563">
                          <a:moveTo>
                            <a:pt x="30488" y="59563"/>
                          </a:moveTo>
                          <a:lnTo>
                            <a:pt x="1489" y="46818"/>
                          </a:lnTo>
                          <a:cubicBezTo>
                            <a:pt x="592" y="46424"/>
                            <a:pt x="0" y="45527"/>
                            <a:pt x="0" y="44540"/>
                          </a:cubicBezTo>
                          <a:lnTo>
                            <a:pt x="0" y="0"/>
                          </a:lnTo>
                          <a:lnTo>
                            <a:pt x="30488" y="0"/>
                          </a:lnTo>
                          <a:lnTo>
                            <a:pt x="30488" y="59548"/>
                          </a:lnTo>
                          <a:close/>
                        </a:path>
                      </a:pathLst>
                    </a:custGeom>
                    <a:solidFill>
                      <a:srgbClr val="1721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94" name="Graphic 3200">
                    <a:extLst>
                      <a:ext uri="{FF2B5EF4-FFF2-40B4-BE49-F238E27FC236}">
                        <a16:creationId xmlns:a16="http://schemas.microsoft.com/office/drawing/2014/main" id="{D4EA7A0E-5658-339F-D7D3-7FBD658F09B1}"/>
                      </a:ext>
                    </a:extLst>
                  </p:cNvPr>
                  <p:cNvGrpSpPr/>
                  <p:nvPr/>
                </p:nvGrpSpPr>
                <p:grpSpPr>
                  <a:xfrm>
                    <a:off x="7628120" y="5291582"/>
                    <a:ext cx="411136" cy="118787"/>
                    <a:chOff x="7628120" y="5291582"/>
                    <a:chExt cx="411136" cy="118787"/>
                  </a:xfrm>
                </p:grpSpPr>
                <p:sp>
                  <p:nvSpPr>
                    <p:cNvPr id="2495" name="Freeform: Shape 2494">
                      <a:extLst>
                        <a:ext uri="{FF2B5EF4-FFF2-40B4-BE49-F238E27FC236}">
                          <a16:creationId xmlns:a16="http://schemas.microsoft.com/office/drawing/2014/main" id="{F90ED0DC-C4C9-2877-A737-F6EC630629E6}"/>
                        </a:ext>
                      </a:extLst>
                    </p:cNvPr>
                    <p:cNvSpPr/>
                    <p:nvPr/>
                  </p:nvSpPr>
                  <p:spPr>
                    <a:xfrm>
                      <a:off x="7628334" y="5291582"/>
                      <a:ext cx="405604" cy="102179"/>
                    </a:xfrm>
                    <a:custGeom>
                      <a:avLst/>
                      <a:gdLst>
                        <a:gd name="connsiteX0" fmla="*/ 405510 w 405604"/>
                        <a:gd name="connsiteY0" fmla="*/ 3603 h 102179"/>
                        <a:gd name="connsiteX1" fmla="*/ 368186 w 405604"/>
                        <a:gd name="connsiteY1" fmla="*/ 7158 h 102179"/>
                        <a:gd name="connsiteX2" fmla="*/ 174137 w 405604"/>
                        <a:gd name="connsiteY2" fmla="*/ 73694 h 102179"/>
                        <a:gd name="connsiteX3" fmla="*/ 53035 w 405604"/>
                        <a:gd name="connsiteY3" fmla="*/ 73117 h 102179"/>
                        <a:gd name="connsiteX4" fmla="*/ 34 w 405604"/>
                        <a:gd name="connsiteY4" fmla="*/ 73694 h 102179"/>
                        <a:gd name="connsiteX5" fmla="*/ 55314 w 405604"/>
                        <a:gd name="connsiteY5" fmla="*/ 96496 h 102179"/>
                        <a:gd name="connsiteX6" fmla="*/ 231134 w 405604"/>
                        <a:gd name="connsiteY6" fmla="*/ 78251 h 102179"/>
                        <a:gd name="connsiteX7" fmla="*/ 405525 w 405604"/>
                        <a:gd name="connsiteY7" fmla="*/ 3588 h 10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604" h="102179">
                          <a:moveTo>
                            <a:pt x="405510" y="3603"/>
                          </a:moveTo>
                          <a:cubicBezTo>
                            <a:pt x="405510" y="3603"/>
                            <a:pt x="401241" y="-6514"/>
                            <a:pt x="368186" y="7158"/>
                          </a:cubicBezTo>
                          <a:cubicBezTo>
                            <a:pt x="335130" y="20830"/>
                            <a:pt x="210611" y="61723"/>
                            <a:pt x="174137" y="73694"/>
                          </a:cubicBezTo>
                          <a:cubicBezTo>
                            <a:pt x="137664" y="85664"/>
                            <a:pt x="79817" y="77112"/>
                            <a:pt x="53035" y="73117"/>
                          </a:cubicBezTo>
                          <a:cubicBezTo>
                            <a:pt x="26254" y="69122"/>
                            <a:pt x="-1105" y="66281"/>
                            <a:pt x="34" y="73694"/>
                          </a:cubicBezTo>
                          <a:cubicBezTo>
                            <a:pt x="34" y="73694"/>
                            <a:pt x="9726" y="90222"/>
                            <a:pt x="55314" y="96496"/>
                          </a:cubicBezTo>
                          <a:cubicBezTo>
                            <a:pt x="100902" y="102769"/>
                            <a:pt x="160465" y="110745"/>
                            <a:pt x="231134" y="78251"/>
                          </a:cubicBezTo>
                          <a:cubicBezTo>
                            <a:pt x="301802" y="45773"/>
                            <a:pt x="408943" y="42917"/>
                            <a:pt x="405525" y="3588"/>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6" name="Freeform: Shape 2495">
                      <a:extLst>
                        <a:ext uri="{FF2B5EF4-FFF2-40B4-BE49-F238E27FC236}">
                          <a16:creationId xmlns:a16="http://schemas.microsoft.com/office/drawing/2014/main" id="{3064B34C-05A9-06A1-D7D8-93E5C161AF3A}"/>
                        </a:ext>
                      </a:extLst>
                    </p:cNvPr>
                    <p:cNvSpPr/>
                    <p:nvPr/>
                  </p:nvSpPr>
                  <p:spPr>
                    <a:xfrm>
                      <a:off x="7628120" y="5295185"/>
                      <a:ext cx="411136" cy="115184"/>
                    </a:xfrm>
                    <a:custGeom>
                      <a:avLst/>
                      <a:gdLst>
                        <a:gd name="connsiteX0" fmla="*/ 405725 w 411136"/>
                        <a:gd name="connsiteY0" fmla="*/ 0 h 115184"/>
                        <a:gd name="connsiteX1" fmla="*/ 410905 w 411136"/>
                        <a:gd name="connsiteY1" fmla="*/ 32949 h 115184"/>
                        <a:gd name="connsiteX2" fmla="*/ 404373 w 411136"/>
                        <a:gd name="connsiteY2" fmla="*/ 41244 h 115184"/>
                        <a:gd name="connsiteX3" fmla="*/ 300284 w 411136"/>
                        <a:gd name="connsiteY3" fmla="*/ 71246 h 115184"/>
                        <a:gd name="connsiteX4" fmla="*/ 201604 w 411136"/>
                        <a:gd name="connsiteY4" fmla="*/ 106777 h 115184"/>
                        <a:gd name="connsiteX5" fmla="*/ 181355 w 411136"/>
                        <a:gd name="connsiteY5" fmla="*/ 112367 h 115184"/>
                        <a:gd name="connsiteX6" fmla="*/ 9819 w 411136"/>
                        <a:gd name="connsiteY6" fmla="*/ 100655 h 115184"/>
                        <a:gd name="connsiteX7" fmla="*/ 583 w 411136"/>
                        <a:gd name="connsiteY7" fmla="*/ 89870 h 115184"/>
                        <a:gd name="connsiteX8" fmla="*/ 234 w 411136"/>
                        <a:gd name="connsiteY8" fmla="*/ 70106 h 115184"/>
                        <a:gd name="connsiteX9" fmla="*/ 135585 w 411136"/>
                        <a:gd name="connsiteY9" fmla="*/ 90629 h 115184"/>
                        <a:gd name="connsiteX10" fmla="*/ 313683 w 411136"/>
                        <a:gd name="connsiteY10" fmla="*/ 42474 h 115184"/>
                        <a:gd name="connsiteX11" fmla="*/ 405725 w 411136"/>
                        <a:gd name="connsiteY11" fmla="*/ 15 h 11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1136" h="115184">
                          <a:moveTo>
                            <a:pt x="405725" y="0"/>
                          </a:moveTo>
                          <a:cubicBezTo>
                            <a:pt x="405725" y="0"/>
                            <a:pt x="412455" y="10102"/>
                            <a:pt x="410905" y="32949"/>
                          </a:cubicBezTo>
                          <a:cubicBezTo>
                            <a:pt x="410646" y="36793"/>
                            <a:pt x="408034" y="40074"/>
                            <a:pt x="404373" y="41244"/>
                          </a:cubicBezTo>
                          <a:cubicBezTo>
                            <a:pt x="389197" y="46105"/>
                            <a:pt x="347301" y="61903"/>
                            <a:pt x="300284" y="71246"/>
                          </a:cubicBezTo>
                          <a:cubicBezTo>
                            <a:pt x="251552" y="80937"/>
                            <a:pt x="218345" y="98392"/>
                            <a:pt x="201604" y="106777"/>
                          </a:cubicBezTo>
                          <a:cubicBezTo>
                            <a:pt x="195285" y="109952"/>
                            <a:pt x="188404" y="111836"/>
                            <a:pt x="181355" y="112367"/>
                          </a:cubicBezTo>
                          <a:cubicBezTo>
                            <a:pt x="149165" y="114813"/>
                            <a:pt x="85303" y="120981"/>
                            <a:pt x="9819" y="100655"/>
                          </a:cubicBezTo>
                          <a:cubicBezTo>
                            <a:pt x="4821" y="99303"/>
                            <a:pt x="1191" y="95019"/>
                            <a:pt x="583" y="89870"/>
                          </a:cubicBezTo>
                          <a:cubicBezTo>
                            <a:pt x="67" y="85418"/>
                            <a:pt x="-237" y="79023"/>
                            <a:pt x="234" y="70106"/>
                          </a:cubicBezTo>
                          <a:cubicBezTo>
                            <a:pt x="234" y="70106"/>
                            <a:pt x="59220" y="98027"/>
                            <a:pt x="135585" y="90629"/>
                          </a:cubicBezTo>
                          <a:cubicBezTo>
                            <a:pt x="211949" y="83231"/>
                            <a:pt x="223631" y="63559"/>
                            <a:pt x="313683" y="42474"/>
                          </a:cubicBezTo>
                          <a:cubicBezTo>
                            <a:pt x="403659" y="24305"/>
                            <a:pt x="404935" y="9343"/>
                            <a:pt x="405725" y="15"/>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489" name="Freeform: Shape 2488">
                  <a:extLst>
                    <a:ext uri="{FF2B5EF4-FFF2-40B4-BE49-F238E27FC236}">
                      <a16:creationId xmlns:a16="http://schemas.microsoft.com/office/drawing/2014/main" id="{DA7E3F36-192D-FB69-422C-B1619D7E2151}"/>
                    </a:ext>
                  </a:extLst>
                </p:cNvPr>
                <p:cNvSpPr/>
                <p:nvPr/>
              </p:nvSpPr>
              <p:spPr>
                <a:xfrm>
                  <a:off x="7642269" y="5048181"/>
                  <a:ext cx="386213" cy="339225"/>
                </a:xfrm>
                <a:custGeom>
                  <a:avLst/>
                  <a:gdLst>
                    <a:gd name="connsiteX0" fmla="*/ 370217 w 386213"/>
                    <a:gd name="connsiteY0" fmla="*/ 68906 h 339225"/>
                    <a:gd name="connsiteX1" fmla="*/ 368227 w 386213"/>
                    <a:gd name="connsiteY1" fmla="*/ 138147 h 339225"/>
                    <a:gd name="connsiteX2" fmla="*/ 373923 w 386213"/>
                    <a:gd name="connsiteY2" fmla="*/ 257395 h 339225"/>
                    <a:gd name="connsiteX3" fmla="*/ 239135 w 386213"/>
                    <a:gd name="connsiteY3" fmla="*/ 299717 h 339225"/>
                    <a:gd name="connsiteX4" fmla="*/ 67021 w 386213"/>
                    <a:gd name="connsiteY4" fmla="*/ 338758 h 339225"/>
                    <a:gd name="connsiteX5" fmla="*/ 60 w 386213"/>
                    <a:gd name="connsiteY5" fmla="*/ 301707 h 339225"/>
                    <a:gd name="connsiteX6" fmla="*/ 57907 w 386213"/>
                    <a:gd name="connsiteY6" fmla="*/ 260099 h 339225"/>
                    <a:gd name="connsiteX7" fmla="*/ 171322 w 386213"/>
                    <a:gd name="connsiteY7" fmla="*/ 199973 h 339225"/>
                    <a:gd name="connsiteX8" fmla="*/ 253384 w 386213"/>
                    <a:gd name="connsiteY8" fmla="*/ 111638 h 339225"/>
                    <a:gd name="connsiteX9" fmla="*/ 250254 w 386213"/>
                    <a:gd name="connsiteY9" fmla="*/ 50373 h 339225"/>
                    <a:gd name="connsiteX10" fmla="*/ 312370 w 386213"/>
                    <a:gd name="connsiteY10" fmla="*/ 77 h 339225"/>
                    <a:gd name="connsiteX11" fmla="*/ 370217 w 386213"/>
                    <a:gd name="connsiteY11" fmla="*/ 68891 h 33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6213" h="339225">
                      <a:moveTo>
                        <a:pt x="370217" y="68906"/>
                      </a:moveTo>
                      <a:cubicBezTo>
                        <a:pt x="370217" y="68906"/>
                        <a:pt x="363092" y="103101"/>
                        <a:pt x="368227" y="138147"/>
                      </a:cubicBezTo>
                      <a:cubicBezTo>
                        <a:pt x="374592" y="181653"/>
                        <a:pt x="401708" y="229186"/>
                        <a:pt x="373923" y="257395"/>
                      </a:cubicBezTo>
                      <a:cubicBezTo>
                        <a:pt x="348023" y="283706"/>
                        <a:pt x="300688" y="275776"/>
                        <a:pt x="239135" y="299717"/>
                      </a:cubicBezTo>
                      <a:cubicBezTo>
                        <a:pt x="177581" y="323658"/>
                        <a:pt x="167327" y="342464"/>
                        <a:pt x="67021" y="338758"/>
                      </a:cubicBezTo>
                      <a:cubicBezTo>
                        <a:pt x="24274" y="333623"/>
                        <a:pt x="-1413" y="333304"/>
                        <a:pt x="60" y="301707"/>
                      </a:cubicBezTo>
                      <a:cubicBezTo>
                        <a:pt x="1199" y="277204"/>
                        <a:pt x="29986" y="264094"/>
                        <a:pt x="57907" y="260099"/>
                      </a:cubicBezTo>
                      <a:cubicBezTo>
                        <a:pt x="82972" y="256514"/>
                        <a:pt x="115465" y="241004"/>
                        <a:pt x="171322" y="199973"/>
                      </a:cubicBezTo>
                      <a:cubicBezTo>
                        <a:pt x="233802" y="154067"/>
                        <a:pt x="254523" y="139559"/>
                        <a:pt x="253384" y="111638"/>
                      </a:cubicBezTo>
                      <a:cubicBezTo>
                        <a:pt x="252533" y="90979"/>
                        <a:pt x="251105" y="69757"/>
                        <a:pt x="250254" y="50373"/>
                      </a:cubicBezTo>
                      <a:cubicBezTo>
                        <a:pt x="249145" y="25142"/>
                        <a:pt x="270489" y="1793"/>
                        <a:pt x="312370" y="77"/>
                      </a:cubicBezTo>
                      <a:cubicBezTo>
                        <a:pt x="351943" y="-1534"/>
                        <a:pt x="376202" y="22301"/>
                        <a:pt x="370217" y="6889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90" name="Graphic 3200">
                  <a:extLst>
                    <a:ext uri="{FF2B5EF4-FFF2-40B4-BE49-F238E27FC236}">
                      <a16:creationId xmlns:a16="http://schemas.microsoft.com/office/drawing/2014/main" id="{B8FB3C38-A824-A4C5-DCB2-753DC37E7690}"/>
                    </a:ext>
                  </a:extLst>
                </p:cNvPr>
                <p:cNvGrpSpPr/>
                <p:nvPr/>
              </p:nvGrpSpPr>
              <p:grpSpPr>
                <a:xfrm>
                  <a:off x="7628369" y="5197498"/>
                  <a:ext cx="390654" cy="197412"/>
                  <a:chOff x="7628369" y="5197498"/>
                  <a:chExt cx="390654" cy="197412"/>
                </a:xfrm>
                <a:solidFill>
                  <a:srgbClr val="212851"/>
                </a:solidFill>
              </p:grpSpPr>
              <p:sp>
                <p:nvSpPr>
                  <p:cNvPr id="2491" name="Freeform: Shape 2490">
                    <a:extLst>
                      <a:ext uri="{FF2B5EF4-FFF2-40B4-BE49-F238E27FC236}">
                        <a16:creationId xmlns:a16="http://schemas.microsoft.com/office/drawing/2014/main" id="{125423A4-3F5B-24F1-904E-4F072A342BFB}"/>
                      </a:ext>
                    </a:extLst>
                  </p:cNvPr>
                  <p:cNvSpPr/>
                  <p:nvPr/>
                </p:nvSpPr>
                <p:spPr>
                  <a:xfrm>
                    <a:off x="7628369" y="5283346"/>
                    <a:ext cx="204028" cy="111565"/>
                  </a:xfrm>
                  <a:custGeom>
                    <a:avLst/>
                    <a:gdLst>
                      <a:gd name="connsiteX0" fmla="*/ 204014 w 204028"/>
                      <a:gd name="connsiteY0" fmla="*/ 92762 h 111565"/>
                      <a:gd name="connsiteX1" fmla="*/ 167677 w 204028"/>
                      <a:gd name="connsiteY1" fmla="*/ 58992 h 111565"/>
                      <a:gd name="connsiteX2" fmla="*/ 130581 w 204028"/>
                      <a:gd name="connsiteY2" fmla="*/ 1115 h 111565"/>
                      <a:gd name="connsiteX3" fmla="*/ 126343 w 204028"/>
                      <a:gd name="connsiteY3" fmla="*/ 249 h 111565"/>
                      <a:gd name="connsiteX4" fmla="*/ 62541 w 204028"/>
                      <a:gd name="connsiteY4" fmla="*/ 24813 h 111565"/>
                      <a:gd name="connsiteX5" fmla="*/ 0 w 204028"/>
                      <a:gd name="connsiteY5" fmla="*/ 81946 h 111565"/>
                      <a:gd name="connsiteX6" fmla="*/ 204029 w 204028"/>
                      <a:gd name="connsiteY6" fmla="*/ 92777 h 11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028" h="111565">
                        <a:moveTo>
                          <a:pt x="204014" y="92762"/>
                        </a:moveTo>
                        <a:cubicBezTo>
                          <a:pt x="204014" y="92762"/>
                          <a:pt x="177582" y="75657"/>
                          <a:pt x="167677" y="58992"/>
                        </a:cubicBezTo>
                        <a:cubicBezTo>
                          <a:pt x="152425" y="33289"/>
                          <a:pt x="140045" y="9986"/>
                          <a:pt x="130581" y="1115"/>
                        </a:cubicBezTo>
                        <a:cubicBezTo>
                          <a:pt x="129442" y="51"/>
                          <a:pt x="127816" y="-283"/>
                          <a:pt x="126343" y="249"/>
                        </a:cubicBezTo>
                        <a:cubicBezTo>
                          <a:pt x="117000" y="3545"/>
                          <a:pt x="104043" y="15941"/>
                          <a:pt x="62541" y="24813"/>
                        </a:cubicBezTo>
                        <a:cubicBezTo>
                          <a:pt x="18518" y="34216"/>
                          <a:pt x="562" y="45974"/>
                          <a:pt x="0" y="81946"/>
                        </a:cubicBezTo>
                        <a:cubicBezTo>
                          <a:pt x="0" y="81946"/>
                          <a:pt x="86056" y="140643"/>
                          <a:pt x="204029" y="9277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2" name="Freeform: Shape 2491">
                    <a:extLst>
                      <a:ext uri="{FF2B5EF4-FFF2-40B4-BE49-F238E27FC236}">
                        <a16:creationId xmlns:a16="http://schemas.microsoft.com/office/drawing/2014/main" id="{30E0B76D-25F7-A678-EF1B-4DE537F231D4}"/>
                      </a:ext>
                    </a:extLst>
                  </p:cNvPr>
                  <p:cNvSpPr/>
                  <p:nvPr/>
                </p:nvSpPr>
                <p:spPr>
                  <a:xfrm>
                    <a:off x="7805464" y="5197498"/>
                    <a:ext cx="213559" cy="186721"/>
                  </a:xfrm>
                  <a:custGeom>
                    <a:avLst/>
                    <a:gdLst>
                      <a:gd name="connsiteX0" fmla="*/ 207538 w 213559"/>
                      <a:gd name="connsiteY0" fmla="*/ 162 h 186721"/>
                      <a:gd name="connsiteX1" fmla="*/ 213037 w 213559"/>
                      <a:gd name="connsiteY1" fmla="*/ 21429 h 186721"/>
                      <a:gd name="connsiteX2" fmla="*/ 212551 w 213559"/>
                      <a:gd name="connsiteY2" fmla="*/ 22326 h 186721"/>
                      <a:gd name="connsiteX3" fmla="*/ 151165 w 213559"/>
                      <a:gd name="connsiteY3" fmla="*/ 86279 h 186721"/>
                      <a:gd name="connsiteX4" fmla="*/ 103298 w 213559"/>
                      <a:gd name="connsiteY4" fmla="*/ 156370 h 186721"/>
                      <a:gd name="connsiteX5" fmla="*/ 50297 w 213559"/>
                      <a:gd name="connsiteY5" fmla="*/ 174751 h 186721"/>
                      <a:gd name="connsiteX6" fmla="*/ 10968 w 213559"/>
                      <a:gd name="connsiteY6" fmla="*/ 186721 h 186721"/>
                      <a:gd name="connsiteX7" fmla="*/ 0 w 213559"/>
                      <a:gd name="connsiteY7" fmla="*/ 164497 h 186721"/>
                      <a:gd name="connsiteX8" fmla="*/ 107567 w 213559"/>
                      <a:gd name="connsiteY8" fmla="*/ 97384 h 186721"/>
                      <a:gd name="connsiteX9" fmla="*/ 206839 w 213559"/>
                      <a:gd name="connsiteY9" fmla="*/ 116 h 186721"/>
                      <a:gd name="connsiteX10" fmla="*/ 207538 w 213559"/>
                      <a:gd name="connsiteY10" fmla="*/ 147 h 18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559" h="186721">
                        <a:moveTo>
                          <a:pt x="207538" y="162"/>
                        </a:moveTo>
                        <a:cubicBezTo>
                          <a:pt x="209103" y="1711"/>
                          <a:pt x="215392" y="8881"/>
                          <a:pt x="213037" y="21429"/>
                        </a:cubicBezTo>
                        <a:cubicBezTo>
                          <a:pt x="212976" y="21778"/>
                          <a:pt x="212794" y="22082"/>
                          <a:pt x="212551" y="22326"/>
                        </a:cubicBezTo>
                        <a:cubicBezTo>
                          <a:pt x="209057" y="25683"/>
                          <a:pt x="182245" y="51614"/>
                          <a:pt x="151165" y="86279"/>
                        </a:cubicBezTo>
                        <a:cubicBezTo>
                          <a:pt x="129062" y="110934"/>
                          <a:pt x="102007" y="129877"/>
                          <a:pt x="103298" y="156370"/>
                        </a:cubicBezTo>
                        <a:cubicBezTo>
                          <a:pt x="103298" y="156370"/>
                          <a:pt x="62268" y="169191"/>
                          <a:pt x="50297" y="174751"/>
                        </a:cubicBezTo>
                        <a:cubicBezTo>
                          <a:pt x="50297" y="174751"/>
                          <a:pt x="16953" y="185871"/>
                          <a:pt x="10968" y="186721"/>
                        </a:cubicBezTo>
                        <a:lnTo>
                          <a:pt x="0" y="164497"/>
                        </a:lnTo>
                        <a:cubicBezTo>
                          <a:pt x="0" y="164497"/>
                          <a:pt x="52576" y="157236"/>
                          <a:pt x="107567" y="97384"/>
                        </a:cubicBezTo>
                        <a:cubicBezTo>
                          <a:pt x="164032" y="35937"/>
                          <a:pt x="202783" y="3459"/>
                          <a:pt x="206839" y="116"/>
                        </a:cubicBezTo>
                        <a:cubicBezTo>
                          <a:pt x="207052" y="-51"/>
                          <a:pt x="207341" y="-35"/>
                          <a:pt x="207538" y="14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485" name="Graphic 3200">
                <a:extLst>
                  <a:ext uri="{FF2B5EF4-FFF2-40B4-BE49-F238E27FC236}">
                    <a16:creationId xmlns:a16="http://schemas.microsoft.com/office/drawing/2014/main" id="{900ED347-B189-BE5B-4961-9F5759A098DA}"/>
                  </a:ext>
                </a:extLst>
              </p:cNvPr>
              <p:cNvGrpSpPr/>
              <p:nvPr/>
            </p:nvGrpSpPr>
            <p:grpSpPr>
              <a:xfrm>
                <a:off x="7798934" y="4341165"/>
                <a:ext cx="263107" cy="884892"/>
                <a:chOff x="7798934" y="4341165"/>
                <a:chExt cx="263107" cy="884892"/>
              </a:xfrm>
            </p:grpSpPr>
            <p:sp>
              <p:nvSpPr>
                <p:cNvPr id="2486" name="Freeform: Shape 2485">
                  <a:extLst>
                    <a:ext uri="{FF2B5EF4-FFF2-40B4-BE49-F238E27FC236}">
                      <a16:creationId xmlns:a16="http://schemas.microsoft.com/office/drawing/2014/main" id="{56FB9FF1-A38E-855E-0C97-9D1F9BF70938}"/>
                    </a:ext>
                  </a:extLst>
                </p:cNvPr>
                <p:cNvSpPr/>
                <p:nvPr/>
              </p:nvSpPr>
              <p:spPr>
                <a:xfrm>
                  <a:off x="7820301" y="4348685"/>
                  <a:ext cx="241741" cy="877372"/>
                </a:xfrm>
                <a:custGeom>
                  <a:avLst/>
                  <a:gdLst>
                    <a:gd name="connsiteX0" fmla="*/ 82248 w 241741"/>
                    <a:gd name="connsiteY0" fmla="*/ 806 h 877372"/>
                    <a:gd name="connsiteX1" fmla="*/ 111 w 241741"/>
                    <a:gd name="connsiteY1" fmla="*/ 107598 h 877372"/>
                    <a:gd name="connsiteX2" fmla="*/ 41369 w 241741"/>
                    <a:gd name="connsiteY2" fmla="*/ 545628 h 877372"/>
                    <a:gd name="connsiteX3" fmla="*/ 138454 w 241741"/>
                    <a:gd name="connsiteY3" fmla="*/ 876774 h 877372"/>
                    <a:gd name="connsiteX4" fmla="*/ 201695 w 241741"/>
                    <a:gd name="connsiteY4" fmla="*/ 692022 h 877372"/>
                    <a:gd name="connsiteX5" fmla="*/ 241175 w 241741"/>
                    <a:gd name="connsiteY5" fmla="*/ 307647 h 877372"/>
                    <a:gd name="connsiteX6" fmla="*/ 108118 w 241741"/>
                    <a:gd name="connsiteY6" fmla="*/ 335 h 877372"/>
                    <a:gd name="connsiteX7" fmla="*/ 82233 w 241741"/>
                    <a:gd name="connsiteY7" fmla="*/ 821 h 87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741" h="877372">
                      <a:moveTo>
                        <a:pt x="82248" y="806"/>
                      </a:moveTo>
                      <a:cubicBezTo>
                        <a:pt x="29520" y="6427"/>
                        <a:pt x="-2122" y="54612"/>
                        <a:pt x="111" y="107598"/>
                      </a:cubicBezTo>
                      <a:cubicBezTo>
                        <a:pt x="3453" y="186667"/>
                        <a:pt x="6521" y="287717"/>
                        <a:pt x="41369" y="545628"/>
                      </a:cubicBezTo>
                      <a:cubicBezTo>
                        <a:pt x="88157" y="891844"/>
                        <a:pt x="98837" y="869118"/>
                        <a:pt x="138454" y="876774"/>
                      </a:cubicBezTo>
                      <a:cubicBezTo>
                        <a:pt x="187156" y="886193"/>
                        <a:pt x="187764" y="782636"/>
                        <a:pt x="201695" y="692022"/>
                      </a:cubicBezTo>
                      <a:cubicBezTo>
                        <a:pt x="214211" y="610706"/>
                        <a:pt x="246386" y="427579"/>
                        <a:pt x="241175" y="307647"/>
                      </a:cubicBezTo>
                      <a:cubicBezTo>
                        <a:pt x="235190" y="170017"/>
                        <a:pt x="190042" y="5621"/>
                        <a:pt x="108118" y="335"/>
                      </a:cubicBezTo>
                      <a:cubicBezTo>
                        <a:pt x="98897" y="-258"/>
                        <a:pt x="90284" y="-45"/>
                        <a:pt x="82233" y="82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7" name="Freeform: Shape 2486">
                  <a:extLst>
                    <a:ext uri="{FF2B5EF4-FFF2-40B4-BE49-F238E27FC236}">
                      <a16:creationId xmlns:a16="http://schemas.microsoft.com/office/drawing/2014/main" id="{FD689DF5-4AAF-497A-FEDD-191057B042B9}"/>
                    </a:ext>
                  </a:extLst>
                </p:cNvPr>
                <p:cNvSpPr/>
                <p:nvPr/>
              </p:nvSpPr>
              <p:spPr>
                <a:xfrm>
                  <a:off x="7798934" y="4341165"/>
                  <a:ext cx="256531" cy="807033"/>
                </a:xfrm>
                <a:custGeom>
                  <a:avLst/>
                  <a:gdLst>
                    <a:gd name="connsiteX0" fmla="*/ 124077 w 256531"/>
                    <a:gd name="connsiteY0" fmla="*/ 563 h 807033"/>
                    <a:gd name="connsiteX1" fmla="*/ 228363 w 256531"/>
                    <a:gd name="connsiteY1" fmla="*/ 108282 h 807033"/>
                    <a:gd name="connsiteX2" fmla="*/ 252288 w 256531"/>
                    <a:gd name="connsiteY2" fmla="*/ 450031 h 807033"/>
                    <a:gd name="connsiteX3" fmla="*/ 212564 w 256531"/>
                    <a:gd name="connsiteY3" fmla="*/ 793969 h 807033"/>
                    <a:gd name="connsiteX4" fmla="*/ 146210 w 256531"/>
                    <a:gd name="connsiteY4" fmla="*/ 807033 h 807033"/>
                    <a:gd name="connsiteX5" fmla="*/ 93908 w 256531"/>
                    <a:gd name="connsiteY5" fmla="*/ 788804 h 807033"/>
                    <a:gd name="connsiteX6" fmla="*/ 70180 w 256531"/>
                    <a:gd name="connsiteY6" fmla="*/ 640571 h 807033"/>
                    <a:gd name="connsiteX7" fmla="*/ 20308 w 256531"/>
                    <a:gd name="connsiteY7" fmla="*/ 414956 h 807033"/>
                    <a:gd name="connsiteX8" fmla="*/ 86449 w 256531"/>
                    <a:gd name="connsiteY8" fmla="*/ 3130 h 807033"/>
                    <a:gd name="connsiteX9" fmla="*/ 124062 w 256531"/>
                    <a:gd name="connsiteY9" fmla="*/ 563 h 80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531" h="807033">
                      <a:moveTo>
                        <a:pt x="124077" y="563"/>
                      </a:moveTo>
                      <a:cubicBezTo>
                        <a:pt x="124077" y="563"/>
                        <a:pt x="195885" y="2279"/>
                        <a:pt x="228363" y="108282"/>
                      </a:cubicBezTo>
                      <a:cubicBezTo>
                        <a:pt x="260841" y="214284"/>
                        <a:pt x="259549" y="262803"/>
                        <a:pt x="252288" y="450031"/>
                      </a:cubicBezTo>
                      <a:cubicBezTo>
                        <a:pt x="245042" y="637123"/>
                        <a:pt x="212564" y="793969"/>
                        <a:pt x="212564" y="793969"/>
                      </a:cubicBezTo>
                      <a:cubicBezTo>
                        <a:pt x="212564" y="793969"/>
                        <a:pt x="206549" y="806942"/>
                        <a:pt x="146210" y="807033"/>
                      </a:cubicBezTo>
                      <a:cubicBezTo>
                        <a:pt x="99757" y="807109"/>
                        <a:pt x="93908" y="788804"/>
                        <a:pt x="93908" y="788804"/>
                      </a:cubicBezTo>
                      <a:cubicBezTo>
                        <a:pt x="93908" y="788804"/>
                        <a:pt x="81604" y="699360"/>
                        <a:pt x="70180" y="640571"/>
                      </a:cubicBezTo>
                      <a:cubicBezTo>
                        <a:pt x="36623" y="467957"/>
                        <a:pt x="28222" y="462412"/>
                        <a:pt x="20308" y="414956"/>
                      </a:cubicBezTo>
                      <a:cubicBezTo>
                        <a:pt x="1730" y="303591"/>
                        <a:pt x="-35792" y="35198"/>
                        <a:pt x="86449" y="3130"/>
                      </a:cubicBezTo>
                      <a:cubicBezTo>
                        <a:pt x="105468" y="-1792"/>
                        <a:pt x="124062" y="563"/>
                        <a:pt x="124062" y="563"/>
                      </a:cubicBezTo>
                      <a:close/>
                    </a:path>
                  </a:pathLst>
                </a:custGeom>
                <a:solidFill>
                  <a:srgbClr val="499E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3" name="Graphic 3200">
              <a:extLst>
                <a:ext uri="{FF2B5EF4-FFF2-40B4-BE49-F238E27FC236}">
                  <a16:creationId xmlns:a16="http://schemas.microsoft.com/office/drawing/2014/main" id="{744B57AF-72D2-B89B-8938-B165A00FDB2D}"/>
                </a:ext>
              </a:extLst>
            </p:cNvPr>
            <p:cNvGrpSpPr/>
            <p:nvPr/>
          </p:nvGrpSpPr>
          <p:grpSpPr>
            <a:xfrm>
              <a:off x="8451176" y="3569952"/>
              <a:ext cx="553396" cy="900565"/>
              <a:chOff x="8342600" y="3818264"/>
              <a:chExt cx="516167" cy="839981"/>
            </a:xfrm>
          </p:grpSpPr>
          <p:sp>
            <p:nvSpPr>
              <p:cNvPr id="2481" name="Freeform: Shape 2480">
                <a:extLst>
                  <a:ext uri="{FF2B5EF4-FFF2-40B4-BE49-F238E27FC236}">
                    <a16:creationId xmlns:a16="http://schemas.microsoft.com/office/drawing/2014/main" id="{ED760C59-843B-50CF-E6AE-B51D19556C63}"/>
                  </a:ext>
                </a:extLst>
              </p:cNvPr>
              <p:cNvSpPr/>
              <p:nvPr/>
            </p:nvSpPr>
            <p:spPr>
              <a:xfrm>
                <a:off x="8345860" y="3818264"/>
                <a:ext cx="512907" cy="839981"/>
              </a:xfrm>
              <a:custGeom>
                <a:avLst/>
                <a:gdLst>
                  <a:gd name="connsiteX0" fmla="*/ 394954 w 512907"/>
                  <a:gd name="connsiteY0" fmla="*/ 190358 h 839981"/>
                  <a:gd name="connsiteX1" fmla="*/ 455429 w 512907"/>
                  <a:gd name="connsiteY1" fmla="*/ 447479 h 839981"/>
                  <a:gd name="connsiteX2" fmla="*/ 333689 w 512907"/>
                  <a:gd name="connsiteY2" fmla="*/ 832918 h 839981"/>
                  <a:gd name="connsiteX3" fmla="*/ 4851 w 512907"/>
                  <a:gd name="connsiteY3" fmla="*/ 564206 h 839981"/>
                  <a:gd name="connsiteX4" fmla="*/ 582 w 512907"/>
                  <a:gd name="connsiteY4" fmla="*/ 327122 h 839981"/>
                  <a:gd name="connsiteX5" fmla="*/ 88538 w 512907"/>
                  <a:gd name="connsiteY5" fmla="*/ 60658 h 839981"/>
                  <a:gd name="connsiteX6" fmla="*/ 394954 w 512907"/>
                  <a:gd name="connsiteY6" fmla="*/ 190343 h 83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907" h="839981">
                    <a:moveTo>
                      <a:pt x="394954" y="190358"/>
                    </a:moveTo>
                    <a:cubicBezTo>
                      <a:pt x="394954" y="190358"/>
                      <a:pt x="369524" y="321000"/>
                      <a:pt x="455429" y="447479"/>
                    </a:cubicBezTo>
                    <a:cubicBezTo>
                      <a:pt x="530320" y="557765"/>
                      <a:pt x="568556" y="779628"/>
                      <a:pt x="333689" y="832918"/>
                    </a:cubicBezTo>
                    <a:cubicBezTo>
                      <a:pt x="155180" y="873432"/>
                      <a:pt x="26058" y="733797"/>
                      <a:pt x="4851" y="564206"/>
                    </a:cubicBezTo>
                    <a:cubicBezTo>
                      <a:pt x="-3625" y="504855"/>
                      <a:pt x="4426" y="405203"/>
                      <a:pt x="582" y="327122"/>
                    </a:cubicBezTo>
                    <a:cubicBezTo>
                      <a:pt x="-4233" y="229307"/>
                      <a:pt x="20437" y="116059"/>
                      <a:pt x="88538" y="60658"/>
                    </a:cubicBezTo>
                    <a:cubicBezTo>
                      <a:pt x="217479" y="-44235"/>
                      <a:pt x="418667" y="-20507"/>
                      <a:pt x="394954" y="190343"/>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2" name="Freeform: Shape 2481">
                <a:extLst>
                  <a:ext uri="{FF2B5EF4-FFF2-40B4-BE49-F238E27FC236}">
                    <a16:creationId xmlns:a16="http://schemas.microsoft.com/office/drawing/2014/main" id="{BDA41E45-7B45-6ED6-20F0-7C5F6E69BE33}"/>
                  </a:ext>
                </a:extLst>
              </p:cNvPr>
              <p:cNvSpPr/>
              <p:nvPr/>
            </p:nvSpPr>
            <p:spPr>
              <a:xfrm>
                <a:off x="8342600" y="4311600"/>
                <a:ext cx="225409" cy="172999"/>
              </a:xfrm>
              <a:custGeom>
                <a:avLst/>
                <a:gdLst>
                  <a:gd name="connsiteX0" fmla="*/ 0 w 225409"/>
                  <a:gd name="connsiteY0" fmla="*/ 30052 h 172999"/>
                  <a:gd name="connsiteX1" fmla="*/ 225236 w 225409"/>
                  <a:gd name="connsiteY1" fmla="*/ 703 h 172999"/>
                  <a:gd name="connsiteX2" fmla="*/ 28377 w 225409"/>
                  <a:gd name="connsiteY2" fmla="*/ 172999 h 172999"/>
                  <a:gd name="connsiteX3" fmla="*/ 15 w 225409"/>
                  <a:gd name="connsiteY3" fmla="*/ 30052 h 172999"/>
                </a:gdLst>
                <a:ahLst/>
                <a:cxnLst>
                  <a:cxn ang="0">
                    <a:pos x="connsiteX0" y="connsiteY0"/>
                  </a:cxn>
                  <a:cxn ang="0">
                    <a:pos x="connsiteX1" y="connsiteY1"/>
                  </a:cxn>
                  <a:cxn ang="0">
                    <a:pos x="connsiteX2" y="connsiteY2"/>
                  </a:cxn>
                  <a:cxn ang="0">
                    <a:pos x="connsiteX3" y="connsiteY3"/>
                  </a:cxn>
                </a:cxnLst>
                <a:rect l="l" t="t" r="r" b="b"/>
                <a:pathLst>
                  <a:path w="225409" h="172999">
                    <a:moveTo>
                      <a:pt x="0" y="30052"/>
                    </a:moveTo>
                    <a:cubicBezTo>
                      <a:pt x="142901" y="-7211"/>
                      <a:pt x="225236" y="703"/>
                      <a:pt x="225236" y="703"/>
                    </a:cubicBezTo>
                    <a:cubicBezTo>
                      <a:pt x="230811" y="106508"/>
                      <a:pt x="100670" y="154542"/>
                      <a:pt x="28377" y="172999"/>
                    </a:cubicBezTo>
                    <a:cubicBezTo>
                      <a:pt x="11347" y="124206"/>
                      <a:pt x="2841" y="73134"/>
                      <a:pt x="15" y="3005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4" name="Graphic 3200">
              <a:extLst>
                <a:ext uri="{FF2B5EF4-FFF2-40B4-BE49-F238E27FC236}">
                  <a16:creationId xmlns:a16="http://schemas.microsoft.com/office/drawing/2014/main" id="{3C4DEB65-43FE-2071-06A3-A90A3B47D10E}"/>
                </a:ext>
              </a:extLst>
            </p:cNvPr>
            <p:cNvGrpSpPr/>
            <p:nvPr/>
          </p:nvGrpSpPr>
          <p:grpSpPr>
            <a:xfrm>
              <a:off x="8015047" y="4089956"/>
              <a:ext cx="990064" cy="1312080"/>
              <a:chOff x="7935811" y="4303285"/>
              <a:chExt cx="923459" cy="1223812"/>
            </a:xfrm>
          </p:grpSpPr>
          <p:grpSp>
            <p:nvGrpSpPr>
              <p:cNvPr id="2461" name="Graphic 3200">
                <a:extLst>
                  <a:ext uri="{FF2B5EF4-FFF2-40B4-BE49-F238E27FC236}">
                    <a16:creationId xmlns:a16="http://schemas.microsoft.com/office/drawing/2014/main" id="{57CBDDFD-5643-48AE-29AD-FFF0ABC3A4C7}"/>
                  </a:ext>
                </a:extLst>
              </p:cNvPr>
              <p:cNvGrpSpPr/>
              <p:nvPr/>
            </p:nvGrpSpPr>
            <p:grpSpPr>
              <a:xfrm>
                <a:off x="7935811" y="4303285"/>
                <a:ext cx="923459" cy="434242"/>
                <a:chOff x="7935811" y="4303285"/>
                <a:chExt cx="923459" cy="434242"/>
              </a:xfrm>
            </p:grpSpPr>
            <p:sp>
              <p:nvSpPr>
                <p:cNvPr id="2477" name="Freeform: Shape 2476">
                  <a:extLst>
                    <a:ext uri="{FF2B5EF4-FFF2-40B4-BE49-F238E27FC236}">
                      <a16:creationId xmlns:a16="http://schemas.microsoft.com/office/drawing/2014/main" id="{2AA0C623-0721-8122-2DC6-962D1CBCA9E9}"/>
                    </a:ext>
                  </a:extLst>
                </p:cNvPr>
                <p:cNvSpPr/>
                <p:nvPr/>
              </p:nvSpPr>
              <p:spPr>
                <a:xfrm>
                  <a:off x="7942457" y="4310339"/>
                  <a:ext cx="909318" cy="414838"/>
                </a:xfrm>
                <a:custGeom>
                  <a:avLst/>
                  <a:gdLst>
                    <a:gd name="connsiteX0" fmla="*/ 849489 w 909318"/>
                    <a:gd name="connsiteY0" fmla="*/ 301484 h 414838"/>
                    <a:gd name="connsiteX1" fmla="*/ 860275 w 909318"/>
                    <a:gd name="connsiteY1" fmla="*/ 62409 h 414838"/>
                    <a:gd name="connsiteX2" fmla="*/ 668824 w 909318"/>
                    <a:gd name="connsiteY2" fmla="*/ 1524 h 414838"/>
                    <a:gd name="connsiteX3" fmla="*/ 269166 w 909318"/>
                    <a:gd name="connsiteY3" fmla="*/ 98382 h 414838"/>
                    <a:gd name="connsiteX4" fmla="*/ 71533 w 909318"/>
                    <a:gd name="connsiteY4" fmla="*/ 178909 h 414838"/>
                    <a:gd name="connsiteX5" fmla="*/ 6136 w 909318"/>
                    <a:gd name="connsiteY5" fmla="*/ 323799 h 414838"/>
                    <a:gd name="connsiteX6" fmla="*/ 185646 w 909318"/>
                    <a:gd name="connsiteY6" fmla="*/ 414838 h 414838"/>
                    <a:gd name="connsiteX7" fmla="*/ 499217 w 909318"/>
                    <a:gd name="connsiteY7" fmla="*/ 400848 h 414838"/>
                    <a:gd name="connsiteX8" fmla="*/ 849474 w 909318"/>
                    <a:gd name="connsiteY8" fmla="*/ 301469 h 4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9318" h="414838">
                      <a:moveTo>
                        <a:pt x="849489" y="301484"/>
                      </a:moveTo>
                      <a:cubicBezTo>
                        <a:pt x="924958" y="241601"/>
                        <a:pt x="929560" y="129340"/>
                        <a:pt x="860275" y="62409"/>
                      </a:cubicBezTo>
                      <a:cubicBezTo>
                        <a:pt x="822434" y="25860"/>
                        <a:pt x="761670" y="-7621"/>
                        <a:pt x="668824" y="1524"/>
                      </a:cubicBezTo>
                      <a:cubicBezTo>
                        <a:pt x="479180" y="20209"/>
                        <a:pt x="414953" y="45487"/>
                        <a:pt x="269166" y="98382"/>
                      </a:cubicBezTo>
                      <a:cubicBezTo>
                        <a:pt x="163863" y="136587"/>
                        <a:pt x="142535" y="141919"/>
                        <a:pt x="71533" y="178909"/>
                      </a:cubicBezTo>
                      <a:cubicBezTo>
                        <a:pt x="530" y="215898"/>
                        <a:pt x="-8949" y="285700"/>
                        <a:pt x="6136" y="323799"/>
                      </a:cubicBezTo>
                      <a:cubicBezTo>
                        <a:pt x="21220" y="361898"/>
                        <a:pt x="61279" y="414838"/>
                        <a:pt x="185646" y="414838"/>
                      </a:cubicBezTo>
                      <a:cubicBezTo>
                        <a:pt x="300065" y="414838"/>
                        <a:pt x="384799" y="414914"/>
                        <a:pt x="499217" y="400848"/>
                      </a:cubicBezTo>
                      <a:cubicBezTo>
                        <a:pt x="576691" y="391323"/>
                        <a:pt x="752815" y="378168"/>
                        <a:pt x="849474" y="301469"/>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78" name="Graphic 3200">
                  <a:extLst>
                    <a:ext uri="{FF2B5EF4-FFF2-40B4-BE49-F238E27FC236}">
                      <a16:creationId xmlns:a16="http://schemas.microsoft.com/office/drawing/2014/main" id="{72660000-7845-24DB-C5B4-610231B0EF5E}"/>
                    </a:ext>
                  </a:extLst>
                </p:cNvPr>
                <p:cNvGrpSpPr/>
                <p:nvPr/>
              </p:nvGrpSpPr>
              <p:grpSpPr>
                <a:xfrm>
                  <a:off x="7935811" y="4303285"/>
                  <a:ext cx="923459" cy="434242"/>
                  <a:chOff x="7935811" y="4303285"/>
                  <a:chExt cx="923459" cy="434242"/>
                </a:xfrm>
              </p:grpSpPr>
              <p:sp>
                <p:nvSpPr>
                  <p:cNvPr id="2479" name="Freeform: Shape 2478">
                    <a:extLst>
                      <a:ext uri="{FF2B5EF4-FFF2-40B4-BE49-F238E27FC236}">
                        <a16:creationId xmlns:a16="http://schemas.microsoft.com/office/drawing/2014/main" id="{38472E9D-EEBE-F624-ACB4-793BFF415E6F}"/>
                      </a:ext>
                    </a:extLst>
                  </p:cNvPr>
                  <p:cNvSpPr/>
                  <p:nvPr/>
                </p:nvSpPr>
                <p:spPr>
                  <a:xfrm>
                    <a:off x="7935811" y="4303285"/>
                    <a:ext cx="923459" cy="434240"/>
                  </a:xfrm>
                  <a:custGeom>
                    <a:avLst/>
                    <a:gdLst>
                      <a:gd name="connsiteX0" fmla="*/ 919315 w 923459"/>
                      <a:gd name="connsiteY0" fmla="*/ 147499 h 434240"/>
                      <a:gd name="connsiteX1" fmla="*/ 721848 w 923459"/>
                      <a:gd name="connsiteY1" fmla="*/ 41 h 434240"/>
                      <a:gd name="connsiteX2" fmla="*/ 379490 w 923459"/>
                      <a:gd name="connsiteY2" fmla="*/ 62871 h 434240"/>
                      <a:gd name="connsiteX3" fmla="*/ 10214 w 923459"/>
                      <a:gd name="connsiteY3" fmla="*/ 251359 h 434240"/>
                      <a:gd name="connsiteX4" fmla="*/ 183315 w 923459"/>
                      <a:gd name="connsiteY4" fmla="*/ 429594 h 434240"/>
                      <a:gd name="connsiteX5" fmla="*/ 776991 w 923459"/>
                      <a:gd name="connsiteY5" fmla="*/ 359078 h 434240"/>
                      <a:gd name="connsiteX6" fmla="*/ 919315 w 923459"/>
                      <a:gd name="connsiteY6" fmla="*/ 147515 h 43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459" h="434240">
                        <a:moveTo>
                          <a:pt x="919315" y="147499"/>
                        </a:moveTo>
                        <a:cubicBezTo>
                          <a:pt x="919315" y="147499"/>
                          <a:pt x="879560" y="3884"/>
                          <a:pt x="721848" y="41"/>
                        </a:cubicBezTo>
                        <a:cubicBezTo>
                          <a:pt x="721848" y="41"/>
                          <a:pt x="587211" y="-3802"/>
                          <a:pt x="379490" y="62871"/>
                        </a:cubicBezTo>
                        <a:cubicBezTo>
                          <a:pt x="379490" y="62871"/>
                          <a:pt x="43543" y="151343"/>
                          <a:pt x="10214" y="251359"/>
                        </a:cubicBezTo>
                        <a:cubicBezTo>
                          <a:pt x="-19453" y="340363"/>
                          <a:pt x="8938" y="409071"/>
                          <a:pt x="183315" y="429594"/>
                        </a:cubicBezTo>
                        <a:cubicBezTo>
                          <a:pt x="362902" y="450725"/>
                          <a:pt x="688504" y="394974"/>
                          <a:pt x="776991" y="359078"/>
                        </a:cubicBezTo>
                        <a:cubicBezTo>
                          <a:pt x="865463" y="323182"/>
                          <a:pt x="942404" y="252651"/>
                          <a:pt x="919315" y="147515"/>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0" name="Freeform: Shape 2479">
                    <a:extLst>
                      <a:ext uri="{FF2B5EF4-FFF2-40B4-BE49-F238E27FC236}">
                        <a16:creationId xmlns:a16="http://schemas.microsoft.com/office/drawing/2014/main" id="{95A3100A-8733-3D84-E4B7-529284B2C770}"/>
                      </a:ext>
                    </a:extLst>
                  </p:cNvPr>
                  <p:cNvSpPr/>
                  <p:nvPr/>
                </p:nvSpPr>
                <p:spPr>
                  <a:xfrm>
                    <a:off x="8158942" y="4556300"/>
                    <a:ext cx="143690" cy="181227"/>
                  </a:xfrm>
                  <a:custGeom>
                    <a:avLst/>
                    <a:gdLst>
                      <a:gd name="connsiteX0" fmla="*/ 52530 w 143690"/>
                      <a:gd name="connsiteY0" fmla="*/ 181228 h 181227"/>
                      <a:gd name="connsiteX1" fmla="*/ 0 w 143690"/>
                      <a:gd name="connsiteY1" fmla="*/ 0 h 181227"/>
                      <a:gd name="connsiteX2" fmla="*/ 143691 w 143690"/>
                      <a:gd name="connsiteY2" fmla="*/ 177946 h 181227"/>
                      <a:gd name="connsiteX3" fmla="*/ 52530 w 143690"/>
                      <a:gd name="connsiteY3" fmla="*/ 181228 h 181227"/>
                    </a:gdLst>
                    <a:ahLst/>
                    <a:cxnLst>
                      <a:cxn ang="0">
                        <a:pos x="connsiteX0" y="connsiteY0"/>
                      </a:cxn>
                      <a:cxn ang="0">
                        <a:pos x="connsiteX1" y="connsiteY1"/>
                      </a:cxn>
                      <a:cxn ang="0">
                        <a:pos x="connsiteX2" y="connsiteY2"/>
                      </a:cxn>
                      <a:cxn ang="0">
                        <a:pos x="connsiteX3" y="connsiteY3"/>
                      </a:cxn>
                    </a:cxnLst>
                    <a:rect l="l" t="t" r="r" b="b"/>
                    <a:pathLst>
                      <a:path w="143690" h="181227">
                        <a:moveTo>
                          <a:pt x="52530" y="181228"/>
                        </a:moveTo>
                        <a:lnTo>
                          <a:pt x="0" y="0"/>
                        </a:lnTo>
                        <a:cubicBezTo>
                          <a:pt x="67994" y="40241"/>
                          <a:pt x="124718" y="141291"/>
                          <a:pt x="143691" y="177946"/>
                        </a:cubicBezTo>
                        <a:cubicBezTo>
                          <a:pt x="112352" y="180012"/>
                          <a:pt x="81651" y="181182"/>
                          <a:pt x="52530" y="181228"/>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462" name="Graphic 3200">
                <a:extLst>
                  <a:ext uri="{FF2B5EF4-FFF2-40B4-BE49-F238E27FC236}">
                    <a16:creationId xmlns:a16="http://schemas.microsoft.com/office/drawing/2014/main" id="{3E91E08E-9A55-B7A8-1F1F-1B272AD49AD4}"/>
                  </a:ext>
                </a:extLst>
              </p:cNvPr>
              <p:cNvGrpSpPr/>
              <p:nvPr/>
            </p:nvGrpSpPr>
            <p:grpSpPr>
              <a:xfrm>
                <a:off x="8038435" y="5177432"/>
                <a:ext cx="427974" cy="349664"/>
                <a:chOff x="8038435" y="5177432"/>
                <a:chExt cx="427974" cy="349664"/>
              </a:xfrm>
            </p:grpSpPr>
            <p:grpSp>
              <p:nvGrpSpPr>
                <p:cNvPr id="2466" name="Graphic 3200">
                  <a:extLst>
                    <a:ext uri="{FF2B5EF4-FFF2-40B4-BE49-F238E27FC236}">
                      <a16:creationId xmlns:a16="http://schemas.microsoft.com/office/drawing/2014/main" id="{6851C983-F47A-0230-F617-98074527651E}"/>
                    </a:ext>
                  </a:extLst>
                </p:cNvPr>
                <p:cNvGrpSpPr/>
                <p:nvPr/>
              </p:nvGrpSpPr>
              <p:grpSpPr>
                <a:xfrm>
                  <a:off x="8038472" y="5407165"/>
                  <a:ext cx="427937" cy="119931"/>
                  <a:chOff x="8038472" y="5407165"/>
                  <a:chExt cx="427937" cy="119931"/>
                </a:xfrm>
              </p:grpSpPr>
              <p:grpSp>
                <p:nvGrpSpPr>
                  <p:cNvPr id="2471" name="Graphic 3200">
                    <a:extLst>
                      <a:ext uri="{FF2B5EF4-FFF2-40B4-BE49-F238E27FC236}">
                        <a16:creationId xmlns:a16="http://schemas.microsoft.com/office/drawing/2014/main" id="{5B4EA401-CFCC-57A9-3236-0193318D46C2}"/>
                      </a:ext>
                    </a:extLst>
                  </p:cNvPr>
                  <p:cNvGrpSpPr/>
                  <p:nvPr/>
                </p:nvGrpSpPr>
                <p:grpSpPr>
                  <a:xfrm>
                    <a:off x="8355846" y="5448766"/>
                    <a:ext cx="106002" cy="78331"/>
                    <a:chOff x="8355846" y="5448766"/>
                    <a:chExt cx="106002" cy="78331"/>
                  </a:xfrm>
                </p:grpSpPr>
                <p:sp>
                  <p:nvSpPr>
                    <p:cNvPr id="2475" name="Freeform: Shape 2474">
                      <a:extLst>
                        <a:ext uri="{FF2B5EF4-FFF2-40B4-BE49-F238E27FC236}">
                          <a16:creationId xmlns:a16="http://schemas.microsoft.com/office/drawing/2014/main" id="{B0751249-D2EB-4AF1-9241-BAC5625A3B44}"/>
                        </a:ext>
                      </a:extLst>
                    </p:cNvPr>
                    <p:cNvSpPr/>
                    <p:nvPr/>
                  </p:nvSpPr>
                  <p:spPr>
                    <a:xfrm>
                      <a:off x="8386334" y="5448766"/>
                      <a:ext cx="75513" cy="78331"/>
                    </a:xfrm>
                    <a:custGeom>
                      <a:avLst/>
                      <a:gdLst>
                        <a:gd name="connsiteX0" fmla="*/ 75514 w 75513"/>
                        <a:gd name="connsiteY0" fmla="*/ 0 h 78331"/>
                        <a:gd name="connsiteX1" fmla="*/ 75514 w 75513"/>
                        <a:gd name="connsiteY1" fmla="*/ 67873 h 78331"/>
                        <a:gd name="connsiteX2" fmla="*/ 73660 w 75513"/>
                        <a:gd name="connsiteY2" fmla="*/ 70699 h 78331"/>
                        <a:gd name="connsiteX3" fmla="*/ 0 w 75513"/>
                        <a:gd name="connsiteY3" fmla="*/ 77504 h 78331"/>
                        <a:gd name="connsiteX4" fmla="*/ 0 w 75513"/>
                        <a:gd name="connsiteY4" fmla="*/ 17956 h 78331"/>
                        <a:gd name="connsiteX5" fmla="*/ 75514 w 75513"/>
                        <a:gd name="connsiteY5" fmla="*/ 0 h 7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3" h="78331">
                          <a:moveTo>
                            <a:pt x="75514" y="0"/>
                          </a:moveTo>
                          <a:lnTo>
                            <a:pt x="75514" y="67873"/>
                          </a:lnTo>
                          <a:cubicBezTo>
                            <a:pt x="75514" y="69103"/>
                            <a:pt x="74785" y="70212"/>
                            <a:pt x="73660" y="70699"/>
                          </a:cubicBezTo>
                          <a:cubicBezTo>
                            <a:pt x="67554" y="73357"/>
                            <a:pt x="45816" y="80800"/>
                            <a:pt x="0" y="77504"/>
                          </a:cubicBezTo>
                          <a:lnTo>
                            <a:pt x="0" y="17956"/>
                          </a:lnTo>
                          <a:lnTo>
                            <a:pt x="75514" y="0"/>
                          </a:ln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6" name="Freeform: Shape 2475">
                      <a:extLst>
                        <a:ext uri="{FF2B5EF4-FFF2-40B4-BE49-F238E27FC236}">
                          <a16:creationId xmlns:a16="http://schemas.microsoft.com/office/drawing/2014/main" id="{DE584175-48A4-6F43-7181-0493A189D5D5}"/>
                        </a:ext>
                      </a:extLst>
                    </p:cNvPr>
                    <p:cNvSpPr/>
                    <p:nvPr/>
                  </p:nvSpPr>
                  <p:spPr>
                    <a:xfrm>
                      <a:off x="8355846" y="5466721"/>
                      <a:ext cx="30488" cy="59548"/>
                    </a:xfrm>
                    <a:custGeom>
                      <a:avLst/>
                      <a:gdLst>
                        <a:gd name="connsiteX0" fmla="*/ 30489 w 30488"/>
                        <a:gd name="connsiteY0" fmla="*/ 59548 h 59548"/>
                        <a:gd name="connsiteX1" fmla="*/ 1839 w 30488"/>
                        <a:gd name="connsiteY1" fmla="*/ 46970 h 59548"/>
                        <a:gd name="connsiteX2" fmla="*/ 0 w 30488"/>
                        <a:gd name="connsiteY2" fmla="*/ 44144 h 59548"/>
                        <a:gd name="connsiteX3" fmla="*/ 0 w 30488"/>
                        <a:gd name="connsiteY3" fmla="*/ 0 h 59548"/>
                        <a:gd name="connsiteX4" fmla="*/ 30489 w 30488"/>
                        <a:gd name="connsiteY4" fmla="*/ 0 h 59548"/>
                        <a:gd name="connsiteX5" fmla="*/ 30489 w 30488"/>
                        <a:gd name="connsiteY5" fmla="*/ 59548 h 5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8" h="59548">
                          <a:moveTo>
                            <a:pt x="30489" y="59548"/>
                          </a:moveTo>
                          <a:lnTo>
                            <a:pt x="1839" y="46970"/>
                          </a:lnTo>
                          <a:cubicBezTo>
                            <a:pt x="714" y="46484"/>
                            <a:pt x="0" y="45375"/>
                            <a:pt x="0" y="44144"/>
                          </a:cubicBezTo>
                          <a:lnTo>
                            <a:pt x="0" y="0"/>
                          </a:lnTo>
                          <a:lnTo>
                            <a:pt x="30489" y="0"/>
                          </a:lnTo>
                          <a:lnTo>
                            <a:pt x="30489" y="59548"/>
                          </a:lnTo>
                          <a:close/>
                        </a:path>
                      </a:pathLst>
                    </a:custGeom>
                    <a:solidFill>
                      <a:srgbClr val="1721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72" name="Graphic 3200">
                    <a:extLst>
                      <a:ext uri="{FF2B5EF4-FFF2-40B4-BE49-F238E27FC236}">
                        <a16:creationId xmlns:a16="http://schemas.microsoft.com/office/drawing/2014/main" id="{F679898D-AB84-7AD9-12F3-489399EE7EF4}"/>
                      </a:ext>
                    </a:extLst>
                  </p:cNvPr>
                  <p:cNvGrpSpPr/>
                  <p:nvPr/>
                </p:nvGrpSpPr>
                <p:grpSpPr>
                  <a:xfrm>
                    <a:off x="8038472" y="5407165"/>
                    <a:ext cx="427937" cy="116893"/>
                    <a:chOff x="8038472" y="5407165"/>
                    <a:chExt cx="427937" cy="116893"/>
                  </a:xfrm>
                </p:grpSpPr>
                <p:sp>
                  <p:nvSpPr>
                    <p:cNvPr id="2473" name="Freeform: Shape 2472">
                      <a:extLst>
                        <a:ext uri="{FF2B5EF4-FFF2-40B4-BE49-F238E27FC236}">
                          <a16:creationId xmlns:a16="http://schemas.microsoft.com/office/drawing/2014/main" id="{F81EA686-21B1-02B4-2022-83F8267EA18F}"/>
                        </a:ext>
                      </a:extLst>
                    </p:cNvPr>
                    <p:cNvSpPr/>
                    <p:nvPr/>
                  </p:nvSpPr>
                  <p:spPr>
                    <a:xfrm>
                      <a:off x="8038656" y="5407165"/>
                      <a:ext cx="422406" cy="100285"/>
                    </a:xfrm>
                    <a:custGeom>
                      <a:avLst/>
                      <a:gdLst>
                        <a:gd name="connsiteX0" fmla="*/ 422342 w 422406"/>
                        <a:gd name="connsiteY0" fmla="*/ 1709 h 100285"/>
                        <a:gd name="connsiteX1" fmla="*/ 383012 w 422406"/>
                        <a:gd name="connsiteY1" fmla="*/ 8545 h 100285"/>
                        <a:gd name="connsiteX2" fmla="*/ 190954 w 422406"/>
                        <a:gd name="connsiteY2" fmla="*/ 71800 h 100285"/>
                        <a:gd name="connsiteX3" fmla="*/ 53036 w 422406"/>
                        <a:gd name="connsiteY3" fmla="*/ 71223 h 100285"/>
                        <a:gd name="connsiteX4" fmla="*/ 34 w 422406"/>
                        <a:gd name="connsiteY4" fmla="*/ 71800 h 100285"/>
                        <a:gd name="connsiteX5" fmla="*/ 55314 w 422406"/>
                        <a:gd name="connsiteY5" fmla="*/ 94601 h 100285"/>
                        <a:gd name="connsiteX6" fmla="*/ 247935 w 422406"/>
                        <a:gd name="connsiteY6" fmla="*/ 76357 h 100285"/>
                        <a:gd name="connsiteX7" fmla="*/ 422327 w 422406"/>
                        <a:gd name="connsiteY7" fmla="*/ 1694 h 10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406" h="100285">
                          <a:moveTo>
                            <a:pt x="422342" y="1709"/>
                          </a:moveTo>
                          <a:cubicBezTo>
                            <a:pt x="422342" y="1709"/>
                            <a:pt x="416068" y="-5127"/>
                            <a:pt x="383012" y="8545"/>
                          </a:cubicBezTo>
                          <a:cubicBezTo>
                            <a:pt x="349957" y="22217"/>
                            <a:pt x="227427" y="59829"/>
                            <a:pt x="190954" y="71800"/>
                          </a:cubicBezTo>
                          <a:cubicBezTo>
                            <a:pt x="154480" y="83770"/>
                            <a:pt x="79817" y="75218"/>
                            <a:pt x="53036" y="71223"/>
                          </a:cubicBezTo>
                          <a:cubicBezTo>
                            <a:pt x="26254" y="67228"/>
                            <a:pt x="-1105" y="64387"/>
                            <a:pt x="34" y="71800"/>
                          </a:cubicBezTo>
                          <a:cubicBezTo>
                            <a:pt x="34" y="71800"/>
                            <a:pt x="9726" y="88328"/>
                            <a:pt x="55314" y="94601"/>
                          </a:cubicBezTo>
                          <a:cubicBezTo>
                            <a:pt x="100902" y="100875"/>
                            <a:pt x="177267" y="108850"/>
                            <a:pt x="247935" y="76357"/>
                          </a:cubicBezTo>
                          <a:cubicBezTo>
                            <a:pt x="318603" y="43879"/>
                            <a:pt x="425745" y="41023"/>
                            <a:pt x="422327" y="1694"/>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4" name="Freeform: Shape 2473">
                      <a:extLst>
                        <a:ext uri="{FF2B5EF4-FFF2-40B4-BE49-F238E27FC236}">
                          <a16:creationId xmlns:a16="http://schemas.microsoft.com/office/drawing/2014/main" id="{115040F8-F894-634F-9B74-8885566181AD}"/>
                        </a:ext>
                      </a:extLst>
                    </p:cNvPr>
                    <p:cNvSpPr/>
                    <p:nvPr/>
                  </p:nvSpPr>
                  <p:spPr>
                    <a:xfrm>
                      <a:off x="8038472" y="5408874"/>
                      <a:ext cx="427937" cy="115184"/>
                    </a:xfrm>
                    <a:custGeom>
                      <a:avLst/>
                      <a:gdLst>
                        <a:gd name="connsiteX0" fmla="*/ 422526 w 427937"/>
                        <a:gd name="connsiteY0" fmla="*/ 0 h 115184"/>
                        <a:gd name="connsiteX1" fmla="*/ 427706 w 427937"/>
                        <a:gd name="connsiteY1" fmla="*/ 32949 h 115184"/>
                        <a:gd name="connsiteX2" fmla="*/ 421174 w 427937"/>
                        <a:gd name="connsiteY2" fmla="*/ 41243 h 115184"/>
                        <a:gd name="connsiteX3" fmla="*/ 317085 w 427937"/>
                        <a:gd name="connsiteY3" fmla="*/ 71245 h 115184"/>
                        <a:gd name="connsiteX4" fmla="*/ 218405 w 427937"/>
                        <a:gd name="connsiteY4" fmla="*/ 106777 h 115184"/>
                        <a:gd name="connsiteX5" fmla="*/ 198156 w 427937"/>
                        <a:gd name="connsiteY5" fmla="*/ 112367 h 115184"/>
                        <a:gd name="connsiteX6" fmla="*/ 9819 w 427937"/>
                        <a:gd name="connsiteY6" fmla="*/ 100655 h 115184"/>
                        <a:gd name="connsiteX7" fmla="*/ 583 w 427937"/>
                        <a:gd name="connsiteY7" fmla="*/ 89869 h 115184"/>
                        <a:gd name="connsiteX8" fmla="*/ 234 w 427937"/>
                        <a:gd name="connsiteY8" fmla="*/ 70106 h 115184"/>
                        <a:gd name="connsiteX9" fmla="*/ 152401 w 427937"/>
                        <a:gd name="connsiteY9" fmla="*/ 90629 h 115184"/>
                        <a:gd name="connsiteX10" fmla="*/ 342743 w 427937"/>
                        <a:gd name="connsiteY10" fmla="*/ 39481 h 115184"/>
                        <a:gd name="connsiteX11" fmla="*/ 422526 w 427937"/>
                        <a:gd name="connsiteY11" fmla="*/ 15 h 11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937" h="115184">
                          <a:moveTo>
                            <a:pt x="422526" y="0"/>
                          </a:moveTo>
                          <a:cubicBezTo>
                            <a:pt x="422526" y="0"/>
                            <a:pt x="429256" y="10102"/>
                            <a:pt x="427706" y="32949"/>
                          </a:cubicBezTo>
                          <a:cubicBezTo>
                            <a:pt x="427448" y="36792"/>
                            <a:pt x="424835" y="40074"/>
                            <a:pt x="421174" y="41243"/>
                          </a:cubicBezTo>
                          <a:cubicBezTo>
                            <a:pt x="405998" y="46105"/>
                            <a:pt x="363539" y="59412"/>
                            <a:pt x="317085" y="71245"/>
                          </a:cubicBezTo>
                          <a:cubicBezTo>
                            <a:pt x="270905" y="83018"/>
                            <a:pt x="235146" y="98392"/>
                            <a:pt x="218405" y="106777"/>
                          </a:cubicBezTo>
                          <a:cubicBezTo>
                            <a:pt x="212086" y="109952"/>
                            <a:pt x="205204" y="111836"/>
                            <a:pt x="198156" y="112367"/>
                          </a:cubicBezTo>
                          <a:cubicBezTo>
                            <a:pt x="165966" y="114813"/>
                            <a:pt x="85288" y="120980"/>
                            <a:pt x="9819" y="100655"/>
                          </a:cubicBezTo>
                          <a:cubicBezTo>
                            <a:pt x="4821" y="99303"/>
                            <a:pt x="1191" y="95019"/>
                            <a:pt x="583" y="89869"/>
                          </a:cubicBezTo>
                          <a:cubicBezTo>
                            <a:pt x="66" y="85418"/>
                            <a:pt x="-237" y="79023"/>
                            <a:pt x="234" y="70106"/>
                          </a:cubicBezTo>
                          <a:cubicBezTo>
                            <a:pt x="234" y="70106"/>
                            <a:pt x="76037" y="98027"/>
                            <a:pt x="152401" y="90629"/>
                          </a:cubicBezTo>
                          <a:cubicBezTo>
                            <a:pt x="228766" y="83216"/>
                            <a:pt x="252706" y="60566"/>
                            <a:pt x="342743" y="39481"/>
                          </a:cubicBezTo>
                          <a:cubicBezTo>
                            <a:pt x="393602" y="28802"/>
                            <a:pt x="416267" y="15966"/>
                            <a:pt x="422526" y="15"/>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467" name="Freeform: Shape 2466">
                  <a:extLst>
                    <a:ext uri="{FF2B5EF4-FFF2-40B4-BE49-F238E27FC236}">
                      <a16:creationId xmlns:a16="http://schemas.microsoft.com/office/drawing/2014/main" id="{AC633994-01C2-3686-7C50-E3DF3578C718}"/>
                    </a:ext>
                  </a:extLst>
                </p:cNvPr>
                <p:cNvSpPr/>
                <p:nvPr/>
              </p:nvSpPr>
              <p:spPr>
                <a:xfrm>
                  <a:off x="8051215" y="5177432"/>
                  <a:ext cx="394903" cy="324022"/>
                </a:xfrm>
                <a:custGeom>
                  <a:avLst/>
                  <a:gdLst>
                    <a:gd name="connsiteX0" fmla="*/ 345373 w 394903"/>
                    <a:gd name="connsiteY0" fmla="*/ 60180 h 324022"/>
                    <a:gd name="connsiteX1" fmla="*/ 365030 w 394903"/>
                    <a:gd name="connsiteY1" fmla="*/ 116599 h 324022"/>
                    <a:gd name="connsiteX2" fmla="*/ 382986 w 394903"/>
                    <a:gd name="connsiteY2" fmla="*/ 246542 h 324022"/>
                    <a:gd name="connsiteX3" fmla="*/ 261033 w 394903"/>
                    <a:gd name="connsiteY3" fmla="*/ 285005 h 324022"/>
                    <a:gd name="connsiteX4" fmla="*/ 80368 w 394903"/>
                    <a:gd name="connsiteY4" fmla="*/ 323195 h 324022"/>
                    <a:gd name="connsiteX5" fmla="*/ 8 w 394903"/>
                    <a:gd name="connsiteY5" fmla="*/ 286145 h 324022"/>
                    <a:gd name="connsiteX6" fmla="*/ 58144 w 394903"/>
                    <a:gd name="connsiteY6" fmla="*/ 246815 h 324022"/>
                    <a:gd name="connsiteX7" fmla="*/ 181251 w 394903"/>
                    <a:gd name="connsiteY7" fmla="*/ 187540 h 324022"/>
                    <a:gd name="connsiteX8" fmla="*/ 247073 w 394903"/>
                    <a:gd name="connsiteY8" fmla="*/ 105479 h 324022"/>
                    <a:gd name="connsiteX9" fmla="*/ 229117 w 394903"/>
                    <a:gd name="connsiteY9" fmla="*/ 60165 h 324022"/>
                    <a:gd name="connsiteX10" fmla="*/ 275282 w 394903"/>
                    <a:gd name="connsiteY10" fmla="*/ 2029 h 324022"/>
                    <a:gd name="connsiteX11" fmla="*/ 345388 w 394903"/>
                    <a:gd name="connsiteY11" fmla="*/ 60165 h 32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903" h="324022">
                      <a:moveTo>
                        <a:pt x="345373" y="60180"/>
                      </a:moveTo>
                      <a:cubicBezTo>
                        <a:pt x="345373" y="60180"/>
                        <a:pt x="345373" y="77270"/>
                        <a:pt x="365030" y="116599"/>
                      </a:cubicBezTo>
                      <a:cubicBezTo>
                        <a:pt x="384687" y="155928"/>
                        <a:pt x="410345" y="221750"/>
                        <a:pt x="382986" y="246542"/>
                      </a:cubicBezTo>
                      <a:cubicBezTo>
                        <a:pt x="355627" y="271333"/>
                        <a:pt x="322572" y="261080"/>
                        <a:pt x="261033" y="285005"/>
                      </a:cubicBezTo>
                      <a:cubicBezTo>
                        <a:pt x="199480" y="308946"/>
                        <a:pt x="166713" y="328314"/>
                        <a:pt x="80368" y="323195"/>
                      </a:cubicBezTo>
                      <a:cubicBezTo>
                        <a:pt x="37621" y="318061"/>
                        <a:pt x="692" y="317772"/>
                        <a:pt x="8" y="286145"/>
                      </a:cubicBezTo>
                      <a:cubicBezTo>
                        <a:pt x="-569" y="259925"/>
                        <a:pt x="30207" y="250810"/>
                        <a:pt x="58144" y="246815"/>
                      </a:cubicBezTo>
                      <a:cubicBezTo>
                        <a:pt x="83209" y="243230"/>
                        <a:pt x="129100" y="237974"/>
                        <a:pt x="181251" y="187540"/>
                      </a:cubicBezTo>
                      <a:cubicBezTo>
                        <a:pt x="233401" y="137106"/>
                        <a:pt x="249640" y="125987"/>
                        <a:pt x="247073" y="105479"/>
                      </a:cubicBezTo>
                      <a:cubicBezTo>
                        <a:pt x="244506" y="84956"/>
                        <a:pt x="234252" y="77270"/>
                        <a:pt x="229117" y="60165"/>
                      </a:cubicBezTo>
                      <a:cubicBezTo>
                        <a:pt x="223983" y="43075"/>
                        <a:pt x="236804" y="11432"/>
                        <a:pt x="275282" y="2029"/>
                      </a:cubicBezTo>
                      <a:cubicBezTo>
                        <a:pt x="313746" y="-7374"/>
                        <a:pt x="330000" y="16567"/>
                        <a:pt x="345388" y="60165"/>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68" name="Graphic 3200">
                  <a:extLst>
                    <a:ext uri="{FF2B5EF4-FFF2-40B4-BE49-F238E27FC236}">
                      <a16:creationId xmlns:a16="http://schemas.microsoft.com/office/drawing/2014/main" id="{4CEFEB52-B81B-2273-AA6E-C74CD4533B96}"/>
                    </a:ext>
                  </a:extLst>
                </p:cNvPr>
                <p:cNvGrpSpPr/>
                <p:nvPr/>
              </p:nvGrpSpPr>
              <p:grpSpPr>
                <a:xfrm>
                  <a:off x="8038435" y="5310747"/>
                  <a:ext cx="396284" cy="199221"/>
                  <a:chOff x="8038435" y="5310747"/>
                  <a:chExt cx="396284" cy="199221"/>
                </a:xfrm>
                <a:solidFill>
                  <a:srgbClr val="212851"/>
                </a:solidFill>
              </p:grpSpPr>
              <p:sp>
                <p:nvSpPr>
                  <p:cNvPr id="2469" name="Freeform: Shape 2468">
                    <a:extLst>
                      <a:ext uri="{FF2B5EF4-FFF2-40B4-BE49-F238E27FC236}">
                        <a16:creationId xmlns:a16="http://schemas.microsoft.com/office/drawing/2014/main" id="{69FD6966-21B8-15E5-51B4-97B980194D1B}"/>
                      </a:ext>
                    </a:extLst>
                  </p:cNvPr>
                  <p:cNvSpPr/>
                  <p:nvPr/>
                </p:nvSpPr>
                <p:spPr>
                  <a:xfrm>
                    <a:off x="8038435" y="5398992"/>
                    <a:ext cx="214552" cy="110975"/>
                  </a:xfrm>
                  <a:custGeom>
                    <a:avLst/>
                    <a:gdLst>
                      <a:gd name="connsiteX0" fmla="*/ 214538 w 214552"/>
                      <a:gd name="connsiteY0" fmla="*/ 92520 h 110975"/>
                      <a:gd name="connsiteX1" fmla="*/ 183199 w 214552"/>
                      <a:gd name="connsiteY1" fmla="*/ 58326 h 110975"/>
                      <a:gd name="connsiteX2" fmla="*/ 147349 w 214552"/>
                      <a:gd name="connsiteY2" fmla="*/ 1162 h 110975"/>
                      <a:gd name="connsiteX3" fmla="*/ 143368 w 214552"/>
                      <a:gd name="connsiteY3" fmla="*/ 160 h 110975"/>
                      <a:gd name="connsiteX4" fmla="*/ 69799 w 214552"/>
                      <a:gd name="connsiteY4" fmla="*/ 22141 h 110975"/>
                      <a:gd name="connsiteX5" fmla="*/ 271 w 214552"/>
                      <a:gd name="connsiteY5" fmla="*/ 79988 h 110975"/>
                      <a:gd name="connsiteX6" fmla="*/ 214553 w 214552"/>
                      <a:gd name="connsiteY6" fmla="*/ 92520 h 1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552" h="110975">
                        <a:moveTo>
                          <a:pt x="214538" y="92520"/>
                        </a:moveTo>
                        <a:cubicBezTo>
                          <a:pt x="214538" y="92520"/>
                          <a:pt x="192314" y="75431"/>
                          <a:pt x="183199" y="58326"/>
                        </a:cubicBezTo>
                        <a:cubicBezTo>
                          <a:pt x="174601" y="42208"/>
                          <a:pt x="157405" y="10915"/>
                          <a:pt x="147349" y="1162"/>
                        </a:cubicBezTo>
                        <a:cubicBezTo>
                          <a:pt x="146285" y="145"/>
                          <a:pt x="144781" y="-250"/>
                          <a:pt x="143368" y="160"/>
                        </a:cubicBezTo>
                        <a:cubicBezTo>
                          <a:pt x="132461" y="3304"/>
                          <a:pt x="108779" y="16308"/>
                          <a:pt x="69799" y="22141"/>
                        </a:cubicBezTo>
                        <a:cubicBezTo>
                          <a:pt x="37351" y="27002"/>
                          <a:pt x="-3725" y="38380"/>
                          <a:pt x="271" y="79988"/>
                        </a:cubicBezTo>
                        <a:cubicBezTo>
                          <a:pt x="271" y="79988"/>
                          <a:pt x="96581" y="140402"/>
                          <a:pt x="214553" y="92520"/>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0" name="Freeform: Shape 2469">
                    <a:extLst>
                      <a:ext uri="{FF2B5EF4-FFF2-40B4-BE49-F238E27FC236}">
                        <a16:creationId xmlns:a16="http://schemas.microsoft.com/office/drawing/2014/main" id="{BF389F03-5942-93DF-998B-825718AC7563}"/>
                      </a:ext>
                    </a:extLst>
                  </p:cNvPr>
                  <p:cNvSpPr/>
                  <p:nvPr/>
                </p:nvSpPr>
                <p:spPr>
                  <a:xfrm>
                    <a:off x="8226480" y="5310747"/>
                    <a:ext cx="208239" cy="187161"/>
                  </a:xfrm>
                  <a:custGeom>
                    <a:avLst/>
                    <a:gdLst>
                      <a:gd name="connsiteX0" fmla="*/ 198788 w 208239"/>
                      <a:gd name="connsiteY0" fmla="*/ 177 h 187161"/>
                      <a:gd name="connsiteX1" fmla="*/ 207963 w 208239"/>
                      <a:gd name="connsiteY1" fmla="*/ 23996 h 187161"/>
                      <a:gd name="connsiteX2" fmla="*/ 207598 w 208239"/>
                      <a:gd name="connsiteY2" fmla="*/ 24923 h 187161"/>
                      <a:gd name="connsiteX3" fmla="*/ 157287 w 208239"/>
                      <a:gd name="connsiteY3" fmla="*/ 86719 h 187161"/>
                      <a:gd name="connsiteX4" fmla="*/ 109420 w 208239"/>
                      <a:gd name="connsiteY4" fmla="*/ 156810 h 187161"/>
                      <a:gd name="connsiteX5" fmla="*/ 56419 w 208239"/>
                      <a:gd name="connsiteY5" fmla="*/ 175191 h 187161"/>
                      <a:gd name="connsiteX6" fmla="*/ 17090 w 208239"/>
                      <a:gd name="connsiteY6" fmla="*/ 187162 h 187161"/>
                      <a:gd name="connsiteX7" fmla="*/ 0 w 208239"/>
                      <a:gd name="connsiteY7" fmla="*/ 158952 h 187161"/>
                      <a:gd name="connsiteX8" fmla="*/ 113689 w 208239"/>
                      <a:gd name="connsiteY8" fmla="*/ 97824 h 187161"/>
                      <a:gd name="connsiteX9" fmla="*/ 197497 w 208239"/>
                      <a:gd name="connsiteY9" fmla="*/ 419 h 187161"/>
                      <a:gd name="connsiteX10" fmla="*/ 198773 w 208239"/>
                      <a:gd name="connsiteY10" fmla="*/ 161 h 18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239" h="187161">
                        <a:moveTo>
                          <a:pt x="198788" y="177"/>
                        </a:moveTo>
                        <a:cubicBezTo>
                          <a:pt x="201446" y="2030"/>
                          <a:pt x="209862" y="8850"/>
                          <a:pt x="207963" y="23996"/>
                        </a:cubicBezTo>
                        <a:cubicBezTo>
                          <a:pt x="207918" y="24330"/>
                          <a:pt x="207797" y="24649"/>
                          <a:pt x="207598" y="24923"/>
                        </a:cubicBezTo>
                        <a:cubicBezTo>
                          <a:pt x="205199" y="28341"/>
                          <a:pt x="188124" y="52327"/>
                          <a:pt x="157287" y="86719"/>
                        </a:cubicBezTo>
                        <a:cubicBezTo>
                          <a:pt x="135184" y="111374"/>
                          <a:pt x="108128" y="130317"/>
                          <a:pt x="109420" y="156810"/>
                        </a:cubicBezTo>
                        <a:cubicBezTo>
                          <a:pt x="109420" y="156810"/>
                          <a:pt x="68390" y="169631"/>
                          <a:pt x="56419" y="175191"/>
                        </a:cubicBezTo>
                        <a:cubicBezTo>
                          <a:pt x="56419" y="175191"/>
                          <a:pt x="23075" y="186311"/>
                          <a:pt x="17090" y="187162"/>
                        </a:cubicBezTo>
                        <a:lnTo>
                          <a:pt x="0" y="158952"/>
                        </a:lnTo>
                        <a:cubicBezTo>
                          <a:pt x="0" y="158952"/>
                          <a:pt x="59411" y="152116"/>
                          <a:pt x="113689" y="97824"/>
                        </a:cubicBezTo>
                        <a:cubicBezTo>
                          <a:pt x="170806" y="40706"/>
                          <a:pt x="193973" y="5919"/>
                          <a:pt x="197497" y="419"/>
                        </a:cubicBezTo>
                        <a:cubicBezTo>
                          <a:pt x="197770" y="-21"/>
                          <a:pt x="198347" y="-127"/>
                          <a:pt x="198773" y="161"/>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463" name="Graphic 3200">
                <a:extLst>
                  <a:ext uri="{FF2B5EF4-FFF2-40B4-BE49-F238E27FC236}">
                    <a16:creationId xmlns:a16="http://schemas.microsoft.com/office/drawing/2014/main" id="{04229873-A965-ABAE-833B-8005179C2165}"/>
                  </a:ext>
                </a:extLst>
              </p:cNvPr>
              <p:cNvGrpSpPr/>
              <p:nvPr/>
            </p:nvGrpSpPr>
            <p:grpSpPr>
              <a:xfrm>
                <a:off x="7935958" y="4487318"/>
                <a:ext cx="467570" cy="850250"/>
                <a:chOff x="7935958" y="4487318"/>
                <a:chExt cx="467570" cy="850250"/>
              </a:xfrm>
            </p:grpSpPr>
            <p:sp>
              <p:nvSpPr>
                <p:cNvPr id="2464" name="Freeform: Shape 2463">
                  <a:extLst>
                    <a:ext uri="{FF2B5EF4-FFF2-40B4-BE49-F238E27FC236}">
                      <a16:creationId xmlns:a16="http://schemas.microsoft.com/office/drawing/2014/main" id="{6B869FD4-24D0-83F9-6ACB-0EAADB900767}"/>
                    </a:ext>
                  </a:extLst>
                </p:cNvPr>
                <p:cNvSpPr/>
                <p:nvPr/>
              </p:nvSpPr>
              <p:spPr>
                <a:xfrm>
                  <a:off x="7945155" y="4488887"/>
                  <a:ext cx="458374" cy="848681"/>
                </a:xfrm>
                <a:custGeom>
                  <a:avLst/>
                  <a:gdLst>
                    <a:gd name="connsiteX0" fmla="*/ 11141 w 458374"/>
                    <a:gd name="connsiteY0" fmla="*/ 169618 h 848681"/>
                    <a:gd name="connsiteX1" fmla="*/ 159874 w 458374"/>
                    <a:gd name="connsiteY1" fmla="*/ 454265 h 848681"/>
                    <a:gd name="connsiteX2" fmla="*/ 368233 w 458374"/>
                    <a:gd name="connsiteY2" fmla="*/ 812269 h 848681"/>
                    <a:gd name="connsiteX3" fmla="*/ 445722 w 458374"/>
                    <a:gd name="connsiteY3" fmla="*/ 831060 h 848681"/>
                    <a:gd name="connsiteX4" fmla="*/ 447879 w 458374"/>
                    <a:gd name="connsiteY4" fmla="*/ 728203 h 848681"/>
                    <a:gd name="connsiteX5" fmla="*/ 372730 w 458374"/>
                    <a:gd name="connsiteY5" fmla="*/ 459384 h 848681"/>
                    <a:gd name="connsiteX6" fmla="*/ 189375 w 458374"/>
                    <a:gd name="connsiteY6" fmla="*/ 41376 h 848681"/>
                    <a:gd name="connsiteX7" fmla="*/ 11141 w 458374"/>
                    <a:gd name="connsiteY7" fmla="*/ 169603 h 84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374" h="848681">
                      <a:moveTo>
                        <a:pt x="11141" y="169618"/>
                      </a:moveTo>
                      <a:cubicBezTo>
                        <a:pt x="11141" y="169618"/>
                        <a:pt x="81565" y="321299"/>
                        <a:pt x="159874" y="454265"/>
                      </a:cubicBezTo>
                      <a:cubicBezTo>
                        <a:pt x="227839" y="569670"/>
                        <a:pt x="333476" y="752371"/>
                        <a:pt x="368233" y="812269"/>
                      </a:cubicBezTo>
                      <a:cubicBezTo>
                        <a:pt x="402990" y="872167"/>
                        <a:pt x="434314" y="842833"/>
                        <a:pt x="445722" y="831060"/>
                      </a:cubicBezTo>
                      <a:cubicBezTo>
                        <a:pt x="457115" y="819287"/>
                        <a:pt x="466321" y="789483"/>
                        <a:pt x="447879" y="728203"/>
                      </a:cubicBezTo>
                      <a:cubicBezTo>
                        <a:pt x="429437" y="666938"/>
                        <a:pt x="403674" y="558839"/>
                        <a:pt x="372730" y="459384"/>
                      </a:cubicBezTo>
                      <a:cubicBezTo>
                        <a:pt x="336834" y="343979"/>
                        <a:pt x="279123" y="131139"/>
                        <a:pt x="189375" y="41376"/>
                      </a:cubicBezTo>
                      <a:cubicBezTo>
                        <a:pt x="82947" y="-65051"/>
                        <a:pt x="-37577" y="54197"/>
                        <a:pt x="11141" y="16960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65" name="Freeform: Shape 2464">
                  <a:extLst>
                    <a:ext uri="{FF2B5EF4-FFF2-40B4-BE49-F238E27FC236}">
                      <a16:creationId xmlns:a16="http://schemas.microsoft.com/office/drawing/2014/main" id="{C94A0796-3B8C-4CBD-AA09-764D75EDDDDE}"/>
                    </a:ext>
                  </a:extLst>
                </p:cNvPr>
                <p:cNvSpPr/>
                <p:nvPr/>
              </p:nvSpPr>
              <p:spPr>
                <a:xfrm>
                  <a:off x="7935958" y="4487318"/>
                  <a:ext cx="455595" cy="764400"/>
                </a:xfrm>
                <a:custGeom>
                  <a:avLst/>
                  <a:gdLst>
                    <a:gd name="connsiteX0" fmla="*/ 64831 w 455595"/>
                    <a:gd name="connsiteY0" fmla="*/ 9996 h 764400"/>
                    <a:gd name="connsiteX1" fmla="*/ 194485 w 455595"/>
                    <a:gd name="connsiteY1" fmla="*/ 25673 h 764400"/>
                    <a:gd name="connsiteX2" fmla="*/ 360902 w 455595"/>
                    <a:gd name="connsiteY2" fmla="*/ 277007 h 764400"/>
                    <a:gd name="connsiteX3" fmla="*/ 414662 w 455595"/>
                    <a:gd name="connsiteY3" fmla="*/ 529510 h 764400"/>
                    <a:gd name="connsiteX4" fmla="*/ 455419 w 455595"/>
                    <a:gd name="connsiteY4" fmla="*/ 720627 h 764400"/>
                    <a:gd name="connsiteX5" fmla="*/ 418339 w 455595"/>
                    <a:gd name="connsiteY5" fmla="*/ 754199 h 764400"/>
                    <a:gd name="connsiteX6" fmla="*/ 342673 w 455595"/>
                    <a:gd name="connsiteY6" fmla="*/ 761703 h 764400"/>
                    <a:gd name="connsiteX7" fmla="*/ 258302 w 455595"/>
                    <a:gd name="connsiteY7" fmla="*/ 624423 h 764400"/>
                    <a:gd name="connsiteX8" fmla="*/ 55443 w 455595"/>
                    <a:gd name="connsiteY8" fmla="*/ 292957 h 764400"/>
                    <a:gd name="connsiteX9" fmla="*/ 8427 w 455595"/>
                    <a:gd name="connsiteY9" fmla="*/ 72400 h 764400"/>
                    <a:gd name="connsiteX10" fmla="*/ 64846 w 455595"/>
                    <a:gd name="connsiteY10" fmla="*/ 9996 h 76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595" h="764400">
                      <a:moveTo>
                        <a:pt x="64831" y="9996"/>
                      </a:moveTo>
                      <a:cubicBezTo>
                        <a:pt x="64831" y="9996"/>
                        <a:pt x="126384" y="-20781"/>
                        <a:pt x="194485" y="25673"/>
                      </a:cubicBezTo>
                      <a:cubicBezTo>
                        <a:pt x="257907" y="68937"/>
                        <a:pt x="313020" y="165870"/>
                        <a:pt x="360902" y="277007"/>
                      </a:cubicBezTo>
                      <a:cubicBezTo>
                        <a:pt x="408768" y="388143"/>
                        <a:pt x="399091" y="447403"/>
                        <a:pt x="414662" y="529510"/>
                      </a:cubicBezTo>
                      <a:cubicBezTo>
                        <a:pt x="425356" y="585883"/>
                        <a:pt x="455419" y="720627"/>
                        <a:pt x="455419" y="720627"/>
                      </a:cubicBezTo>
                      <a:cubicBezTo>
                        <a:pt x="455419" y="720627"/>
                        <a:pt x="460326" y="740314"/>
                        <a:pt x="418339" y="754199"/>
                      </a:cubicBezTo>
                      <a:cubicBezTo>
                        <a:pt x="366522" y="771334"/>
                        <a:pt x="342673" y="761703"/>
                        <a:pt x="342673" y="761703"/>
                      </a:cubicBezTo>
                      <a:cubicBezTo>
                        <a:pt x="342673" y="761703"/>
                        <a:pt x="306564" y="704008"/>
                        <a:pt x="258302" y="624423"/>
                      </a:cubicBezTo>
                      <a:cubicBezTo>
                        <a:pt x="213155" y="549987"/>
                        <a:pt x="93055" y="386989"/>
                        <a:pt x="55443" y="292957"/>
                      </a:cubicBezTo>
                      <a:cubicBezTo>
                        <a:pt x="17830" y="198925"/>
                        <a:pt x="-16364" y="131387"/>
                        <a:pt x="8427" y="72400"/>
                      </a:cubicBezTo>
                      <a:cubicBezTo>
                        <a:pt x="29801" y="19399"/>
                        <a:pt x="64846" y="9996"/>
                        <a:pt x="64846" y="9996"/>
                      </a:cubicBezTo>
                      <a:close/>
                    </a:path>
                  </a:pathLst>
                </a:custGeom>
                <a:solidFill>
                  <a:srgbClr val="60A9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5" name="Graphic 3200">
              <a:extLst>
                <a:ext uri="{FF2B5EF4-FFF2-40B4-BE49-F238E27FC236}">
                  <a16:creationId xmlns:a16="http://schemas.microsoft.com/office/drawing/2014/main" id="{F4183EC8-9265-3E62-489F-EBFCCB45F8D2}"/>
                </a:ext>
              </a:extLst>
            </p:cNvPr>
            <p:cNvGrpSpPr/>
            <p:nvPr/>
          </p:nvGrpSpPr>
          <p:grpSpPr>
            <a:xfrm>
              <a:off x="7868850" y="3000281"/>
              <a:ext cx="1144434" cy="1554389"/>
              <a:chOff x="7799449" y="3286917"/>
              <a:chExt cx="1067444" cy="1449820"/>
            </a:xfrm>
          </p:grpSpPr>
          <p:grpSp>
            <p:nvGrpSpPr>
              <p:cNvPr id="2439" name="Graphic 3200">
                <a:extLst>
                  <a:ext uri="{FF2B5EF4-FFF2-40B4-BE49-F238E27FC236}">
                    <a16:creationId xmlns:a16="http://schemas.microsoft.com/office/drawing/2014/main" id="{8954FCE9-C5A5-DD43-8B56-958F088A00DB}"/>
                  </a:ext>
                </a:extLst>
              </p:cNvPr>
              <p:cNvGrpSpPr/>
              <p:nvPr/>
            </p:nvGrpSpPr>
            <p:grpSpPr>
              <a:xfrm>
                <a:off x="7882985" y="3526448"/>
                <a:ext cx="629879" cy="585077"/>
                <a:chOff x="7882985" y="3526448"/>
                <a:chExt cx="629879" cy="585077"/>
              </a:xfrm>
            </p:grpSpPr>
            <p:grpSp>
              <p:nvGrpSpPr>
                <p:cNvPr id="2454" name="Graphic 3200">
                  <a:extLst>
                    <a:ext uri="{FF2B5EF4-FFF2-40B4-BE49-F238E27FC236}">
                      <a16:creationId xmlns:a16="http://schemas.microsoft.com/office/drawing/2014/main" id="{FF434514-B7B1-D3B7-408B-98D9ADF9900E}"/>
                    </a:ext>
                  </a:extLst>
                </p:cNvPr>
                <p:cNvGrpSpPr/>
                <p:nvPr/>
              </p:nvGrpSpPr>
              <p:grpSpPr>
                <a:xfrm>
                  <a:off x="8144319" y="3526448"/>
                  <a:ext cx="368546" cy="585077"/>
                  <a:chOff x="8144319" y="3526448"/>
                  <a:chExt cx="368546" cy="585077"/>
                </a:xfrm>
              </p:grpSpPr>
              <p:sp>
                <p:nvSpPr>
                  <p:cNvPr id="2459" name="Freeform: Shape 2458">
                    <a:extLst>
                      <a:ext uri="{FF2B5EF4-FFF2-40B4-BE49-F238E27FC236}">
                        <a16:creationId xmlns:a16="http://schemas.microsoft.com/office/drawing/2014/main" id="{628A752D-6947-2939-4B05-35CCDFBF5F5F}"/>
                      </a:ext>
                    </a:extLst>
                  </p:cNvPr>
                  <p:cNvSpPr/>
                  <p:nvPr/>
                </p:nvSpPr>
                <p:spPr>
                  <a:xfrm>
                    <a:off x="8150909" y="3529084"/>
                    <a:ext cx="358437" cy="545383"/>
                  </a:xfrm>
                  <a:custGeom>
                    <a:avLst/>
                    <a:gdLst>
                      <a:gd name="connsiteX0" fmla="*/ 240818 w 358437"/>
                      <a:gd name="connsiteY0" fmla="*/ 11597 h 545383"/>
                      <a:gd name="connsiteX1" fmla="*/ 142229 w 358437"/>
                      <a:gd name="connsiteY1" fmla="*/ 155455 h 545383"/>
                      <a:gd name="connsiteX2" fmla="*/ 847 w 358437"/>
                      <a:gd name="connsiteY2" fmla="*/ 469740 h 545383"/>
                      <a:gd name="connsiteX3" fmla="*/ 106743 w 358437"/>
                      <a:gd name="connsiteY3" fmla="*/ 534468 h 545383"/>
                      <a:gd name="connsiteX4" fmla="*/ 258758 w 358437"/>
                      <a:gd name="connsiteY4" fmla="*/ 367779 h 545383"/>
                      <a:gd name="connsiteX5" fmla="*/ 350496 w 358437"/>
                      <a:gd name="connsiteY5" fmla="*/ 56122 h 545383"/>
                      <a:gd name="connsiteX6" fmla="*/ 240818 w 358437"/>
                      <a:gd name="connsiteY6" fmla="*/ 11597 h 54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437" h="545383">
                        <a:moveTo>
                          <a:pt x="240818" y="11597"/>
                        </a:moveTo>
                        <a:cubicBezTo>
                          <a:pt x="240818" y="11597"/>
                          <a:pt x="192344" y="54982"/>
                          <a:pt x="142229" y="155455"/>
                        </a:cubicBezTo>
                        <a:cubicBezTo>
                          <a:pt x="92114" y="255928"/>
                          <a:pt x="8837" y="426643"/>
                          <a:pt x="847" y="469740"/>
                        </a:cubicBezTo>
                        <a:cubicBezTo>
                          <a:pt x="-7144" y="512836"/>
                          <a:pt x="42409" y="569468"/>
                          <a:pt x="106743" y="534468"/>
                        </a:cubicBezTo>
                        <a:cubicBezTo>
                          <a:pt x="171077" y="499468"/>
                          <a:pt x="211894" y="434360"/>
                          <a:pt x="258758" y="367779"/>
                        </a:cubicBezTo>
                        <a:cubicBezTo>
                          <a:pt x="358577" y="225926"/>
                          <a:pt x="370017" y="109503"/>
                          <a:pt x="350496" y="56122"/>
                        </a:cubicBezTo>
                        <a:cubicBezTo>
                          <a:pt x="330976" y="2726"/>
                          <a:pt x="267326" y="-13605"/>
                          <a:pt x="240818" y="1159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60" name="Freeform: Shape 2459">
                    <a:extLst>
                      <a:ext uri="{FF2B5EF4-FFF2-40B4-BE49-F238E27FC236}">
                        <a16:creationId xmlns:a16="http://schemas.microsoft.com/office/drawing/2014/main" id="{9F2DD9E6-90AE-1AAD-B634-8D12F127E47B}"/>
                      </a:ext>
                    </a:extLst>
                  </p:cNvPr>
                  <p:cNvSpPr/>
                  <p:nvPr/>
                </p:nvSpPr>
                <p:spPr>
                  <a:xfrm>
                    <a:off x="8144319" y="3526448"/>
                    <a:ext cx="368546" cy="585077"/>
                  </a:xfrm>
                  <a:custGeom>
                    <a:avLst/>
                    <a:gdLst>
                      <a:gd name="connsiteX0" fmla="*/ 237702 w 368546"/>
                      <a:gd name="connsiteY0" fmla="*/ 20750 h 585077"/>
                      <a:gd name="connsiteX1" fmla="*/ 103292 w 368546"/>
                      <a:gd name="connsiteY1" fmla="*/ 236431 h 585077"/>
                      <a:gd name="connsiteX2" fmla="*/ 344 w 368546"/>
                      <a:gd name="connsiteY2" fmla="*/ 486397 h 585077"/>
                      <a:gd name="connsiteX3" fmla="*/ 97156 w 368546"/>
                      <a:gd name="connsiteY3" fmla="*/ 582206 h 585077"/>
                      <a:gd name="connsiteX4" fmla="*/ 257526 w 368546"/>
                      <a:gd name="connsiteY4" fmla="*/ 404443 h 585077"/>
                      <a:gd name="connsiteX5" fmla="*/ 360308 w 368546"/>
                      <a:gd name="connsiteY5" fmla="*/ 178964 h 585077"/>
                      <a:gd name="connsiteX6" fmla="*/ 313671 w 368546"/>
                      <a:gd name="connsiteY6" fmla="*/ 5605 h 585077"/>
                      <a:gd name="connsiteX7" fmla="*/ 237686 w 368546"/>
                      <a:gd name="connsiteY7" fmla="*/ 20735 h 58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46" h="585077">
                        <a:moveTo>
                          <a:pt x="237702" y="20750"/>
                        </a:moveTo>
                        <a:cubicBezTo>
                          <a:pt x="237702" y="20750"/>
                          <a:pt x="201486" y="43187"/>
                          <a:pt x="103292" y="236431"/>
                        </a:cubicBezTo>
                        <a:cubicBezTo>
                          <a:pt x="5098" y="429690"/>
                          <a:pt x="3990" y="465525"/>
                          <a:pt x="344" y="486397"/>
                        </a:cubicBezTo>
                        <a:cubicBezTo>
                          <a:pt x="-4305" y="513103"/>
                          <a:pt x="38701" y="602091"/>
                          <a:pt x="97156" y="582206"/>
                        </a:cubicBezTo>
                        <a:cubicBezTo>
                          <a:pt x="155625" y="562322"/>
                          <a:pt x="216996" y="465798"/>
                          <a:pt x="257526" y="404443"/>
                        </a:cubicBezTo>
                        <a:cubicBezTo>
                          <a:pt x="298055" y="343086"/>
                          <a:pt x="338083" y="270732"/>
                          <a:pt x="360308" y="178964"/>
                        </a:cubicBezTo>
                        <a:cubicBezTo>
                          <a:pt x="382532" y="87195"/>
                          <a:pt x="357390" y="24244"/>
                          <a:pt x="313671" y="5605"/>
                        </a:cubicBezTo>
                        <a:cubicBezTo>
                          <a:pt x="269952" y="-13019"/>
                          <a:pt x="237686" y="20735"/>
                          <a:pt x="237686" y="20735"/>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55" name="Graphic 3200">
                  <a:extLst>
                    <a:ext uri="{FF2B5EF4-FFF2-40B4-BE49-F238E27FC236}">
                      <a16:creationId xmlns:a16="http://schemas.microsoft.com/office/drawing/2014/main" id="{C3C4BAB7-5D86-40F1-07B1-4208528C9D4C}"/>
                    </a:ext>
                  </a:extLst>
                </p:cNvPr>
                <p:cNvGrpSpPr/>
                <p:nvPr/>
              </p:nvGrpSpPr>
              <p:grpSpPr>
                <a:xfrm>
                  <a:off x="7882985" y="3763061"/>
                  <a:ext cx="412613" cy="347530"/>
                  <a:chOff x="7882985" y="3763061"/>
                  <a:chExt cx="412613" cy="347530"/>
                </a:xfrm>
              </p:grpSpPr>
              <p:sp>
                <p:nvSpPr>
                  <p:cNvPr id="2457" name="Freeform: Shape 2456">
                    <a:extLst>
                      <a:ext uri="{FF2B5EF4-FFF2-40B4-BE49-F238E27FC236}">
                        <a16:creationId xmlns:a16="http://schemas.microsoft.com/office/drawing/2014/main" id="{FD1D06F4-95D1-9635-F4DB-054BC58ECF3D}"/>
                      </a:ext>
                    </a:extLst>
                  </p:cNvPr>
                  <p:cNvSpPr/>
                  <p:nvPr/>
                </p:nvSpPr>
                <p:spPr>
                  <a:xfrm>
                    <a:off x="7882985" y="3763673"/>
                    <a:ext cx="402050" cy="338951"/>
                  </a:xfrm>
                  <a:custGeom>
                    <a:avLst/>
                    <a:gdLst>
                      <a:gd name="connsiteX0" fmla="*/ 286818 w 402050"/>
                      <a:gd name="connsiteY0" fmla="*/ 328469 h 338951"/>
                      <a:gd name="connsiteX1" fmla="*/ 121221 w 402050"/>
                      <a:gd name="connsiteY1" fmla="*/ 189882 h 338951"/>
                      <a:gd name="connsiteX2" fmla="*/ 1001 w 402050"/>
                      <a:gd name="connsiteY2" fmla="*/ 20413 h 338951"/>
                      <a:gd name="connsiteX3" fmla="*/ 99377 w 402050"/>
                      <a:gd name="connsiteY3" fmla="*/ 23025 h 338951"/>
                      <a:gd name="connsiteX4" fmla="*/ 270153 w 402050"/>
                      <a:gd name="connsiteY4" fmla="*/ 128754 h 338951"/>
                      <a:gd name="connsiteX5" fmla="*/ 402041 w 402050"/>
                      <a:gd name="connsiteY5" fmla="*/ 259411 h 338951"/>
                      <a:gd name="connsiteX6" fmla="*/ 286802 w 402050"/>
                      <a:gd name="connsiteY6" fmla="*/ 328484 h 33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050" h="338951">
                        <a:moveTo>
                          <a:pt x="286818" y="328469"/>
                        </a:moveTo>
                        <a:cubicBezTo>
                          <a:pt x="286818" y="328469"/>
                          <a:pt x="201810" y="263300"/>
                          <a:pt x="121221" y="189882"/>
                        </a:cubicBezTo>
                        <a:cubicBezTo>
                          <a:pt x="49551" y="124577"/>
                          <a:pt x="-8387" y="53468"/>
                          <a:pt x="1001" y="20413"/>
                        </a:cubicBezTo>
                        <a:cubicBezTo>
                          <a:pt x="10404" y="-12643"/>
                          <a:pt x="57845" y="-961"/>
                          <a:pt x="99377" y="23025"/>
                        </a:cubicBezTo>
                        <a:cubicBezTo>
                          <a:pt x="159639" y="57828"/>
                          <a:pt x="224155" y="97248"/>
                          <a:pt x="270153" y="128754"/>
                        </a:cubicBezTo>
                        <a:cubicBezTo>
                          <a:pt x="334487" y="172792"/>
                          <a:pt x="402968" y="210952"/>
                          <a:pt x="402041" y="259411"/>
                        </a:cubicBezTo>
                        <a:cubicBezTo>
                          <a:pt x="400841" y="322028"/>
                          <a:pt x="354205" y="357985"/>
                          <a:pt x="286802" y="32848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58" name="Freeform: Shape 2457">
                    <a:extLst>
                      <a:ext uri="{FF2B5EF4-FFF2-40B4-BE49-F238E27FC236}">
                        <a16:creationId xmlns:a16="http://schemas.microsoft.com/office/drawing/2014/main" id="{6AD16ABD-4F2D-1A2E-9B0F-2961D270768C}"/>
                      </a:ext>
                    </a:extLst>
                  </p:cNvPr>
                  <p:cNvSpPr/>
                  <p:nvPr/>
                </p:nvSpPr>
                <p:spPr>
                  <a:xfrm>
                    <a:off x="7899663" y="3763061"/>
                    <a:ext cx="395935" cy="347530"/>
                  </a:xfrm>
                  <a:custGeom>
                    <a:avLst/>
                    <a:gdLst>
                      <a:gd name="connsiteX0" fmla="*/ 388462 w 395935"/>
                      <a:gd name="connsiteY0" fmla="*/ 306659 h 347530"/>
                      <a:gd name="connsiteX1" fmla="*/ 370704 w 395935"/>
                      <a:gd name="connsiteY1" fmla="*/ 203847 h 347530"/>
                      <a:gd name="connsiteX2" fmla="*/ 72992 w 395935"/>
                      <a:gd name="connsiteY2" fmla="*/ 0 h 347530"/>
                      <a:gd name="connsiteX3" fmla="*/ 0 w 395935"/>
                      <a:gd name="connsiteY3" fmla="*/ 92133 h 347530"/>
                      <a:gd name="connsiteX4" fmla="*/ 276110 w 395935"/>
                      <a:gd name="connsiteY4" fmla="*/ 337907 h 347530"/>
                      <a:gd name="connsiteX5" fmla="*/ 388462 w 395935"/>
                      <a:gd name="connsiteY5" fmla="*/ 306659 h 3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935" h="347530">
                        <a:moveTo>
                          <a:pt x="388462" y="306659"/>
                        </a:moveTo>
                        <a:cubicBezTo>
                          <a:pt x="388462" y="306659"/>
                          <a:pt x="413983" y="242948"/>
                          <a:pt x="370704" y="203847"/>
                        </a:cubicBezTo>
                        <a:cubicBezTo>
                          <a:pt x="327425" y="164746"/>
                          <a:pt x="188838" y="58485"/>
                          <a:pt x="72992" y="0"/>
                        </a:cubicBezTo>
                        <a:cubicBezTo>
                          <a:pt x="72992" y="0"/>
                          <a:pt x="23455" y="46287"/>
                          <a:pt x="0" y="92133"/>
                        </a:cubicBezTo>
                        <a:cubicBezTo>
                          <a:pt x="0" y="92133"/>
                          <a:pt x="207538" y="302618"/>
                          <a:pt x="276110" y="337907"/>
                        </a:cubicBezTo>
                        <a:cubicBezTo>
                          <a:pt x="285361" y="342737"/>
                          <a:pt x="359129" y="369063"/>
                          <a:pt x="388462" y="306659"/>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456" name="Freeform: Shape 2455">
                  <a:extLst>
                    <a:ext uri="{FF2B5EF4-FFF2-40B4-BE49-F238E27FC236}">
                      <a16:creationId xmlns:a16="http://schemas.microsoft.com/office/drawing/2014/main" id="{2B68CFEB-7E2C-9A80-72E1-7DF6EE4165EB}"/>
                    </a:ext>
                  </a:extLst>
                </p:cNvPr>
                <p:cNvSpPr/>
                <p:nvPr/>
              </p:nvSpPr>
              <p:spPr>
                <a:xfrm>
                  <a:off x="8256056" y="3614038"/>
                  <a:ext cx="212308" cy="454846"/>
                </a:xfrm>
                <a:custGeom>
                  <a:avLst/>
                  <a:gdLst>
                    <a:gd name="connsiteX0" fmla="*/ 3388 w 212308"/>
                    <a:gd name="connsiteY0" fmla="*/ 183749 h 454846"/>
                    <a:gd name="connsiteX1" fmla="*/ 98832 w 212308"/>
                    <a:gd name="connsiteY1" fmla="*/ 0 h 454846"/>
                    <a:gd name="connsiteX2" fmla="*/ 212309 w 212308"/>
                    <a:gd name="connsiteY2" fmla="*/ 197619 h 454846"/>
                    <a:gd name="connsiteX3" fmla="*/ 145803 w 212308"/>
                    <a:gd name="connsiteY3" fmla="*/ 316852 h 454846"/>
                    <a:gd name="connsiteX4" fmla="*/ 42474 w 212308"/>
                    <a:gd name="connsiteY4" fmla="*/ 454846 h 454846"/>
                    <a:gd name="connsiteX5" fmla="*/ 24762 w 212308"/>
                    <a:gd name="connsiteY5" fmla="*/ 321926 h 454846"/>
                    <a:gd name="connsiteX6" fmla="*/ 3388 w 212308"/>
                    <a:gd name="connsiteY6" fmla="*/ 183749 h 45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08" h="454846">
                      <a:moveTo>
                        <a:pt x="3388" y="183749"/>
                      </a:moveTo>
                      <a:cubicBezTo>
                        <a:pt x="14781" y="115375"/>
                        <a:pt x="98832" y="0"/>
                        <a:pt x="98832" y="0"/>
                      </a:cubicBezTo>
                      <a:cubicBezTo>
                        <a:pt x="162513" y="55933"/>
                        <a:pt x="195629" y="129092"/>
                        <a:pt x="212309" y="197619"/>
                      </a:cubicBezTo>
                      <a:cubicBezTo>
                        <a:pt x="192545" y="242143"/>
                        <a:pt x="169258" y="281351"/>
                        <a:pt x="145803" y="316852"/>
                      </a:cubicBezTo>
                      <a:cubicBezTo>
                        <a:pt x="118429" y="358293"/>
                        <a:pt x="81545" y="415760"/>
                        <a:pt x="42474" y="454846"/>
                      </a:cubicBezTo>
                      <a:cubicBezTo>
                        <a:pt x="42398" y="416109"/>
                        <a:pt x="35623" y="352110"/>
                        <a:pt x="24762" y="321926"/>
                      </a:cubicBezTo>
                      <a:cubicBezTo>
                        <a:pt x="11941" y="286318"/>
                        <a:pt x="-8005" y="252123"/>
                        <a:pt x="3388" y="183749"/>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40" name="Graphic 3200">
                <a:extLst>
                  <a:ext uri="{FF2B5EF4-FFF2-40B4-BE49-F238E27FC236}">
                    <a16:creationId xmlns:a16="http://schemas.microsoft.com/office/drawing/2014/main" id="{7C7C3FF6-0B02-D439-C25F-2A369A2D90E1}"/>
                  </a:ext>
                </a:extLst>
              </p:cNvPr>
              <p:cNvGrpSpPr/>
              <p:nvPr/>
            </p:nvGrpSpPr>
            <p:grpSpPr>
              <a:xfrm>
                <a:off x="7799449" y="3286917"/>
                <a:ext cx="1067444" cy="1449820"/>
                <a:chOff x="7799449" y="3286917"/>
                <a:chExt cx="1067444" cy="1449820"/>
              </a:xfrm>
            </p:grpSpPr>
            <p:grpSp>
              <p:nvGrpSpPr>
                <p:cNvPr id="2441" name="Graphic 3200">
                  <a:extLst>
                    <a:ext uri="{FF2B5EF4-FFF2-40B4-BE49-F238E27FC236}">
                      <a16:creationId xmlns:a16="http://schemas.microsoft.com/office/drawing/2014/main" id="{06B291B9-4D3E-9A7D-A9C0-BA963A8E6CEE}"/>
                    </a:ext>
                  </a:extLst>
                </p:cNvPr>
                <p:cNvGrpSpPr/>
                <p:nvPr/>
              </p:nvGrpSpPr>
              <p:grpSpPr>
                <a:xfrm>
                  <a:off x="8279252" y="3286917"/>
                  <a:ext cx="492143" cy="1038568"/>
                  <a:chOff x="8279252" y="3286917"/>
                  <a:chExt cx="492143" cy="1038568"/>
                </a:xfrm>
              </p:grpSpPr>
              <p:sp>
                <p:nvSpPr>
                  <p:cNvPr id="2450" name="Freeform: Shape 2449">
                    <a:extLst>
                      <a:ext uri="{FF2B5EF4-FFF2-40B4-BE49-F238E27FC236}">
                        <a16:creationId xmlns:a16="http://schemas.microsoft.com/office/drawing/2014/main" id="{C0B83D2E-19F8-6B0F-0900-C4690D4EACAB}"/>
                      </a:ext>
                    </a:extLst>
                  </p:cNvPr>
                  <p:cNvSpPr/>
                  <p:nvPr/>
                </p:nvSpPr>
                <p:spPr>
                  <a:xfrm>
                    <a:off x="8279252" y="3467113"/>
                    <a:ext cx="492143" cy="858371"/>
                  </a:xfrm>
                  <a:custGeom>
                    <a:avLst/>
                    <a:gdLst>
                      <a:gd name="connsiteX0" fmla="*/ 297637 w 492143"/>
                      <a:gd name="connsiteY0" fmla="*/ 697 h 858371"/>
                      <a:gd name="connsiteX1" fmla="*/ 136401 w 492143"/>
                      <a:gd name="connsiteY1" fmla="*/ 60671 h 858371"/>
                      <a:gd name="connsiteX2" fmla="*/ 19887 w 492143"/>
                      <a:gd name="connsiteY2" fmla="*/ 268528 h 858371"/>
                      <a:gd name="connsiteX3" fmla="*/ 40121 w 492143"/>
                      <a:gd name="connsiteY3" fmla="*/ 474547 h 858371"/>
                      <a:gd name="connsiteX4" fmla="*/ 54644 w 492143"/>
                      <a:gd name="connsiteY4" fmla="*/ 486138 h 858371"/>
                      <a:gd name="connsiteX5" fmla="*/ 63773 w 492143"/>
                      <a:gd name="connsiteY5" fmla="*/ 654924 h 858371"/>
                      <a:gd name="connsiteX6" fmla="*/ 230615 w 492143"/>
                      <a:gd name="connsiteY6" fmla="*/ 856811 h 858371"/>
                      <a:gd name="connsiteX7" fmla="*/ 463279 w 492143"/>
                      <a:gd name="connsiteY7" fmla="*/ 514150 h 858371"/>
                      <a:gd name="connsiteX8" fmla="*/ 491625 w 492143"/>
                      <a:gd name="connsiteY8" fmla="*/ 162708 h 858371"/>
                      <a:gd name="connsiteX9" fmla="*/ 297637 w 492143"/>
                      <a:gd name="connsiteY9" fmla="*/ 697 h 85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143" h="858371">
                        <a:moveTo>
                          <a:pt x="297637" y="697"/>
                        </a:moveTo>
                        <a:cubicBezTo>
                          <a:pt x="227516" y="-3571"/>
                          <a:pt x="186273" y="11194"/>
                          <a:pt x="136401" y="60671"/>
                        </a:cubicBezTo>
                        <a:cubicBezTo>
                          <a:pt x="93897" y="102826"/>
                          <a:pt x="54431" y="199683"/>
                          <a:pt x="19887" y="268528"/>
                        </a:cubicBezTo>
                        <a:cubicBezTo>
                          <a:pt x="-13762" y="335611"/>
                          <a:pt x="-3188" y="395327"/>
                          <a:pt x="40121" y="474547"/>
                        </a:cubicBezTo>
                        <a:cubicBezTo>
                          <a:pt x="42931" y="479682"/>
                          <a:pt x="54644" y="486138"/>
                          <a:pt x="54644" y="486138"/>
                        </a:cubicBezTo>
                        <a:cubicBezTo>
                          <a:pt x="54644" y="486138"/>
                          <a:pt x="55600" y="586990"/>
                          <a:pt x="63773" y="654924"/>
                        </a:cubicBezTo>
                        <a:cubicBezTo>
                          <a:pt x="70578" y="711495"/>
                          <a:pt x="80164" y="836714"/>
                          <a:pt x="230615" y="856811"/>
                        </a:cubicBezTo>
                        <a:cubicBezTo>
                          <a:pt x="381112" y="876909"/>
                          <a:pt x="435631" y="699601"/>
                          <a:pt x="463279" y="514150"/>
                        </a:cubicBezTo>
                        <a:cubicBezTo>
                          <a:pt x="483878" y="376034"/>
                          <a:pt x="494709" y="233923"/>
                          <a:pt x="491625" y="162708"/>
                        </a:cubicBezTo>
                        <a:cubicBezTo>
                          <a:pt x="487524" y="68008"/>
                          <a:pt x="420471" y="8171"/>
                          <a:pt x="297637" y="69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51" name="Graphic 3200">
                    <a:extLst>
                      <a:ext uri="{FF2B5EF4-FFF2-40B4-BE49-F238E27FC236}">
                        <a16:creationId xmlns:a16="http://schemas.microsoft.com/office/drawing/2014/main" id="{5E8A87D7-444E-1A8D-4C43-C9F045A39AA3}"/>
                      </a:ext>
                    </a:extLst>
                  </p:cNvPr>
                  <p:cNvGrpSpPr/>
                  <p:nvPr/>
                </p:nvGrpSpPr>
                <p:grpSpPr>
                  <a:xfrm>
                    <a:off x="8458996" y="3286917"/>
                    <a:ext cx="185170" cy="282455"/>
                    <a:chOff x="8458996" y="3286917"/>
                    <a:chExt cx="185170" cy="282455"/>
                  </a:xfrm>
                </p:grpSpPr>
                <p:sp>
                  <p:nvSpPr>
                    <p:cNvPr id="2452" name="Freeform: Shape 2451">
                      <a:extLst>
                        <a:ext uri="{FF2B5EF4-FFF2-40B4-BE49-F238E27FC236}">
                          <a16:creationId xmlns:a16="http://schemas.microsoft.com/office/drawing/2014/main" id="{48112F96-1D58-69BE-74B9-E661AC96F912}"/>
                        </a:ext>
                      </a:extLst>
                    </p:cNvPr>
                    <p:cNvSpPr/>
                    <p:nvPr/>
                  </p:nvSpPr>
                  <p:spPr>
                    <a:xfrm>
                      <a:off x="8458996" y="3286917"/>
                      <a:ext cx="185170" cy="282455"/>
                    </a:xfrm>
                    <a:custGeom>
                      <a:avLst/>
                      <a:gdLst>
                        <a:gd name="connsiteX0" fmla="*/ 9096 w 185170"/>
                        <a:gd name="connsiteY0" fmla="*/ 136688 h 282455"/>
                        <a:gd name="connsiteX1" fmla="*/ 7075 w 185170"/>
                        <a:gd name="connsiteY1" fmla="*/ 204713 h 282455"/>
                        <a:gd name="connsiteX2" fmla="*/ 41362 w 185170"/>
                        <a:gd name="connsiteY2" fmla="*/ 280029 h 282455"/>
                        <a:gd name="connsiteX3" fmla="*/ 173735 w 185170"/>
                        <a:gd name="connsiteY3" fmla="*/ 239288 h 282455"/>
                        <a:gd name="connsiteX4" fmla="*/ 178900 w 185170"/>
                        <a:gd name="connsiteY4" fmla="*/ 190160 h 282455"/>
                        <a:gd name="connsiteX5" fmla="*/ 161020 w 185170"/>
                        <a:gd name="connsiteY5" fmla="*/ 46089 h 282455"/>
                        <a:gd name="connsiteX6" fmla="*/ 87846 w 185170"/>
                        <a:gd name="connsiteY6" fmla="*/ 5636 h 282455"/>
                        <a:gd name="connsiteX7" fmla="*/ 9111 w 185170"/>
                        <a:gd name="connsiteY7" fmla="*/ 136688 h 282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170" h="282455">
                          <a:moveTo>
                            <a:pt x="9096" y="136688"/>
                          </a:moveTo>
                          <a:cubicBezTo>
                            <a:pt x="9096" y="136688"/>
                            <a:pt x="14246" y="175121"/>
                            <a:pt x="7075" y="204713"/>
                          </a:cubicBezTo>
                          <a:cubicBezTo>
                            <a:pt x="-95" y="234320"/>
                            <a:pt x="-14329" y="265644"/>
                            <a:pt x="41362" y="280029"/>
                          </a:cubicBezTo>
                          <a:cubicBezTo>
                            <a:pt x="84837" y="291256"/>
                            <a:pt x="159015" y="261102"/>
                            <a:pt x="173735" y="239288"/>
                          </a:cubicBezTo>
                          <a:cubicBezTo>
                            <a:pt x="188455" y="217473"/>
                            <a:pt x="187589" y="213721"/>
                            <a:pt x="178900" y="190160"/>
                          </a:cubicBezTo>
                          <a:cubicBezTo>
                            <a:pt x="174069" y="177065"/>
                            <a:pt x="154640" y="147595"/>
                            <a:pt x="161020" y="46089"/>
                          </a:cubicBezTo>
                          <a:cubicBezTo>
                            <a:pt x="163435" y="14493"/>
                            <a:pt x="126461" y="-11970"/>
                            <a:pt x="87846" y="5636"/>
                          </a:cubicBezTo>
                          <a:cubicBezTo>
                            <a:pt x="60927" y="17910"/>
                            <a:pt x="148" y="34939"/>
                            <a:pt x="9111" y="13668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53" name="Freeform: Shape 2452">
                      <a:extLst>
                        <a:ext uri="{FF2B5EF4-FFF2-40B4-BE49-F238E27FC236}">
                          <a16:creationId xmlns:a16="http://schemas.microsoft.com/office/drawing/2014/main" id="{C5C33839-58F0-238A-4DFB-8EF8CB4E77F1}"/>
                        </a:ext>
                      </a:extLst>
                    </p:cNvPr>
                    <p:cNvSpPr/>
                    <p:nvPr/>
                  </p:nvSpPr>
                  <p:spPr>
                    <a:xfrm>
                      <a:off x="8466527" y="3287740"/>
                      <a:ext cx="139740" cy="201884"/>
                    </a:xfrm>
                    <a:custGeom>
                      <a:avLst/>
                      <a:gdLst>
                        <a:gd name="connsiteX0" fmla="*/ 80299 w 139740"/>
                        <a:gd name="connsiteY0" fmla="*/ 4798 h 201884"/>
                        <a:gd name="connsiteX1" fmla="*/ 139194 w 139740"/>
                        <a:gd name="connsiteY1" fmla="*/ 52771 h 201884"/>
                        <a:gd name="connsiteX2" fmla="*/ 0 w 139740"/>
                        <a:gd name="connsiteY2" fmla="*/ 201884 h 201884"/>
                        <a:gd name="connsiteX3" fmla="*/ 1564 w 139740"/>
                        <a:gd name="connsiteY3" fmla="*/ 135850 h 201884"/>
                        <a:gd name="connsiteX4" fmla="*/ 80299 w 139740"/>
                        <a:gd name="connsiteY4" fmla="*/ 4798 h 20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40" h="201884">
                          <a:moveTo>
                            <a:pt x="80299" y="4798"/>
                          </a:moveTo>
                          <a:cubicBezTo>
                            <a:pt x="118914" y="-12809"/>
                            <a:pt x="143797" y="21417"/>
                            <a:pt x="139194" y="52771"/>
                          </a:cubicBezTo>
                          <a:cubicBezTo>
                            <a:pt x="134561" y="84246"/>
                            <a:pt x="90902" y="179660"/>
                            <a:pt x="0" y="201884"/>
                          </a:cubicBezTo>
                          <a:cubicBezTo>
                            <a:pt x="6487" y="172581"/>
                            <a:pt x="1564" y="135850"/>
                            <a:pt x="1564" y="135850"/>
                          </a:cubicBezTo>
                          <a:cubicBezTo>
                            <a:pt x="-7383" y="34101"/>
                            <a:pt x="53380" y="17072"/>
                            <a:pt x="80299" y="479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442" name="Graphic 3200">
                  <a:extLst>
                    <a:ext uri="{FF2B5EF4-FFF2-40B4-BE49-F238E27FC236}">
                      <a16:creationId xmlns:a16="http://schemas.microsoft.com/office/drawing/2014/main" id="{D04DEFD9-BF39-F527-CABE-8C0F11C5B4A2}"/>
                    </a:ext>
                  </a:extLst>
                </p:cNvPr>
                <p:cNvGrpSpPr/>
                <p:nvPr/>
              </p:nvGrpSpPr>
              <p:grpSpPr>
                <a:xfrm>
                  <a:off x="7799449" y="3465866"/>
                  <a:ext cx="1067444" cy="1270871"/>
                  <a:chOff x="7799449" y="3465866"/>
                  <a:chExt cx="1067444" cy="1270871"/>
                </a:xfrm>
              </p:grpSpPr>
              <p:sp>
                <p:nvSpPr>
                  <p:cNvPr id="2443" name="Freeform: Shape 2442">
                    <a:extLst>
                      <a:ext uri="{FF2B5EF4-FFF2-40B4-BE49-F238E27FC236}">
                        <a16:creationId xmlns:a16="http://schemas.microsoft.com/office/drawing/2014/main" id="{0EC872F6-8315-8904-A8EE-530D6D459ED6}"/>
                      </a:ext>
                    </a:extLst>
                  </p:cNvPr>
                  <p:cNvSpPr/>
                  <p:nvPr/>
                </p:nvSpPr>
                <p:spPr>
                  <a:xfrm>
                    <a:off x="8272475" y="3465866"/>
                    <a:ext cx="594417" cy="1205282"/>
                  </a:xfrm>
                  <a:custGeom>
                    <a:avLst/>
                    <a:gdLst>
                      <a:gd name="connsiteX0" fmla="*/ 360696 w 594417"/>
                      <a:gd name="connsiteY0" fmla="*/ 0 h 1205282"/>
                      <a:gd name="connsiteX1" fmla="*/ 427582 w 594417"/>
                      <a:gd name="connsiteY1" fmla="*/ 35531 h 1205282"/>
                      <a:gd name="connsiteX2" fmla="*/ 502807 w 594417"/>
                      <a:gd name="connsiteY2" fmla="*/ 177445 h 1205282"/>
                      <a:gd name="connsiteX3" fmla="*/ 488269 w 594417"/>
                      <a:gd name="connsiteY3" fmla="*/ 452704 h 1205282"/>
                      <a:gd name="connsiteX4" fmla="*/ 469463 w 594417"/>
                      <a:gd name="connsiteY4" fmla="*/ 530497 h 1205282"/>
                      <a:gd name="connsiteX5" fmla="*/ 467746 w 594417"/>
                      <a:gd name="connsiteY5" fmla="*/ 585215 h 1205282"/>
                      <a:gd name="connsiteX6" fmla="*/ 511345 w 594417"/>
                      <a:gd name="connsiteY6" fmla="*/ 747636 h 1205282"/>
                      <a:gd name="connsiteX7" fmla="*/ 584869 w 594417"/>
                      <a:gd name="connsiteY7" fmla="*/ 1057956 h 1205282"/>
                      <a:gd name="connsiteX8" fmla="*/ 218995 w 594417"/>
                      <a:gd name="connsiteY8" fmla="*/ 1177629 h 1205282"/>
                      <a:gd name="connsiteX9" fmla="*/ 69395 w 594417"/>
                      <a:gd name="connsiteY9" fmla="*/ 825428 h 1205282"/>
                      <a:gd name="connsiteX10" fmla="*/ 64261 w 594417"/>
                      <a:gd name="connsiteY10" fmla="*/ 608289 h 1205282"/>
                      <a:gd name="connsiteX11" fmla="*/ 51440 w 594417"/>
                      <a:gd name="connsiteY11" fmla="*/ 481339 h 1205282"/>
                      <a:gd name="connsiteX12" fmla="*/ 155 w 594417"/>
                      <a:gd name="connsiteY12" fmla="*/ 344135 h 1205282"/>
                      <a:gd name="connsiteX13" fmla="*/ 107008 w 594417"/>
                      <a:gd name="connsiteY13" fmla="*/ 103070 h 1205282"/>
                      <a:gd name="connsiteX14" fmla="*/ 194432 w 594417"/>
                      <a:gd name="connsiteY14" fmla="*/ 21799 h 1205282"/>
                      <a:gd name="connsiteX15" fmla="*/ 78784 w 594417"/>
                      <a:gd name="connsiteY15" fmla="*/ 290283 h 1205282"/>
                      <a:gd name="connsiteX16" fmla="*/ 257444 w 594417"/>
                      <a:gd name="connsiteY16" fmla="*/ 97085 h 1205282"/>
                      <a:gd name="connsiteX17" fmla="*/ 360665 w 594417"/>
                      <a:gd name="connsiteY17" fmla="*/ 0 h 120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4417" h="1205282">
                        <a:moveTo>
                          <a:pt x="360696" y="0"/>
                        </a:moveTo>
                        <a:cubicBezTo>
                          <a:pt x="360696" y="0"/>
                          <a:pt x="395954" y="17591"/>
                          <a:pt x="427582" y="35531"/>
                        </a:cubicBezTo>
                        <a:cubicBezTo>
                          <a:pt x="459209" y="53487"/>
                          <a:pt x="496822" y="80846"/>
                          <a:pt x="502807" y="177445"/>
                        </a:cubicBezTo>
                        <a:cubicBezTo>
                          <a:pt x="508792" y="274044"/>
                          <a:pt x="497673" y="401420"/>
                          <a:pt x="488269" y="452704"/>
                        </a:cubicBezTo>
                        <a:cubicBezTo>
                          <a:pt x="481251" y="491000"/>
                          <a:pt x="472030" y="509123"/>
                          <a:pt x="469463" y="530497"/>
                        </a:cubicBezTo>
                        <a:cubicBezTo>
                          <a:pt x="469463" y="530497"/>
                          <a:pt x="466045" y="574945"/>
                          <a:pt x="467746" y="585215"/>
                        </a:cubicBezTo>
                        <a:cubicBezTo>
                          <a:pt x="469463" y="595468"/>
                          <a:pt x="483985" y="686082"/>
                          <a:pt x="511345" y="747636"/>
                        </a:cubicBezTo>
                        <a:cubicBezTo>
                          <a:pt x="538703" y="809189"/>
                          <a:pt x="622481" y="933147"/>
                          <a:pt x="584869" y="1057956"/>
                        </a:cubicBezTo>
                        <a:cubicBezTo>
                          <a:pt x="547255" y="1182764"/>
                          <a:pt x="342938" y="1245168"/>
                          <a:pt x="218995" y="1177629"/>
                        </a:cubicBezTo>
                        <a:cubicBezTo>
                          <a:pt x="95037" y="1110091"/>
                          <a:pt x="65127" y="920311"/>
                          <a:pt x="69395" y="825428"/>
                        </a:cubicBezTo>
                        <a:cubicBezTo>
                          <a:pt x="73664" y="730546"/>
                          <a:pt x="68545" y="652753"/>
                          <a:pt x="64261" y="608289"/>
                        </a:cubicBezTo>
                        <a:cubicBezTo>
                          <a:pt x="59992" y="563841"/>
                          <a:pt x="54007" y="495026"/>
                          <a:pt x="51440" y="481339"/>
                        </a:cubicBezTo>
                        <a:cubicBezTo>
                          <a:pt x="51440" y="481339"/>
                          <a:pt x="-3278" y="419360"/>
                          <a:pt x="155" y="344135"/>
                        </a:cubicBezTo>
                        <a:cubicBezTo>
                          <a:pt x="3573" y="268909"/>
                          <a:pt x="87229" y="139741"/>
                          <a:pt x="107008" y="103070"/>
                        </a:cubicBezTo>
                        <a:cubicBezTo>
                          <a:pt x="127531" y="65032"/>
                          <a:pt x="169473" y="26265"/>
                          <a:pt x="194432" y="21799"/>
                        </a:cubicBezTo>
                        <a:cubicBezTo>
                          <a:pt x="194432" y="21799"/>
                          <a:pt x="112127" y="110772"/>
                          <a:pt x="78784" y="290283"/>
                        </a:cubicBezTo>
                        <a:cubicBezTo>
                          <a:pt x="78784" y="290283"/>
                          <a:pt x="151441" y="168892"/>
                          <a:pt x="257444" y="97085"/>
                        </a:cubicBezTo>
                        <a:cubicBezTo>
                          <a:pt x="257444" y="97085"/>
                          <a:pt x="346994" y="28209"/>
                          <a:pt x="360665" y="0"/>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44" name="Freeform: Shape 2443">
                    <a:extLst>
                      <a:ext uri="{FF2B5EF4-FFF2-40B4-BE49-F238E27FC236}">
                        <a16:creationId xmlns:a16="http://schemas.microsoft.com/office/drawing/2014/main" id="{E86B76EA-7555-8F98-AD13-662DB4CDFFB5}"/>
                      </a:ext>
                    </a:extLst>
                  </p:cNvPr>
                  <p:cNvSpPr/>
                  <p:nvPr/>
                </p:nvSpPr>
                <p:spPr>
                  <a:xfrm>
                    <a:off x="8300399" y="3566300"/>
                    <a:ext cx="456504" cy="658601"/>
                  </a:xfrm>
                  <a:custGeom>
                    <a:avLst/>
                    <a:gdLst>
                      <a:gd name="connsiteX0" fmla="*/ 112792 w 456504"/>
                      <a:gd name="connsiteY0" fmla="*/ 385630 h 658601"/>
                      <a:gd name="connsiteX1" fmla="*/ 188763 w 456504"/>
                      <a:gd name="connsiteY1" fmla="*/ 199496 h 658601"/>
                      <a:gd name="connsiteX2" fmla="*/ 267588 w 456504"/>
                      <a:gd name="connsiteY2" fmla="*/ 54195 h 658601"/>
                      <a:gd name="connsiteX3" fmla="*/ 405294 w 456504"/>
                      <a:gd name="connsiteY3" fmla="*/ 14303 h 658601"/>
                      <a:gd name="connsiteX4" fmla="*/ 444228 w 456504"/>
                      <a:gd name="connsiteY4" fmla="*/ 201395 h 658601"/>
                      <a:gd name="connsiteX5" fmla="*/ 352110 w 456504"/>
                      <a:gd name="connsiteY5" fmla="*/ 473008 h 658601"/>
                      <a:gd name="connsiteX6" fmla="*/ 201113 w 456504"/>
                      <a:gd name="connsiteY6" fmla="*/ 658200 h 658601"/>
                      <a:gd name="connsiteX7" fmla="*/ 42595 w 456504"/>
                      <a:gd name="connsiteY7" fmla="*/ 607615 h 658601"/>
                      <a:gd name="connsiteX8" fmla="*/ 42428 w 456504"/>
                      <a:gd name="connsiteY8" fmla="*/ 607524 h 658601"/>
                      <a:gd name="connsiteX9" fmla="*/ 36352 w 456504"/>
                      <a:gd name="connsiteY9" fmla="*/ 507871 h 658601"/>
                      <a:gd name="connsiteX10" fmla="*/ 23531 w 456504"/>
                      <a:gd name="connsiteY10" fmla="*/ 380921 h 658601"/>
                      <a:gd name="connsiteX11" fmla="*/ 0 w 456504"/>
                      <a:gd name="connsiteY11" fmla="*/ 346696 h 658601"/>
                      <a:gd name="connsiteX12" fmla="*/ 112792 w 456504"/>
                      <a:gd name="connsiteY12" fmla="*/ 385645 h 6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504" h="658601">
                        <a:moveTo>
                          <a:pt x="112792" y="385630"/>
                        </a:moveTo>
                        <a:lnTo>
                          <a:pt x="188763" y="199496"/>
                        </a:lnTo>
                        <a:cubicBezTo>
                          <a:pt x="188763" y="199496"/>
                          <a:pt x="229094" y="123329"/>
                          <a:pt x="267588" y="54195"/>
                        </a:cubicBezTo>
                        <a:cubicBezTo>
                          <a:pt x="303454" y="-10215"/>
                          <a:pt x="313799" y="-8301"/>
                          <a:pt x="405294" y="14303"/>
                        </a:cubicBezTo>
                        <a:cubicBezTo>
                          <a:pt x="489816" y="35191"/>
                          <a:pt x="444228" y="201395"/>
                          <a:pt x="444228" y="201395"/>
                        </a:cubicBezTo>
                        <a:cubicBezTo>
                          <a:pt x="444228" y="201395"/>
                          <a:pt x="371114" y="418047"/>
                          <a:pt x="352110" y="473008"/>
                        </a:cubicBezTo>
                        <a:cubicBezTo>
                          <a:pt x="325526" y="549935"/>
                          <a:pt x="265948" y="666297"/>
                          <a:pt x="201113" y="658200"/>
                        </a:cubicBezTo>
                        <a:cubicBezTo>
                          <a:pt x="147930" y="651547"/>
                          <a:pt x="109542" y="640898"/>
                          <a:pt x="42595" y="607615"/>
                        </a:cubicBezTo>
                        <a:cubicBezTo>
                          <a:pt x="42535" y="607584"/>
                          <a:pt x="42489" y="607554"/>
                          <a:pt x="42428" y="607524"/>
                        </a:cubicBezTo>
                        <a:cubicBezTo>
                          <a:pt x="41244" y="566174"/>
                          <a:pt x="38677" y="532070"/>
                          <a:pt x="36352" y="507871"/>
                        </a:cubicBezTo>
                        <a:cubicBezTo>
                          <a:pt x="32083" y="463423"/>
                          <a:pt x="26098" y="394608"/>
                          <a:pt x="23531" y="380921"/>
                        </a:cubicBezTo>
                        <a:cubicBezTo>
                          <a:pt x="23531" y="380921"/>
                          <a:pt x="12093" y="367948"/>
                          <a:pt x="0" y="346696"/>
                        </a:cubicBezTo>
                        <a:lnTo>
                          <a:pt x="112792" y="385645"/>
                        </a:ln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45" name="Graphic 3200">
                    <a:extLst>
                      <a:ext uri="{FF2B5EF4-FFF2-40B4-BE49-F238E27FC236}">
                        <a16:creationId xmlns:a16="http://schemas.microsoft.com/office/drawing/2014/main" id="{12B0A73B-63D6-F954-CED6-241323F211BC}"/>
                      </a:ext>
                    </a:extLst>
                  </p:cNvPr>
                  <p:cNvGrpSpPr/>
                  <p:nvPr/>
                </p:nvGrpSpPr>
                <p:grpSpPr>
                  <a:xfrm>
                    <a:off x="8351274" y="3465866"/>
                    <a:ext cx="281897" cy="290283"/>
                    <a:chOff x="8351274" y="3465866"/>
                    <a:chExt cx="281897" cy="290283"/>
                  </a:xfrm>
                  <a:solidFill>
                    <a:srgbClr val="ACDBF2"/>
                  </a:solidFill>
                </p:grpSpPr>
                <p:sp>
                  <p:nvSpPr>
                    <p:cNvPr id="2448" name="Freeform: Shape 2447">
                      <a:extLst>
                        <a:ext uri="{FF2B5EF4-FFF2-40B4-BE49-F238E27FC236}">
                          <a16:creationId xmlns:a16="http://schemas.microsoft.com/office/drawing/2014/main" id="{1562112E-900A-6C1F-3518-5C2CB4EBF61A}"/>
                        </a:ext>
                      </a:extLst>
                    </p:cNvPr>
                    <p:cNvSpPr/>
                    <p:nvPr/>
                  </p:nvSpPr>
                  <p:spPr>
                    <a:xfrm>
                      <a:off x="8351274" y="3487650"/>
                      <a:ext cx="115648" cy="268499"/>
                    </a:xfrm>
                    <a:custGeom>
                      <a:avLst/>
                      <a:gdLst>
                        <a:gd name="connsiteX0" fmla="*/ 115648 w 115648"/>
                        <a:gd name="connsiteY0" fmla="*/ 15 h 268499"/>
                        <a:gd name="connsiteX1" fmla="*/ 0 w 115648"/>
                        <a:gd name="connsiteY1" fmla="*/ 268499 h 268499"/>
                        <a:gd name="connsiteX2" fmla="*/ 27784 w 115648"/>
                        <a:gd name="connsiteY2" fmla="*/ 98589 h 268499"/>
                        <a:gd name="connsiteX3" fmla="*/ 107886 w 115648"/>
                        <a:gd name="connsiteY3" fmla="*/ 7869 h 268499"/>
                        <a:gd name="connsiteX4" fmla="*/ 115633 w 115648"/>
                        <a:gd name="connsiteY4" fmla="*/ 0 h 26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48" h="268499">
                          <a:moveTo>
                            <a:pt x="115648" y="15"/>
                          </a:moveTo>
                          <a:cubicBezTo>
                            <a:pt x="104863" y="12229"/>
                            <a:pt x="30822" y="102584"/>
                            <a:pt x="0" y="268499"/>
                          </a:cubicBezTo>
                          <a:cubicBezTo>
                            <a:pt x="0" y="268499"/>
                            <a:pt x="7261" y="119963"/>
                            <a:pt x="27784" y="98589"/>
                          </a:cubicBezTo>
                          <a:cubicBezTo>
                            <a:pt x="43704" y="82000"/>
                            <a:pt x="87849" y="30382"/>
                            <a:pt x="107886" y="7869"/>
                          </a:cubicBezTo>
                          <a:cubicBezTo>
                            <a:pt x="111547" y="3767"/>
                            <a:pt x="114129" y="1686"/>
                            <a:pt x="115633" y="0"/>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49" name="Freeform: Shape 2448">
                      <a:extLst>
                        <a:ext uri="{FF2B5EF4-FFF2-40B4-BE49-F238E27FC236}">
                          <a16:creationId xmlns:a16="http://schemas.microsoft.com/office/drawing/2014/main" id="{AC76447E-CF3D-B858-7A4A-341038445EBA}"/>
                        </a:ext>
                      </a:extLst>
                    </p:cNvPr>
                    <p:cNvSpPr/>
                    <p:nvPr/>
                  </p:nvSpPr>
                  <p:spPr>
                    <a:xfrm>
                      <a:off x="8351288" y="3465866"/>
                      <a:ext cx="281882" cy="290283"/>
                    </a:xfrm>
                    <a:custGeom>
                      <a:avLst/>
                      <a:gdLst>
                        <a:gd name="connsiteX0" fmla="*/ 164989 w 281882"/>
                        <a:gd name="connsiteY0" fmla="*/ 176594 h 290283"/>
                        <a:gd name="connsiteX1" fmla="*/ 0 w 281882"/>
                        <a:gd name="connsiteY1" fmla="*/ 290283 h 290283"/>
                        <a:gd name="connsiteX2" fmla="*/ 178661 w 281882"/>
                        <a:gd name="connsiteY2" fmla="*/ 97085 h 290283"/>
                        <a:gd name="connsiteX3" fmla="*/ 281883 w 281882"/>
                        <a:gd name="connsiteY3" fmla="*/ 0 h 290283"/>
                        <a:gd name="connsiteX4" fmla="*/ 224825 w 281882"/>
                        <a:gd name="connsiteY4" fmla="*/ 127862 h 290283"/>
                        <a:gd name="connsiteX5" fmla="*/ 164989 w 281882"/>
                        <a:gd name="connsiteY5" fmla="*/ 176594 h 29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882" h="290283">
                          <a:moveTo>
                            <a:pt x="164989" y="176594"/>
                          </a:moveTo>
                          <a:cubicBezTo>
                            <a:pt x="88047" y="211640"/>
                            <a:pt x="0" y="290283"/>
                            <a:pt x="0" y="290283"/>
                          </a:cubicBezTo>
                          <a:cubicBezTo>
                            <a:pt x="0" y="290283"/>
                            <a:pt x="72658" y="168892"/>
                            <a:pt x="178661" y="97085"/>
                          </a:cubicBezTo>
                          <a:cubicBezTo>
                            <a:pt x="178661" y="97085"/>
                            <a:pt x="268211" y="28209"/>
                            <a:pt x="281883" y="0"/>
                          </a:cubicBezTo>
                          <a:cubicBezTo>
                            <a:pt x="276748" y="29926"/>
                            <a:pt x="251319" y="62040"/>
                            <a:pt x="224825" y="127862"/>
                          </a:cubicBezTo>
                          <a:cubicBezTo>
                            <a:pt x="214678" y="153063"/>
                            <a:pt x="189780" y="164624"/>
                            <a:pt x="164989" y="176594"/>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446" name="Freeform: Shape 2445">
                    <a:extLst>
                      <a:ext uri="{FF2B5EF4-FFF2-40B4-BE49-F238E27FC236}">
                        <a16:creationId xmlns:a16="http://schemas.microsoft.com/office/drawing/2014/main" id="{A21FDA12-78C0-F567-403C-7F8B74D1BA42}"/>
                      </a:ext>
                    </a:extLst>
                  </p:cNvPr>
                  <p:cNvSpPr/>
                  <p:nvPr/>
                </p:nvSpPr>
                <p:spPr>
                  <a:xfrm>
                    <a:off x="7799449" y="4257887"/>
                    <a:ext cx="1064852" cy="478850"/>
                  </a:xfrm>
                  <a:custGeom>
                    <a:avLst/>
                    <a:gdLst>
                      <a:gd name="connsiteX0" fmla="*/ 557491 w 1064852"/>
                      <a:gd name="connsiteY0" fmla="*/ 18657 h 478850"/>
                      <a:gd name="connsiteX1" fmla="*/ 118383 w 1064852"/>
                      <a:gd name="connsiteY1" fmla="*/ 68954 h 478850"/>
                      <a:gd name="connsiteX2" fmla="*/ 107 w 1064852"/>
                      <a:gd name="connsiteY2" fmla="*/ 221896 h 478850"/>
                      <a:gd name="connsiteX3" fmla="*/ 102068 w 1064852"/>
                      <a:gd name="connsiteY3" fmla="*/ 247052 h 478850"/>
                      <a:gd name="connsiteX4" fmla="*/ 232619 w 1064852"/>
                      <a:gd name="connsiteY4" fmla="*/ 181260 h 478850"/>
                      <a:gd name="connsiteX5" fmla="*/ 155084 w 1064852"/>
                      <a:gd name="connsiteY5" fmla="*/ 268806 h 478850"/>
                      <a:gd name="connsiteX6" fmla="*/ 485243 w 1064852"/>
                      <a:gd name="connsiteY6" fmla="*/ 478850 h 478850"/>
                      <a:gd name="connsiteX7" fmla="*/ 958547 w 1064852"/>
                      <a:gd name="connsiteY7" fmla="*/ 393204 h 478850"/>
                      <a:gd name="connsiteX8" fmla="*/ 1040122 w 1064852"/>
                      <a:gd name="connsiteY8" fmla="*/ 103635 h 478850"/>
                      <a:gd name="connsiteX9" fmla="*/ 557507 w 1064852"/>
                      <a:gd name="connsiteY9" fmla="*/ 18672 h 47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852" h="478850">
                        <a:moveTo>
                          <a:pt x="557491" y="18657"/>
                        </a:moveTo>
                        <a:cubicBezTo>
                          <a:pt x="557491" y="18657"/>
                          <a:pt x="293747" y="24095"/>
                          <a:pt x="118383" y="68954"/>
                        </a:cubicBezTo>
                        <a:cubicBezTo>
                          <a:pt x="-8051" y="101584"/>
                          <a:pt x="107" y="221896"/>
                          <a:pt x="107" y="221896"/>
                        </a:cubicBezTo>
                        <a:cubicBezTo>
                          <a:pt x="107" y="221896"/>
                          <a:pt x="46332" y="212387"/>
                          <a:pt x="102068" y="247052"/>
                        </a:cubicBezTo>
                        <a:cubicBezTo>
                          <a:pt x="102068" y="247052"/>
                          <a:pt x="138815" y="190770"/>
                          <a:pt x="232619" y="181260"/>
                        </a:cubicBezTo>
                        <a:cubicBezTo>
                          <a:pt x="232619" y="181260"/>
                          <a:pt x="175485" y="209667"/>
                          <a:pt x="155084" y="268806"/>
                        </a:cubicBezTo>
                        <a:cubicBezTo>
                          <a:pt x="155084" y="268806"/>
                          <a:pt x="393475" y="325908"/>
                          <a:pt x="485243" y="478850"/>
                        </a:cubicBezTo>
                        <a:cubicBezTo>
                          <a:pt x="485243" y="478850"/>
                          <a:pt x="795897" y="471726"/>
                          <a:pt x="958547" y="393204"/>
                        </a:cubicBezTo>
                        <a:cubicBezTo>
                          <a:pt x="1116243" y="317067"/>
                          <a:pt x="1056437" y="158687"/>
                          <a:pt x="1040122" y="103635"/>
                        </a:cubicBezTo>
                        <a:cubicBezTo>
                          <a:pt x="1023807" y="48583"/>
                          <a:pt x="745115" y="-38431"/>
                          <a:pt x="557507" y="18672"/>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47" name="Freeform: Shape 2446">
                    <a:extLst>
                      <a:ext uri="{FF2B5EF4-FFF2-40B4-BE49-F238E27FC236}">
                        <a16:creationId xmlns:a16="http://schemas.microsoft.com/office/drawing/2014/main" id="{5F4B0381-A4AE-DFBF-E7DD-F4961E387C39}"/>
                      </a:ext>
                    </a:extLst>
                  </p:cNvPr>
                  <p:cNvSpPr/>
                  <p:nvPr/>
                </p:nvSpPr>
                <p:spPr>
                  <a:xfrm>
                    <a:off x="8032112" y="3756104"/>
                    <a:ext cx="365482" cy="683043"/>
                  </a:xfrm>
                  <a:custGeom>
                    <a:avLst/>
                    <a:gdLst>
                      <a:gd name="connsiteX0" fmla="*/ 319176 w 365482"/>
                      <a:gd name="connsiteY0" fmla="*/ 46 h 683043"/>
                      <a:gd name="connsiteX1" fmla="*/ 305322 w 365482"/>
                      <a:gd name="connsiteY1" fmla="*/ 58880 h 683043"/>
                      <a:gd name="connsiteX2" fmla="*/ 302223 w 365482"/>
                      <a:gd name="connsiteY2" fmla="*/ 89034 h 683043"/>
                      <a:gd name="connsiteX3" fmla="*/ 302163 w 365482"/>
                      <a:gd name="connsiteY3" fmla="*/ 104240 h 683043"/>
                      <a:gd name="connsiteX4" fmla="*/ 302679 w 365482"/>
                      <a:gd name="connsiteY4" fmla="*/ 111835 h 683043"/>
                      <a:gd name="connsiteX5" fmla="*/ 303393 w 365482"/>
                      <a:gd name="connsiteY5" fmla="*/ 119401 h 683043"/>
                      <a:gd name="connsiteX6" fmla="*/ 316305 w 365482"/>
                      <a:gd name="connsiteY6" fmla="*/ 178660 h 683043"/>
                      <a:gd name="connsiteX7" fmla="*/ 320984 w 365482"/>
                      <a:gd name="connsiteY7" fmla="*/ 193061 h 683043"/>
                      <a:gd name="connsiteX8" fmla="*/ 325542 w 365482"/>
                      <a:gd name="connsiteY8" fmla="*/ 207371 h 683043"/>
                      <a:gd name="connsiteX9" fmla="*/ 327607 w 365482"/>
                      <a:gd name="connsiteY9" fmla="*/ 214663 h 683043"/>
                      <a:gd name="connsiteX10" fmla="*/ 329795 w 365482"/>
                      <a:gd name="connsiteY10" fmla="*/ 221924 h 683043"/>
                      <a:gd name="connsiteX11" fmla="*/ 334018 w 365482"/>
                      <a:gd name="connsiteY11" fmla="*/ 236340 h 683043"/>
                      <a:gd name="connsiteX12" fmla="*/ 339456 w 365482"/>
                      <a:gd name="connsiteY12" fmla="*/ 265674 h 683043"/>
                      <a:gd name="connsiteX13" fmla="*/ 340124 w 365482"/>
                      <a:gd name="connsiteY13" fmla="*/ 273117 h 683043"/>
                      <a:gd name="connsiteX14" fmla="*/ 340383 w 365482"/>
                      <a:gd name="connsiteY14" fmla="*/ 276854 h 683043"/>
                      <a:gd name="connsiteX15" fmla="*/ 340550 w 365482"/>
                      <a:gd name="connsiteY15" fmla="*/ 280622 h 683043"/>
                      <a:gd name="connsiteX16" fmla="*/ 340763 w 365482"/>
                      <a:gd name="connsiteY16" fmla="*/ 284450 h 683043"/>
                      <a:gd name="connsiteX17" fmla="*/ 341082 w 365482"/>
                      <a:gd name="connsiteY17" fmla="*/ 288217 h 683043"/>
                      <a:gd name="connsiteX18" fmla="*/ 341704 w 365482"/>
                      <a:gd name="connsiteY18" fmla="*/ 295752 h 683043"/>
                      <a:gd name="connsiteX19" fmla="*/ 346505 w 365482"/>
                      <a:gd name="connsiteY19" fmla="*/ 355984 h 683043"/>
                      <a:gd name="connsiteX20" fmla="*/ 355392 w 365482"/>
                      <a:gd name="connsiteY20" fmla="*/ 476493 h 683043"/>
                      <a:gd name="connsiteX21" fmla="*/ 358992 w 365482"/>
                      <a:gd name="connsiteY21" fmla="*/ 536771 h 683043"/>
                      <a:gd name="connsiteX22" fmla="*/ 359949 w 365482"/>
                      <a:gd name="connsiteY22" fmla="*/ 566849 h 683043"/>
                      <a:gd name="connsiteX23" fmla="*/ 359933 w 365482"/>
                      <a:gd name="connsiteY23" fmla="*/ 570571 h 683043"/>
                      <a:gd name="connsiteX24" fmla="*/ 359858 w 365482"/>
                      <a:gd name="connsiteY24" fmla="*/ 574262 h 683043"/>
                      <a:gd name="connsiteX25" fmla="*/ 359766 w 365482"/>
                      <a:gd name="connsiteY25" fmla="*/ 576085 h 683043"/>
                      <a:gd name="connsiteX26" fmla="*/ 359645 w 365482"/>
                      <a:gd name="connsiteY26" fmla="*/ 577741 h 683043"/>
                      <a:gd name="connsiteX27" fmla="*/ 358749 w 365482"/>
                      <a:gd name="connsiteY27" fmla="*/ 580369 h 683043"/>
                      <a:gd name="connsiteX28" fmla="*/ 354404 w 365482"/>
                      <a:gd name="connsiteY28" fmla="*/ 584972 h 683043"/>
                      <a:gd name="connsiteX29" fmla="*/ 348343 w 365482"/>
                      <a:gd name="connsiteY29" fmla="*/ 588541 h 683043"/>
                      <a:gd name="connsiteX30" fmla="*/ 334626 w 365482"/>
                      <a:gd name="connsiteY30" fmla="*/ 593752 h 683043"/>
                      <a:gd name="connsiteX31" fmla="*/ 320209 w 365482"/>
                      <a:gd name="connsiteY31" fmla="*/ 597656 h 683043"/>
                      <a:gd name="connsiteX32" fmla="*/ 290769 w 365482"/>
                      <a:gd name="connsiteY32" fmla="*/ 603839 h 683043"/>
                      <a:gd name="connsiteX33" fmla="*/ 231297 w 365482"/>
                      <a:gd name="connsiteY33" fmla="*/ 614518 h 683043"/>
                      <a:gd name="connsiteX34" fmla="*/ 171931 w 365482"/>
                      <a:gd name="connsiteY34" fmla="*/ 626184 h 683043"/>
                      <a:gd name="connsiteX35" fmla="*/ 113157 w 365482"/>
                      <a:gd name="connsiteY35" fmla="*/ 640631 h 683043"/>
                      <a:gd name="connsiteX36" fmla="*/ 55554 w 365482"/>
                      <a:gd name="connsiteY36" fmla="*/ 659179 h 683043"/>
                      <a:gd name="connsiteX37" fmla="*/ 27435 w 365482"/>
                      <a:gd name="connsiteY37" fmla="*/ 670329 h 683043"/>
                      <a:gd name="connsiteX38" fmla="*/ 0 w 365482"/>
                      <a:gd name="connsiteY38" fmla="*/ 683044 h 683043"/>
                      <a:gd name="connsiteX39" fmla="*/ 27769 w 365482"/>
                      <a:gd name="connsiteY39" fmla="*/ 671165 h 683043"/>
                      <a:gd name="connsiteX40" fmla="*/ 56070 w 365482"/>
                      <a:gd name="connsiteY40" fmla="*/ 660668 h 683043"/>
                      <a:gd name="connsiteX41" fmla="*/ 113901 w 365482"/>
                      <a:gd name="connsiteY41" fmla="*/ 643441 h 683043"/>
                      <a:gd name="connsiteX42" fmla="*/ 172721 w 365482"/>
                      <a:gd name="connsiteY42" fmla="*/ 629982 h 683043"/>
                      <a:gd name="connsiteX43" fmla="*/ 232087 w 365482"/>
                      <a:gd name="connsiteY43" fmla="*/ 619045 h 683043"/>
                      <a:gd name="connsiteX44" fmla="*/ 291681 w 365482"/>
                      <a:gd name="connsiteY44" fmla="*/ 608867 h 683043"/>
                      <a:gd name="connsiteX45" fmla="*/ 321425 w 365482"/>
                      <a:gd name="connsiteY45" fmla="*/ 602836 h 683043"/>
                      <a:gd name="connsiteX46" fmla="*/ 336190 w 365482"/>
                      <a:gd name="connsiteY46" fmla="*/ 598932 h 683043"/>
                      <a:gd name="connsiteX47" fmla="*/ 350713 w 365482"/>
                      <a:gd name="connsiteY47" fmla="*/ 593478 h 683043"/>
                      <a:gd name="connsiteX48" fmla="*/ 357655 w 365482"/>
                      <a:gd name="connsiteY48" fmla="*/ 589392 h 683043"/>
                      <a:gd name="connsiteX49" fmla="*/ 363549 w 365482"/>
                      <a:gd name="connsiteY49" fmla="*/ 583042 h 683043"/>
                      <a:gd name="connsiteX50" fmla="*/ 365083 w 365482"/>
                      <a:gd name="connsiteY50" fmla="*/ 578561 h 683043"/>
                      <a:gd name="connsiteX51" fmla="*/ 365250 w 365482"/>
                      <a:gd name="connsiteY51" fmla="*/ 576465 h 683043"/>
                      <a:gd name="connsiteX52" fmla="*/ 365357 w 365482"/>
                      <a:gd name="connsiteY52" fmla="*/ 574505 h 683043"/>
                      <a:gd name="connsiteX53" fmla="*/ 365448 w 365482"/>
                      <a:gd name="connsiteY53" fmla="*/ 570646 h 683043"/>
                      <a:gd name="connsiteX54" fmla="*/ 365479 w 365482"/>
                      <a:gd name="connsiteY54" fmla="*/ 566819 h 683043"/>
                      <a:gd name="connsiteX55" fmla="*/ 364582 w 365482"/>
                      <a:gd name="connsiteY55" fmla="*/ 536497 h 683043"/>
                      <a:gd name="connsiteX56" fmla="*/ 361042 w 365482"/>
                      <a:gd name="connsiteY56" fmla="*/ 476098 h 683043"/>
                      <a:gd name="connsiteX57" fmla="*/ 351867 w 365482"/>
                      <a:gd name="connsiteY57" fmla="*/ 355528 h 683043"/>
                      <a:gd name="connsiteX58" fmla="*/ 346702 w 365482"/>
                      <a:gd name="connsiteY58" fmla="*/ 295296 h 683043"/>
                      <a:gd name="connsiteX59" fmla="*/ 346034 w 365482"/>
                      <a:gd name="connsiteY59" fmla="*/ 287761 h 683043"/>
                      <a:gd name="connsiteX60" fmla="*/ 345700 w 365482"/>
                      <a:gd name="connsiteY60" fmla="*/ 283994 h 683043"/>
                      <a:gd name="connsiteX61" fmla="*/ 345472 w 365482"/>
                      <a:gd name="connsiteY61" fmla="*/ 280287 h 683043"/>
                      <a:gd name="connsiteX62" fmla="*/ 345274 w 365482"/>
                      <a:gd name="connsiteY62" fmla="*/ 276520 h 683043"/>
                      <a:gd name="connsiteX63" fmla="*/ 344986 w 365482"/>
                      <a:gd name="connsiteY63" fmla="*/ 272722 h 683043"/>
                      <a:gd name="connsiteX64" fmla="*/ 344257 w 365482"/>
                      <a:gd name="connsiteY64" fmla="*/ 265112 h 683043"/>
                      <a:gd name="connsiteX65" fmla="*/ 341902 w 365482"/>
                      <a:gd name="connsiteY65" fmla="*/ 249997 h 683043"/>
                      <a:gd name="connsiteX66" fmla="*/ 338363 w 365482"/>
                      <a:gd name="connsiteY66" fmla="*/ 235125 h 683043"/>
                      <a:gd name="connsiteX67" fmla="*/ 333927 w 365482"/>
                      <a:gd name="connsiteY67" fmla="*/ 220587 h 683043"/>
                      <a:gd name="connsiteX68" fmla="*/ 331663 w 365482"/>
                      <a:gd name="connsiteY68" fmla="*/ 213402 h 683043"/>
                      <a:gd name="connsiteX69" fmla="*/ 329537 w 365482"/>
                      <a:gd name="connsiteY69" fmla="*/ 206171 h 683043"/>
                      <a:gd name="connsiteX70" fmla="*/ 324767 w 365482"/>
                      <a:gd name="connsiteY70" fmla="*/ 191740 h 683043"/>
                      <a:gd name="connsiteX71" fmla="*/ 319921 w 365482"/>
                      <a:gd name="connsiteY71" fmla="*/ 177460 h 683043"/>
                      <a:gd name="connsiteX72" fmla="*/ 306218 w 365482"/>
                      <a:gd name="connsiteY72" fmla="*/ 119006 h 683043"/>
                      <a:gd name="connsiteX73" fmla="*/ 306856 w 365482"/>
                      <a:gd name="connsiteY73" fmla="*/ 59062 h 683043"/>
                      <a:gd name="connsiteX74" fmla="*/ 312006 w 365482"/>
                      <a:gd name="connsiteY74" fmla="*/ 29334 h 683043"/>
                      <a:gd name="connsiteX75" fmla="*/ 319192 w 365482"/>
                      <a:gd name="connsiteY75" fmla="*/ 0 h 683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65482" h="683043">
                        <a:moveTo>
                          <a:pt x="319176" y="46"/>
                        </a:moveTo>
                        <a:cubicBezTo>
                          <a:pt x="313100" y="19262"/>
                          <a:pt x="308436" y="38934"/>
                          <a:pt x="305322" y="58880"/>
                        </a:cubicBezTo>
                        <a:cubicBezTo>
                          <a:pt x="303788" y="68860"/>
                          <a:pt x="302664" y="78917"/>
                          <a:pt x="302223" y="89034"/>
                        </a:cubicBezTo>
                        <a:cubicBezTo>
                          <a:pt x="302011" y="94093"/>
                          <a:pt x="301965" y="99166"/>
                          <a:pt x="302163" y="104240"/>
                        </a:cubicBezTo>
                        <a:cubicBezTo>
                          <a:pt x="302299" y="106777"/>
                          <a:pt x="302421" y="109314"/>
                          <a:pt x="302679" y="111835"/>
                        </a:cubicBezTo>
                        <a:cubicBezTo>
                          <a:pt x="302922" y="114357"/>
                          <a:pt x="303059" y="116879"/>
                          <a:pt x="303393" y="119401"/>
                        </a:cubicBezTo>
                        <a:cubicBezTo>
                          <a:pt x="305581" y="139544"/>
                          <a:pt x="310244" y="159383"/>
                          <a:pt x="316305" y="178660"/>
                        </a:cubicBezTo>
                        <a:cubicBezTo>
                          <a:pt x="317794" y="183491"/>
                          <a:pt x="319389" y="188276"/>
                          <a:pt x="320984" y="193061"/>
                        </a:cubicBezTo>
                        <a:cubicBezTo>
                          <a:pt x="322564" y="197846"/>
                          <a:pt x="324174" y="202601"/>
                          <a:pt x="325542" y="207371"/>
                        </a:cubicBezTo>
                        <a:cubicBezTo>
                          <a:pt x="326225" y="209711"/>
                          <a:pt x="326878" y="212263"/>
                          <a:pt x="327607" y="214663"/>
                        </a:cubicBezTo>
                        <a:cubicBezTo>
                          <a:pt x="328321" y="217093"/>
                          <a:pt x="329066" y="219509"/>
                          <a:pt x="329795" y="221924"/>
                        </a:cubicBezTo>
                        <a:cubicBezTo>
                          <a:pt x="331283" y="226740"/>
                          <a:pt x="332727" y="231525"/>
                          <a:pt x="334018" y="236340"/>
                        </a:cubicBezTo>
                        <a:cubicBezTo>
                          <a:pt x="336600" y="245971"/>
                          <a:pt x="338423" y="255769"/>
                          <a:pt x="339456" y="265674"/>
                        </a:cubicBezTo>
                        <a:cubicBezTo>
                          <a:pt x="339714" y="268150"/>
                          <a:pt x="339973" y="270626"/>
                          <a:pt x="340124" y="273117"/>
                        </a:cubicBezTo>
                        <a:cubicBezTo>
                          <a:pt x="340216" y="274363"/>
                          <a:pt x="340322" y="275594"/>
                          <a:pt x="340383" y="276854"/>
                        </a:cubicBezTo>
                        <a:lnTo>
                          <a:pt x="340550" y="280622"/>
                        </a:lnTo>
                        <a:cubicBezTo>
                          <a:pt x="340611" y="281867"/>
                          <a:pt x="340641" y="283128"/>
                          <a:pt x="340763" y="284450"/>
                        </a:cubicBezTo>
                        <a:lnTo>
                          <a:pt x="341082" y="288217"/>
                        </a:lnTo>
                        <a:lnTo>
                          <a:pt x="341704" y="295752"/>
                        </a:lnTo>
                        <a:lnTo>
                          <a:pt x="346505" y="355984"/>
                        </a:lnTo>
                        <a:cubicBezTo>
                          <a:pt x="349634" y="396149"/>
                          <a:pt x="352733" y="436313"/>
                          <a:pt x="355392" y="476493"/>
                        </a:cubicBezTo>
                        <a:cubicBezTo>
                          <a:pt x="356713" y="496591"/>
                          <a:pt x="358020" y="516673"/>
                          <a:pt x="358992" y="536771"/>
                        </a:cubicBezTo>
                        <a:cubicBezTo>
                          <a:pt x="359447" y="546812"/>
                          <a:pt x="359872" y="556868"/>
                          <a:pt x="359949" y="566849"/>
                        </a:cubicBezTo>
                        <a:cubicBezTo>
                          <a:pt x="359979" y="568094"/>
                          <a:pt x="359949" y="569340"/>
                          <a:pt x="359933" y="570571"/>
                        </a:cubicBezTo>
                        <a:cubicBezTo>
                          <a:pt x="359903" y="571801"/>
                          <a:pt x="359933" y="573077"/>
                          <a:pt x="359858" y="574262"/>
                        </a:cubicBezTo>
                        <a:lnTo>
                          <a:pt x="359766" y="576085"/>
                        </a:lnTo>
                        <a:cubicBezTo>
                          <a:pt x="359736" y="576677"/>
                          <a:pt x="359721" y="577361"/>
                          <a:pt x="359645" y="577741"/>
                        </a:cubicBezTo>
                        <a:cubicBezTo>
                          <a:pt x="359523" y="578637"/>
                          <a:pt x="359220" y="579518"/>
                          <a:pt x="358749" y="580369"/>
                        </a:cubicBezTo>
                        <a:cubicBezTo>
                          <a:pt x="357807" y="582070"/>
                          <a:pt x="356242" y="583619"/>
                          <a:pt x="354404" y="584972"/>
                        </a:cubicBezTo>
                        <a:cubicBezTo>
                          <a:pt x="352581" y="586323"/>
                          <a:pt x="350500" y="587493"/>
                          <a:pt x="348343" y="588541"/>
                        </a:cubicBezTo>
                        <a:cubicBezTo>
                          <a:pt x="344013" y="590638"/>
                          <a:pt x="339334" y="592263"/>
                          <a:pt x="334626" y="593752"/>
                        </a:cubicBezTo>
                        <a:cubicBezTo>
                          <a:pt x="329886" y="595210"/>
                          <a:pt x="325071" y="596486"/>
                          <a:pt x="320209" y="597656"/>
                        </a:cubicBezTo>
                        <a:cubicBezTo>
                          <a:pt x="310487" y="599995"/>
                          <a:pt x="300644" y="601955"/>
                          <a:pt x="290769" y="603839"/>
                        </a:cubicBezTo>
                        <a:cubicBezTo>
                          <a:pt x="271006" y="607560"/>
                          <a:pt x="251137" y="610872"/>
                          <a:pt x="231297" y="614518"/>
                        </a:cubicBezTo>
                        <a:cubicBezTo>
                          <a:pt x="211458" y="618118"/>
                          <a:pt x="191649" y="621916"/>
                          <a:pt x="171931" y="626184"/>
                        </a:cubicBezTo>
                        <a:cubicBezTo>
                          <a:pt x="152213" y="630484"/>
                          <a:pt x="132602" y="635238"/>
                          <a:pt x="113157" y="640631"/>
                        </a:cubicBezTo>
                        <a:cubicBezTo>
                          <a:pt x="93728" y="646069"/>
                          <a:pt x="74481" y="652207"/>
                          <a:pt x="55554" y="659179"/>
                        </a:cubicBezTo>
                        <a:cubicBezTo>
                          <a:pt x="46090" y="662673"/>
                          <a:pt x="36701" y="666379"/>
                          <a:pt x="27435" y="670329"/>
                        </a:cubicBezTo>
                        <a:cubicBezTo>
                          <a:pt x="18168" y="674309"/>
                          <a:pt x="9023" y="678547"/>
                          <a:pt x="0" y="683044"/>
                        </a:cubicBezTo>
                        <a:cubicBezTo>
                          <a:pt x="9145" y="678821"/>
                          <a:pt x="18412" y="674871"/>
                          <a:pt x="27769" y="671165"/>
                        </a:cubicBezTo>
                        <a:cubicBezTo>
                          <a:pt x="37112" y="667428"/>
                          <a:pt x="46560" y="663934"/>
                          <a:pt x="56070" y="660668"/>
                        </a:cubicBezTo>
                        <a:cubicBezTo>
                          <a:pt x="75104" y="654121"/>
                          <a:pt x="94427" y="648470"/>
                          <a:pt x="113901" y="643441"/>
                        </a:cubicBezTo>
                        <a:cubicBezTo>
                          <a:pt x="133361" y="638368"/>
                          <a:pt x="153003" y="633947"/>
                          <a:pt x="172721" y="629982"/>
                        </a:cubicBezTo>
                        <a:cubicBezTo>
                          <a:pt x="192439" y="625972"/>
                          <a:pt x="212248" y="622402"/>
                          <a:pt x="232087" y="619045"/>
                        </a:cubicBezTo>
                        <a:cubicBezTo>
                          <a:pt x="251941" y="615672"/>
                          <a:pt x="271826" y="612452"/>
                          <a:pt x="291681" y="608867"/>
                        </a:cubicBezTo>
                        <a:cubicBezTo>
                          <a:pt x="301616" y="607059"/>
                          <a:pt x="311535" y="605145"/>
                          <a:pt x="321425" y="602836"/>
                        </a:cubicBezTo>
                        <a:cubicBezTo>
                          <a:pt x="326362" y="601682"/>
                          <a:pt x="331299" y="600421"/>
                          <a:pt x="336190" y="598932"/>
                        </a:cubicBezTo>
                        <a:cubicBezTo>
                          <a:pt x="341082" y="597443"/>
                          <a:pt x="345958" y="595757"/>
                          <a:pt x="350713" y="593478"/>
                        </a:cubicBezTo>
                        <a:cubicBezTo>
                          <a:pt x="353083" y="592339"/>
                          <a:pt x="355422" y="591033"/>
                          <a:pt x="357655" y="589392"/>
                        </a:cubicBezTo>
                        <a:cubicBezTo>
                          <a:pt x="359872" y="587767"/>
                          <a:pt x="362030" y="585762"/>
                          <a:pt x="363549" y="583042"/>
                        </a:cubicBezTo>
                        <a:cubicBezTo>
                          <a:pt x="364309" y="581690"/>
                          <a:pt x="364856" y="580156"/>
                          <a:pt x="365083" y="578561"/>
                        </a:cubicBezTo>
                        <a:cubicBezTo>
                          <a:pt x="365220" y="577695"/>
                          <a:pt x="365205" y="577118"/>
                          <a:pt x="365250" y="576465"/>
                        </a:cubicBezTo>
                        <a:lnTo>
                          <a:pt x="365357" y="574505"/>
                        </a:lnTo>
                        <a:cubicBezTo>
                          <a:pt x="365448" y="573183"/>
                          <a:pt x="365418" y="571938"/>
                          <a:pt x="365448" y="570646"/>
                        </a:cubicBezTo>
                        <a:cubicBezTo>
                          <a:pt x="365463" y="569371"/>
                          <a:pt x="365493" y="568079"/>
                          <a:pt x="365479" y="566819"/>
                        </a:cubicBezTo>
                        <a:cubicBezTo>
                          <a:pt x="365433" y="556656"/>
                          <a:pt x="365022" y="546584"/>
                          <a:pt x="364582" y="536497"/>
                        </a:cubicBezTo>
                        <a:cubicBezTo>
                          <a:pt x="363625" y="516339"/>
                          <a:pt x="362440" y="496211"/>
                          <a:pt x="361042" y="476098"/>
                        </a:cubicBezTo>
                        <a:cubicBezTo>
                          <a:pt x="358278" y="435873"/>
                          <a:pt x="355179" y="395693"/>
                          <a:pt x="351867" y="355528"/>
                        </a:cubicBezTo>
                        <a:lnTo>
                          <a:pt x="346702" y="295296"/>
                        </a:lnTo>
                        <a:lnTo>
                          <a:pt x="346034" y="287761"/>
                        </a:lnTo>
                        <a:lnTo>
                          <a:pt x="345700" y="283994"/>
                        </a:lnTo>
                        <a:cubicBezTo>
                          <a:pt x="345578" y="282809"/>
                          <a:pt x="345532" y="281548"/>
                          <a:pt x="345472" y="280287"/>
                        </a:cubicBezTo>
                        <a:lnTo>
                          <a:pt x="345274" y="276520"/>
                        </a:lnTo>
                        <a:cubicBezTo>
                          <a:pt x="345199" y="275259"/>
                          <a:pt x="345077" y="273983"/>
                          <a:pt x="344986" y="272722"/>
                        </a:cubicBezTo>
                        <a:cubicBezTo>
                          <a:pt x="344819" y="270185"/>
                          <a:pt x="344530" y="267649"/>
                          <a:pt x="344257" y="265112"/>
                        </a:cubicBezTo>
                        <a:cubicBezTo>
                          <a:pt x="343664" y="260053"/>
                          <a:pt x="342904" y="255010"/>
                          <a:pt x="341902" y="249997"/>
                        </a:cubicBezTo>
                        <a:cubicBezTo>
                          <a:pt x="340914" y="244999"/>
                          <a:pt x="339745" y="240032"/>
                          <a:pt x="338363" y="235125"/>
                        </a:cubicBezTo>
                        <a:cubicBezTo>
                          <a:pt x="336996" y="230218"/>
                          <a:pt x="335461" y="225388"/>
                          <a:pt x="333927" y="220587"/>
                        </a:cubicBezTo>
                        <a:cubicBezTo>
                          <a:pt x="333167" y="218187"/>
                          <a:pt x="332392" y="215802"/>
                          <a:pt x="331663" y="213402"/>
                        </a:cubicBezTo>
                        <a:cubicBezTo>
                          <a:pt x="330904" y="211002"/>
                          <a:pt x="330296" y="208662"/>
                          <a:pt x="329537" y="206171"/>
                        </a:cubicBezTo>
                        <a:cubicBezTo>
                          <a:pt x="328078" y="201264"/>
                          <a:pt x="326407" y="196494"/>
                          <a:pt x="324767" y="191740"/>
                        </a:cubicBezTo>
                        <a:cubicBezTo>
                          <a:pt x="323126" y="186970"/>
                          <a:pt x="321485" y="182230"/>
                          <a:pt x="319921" y="177460"/>
                        </a:cubicBezTo>
                        <a:cubicBezTo>
                          <a:pt x="313617" y="158426"/>
                          <a:pt x="308710" y="138906"/>
                          <a:pt x="306218" y="119006"/>
                        </a:cubicBezTo>
                        <a:cubicBezTo>
                          <a:pt x="303226" y="99166"/>
                          <a:pt x="304244" y="78978"/>
                          <a:pt x="306856" y="59062"/>
                        </a:cubicBezTo>
                        <a:cubicBezTo>
                          <a:pt x="308178" y="49097"/>
                          <a:pt x="309925" y="39177"/>
                          <a:pt x="312006" y="29334"/>
                        </a:cubicBezTo>
                        <a:cubicBezTo>
                          <a:pt x="314057" y="19475"/>
                          <a:pt x="316397" y="9677"/>
                          <a:pt x="319192" y="0"/>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56" name="Freeform: Shape 55">
              <a:extLst>
                <a:ext uri="{FF2B5EF4-FFF2-40B4-BE49-F238E27FC236}">
                  <a16:creationId xmlns:a16="http://schemas.microsoft.com/office/drawing/2014/main" id="{19103892-986B-951E-70CF-FC4F64AEC274}"/>
                </a:ext>
              </a:extLst>
            </p:cNvPr>
            <p:cNvSpPr/>
            <p:nvPr/>
          </p:nvSpPr>
          <p:spPr>
            <a:xfrm>
              <a:off x="8453034" y="2716982"/>
              <a:ext cx="352966" cy="453202"/>
            </a:xfrm>
            <a:custGeom>
              <a:avLst/>
              <a:gdLst>
                <a:gd name="connsiteX0" fmla="*/ 203998 w 329221"/>
                <a:gd name="connsiteY0" fmla="*/ 2851 h 422713"/>
                <a:gd name="connsiteX1" fmla="*/ 16511 w 329221"/>
                <a:gd name="connsiteY1" fmla="*/ 142774 h 422713"/>
                <a:gd name="connsiteX2" fmla="*/ 65122 w 329221"/>
                <a:gd name="connsiteY2" fmla="*/ 420996 h 422713"/>
                <a:gd name="connsiteX3" fmla="*/ 294019 w 329221"/>
                <a:gd name="connsiteY3" fmla="*/ 294334 h 422713"/>
                <a:gd name="connsiteX4" fmla="*/ 204012 w 329221"/>
                <a:gd name="connsiteY4" fmla="*/ 2836 h 422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21" h="422713">
                  <a:moveTo>
                    <a:pt x="203998" y="2851"/>
                  </a:moveTo>
                  <a:cubicBezTo>
                    <a:pt x="203998" y="2851"/>
                    <a:pt x="46802" y="-32103"/>
                    <a:pt x="16511" y="142774"/>
                  </a:cubicBezTo>
                  <a:cubicBezTo>
                    <a:pt x="-13780" y="317667"/>
                    <a:pt x="-5075" y="409238"/>
                    <a:pt x="65122" y="420996"/>
                  </a:cubicBezTo>
                  <a:cubicBezTo>
                    <a:pt x="135304" y="432754"/>
                    <a:pt x="239104" y="383474"/>
                    <a:pt x="294019" y="294334"/>
                  </a:cubicBezTo>
                  <a:cubicBezTo>
                    <a:pt x="348934" y="205194"/>
                    <a:pt x="353779" y="36013"/>
                    <a:pt x="204012" y="283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7" name="Graphic 3200">
              <a:extLst>
                <a:ext uri="{FF2B5EF4-FFF2-40B4-BE49-F238E27FC236}">
                  <a16:creationId xmlns:a16="http://schemas.microsoft.com/office/drawing/2014/main" id="{ED387B0B-C7F5-B13A-EBDC-7F8CE4A40D98}"/>
                </a:ext>
              </a:extLst>
            </p:cNvPr>
            <p:cNvGrpSpPr/>
            <p:nvPr/>
          </p:nvGrpSpPr>
          <p:grpSpPr>
            <a:xfrm>
              <a:off x="8476387" y="2700593"/>
              <a:ext cx="436725" cy="648774"/>
              <a:chOff x="8366115" y="3007390"/>
              <a:chExt cx="407345" cy="605129"/>
            </a:xfrm>
            <a:solidFill>
              <a:srgbClr val="212851"/>
            </a:solidFill>
          </p:grpSpPr>
          <p:sp>
            <p:nvSpPr>
              <p:cNvPr id="2437" name="Freeform: Shape 2436">
                <a:extLst>
                  <a:ext uri="{FF2B5EF4-FFF2-40B4-BE49-F238E27FC236}">
                    <a16:creationId xmlns:a16="http://schemas.microsoft.com/office/drawing/2014/main" id="{3E15558C-6788-3BF6-8B08-79DD14F0509C}"/>
                  </a:ext>
                </a:extLst>
              </p:cNvPr>
              <p:cNvSpPr/>
              <p:nvPr/>
            </p:nvSpPr>
            <p:spPr>
              <a:xfrm>
                <a:off x="8432048" y="3015294"/>
                <a:ext cx="341412" cy="597224"/>
              </a:xfrm>
              <a:custGeom>
                <a:avLst/>
                <a:gdLst>
                  <a:gd name="connsiteX0" fmla="*/ 451 w 341412"/>
                  <a:gd name="connsiteY0" fmla="*/ 54408 h 597224"/>
                  <a:gd name="connsiteX1" fmla="*/ 26093 w 341412"/>
                  <a:gd name="connsiteY1" fmla="*/ 156993 h 597224"/>
                  <a:gd name="connsiteX2" fmla="*/ 89029 w 341412"/>
                  <a:gd name="connsiteY2" fmla="*/ 280176 h 597224"/>
                  <a:gd name="connsiteX3" fmla="*/ 168007 w 341412"/>
                  <a:gd name="connsiteY3" fmla="*/ 475272 h 597224"/>
                  <a:gd name="connsiteX4" fmla="*/ 339983 w 341412"/>
                  <a:gd name="connsiteY4" fmla="*/ 597225 h 597224"/>
                  <a:gd name="connsiteX5" fmla="*/ 324458 w 341412"/>
                  <a:gd name="connsiteY5" fmla="*/ 471566 h 597224"/>
                  <a:gd name="connsiteX6" fmla="*/ 275726 w 341412"/>
                  <a:gd name="connsiteY6" fmla="*/ 264969 h 597224"/>
                  <a:gd name="connsiteX7" fmla="*/ 55169 w 341412"/>
                  <a:gd name="connsiteY7" fmla="*/ 5661 h 597224"/>
                  <a:gd name="connsiteX8" fmla="*/ 451 w 341412"/>
                  <a:gd name="connsiteY8" fmla="*/ 54393 h 59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412" h="597224">
                    <a:moveTo>
                      <a:pt x="451" y="54408"/>
                    </a:moveTo>
                    <a:cubicBezTo>
                      <a:pt x="451" y="54408"/>
                      <a:pt x="-5535" y="112544"/>
                      <a:pt x="26093" y="156993"/>
                    </a:cubicBezTo>
                    <a:cubicBezTo>
                      <a:pt x="57721" y="201441"/>
                      <a:pt x="63372" y="243429"/>
                      <a:pt x="89029" y="280176"/>
                    </a:cubicBezTo>
                    <a:cubicBezTo>
                      <a:pt x="114672" y="316938"/>
                      <a:pt x="95622" y="403465"/>
                      <a:pt x="168007" y="475272"/>
                    </a:cubicBezTo>
                    <a:cubicBezTo>
                      <a:pt x="199331" y="506353"/>
                      <a:pt x="293666" y="425689"/>
                      <a:pt x="339983" y="597225"/>
                    </a:cubicBezTo>
                    <a:cubicBezTo>
                      <a:pt x="339983" y="597225"/>
                      <a:pt x="348383" y="545940"/>
                      <a:pt x="324458" y="471566"/>
                    </a:cubicBezTo>
                    <a:cubicBezTo>
                      <a:pt x="300517" y="397191"/>
                      <a:pt x="268145" y="391373"/>
                      <a:pt x="275726" y="264969"/>
                    </a:cubicBezTo>
                    <a:cubicBezTo>
                      <a:pt x="284567" y="117648"/>
                      <a:pt x="245799" y="-31101"/>
                      <a:pt x="55169" y="5661"/>
                    </a:cubicBezTo>
                    <a:cubicBezTo>
                      <a:pt x="1317" y="14213"/>
                      <a:pt x="451" y="54393"/>
                      <a:pt x="451" y="54393"/>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8" name="Freeform: Shape 2437">
                <a:extLst>
                  <a:ext uri="{FF2B5EF4-FFF2-40B4-BE49-F238E27FC236}">
                    <a16:creationId xmlns:a16="http://schemas.microsoft.com/office/drawing/2014/main" id="{D3969468-0E22-AEF3-DC4B-09F55C9DE9FB}"/>
                  </a:ext>
                </a:extLst>
              </p:cNvPr>
              <p:cNvSpPr/>
              <p:nvPr/>
            </p:nvSpPr>
            <p:spPr>
              <a:xfrm>
                <a:off x="8366115" y="3007390"/>
                <a:ext cx="189916" cy="134120"/>
              </a:xfrm>
              <a:custGeom>
                <a:avLst/>
                <a:gdLst>
                  <a:gd name="connsiteX0" fmla="*/ 189917 w 189916"/>
                  <a:gd name="connsiteY0" fmla="*/ 10163 h 134120"/>
                  <a:gd name="connsiteX1" fmla="*/ 0 w 189916"/>
                  <a:gd name="connsiteY1" fmla="*/ 134120 h 134120"/>
                  <a:gd name="connsiteX2" fmla="*/ 90750 w 189916"/>
                  <a:gd name="connsiteY2" fmla="*/ 46924 h 134120"/>
                  <a:gd name="connsiteX3" fmla="*/ 189917 w 189916"/>
                  <a:gd name="connsiteY3" fmla="*/ 10163 h 134120"/>
                </a:gdLst>
                <a:ahLst/>
                <a:cxnLst>
                  <a:cxn ang="0">
                    <a:pos x="connsiteX0" y="connsiteY0"/>
                  </a:cxn>
                  <a:cxn ang="0">
                    <a:pos x="connsiteX1" y="connsiteY1"/>
                  </a:cxn>
                  <a:cxn ang="0">
                    <a:pos x="connsiteX2" y="connsiteY2"/>
                  </a:cxn>
                  <a:cxn ang="0">
                    <a:pos x="connsiteX3" y="connsiteY3"/>
                  </a:cxn>
                </a:cxnLst>
                <a:rect l="l" t="t" r="r" b="b"/>
                <a:pathLst>
                  <a:path w="189916" h="134120">
                    <a:moveTo>
                      <a:pt x="189917" y="10163"/>
                    </a:moveTo>
                    <a:cubicBezTo>
                      <a:pt x="189917" y="10163"/>
                      <a:pt x="17515" y="-52667"/>
                      <a:pt x="0" y="134120"/>
                    </a:cubicBezTo>
                    <a:cubicBezTo>
                      <a:pt x="0" y="134120"/>
                      <a:pt x="29637" y="62313"/>
                      <a:pt x="90750" y="46924"/>
                    </a:cubicBezTo>
                    <a:cubicBezTo>
                      <a:pt x="151879" y="31536"/>
                      <a:pt x="183081" y="15722"/>
                      <a:pt x="189917" y="10163"/>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8" name="Graphic 3200">
              <a:extLst>
                <a:ext uri="{FF2B5EF4-FFF2-40B4-BE49-F238E27FC236}">
                  <a16:creationId xmlns:a16="http://schemas.microsoft.com/office/drawing/2014/main" id="{6DD7C00B-3ABE-7A23-CA89-DC48591BA04B}"/>
                </a:ext>
              </a:extLst>
            </p:cNvPr>
            <p:cNvGrpSpPr/>
            <p:nvPr/>
          </p:nvGrpSpPr>
          <p:grpSpPr>
            <a:xfrm>
              <a:off x="8622503" y="2928761"/>
              <a:ext cx="71219" cy="99622"/>
              <a:chOff x="8502401" y="3220208"/>
              <a:chExt cx="66428" cy="92920"/>
            </a:xfrm>
          </p:grpSpPr>
          <p:sp>
            <p:nvSpPr>
              <p:cNvPr id="2433" name="Freeform: Shape 2432">
                <a:extLst>
                  <a:ext uri="{FF2B5EF4-FFF2-40B4-BE49-F238E27FC236}">
                    <a16:creationId xmlns:a16="http://schemas.microsoft.com/office/drawing/2014/main" id="{4E2F9FEE-E586-5675-AAEE-614DB1B867B3}"/>
                  </a:ext>
                </a:extLst>
              </p:cNvPr>
              <p:cNvSpPr/>
              <p:nvPr/>
            </p:nvSpPr>
            <p:spPr>
              <a:xfrm>
                <a:off x="8502401" y="3220208"/>
                <a:ext cx="66428" cy="92920"/>
              </a:xfrm>
              <a:custGeom>
                <a:avLst/>
                <a:gdLst>
                  <a:gd name="connsiteX0" fmla="*/ 2756 w 66428"/>
                  <a:gd name="connsiteY0" fmla="*/ 48662 h 92920"/>
                  <a:gd name="connsiteX1" fmla="*/ 50820 w 66428"/>
                  <a:gd name="connsiteY1" fmla="*/ 568 h 92920"/>
                  <a:gd name="connsiteX2" fmla="*/ 46035 w 66428"/>
                  <a:gd name="connsiteY2" fmla="*/ 78816 h 92920"/>
                  <a:gd name="connsiteX3" fmla="*/ 2756 w 66428"/>
                  <a:gd name="connsiteY3" fmla="*/ 48662 h 92920"/>
                </a:gdLst>
                <a:ahLst/>
                <a:cxnLst>
                  <a:cxn ang="0">
                    <a:pos x="connsiteX0" y="connsiteY0"/>
                  </a:cxn>
                  <a:cxn ang="0">
                    <a:pos x="connsiteX1" y="connsiteY1"/>
                  </a:cxn>
                  <a:cxn ang="0">
                    <a:pos x="connsiteX2" y="connsiteY2"/>
                  </a:cxn>
                  <a:cxn ang="0">
                    <a:pos x="connsiteX3" y="connsiteY3"/>
                  </a:cxn>
                </a:cxnLst>
                <a:rect l="l" t="t" r="r" b="b"/>
                <a:pathLst>
                  <a:path w="66428" h="92920">
                    <a:moveTo>
                      <a:pt x="2756" y="48662"/>
                    </a:moveTo>
                    <a:cubicBezTo>
                      <a:pt x="2756" y="48662"/>
                      <a:pt x="17841" y="-6131"/>
                      <a:pt x="50820" y="568"/>
                    </a:cubicBezTo>
                    <a:cubicBezTo>
                      <a:pt x="83800" y="7267"/>
                      <a:pt x="55773" y="64066"/>
                      <a:pt x="46035" y="78816"/>
                    </a:cubicBezTo>
                    <a:cubicBezTo>
                      <a:pt x="33928" y="97136"/>
                      <a:pt x="-11554" y="106722"/>
                      <a:pt x="2756" y="48662"/>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34" name="Graphic 3200">
                <a:extLst>
                  <a:ext uri="{FF2B5EF4-FFF2-40B4-BE49-F238E27FC236}">
                    <a16:creationId xmlns:a16="http://schemas.microsoft.com/office/drawing/2014/main" id="{EC6DFCA6-5B45-BEF8-75C4-0F0BA6459C30}"/>
                  </a:ext>
                </a:extLst>
              </p:cNvPr>
              <p:cNvGrpSpPr/>
              <p:nvPr/>
            </p:nvGrpSpPr>
            <p:grpSpPr>
              <a:xfrm>
                <a:off x="8521741" y="3242120"/>
                <a:ext cx="29394" cy="49182"/>
                <a:chOff x="8521741" y="3242120"/>
                <a:chExt cx="29394" cy="49182"/>
              </a:xfrm>
              <a:solidFill>
                <a:srgbClr val="723333"/>
              </a:solidFill>
            </p:grpSpPr>
            <p:sp>
              <p:nvSpPr>
                <p:cNvPr id="2435" name="Freeform: Shape 2434">
                  <a:extLst>
                    <a:ext uri="{FF2B5EF4-FFF2-40B4-BE49-F238E27FC236}">
                      <a16:creationId xmlns:a16="http://schemas.microsoft.com/office/drawing/2014/main" id="{40381C41-FC8F-80DF-7FC5-71F52298AF70}"/>
                    </a:ext>
                  </a:extLst>
                </p:cNvPr>
                <p:cNvSpPr/>
                <p:nvPr/>
              </p:nvSpPr>
              <p:spPr>
                <a:xfrm>
                  <a:off x="8521741" y="3242120"/>
                  <a:ext cx="24994" cy="49182"/>
                </a:xfrm>
                <a:custGeom>
                  <a:avLst/>
                  <a:gdLst>
                    <a:gd name="connsiteX0" fmla="*/ 4213 w 24994"/>
                    <a:gd name="connsiteY0" fmla="*/ 49142 h 49182"/>
                    <a:gd name="connsiteX1" fmla="*/ 7069 w 24994"/>
                    <a:gd name="connsiteY1" fmla="*/ 45389 h 49182"/>
                    <a:gd name="connsiteX2" fmla="*/ 22776 w 24994"/>
                    <a:gd name="connsiteY2" fmla="*/ 6561 h 49182"/>
                    <a:gd name="connsiteX3" fmla="*/ 24781 w 24994"/>
                    <a:gd name="connsiteY3" fmla="*/ 2217 h 49182"/>
                    <a:gd name="connsiteX4" fmla="*/ 20436 w 24994"/>
                    <a:gd name="connsiteY4" fmla="*/ 212 h 49182"/>
                    <a:gd name="connsiteX5" fmla="*/ 354 w 24994"/>
                    <a:gd name="connsiteY5" fmla="*/ 46210 h 49182"/>
                    <a:gd name="connsiteX6" fmla="*/ 4122 w 24994"/>
                    <a:gd name="connsiteY6" fmla="*/ 49157 h 49182"/>
                    <a:gd name="connsiteX7" fmla="*/ 4213 w 24994"/>
                    <a:gd name="connsiteY7" fmla="*/ 49157 h 4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94" h="49182">
                      <a:moveTo>
                        <a:pt x="4213" y="49142"/>
                      </a:moveTo>
                      <a:cubicBezTo>
                        <a:pt x="6020" y="48868"/>
                        <a:pt x="7296" y="47212"/>
                        <a:pt x="7069" y="45389"/>
                      </a:cubicBezTo>
                      <a:cubicBezTo>
                        <a:pt x="7023" y="45071"/>
                        <a:pt x="3513" y="13671"/>
                        <a:pt x="22776" y="6561"/>
                      </a:cubicBezTo>
                      <a:cubicBezTo>
                        <a:pt x="24538" y="5908"/>
                        <a:pt x="25434" y="3964"/>
                        <a:pt x="24781" y="2217"/>
                      </a:cubicBezTo>
                      <a:cubicBezTo>
                        <a:pt x="24143" y="470"/>
                        <a:pt x="22213" y="-442"/>
                        <a:pt x="20436" y="212"/>
                      </a:cubicBezTo>
                      <a:cubicBezTo>
                        <a:pt x="-3839" y="9174"/>
                        <a:pt x="172" y="44691"/>
                        <a:pt x="354" y="46210"/>
                      </a:cubicBezTo>
                      <a:cubicBezTo>
                        <a:pt x="582" y="48063"/>
                        <a:pt x="2268" y="49385"/>
                        <a:pt x="4122" y="49157"/>
                      </a:cubicBezTo>
                      <a:cubicBezTo>
                        <a:pt x="4152" y="49157"/>
                        <a:pt x="4182" y="49157"/>
                        <a:pt x="4213" y="49157"/>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6" name="Freeform: Shape 2435">
                  <a:extLst>
                    <a:ext uri="{FF2B5EF4-FFF2-40B4-BE49-F238E27FC236}">
                      <a16:creationId xmlns:a16="http://schemas.microsoft.com/office/drawing/2014/main" id="{871F532F-28A8-D6C6-9FC3-4CE75B8829BC}"/>
                    </a:ext>
                  </a:extLst>
                </p:cNvPr>
                <p:cNvSpPr/>
                <p:nvPr/>
              </p:nvSpPr>
              <p:spPr>
                <a:xfrm>
                  <a:off x="8523187" y="3258377"/>
                  <a:ext cx="27948" cy="16606"/>
                </a:xfrm>
                <a:custGeom>
                  <a:avLst/>
                  <a:gdLst>
                    <a:gd name="connsiteX0" fmla="*/ 3876 w 27948"/>
                    <a:gd name="connsiteY0" fmla="*/ 16569 h 16606"/>
                    <a:gd name="connsiteX1" fmla="*/ 5972 w 27948"/>
                    <a:gd name="connsiteY1" fmla="*/ 15400 h 16606"/>
                    <a:gd name="connsiteX2" fmla="*/ 24034 w 27948"/>
                    <a:gd name="connsiteY2" fmla="*/ 6938 h 16606"/>
                    <a:gd name="connsiteX3" fmla="*/ 27907 w 27948"/>
                    <a:gd name="connsiteY3" fmla="*/ 4113 h 16606"/>
                    <a:gd name="connsiteX4" fmla="*/ 25082 w 27948"/>
                    <a:gd name="connsiteY4" fmla="*/ 239 h 16606"/>
                    <a:gd name="connsiteX5" fmla="*/ 792 w 27948"/>
                    <a:gd name="connsiteY5" fmla="*/ 11040 h 16606"/>
                    <a:gd name="connsiteX6" fmla="*/ 1217 w 27948"/>
                    <a:gd name="connsiteY6" fmla="*/ 15810 h 16606"/>
                    <a:gd name="connsiteX7" fmla="*/ 3891 w 27948"/>
                    <a:gd name="connsiteY7" fmla="*/ 16569 h 1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8" h="16606">
                      <a:moveTo>
                        <a:pt x="3876" y="16569"/>
                      </a:moveTo>
                      <a:cubicBezTo>
                        <a:pt x="4666" y="16448"/>
                        <a:pt x="5410" y="16053"/>
                        <a:pt x="5972" y="15400"/>
                      </a:cubicBezTo>
                      <a:cubicBezTo>
                        <a:pt x="6063" y="15309"/>
                        <a:pt x="14524" y="5450"/>
                        <a:pt x="24034" y="6938"/>
                      </a:cubicBezTo>
                      <a:cubicBezTo>
                        <a:pt x="25887" y="7227"/>
                        <a:pt x="27619" y="5966"/>
                        <a:pt x="27907" y="4113"/>
                      </a:cubicBezTo>
                      <a:cubicBezTo>
                        <a:pt x="28196" y="2259"/>
                        <a:pt x="26935" y="528"/>
                        <a:pt x="25082" y="239"/>
                      </a:cubicBezTo>
                      <a:cubicBezTo>
                        <a:pt x="11760" y="-1857"/>
                        <a:pt x="1232" y="10508"/>
                        <a:pt x="792" y="11040"/>
                      </a:cubicBezTo>
                      <a:cubicBezTo>
                        <a:pt x="-409" y="12468"/>
                        <a:pt x="-226" y="14610"/>
                        <a:pt x="1217" y="15810"/>
                      </a:cubicBezTo>
                      <a:cubicBezTo>
                        <a:pt x="1992" y="16463"/>
                        <a:pt x="2964" y="16706"/>
                        <a:pt x="3891" y="16569"/>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9" name="Graphic 3200">
              <a:extLst>
                <a:ext uri="{FF2B5EF4-FFF2-40B4-BE49-F238E27FC236}">
                  <a16:creationId xmlns:a16="http://schemas.microsoft.com/office/drawing/2014/main" id="{61351A08-CA94-E13D-634E-66CD1F84DD7E}"/>
                </a:ext>
              </a:extLst>
            </p:cNvPr>
            <p:cNvGrpSpPr/>
            <p:nvPr/>
          </p:nvGrpSpPr>
          <p:grpSpPr>
            <a:xfrm>
              <a:off x="7725660" y="3309731"/>
              <a:ext cx="533291" cy="488582"/>
              <a:chOff x="7665892" y="3575549"/>
              <a:chExt cx="497415" cy="455713"/>
            </a:xfrm>
          </p:grpSpPr>
          <p:sp>
            <p:nvSpPr>
              <p:cNvPr id="2428" name="Freeform: Shape 2427">
                <a:extLst>
                  <a:ext uri="{FF2B5EF4-FFF2-40B4-BE49-F238E27FC236}">
                    <a16:creationId xmlns:a16="http://schemas.microsoft.com/office/drawing/2014/main" id="{2030A73C-2DA9-E935-A091-AE87D00BF7AE}"/>
                  </a:ext>
                </a:extLst>
              </p:cNvPr>
              <p:cNvSpPr/>
              <p:nvPr/>
            </p:nvSpPr>
            <p:spPr>
              <a:xfrm>
                <a:off x="7954978" y="3575549"/>
                <a:ext cx="133549" cy="170432"/>
              </a:xfrm>
              <a:custGeom>
                <a:avLst/>
                <a:gdLst>
                  <a:gd name="connsiteX0" fmla="*/ 3337 w 133549"/>
                  <a:gd name="connsiteY0" fmla="*/ 168705 h 170432"/>
                  <a:gd name="connsiteX1" fmla="*/ 1727 w 133549"/>
                  <a:gd name="connsiteY1" fmla="*/ 156857 h 170432"/>
                  <a:gd name="connsiteX2" fmla="*/ 118363 w 133549"/>
                  <a:gd name="connsiteY2" fmla="*/ 3337 h 170432"/>
                  <a:gd name="connsiteX3" fmla="*/ 130212 w 133549"/>
                  <a:gd name="connsiteY3" fmla="*/ 1727 h 170432"/>
                  <a:gd name="connsiteX4" fmla="*/ 131822 w 133549"/>
                  <a:gd name="connsiteY4" fmla="*/ 13576 h 170432"/>
                  <a:gd name="connsiteX5" fmla="*/ 15187 w 133549"/>
                  <a:gd name="connsiteY5" fmla="*/ 167095 h 170432"/>
                  <a:gd name="connsiteX6" fmla="*/ 3337 w 133549"/>
                  <a:gd name="connsiteY6" fmla="*/ 168705 h 17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9" h="170432">
                    <a:moveTo>
                      <a:pt x="3337" y="168705"/>
                    </a:moveTo>
                    <a:cubicBezTo>
                      <a:pt x="-384" y="165880"/>
                      <a:pt x="-1098" y="160578"/>
                      <a:pt x="1727" y="156857"/>
                    </a:cubicBezTo>
                    <a:lnTo>
                      <a:pt x="118363" y="3337"/>
                    </a:lnTo>
                    <a:cubicBezTo>
                      <a:pt x="121188" y="-384"/>
                      <a:pt x="126490" y="-1098"/>
                      <a:pt x="130212" y="1727"/>
                    </a:cubicBezTo>
                    <a:cubicBezTo>
                      <a:pt x="133934" y="4553"/>
                      <a:pt x="134647" y="9854"/>
                      <a:pt x="131822" y="13576"/>
                    </a:cubicBezTo>
                    <a:lnTo>
                      <a:pt x="15187" y="167095"/>
                    </a:lnTo>
                    <a:cubicBezTo>
                      <a:pt x="12360" y="170817"/>
                      <a:pt x="7059" y="171531"/>
                      <a:pt x="3337" y="168705"/>
                    </a:cubicBezTo>
                    <a:close/>
                  </a:path>
                </a:pathLst>
              </a:custGeom>
              <a:solidFill>
                <a:srgbClr val="2E3B7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29" name="Graphic 3200">
                <a:extLst>
                  <a:ext uri="{FF2B5EF4-FFF2-40B4-BE49-F238E27FC236}">
                    <a16:creationId xmlns:a16="http://schemas.microsoft.com/office/drawing/2014/main" id="{92BF1050-2BB4-A417-3FD1-49232C382E7A}"/>
                  </a:ext>
                </a:extLst>
              </p:cNvPr>
              <p:cNvGrpSpPr/>
              <p:nvPr/>
            </p:nvGrpSpPr>
            <p:grpSpPr>
              <a:xfrm>
                <a:off x="7665892" y="3621107"/>
                <a:ext cx="497415" cy="410156"/>
                <a:chOff x="7665892" y="3621107"/>
                <a:chExt cx="497415" cy="410156"/>
              </a:xfrm>
            </p:grpSpPr>
            <p:sp>
              <p:nvSpPr>
                <p:cNvPr id="2430" name="Freeform: Shape 2429">
                  <a:extLst>
                    <a:ext uri="{FF2B5EF4-FFF2-40B4-BE49-F238E27FC236}">
                      <a16:creationId xmlns:a16="http://schemas.microsoft.com/office/drawing/2014/main" id="{67EEAABC-32D0-1EAD-2A89-7617005DB267}"/>
                    </a:ext>
                  </a:extLst>
                </p:cNvPr>
                <p:cNvSpPr/>
                <p:nvPr/>
              </p:nvSpPr>
              <p:spPr>
                <a:xfrm>
                  <a:off x="7665892" y="3626155"/>
                  <a:ext cx="497415" cy="398834"/>
                </a:xfrm>
                <a:custGeom>
                  <a:avLst/>
                  <a:gdLst>
                    <a:gd name="connsiteX0" fmla="*/ 197465 w 497415"/>
                    <a:gd name="connsiteY0" fmla="*/ 1221 h 398834"/>
                    <a:gd name="connsiteX1" fmla="*/ 7062 w 497415"/>
                    <a:gd name="connsiteY1" fmla="*/ 66435 h 398834"/>
                    <a:gd name="connsiteX2" fmla="*/ 1016 w 497415"/>
                    <a:gd name="connsiteY2" fmla="*/ 80958 h 398834"/>
                    <a:gd name="connsiteX3" fmla="*/ 266933 w 497415"/>
                    <a:gd name="connsiteY3" fmla="*/ 390761 h 398834"/>
                    <a:gd name="connsiteX4" fmla="*/ 286772 w 497415"/>
                    <a:gd name="connsiteY4" fmla="*/ 398691 h 398834"/>
                    <a:gd name="connsiteX5" fmla="*/ 491273 w 497415"/>
                    <a:gd name="connsiteY5" fmla="*/ 375631 h 398834"/>
                    <a:gd name="connsiteX6" fmla="*/ 495981 w 497415"/>
                    <a:gd name="connsiteY6" fmla="*/ 364557 h 398834"/>
                    <a:gd name="connsiteX7" fmla="*/ 222712 w 497415"/>
                    <a:gd name="connsiteY7" fmla="*/ 8831 h 398834"/>
                    <a:gd name="connsiteX8" fmla="*/ 197465 w 497415"/>
                    <a:gd name="connsiteY8" fmla="*/ 1221 h 39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7415" h="398834">
                      <a:moveTo>
                        <a:pt x="197465" y="1221"/>
                      </a:moveTo>
                      <a:lnTo>
                        <a:pt x="7062" y="66435"/>
                      </a:lnTo>
                      <a:cubicBezTo>
                        <a:pt x="2474" y="68000"/>
                        <a:pt x="-2083" y="76021"/>
                        <a:pt x="1016" y="80958"/>
                      </a:cubicBezTo>
                      <a:lnTo>
                        <a:pt x="266933" y="390761"/>
                      </a:lnTo>
                      <a:cubicBezTo>
                        <a:pt x="271794" y="396564"/>
                        <a:pt x="279253" y="399542"/>
                        <a:pt x="286772" y="398691"/>
                      </a:cubicBezTo>
                      <a:lnTo>
                        <a:pt x="491273" y="375631"/>
                      </a:lnTo>
                      <a:cubicBezTo>
                        <a:pt x="496620" y="375023"/>
                        <a:pt x="499248" y="368826"/>
                        <a:pt x="495981" y="364557"/>
                      </a:cubicBezTo>
                      <a:lnTo>
                        <a:pt x="222712" y="8831"/>
                      </a:lnTo>
                      <a:cubicBezTo>
                        <a:pt x="216803" y="1145"/>
                        <a:pt x="206640" y="-1924"/>
                        <a:pt x="197465" y="1221"/>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1" name="Freeform: Shape 2430">
                  <a:extLst>
                    <a:ext uri="{FF2B5EF4-FFF2-40B4-BE49-F238E27FC236}">
                      <a16:creationId xmlns:a16="http://schemas.microsoft.com/office/drawing/2014/main" id="{5AEA430B-8E46-CFC8-AE1F-FDB8BE10340E}"/>
                    </a:ext>
                  </a:extLst>
                </p:cNvPr>
                <p:cNvSpPr/>
                <p:nvPr/>
              </p:nvSpPr>
              <p:spPr>
                <a:xfrm>
                  <a:off x="7702814" y="3621107"/>
                  <a:ext cx="139092" cy="81782"/>
                </a:xfrm>
                <a:custGeom>
                  <a:avLst/>
                  <a:gdLst>
                    <a:gd name="connsiteX0" fmla="*/ 25313 w 139092"/>
                    <a:gd name="connsiteY0" fmla="*/ 81768 h 81782"/>
                    <a:gd name="connsiteX1" fmla="*/ 2663 w 139092"/>
                    <a:gd name="connsiteY1" fmla="*/ 52920 h 81782"/>
                    <a:gd name="connsiteX2" fmla="*/ 7950 w 139092"/>
                    <a:gd name="connsiteY2" fmla="*/ 33628 h 81782"/>
                    <a:gd name="connsiteX3" fmla="*/ 97394 w 139092"/>
                    <a:gd name="connsiteY3" fmla="*/ 846 h 81782"/>
                    <a:gd name="connsiteX4" fmla="*/ 111841 w 139092"/>
                    <a:gd name="connsiteY4" fmla="*/ 4978 h 81782"/>
                    <a:gd name="connsiteX5" fmla="*/ 139093 w 139092"/>
                    <a:gd name="connsiteY5" fmla="*/ 40950 h 81782"/>
                    <a:gd name="connsiteX6" fmla="*/ 25298 w 139092"/>
                    <a:gd name="connsiteY6" fmla="*/ 81783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092" h="81782">
                      <a:moveTo>
                        <a:pt x="25313" y="81768"/>
                      </a:moveTo>
                      <a:lnTo>
                        <a:pt x="2663" y="52920"/>
                      </a:lnTo>
                      <a:cubicBezTo>
                        <a:pt x="-2501" y="46343"/>
                        <a:pt x="157" y="36651"/>
                        <a:pt x="7950" y="33628"/>
                      </a:cubicBezTo>
                      <a:lnTo>
                        <a:pt x="97394" y="846"/>
                      </a:lnTo>
                      <a:cubicBezTo>
                        <a:pt x="102589" y="-1175"/>
                        <a:pt x="108499" y="511"/>
                        <a:pt x="111841" y="4978"/>
                      </a:cubicBezTo>
                      <a:lnTo>
                        <a:pt x="139093" y="40950"/>
                      </a:lnTo>
                      <a:lnTo>
                        <a:pt x="25298" y="81783"/>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2" name="Freeform: Shape 2431">
                  <a:extLst>
                    <a:ext uri="{FF2B5EF4-FFF2-40B4-BE49-F238E27FC236}">
                      <a16:creationId xmlns:a16="http://schemas.microsoft.com/office/drawing/2014/main" id="{1BD996BC-DF20-4A21-CCC3-70C58A921299}"/>
                    </a:ext>
                  </a:extLst>
                </p:cNvPr>
                <p:cNvSpPr/>
                <p:nvPr/>
              </p:nvSpPr>
              <p:spPr>
                <a:xfrm>
                  <a:off x="7666035" y="3632429"/>
                  <a:ext cx="495008" cy="398834"/>
                </a:xfrm>
                <a:custGeom>
                  <a:avLst/>
                  <a:gdLst>
                    <a:gd name="connsiteX0" fmla="*/ 195074 w 495008"/>
                    <a:gd name="connsiteY0" fmla="*/ 1236 h 398834"/>
                    <a:gd name="connsiteX1" fmla="*/ 4671 w 495008"/>
                    <a:gd name="connsiteY1" fmla="*/ 66435 h 398834"/>
                    <a:gd name="connsiteX2" fmla="*/ 1617 w 495008"/>
                    <a:gd name="connsiteY2" fmla="*/ 77403 h 398834"/>
                    <a:gd name="connsiteX3" fmla="*/ 264542 w 495008"/>
                    <a:gd name="connsiteY3" fmla="*/ 390761 h 398834"/>
                    <a:gd name="connsiteX4" fmla="*/ 284381 w 495008"/>
                    <a:gd name="connsiteY4" fmla="*/ 398691 h 398834"/>
                    <a:gd name="connsiteX5" fmla="*/ 488866 w 495008"/>
                    <a:gd name="connsiteY5" fmla="*/ 375631 h 398834"/>
                    <a:gd name="connsiteX6" fmla="*/ 493575 w 495008"/>
                    <a:gd name="connsiteY6" fmla="*/ 364557 h 398834"/>
                    <a:gd name="connsiteX7" fmla="*/ 220306 w 495008"/>
                    <a:gd name="connsiteY7" fmla="*/ 8831 h 398834"/>
                    <a:gd name="connsiteX8" fmla="*/ 195059 w 495008"/>
                    <a:gd name="connsiteY8" fmla="*/ 1221 h 39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008" h="398834">
                      <a:moveTo>
                        <a:pt x="195074" y="1236"/>
                      </a:moveTo>
                      <a:lnTo>
                        <a:pt x="4671" y="66435"/>
                      </a:lnTo>
                      <a:cubicBezTo>
                        <a:pt x="83" y="68000"/>
                        <a:pt x="-1497" y="73697"/>
                        <a:pt x="1617" y="77403"/>
                      </a:cubicBezTo>
                      <a:lnTo>
                        <a:pt x="264542" y="390761"/>
                      </a:lnTo>
                      <a:cubicBezTo>
                        <a:pt x="269403" y="396564"/>
                        <a:pt x="276861" y="399542"/>
                        <a:pt x="284381" y="398691"/>
                      </a:cubicBezTo>
                      <a:lnTo>
                        <a:pt x="488866" y="375631"/>
                      </a:lnTo>
                      <a:cubicBezTo>
                        <a:pt x="494213" y="375023"/>
                        <a:pt x="496841" y="368826"/>
                        <a:pt x="493575" y="364557"/>
                      </a:cubicBezTo>
                      <a:lnTo>
                        <a:pt x="220306" y="8831"/>
                      </a:lnTo>
                      <a:cubicBezTo>
                        <a:pt x="214397" y="1145"/>
                        <a:pt x="204234" y="-1924"/>
                        <a:pt x="195059" y="1221"/>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60" name="Graphic 3200">
              <a:extLst>
                <a:ext uri="{FF2B5EF4-FFF2-40B4-BE49-F238E27FC236}">
                  <a16:creationId xmlns:a16="http://schemas.microsoft.com/office/drawing/2014/main" id="{C9391571-0138-4FE4-F6E3-B7B64073DBF8}"/>
                </a:ext>
              </a:extLst>
            </p:cNvPr>
            <p:cNvGrpSpPr/>
            <p:nvPr/>
          </p:nvGrpSpPr>
          <p:grpSpPr>
            <a:xfrm>
              <a:off x="7867570" y="3479920"/>
              <a:ext cx="377859" cy="245845"/>
              <a:chOff x="7798255" y="3734289"/>
              <a:chExt cx="352439" cy="229306"/>
            </a:xfrm>
          </p:grpSpPr>
          <p:sp>
            <p:nvSpPr>
              <p:cNvPr id="2424" name="Freeform: Shape 2423">
                <a:extLst>
                  <a:ext uri="{FF2B5EF4-FFF2-40B4-BE49-F238E27FC236}">
                    <a16:creationId xmlns:a16="http://schemas.microsoft.com/office/drawing/2014/main" id="{764ADB08-4D55-6153-81DA-123752C4C699}"/>
                  </a:ext>
                </a:extLst>
              </p:cNvPr>
              <p:cNvSpPr/>
              <p:nvPr/>
            </p:nvSpPr>
            <p:spPr>
              <a:xfrm>
                <a:off x="7798255" y="3734289"/>
                <a:ext cx="352439" cy="229306"/>
              </a:xfrm>
              <a:custGeom>
                <a:avLst/>
                <a:gdLst>
                  <a:gd name="connsiteX0" fmla="*/ 329241 w 352439"/>
                  <a:gd name="connsiteY0" fmla="*/ 146653 h 229306"/>
                  <a:gd name="connsiteX1" fmla="*/ 263707 w 352439"/>
                  <a:gd name="connsiteY1" fmla="*/ 86057 h 229306"/>
                  <a:gd name="connsiteX2" fmla="*/ 207182 w 352439"/>
                  <a:gd name="connsiteY2" fmla="*/ 14507 h 229306"/>
                  <a:gd name="connsiteX3" fmla="*/ 166637 w 352439"/>
                  <a:gd name="connsiteY3" fmla="*/ 0 h 229306"/>
                  <a:gd name="connsiteX4" fmla="*/ 191930 w 352439"/>
                  <a:gd name="connsiteY4" fmla="*/ 32919 h 229306"/>
                  <a:gd name="connsiteX5" fmla="*/ 193085 w 352439"/>
                  <a:gd name="connsiteY5" fmla="*/ 76380 h 229306"/>
                  <a:gd name="connsiteX6" fmla="*/ 73092 w 352439"/>
                  <a:gd name="connsiteY6" fmla="*/ 71701 h 229306"/>
                  <a:gd name="connsiteX7" fmla="*/ 145 w 352439"/>
                  <a:gd name="connsiteY7" fmla="*/ 76471 h 229306"/>
                  <a:gd name="connsiteX8" fmla="*/ 17584 w 352439"/>
                  <a:gd name="connsiteY8" fmla="*/ 95049 h 229306"/>
                  <a:gd name="connsiteX9" fmla="*/ 2439 w 352439"/>
                  <a:gd name="connsiteY9" fmla="*/ 106914 h 229306"/>
                  <a:gd name="connsiteX10" fmla="*/ 39505 w 352439"/>
                  <a:gd name="connsiteY10" fmla="*/ 131158 h 229306"/>
                  <a:gd name="connsiteX11" fmla="*/ 31241 w 352439"/>
                  <a:gd name="connsiteY11" fmla="*/ 140562 h 229306"/>
                  <a:gd name="connsiteX12" fmla="*/ 66347 w 352439"/>
                  <a:gd name="connsiteY12" fmla="*/ 162922 h 229306"/>
                  <a:gd name="connsiteX13" fmla="*/ 161928 w 352439"/>
                  <a:gd name="connsiteY13" fmla="*/ 188246 h 229306"/>
                  <a:gd name="connsiteX14" fmla="*/ 269632 w 352439"/>
                  <a:gd name="connsiteY14" fmla="*/ 222167 h 229306"/>
                  <a:gd name="connsiteX15" fmla="*/ 327418 w 352439"/>
                  <a:gd name="connsiteY15" fmla="*/ 224810 h 229306"/>
                  <a:gd name="connsiteX16" fmla="*/ 329241 w 352439"/>
                  <a:gd name="connsiteY16" fmla="*/ 146653 h 22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439" h="229306">
                    <a:moveTo>
                      <a:pt x="329241" y="146653"/>
                    </a:moveTo>
                    <a:cubicBezTo>
                      <a:pt x="302642" y="126434"/>
                      <a:pt x="280144" y="117654"/>
                      <a:pt x="263707" y="86057"/>
                    </a:cubicBezTo>
                    <a:cubicBezTo>
                      <a:pt x="247271" y="54459"/>
                      <a:pt x="234935" y="30108"/>
                      <a:pt x="207182" y="14507"/>
                    </a:cubicBezTo>
                    <a:cubicBezTo>
                      <a:pt x="186219" y="2719"/>
                      <a:pt x="176709" y="1367"/>
                      <a:pt x="166637" y="0"/>
                    </a:cubicBezTo>
                    <a:lnTo>
                      <a:pt x="191930" y="32919"/>
                    </a:lnTo>
                    <a:cubicBezTo>
                      <a:pt x="195394" y="37795"/>
                      <a:pt x="207425" y="64197"/>
                      <a:pt x="193085" y="76380"/>
                    </a:cubicBezTo>
                    <a:cubicBezTo>
                      <a:pt x="179307" y="88092"/>
                      <a:pt x="122113" y="78765"/>
                      <a:pt x="73092" y="71701"/>
                    </a:cubicBezTo>
                    <a:cubicBezTo>
                      <a:pt x="24071" y="64637"/>
                      <a:pt x="1740" y="66794"/>
                      <a:pt x="145" y="76471"/>
                    </a:cubicBezTo>
                    <a:cubicBezTo>
                      <a:pt x="-1860" y="88700"/>
                      <a:pt x="17584" y="95049"/>
                      <a:pt x="17584" y="95049"/>
                    </a:cubicBezTo>
                    <a:cubicBezTo>
                      <a:pt x="17584" y="95049"/>
                      <a:pt x="-1328" y="92756"/>
                      <a:pt x="2439" y="106914"/>
                    </a:cubicBezTo>
                    <a:cubicBezTo>
                      <a:pt x="6206" y="121071"/>
                      <a:pt x="39505" y="131158"/>
                      <a:pt x="39505" y="131158"/>
                    </a:cubicBezTo>
                    <a:cubicBezTo>
                      <a:pt x="39505" y="131158"/>
                      <a:pt x="29433" y="128287"/>
                      <a:pt x="31241" y="140562"/>
                    </a:cubicBezTo>
                    <a:cubicBezTo>
                      <a:pt x="33033" y="152836"/>
                      <a:pt x="66347" y="162922"/>
                      <a:pt x="66347" y="162922"/>
                    </a:cubicBezTo>
                    <a:cubicBezTo>
                      <a:pt x="62899" y="182230"/>
                      <a:pt x="100526" y="187653"/>
                      <a:pt x="161928" y="188246"/>
                    </a:cubicBezTo>
                    <a:cubicBezTo>
                      <a:pt x="201956" y="188626"/>
                      <a:pt x="237382" y="207842"/>
                      <a:pt x="269632" y="222167"/>
                    </a:cubicBezTo>
                    <a:cubicBezTo>
                      <a:pt x="301867" y="236507"/>
                      <a:pt x="327418" y="224810"/>
                      <a:pt x="327418" y="224810"/>
                    </a:cubicBezTo>
                    <a:cubicBezTo>
                      <a:pt x="364909" y="214025"/>
                      <a:pt x="355840" y="166872"/>
                      <a:pt x="329241" y="14665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5" name="Freeform: Shape 2424">
                <a:extLst>
                  <a:ext uri="{FF2B5EF4-FFF2-40B4-BE49-F238E27FC236}">
                    <a16:creationId xmlns:a16="http://schemas.microsoft.com/office/drawing/2014/main" id="{A8E34241-F2C4-B3C4-3531-CF600290E122}"/>
                  </a:ext>
                </a:extLst>
              </p:cNvPr>
              <p:cNvSpPr/>
              <p:nvPr/>
            </p:nvSpPr>
            <p:spPr>
              <a:xfrm>
                <a:off x="7815612" y="3829111"/>
                <a:ext cx="110925" cy="10808"/>
              </a:xfrm>
              <a:custGeom>
                <a:avLst/>
                <a:gdLst>
                  <a:gd name="connsiteX0" fmla="*/ 198 w 110925"/>
                  <a:gd name="connsiteY0" fmla="*/ 471 h 10808"/>
                  <a:gd name="connsiteX1" fmla="*/ 27663 w 110925"/>
                  <a:gd name="connsiteY1" fmla="*/ 4451 h 10808"/>
                  <a:gd name="connsiteX2" fmla="*/ 55204 w 110925"/>
                  <a:gd name="connsiteY2" fmla="*/ 7884 h 10808"/>
                  <a:gd name="connsiteX3" fmla="*/ 68997 w 110925"/>
                  <a:gd name="connsiteY3" fmla="*/ 9540 h 10808"/>
                  <a:gd name="connsiteX4" fmla="*/ 82851 w 110925"/>
                  <a:gd name="connsiteY4" fmla="*/ 10618 h 10808"/>
                  <a:gd name="connsiteX5" fmla="*/ 89809 w 110925"/>
                  <a:gd name="connsiteY5" fmla="*/ 10801 h 10808"/>
                  <a:gd name="connsiteX6" fmla="*/ 96782 w 110925"/>
                  <a:gd name="connsiteY6" fmla="*/ 10770 h 10808"/>
                  <a:gd name="connsiteX7" fmla="*/ 103754 w 110925"/>
                  <a:gd name="connsiteY7" fmla="*/ 10466 h 10808"/>
                  <a:gd name="connsiteX8" fmla="*/ 110712 w 110925"/>
                  <a:gd name="connsiteY8" fmla="*/ 9752 h 10808"/>
                  <a:gd name="connsiteX9" fmla="*/ 110924 w 110925"/>
                  <a:gd name="connsiteY9" fmla="*/ 9479 h 10808"/>
                  <a:gd name="connsiteX10" fmla="*/ 110727 w 110925"/>
                  <a:gd name="connsiteY10" fmla="*/ 9282 h 10808"/>
                  <a:gd name="connsiteX11" fmla="*/ 103815 w 110925"/>
                  <a:gd name="connsiteY11" fmla="*/ 8294 h 10808"/>
                  <a:gd name="connsiteX12" fmla="*/ 96933 w 110925"/>
                  <a:gd name="connsiteY12" fmla="*/ 7428 h 10808"/>
                  <a:gd name="connsiteX13" fmla="*/ 83185 w 110925"/>
                  <a:gd name="connsiteY13" fmla="*/ 5879 h 10808"/>
                  <a:gd name="connsiteX14" fmla="*/ 69392 w 110925"/>
                  <a:gd name="connsiteY14" fmla="*/ 4846 h 10808"/>
                  <a:gd name="connsiteX15" fmla="*/ 62480 w 110925"/>
                  <a:gd name="connsiteY15" fmla="*/ 4496 h 10808"/>
                  <a:gd name="connsiteX16" fmla="*/ 55568 w 110925"/>
                  <a:gd name="connsiteY16" fmla="*/ 4086 h 10808"/>
                  <a:gd name="connsiteX17" fmla="*/ 27921 w 110925"/>
                  <a:gd name="connsiteY17" fmla="*/ 2081 h 10808"/>
                  <a:gd name="connsiteX18" fmla="*/ 258 w 110925"/>
                  <a:gd name="connsiteY18" fmla="*/ 0 h 10808"/>
                  <a:gd name="connsiteX19" fmla="*/ 0 w 110925"/>
                  <a:gd name="connsiteY19" fmla="*/ 213 h 10808"/>
                  <a:gd name="connsiteX20" fmla="*/ 198 w 110925"/>
                  <a:gd name="connsiteY20" fmla="*/ 471 h 10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925" h="10808">
                    <a:moveTo>
                      <a:pt x="198" y="471"/>
                    </a:moveTo>
                    <a:cubicBezTo>
                      <a:pt x="9343" y="1914"/>
                      <a:pt x="18503" y="3160"/>
                      <a:pt x="27663" y="4451"/>
                    </a:cubicBezTo>
                    <a:cubicBezTo>
                      <a:pt x="36838" y="5651"/>
                      <a:pt x="46013" y="6790"/>
                      <a:pt x="55204" y="7884"/>
                    </a:cubicBezTo>
                    <a:lnTo>
                      <a:pt x="68997" y="9540"/>
                    </a:lnTo>
                    <a:cubicBezTo>
                      <a:pt x="73600" y="10056"/>
                      <a:pt x="78218" y="10451"/>
                      <a:pt x="82851" y="10618"/>
                    </a:cubicBezTo>
                    <a:cubicBezTo>
                      <a:pt x="85176" y="10679"/>
                      <a:pt x="87485" y="10786"/>
                      <a:pt x="89809" y="10801"/>
                    </a:cubicBezTo>
                    <a:cubicBezTo>
                      <a:pt x="92133" y="10801"/>
                      <a:pt x="94457" y="10831"/>
                      <a:pt x="96782" y="10770"/>
                    </a:cubicBezTo>
                    <a:cubicBezTo>
                      <a:pt x="99106" y="10709"/>
                      <a:pt x="101430" y="10588"/>
                      <a:pt x="103754" y="10466"/>
                    </a:cubicBezTo>
                    <a:cubicBezTo>
                      <a:pt x="106078" y="10284"/>
                      <a:pt x="108402" y="10072"/>
                      <a:pt x="110712" y="9752"/>
                    </a:cubicBezTo>
                    <a:cubicBezTo>
                      <a:pt x="110848" y="9737"/>
                      <a:pt x="110939" y="9616"/>
                      <a:pt x="110924" y="9479"/>
                    </a:cubicBezTo>
                    <a:cubicBezTo>
                      <a:pt x="110924" y="9373"/>
                      <a:pt x="110833" y="9297"/>
                      <a:pt x="110727" y="9282"/>
                    </a:cubicBezTo>
                    <a:cubicBezTo>
                      <a:pt x="108418" y="8871"/>
                      <a:pt x="106109" y="8598"/>
                      <a:pt x="103815" y="8294"/>
                    </a:cubicBezTo>
                    <a:cubicBezTo>
                      <a:pt x="101521" y="7975"/>
                      <a:pt x="99227" y="7671"/>
                      <a:pt x="96933" y="7428"/>
                    </a:cubicBezTo>
                    <a:cubicBezTo>
                      <a:pt x="92346" y="6821"/>
                      <a:pt x="87773" y="6380"/>
                      <a:pt x="83185" y="5879"/>
                    </a:cubicBezTo>
                    <a:cubicBezTo>
                      <a:pt x="78598" y="5438"/>
                      <a:pt x="73995" y="5059"/>
                      <a:pt x="69392" y="4846"/>
                    </a:cubicBezTo>
                    <a:lnTo>
                      <a:pt x="62480" y="4496"/>
                    </a:lnTo>
                    <a:lnTo>
                      <a:pt x="55568" y="4086"/>
                    </a:lnTo>
                    <a:cubicBezTo>
                      <a:pt x="46347" y="3479"/>
                      <a:pt x="37142" y="2810"/>
                      <a:pt x="27921" y="2081"/>
                    </a:cubicBezTo>
                    <a:lnTo>
                      <a:pt x="258" y="0"/>
                    </a:lnTo>
                    <a:cubicBezTo>
                      <a:pt x="122" y="0"/>
                      <a:pt x="15" y="91"/>
                      <a:pt x="0" y="213"/>
                    </a:cubicBezTo>
                    <a:cubicBezTo>
                      <a:pt x="0" y="334"/>
                      <a:pt x="76" y="440"/>
                      <a:pt x="198" y="47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6" name="Freeform: Shape 2425">
                <a:extLst>
                  <a:ext uri="{FF2B5EF4-FFF2-40B4-BE49-F238E27FC236}">
                    <a16:creationId xmlns:a16="http://schemas.microsoft.com/office/drawing/2014/main" id="{1F773640-B04E-C73B-199C-397DFD99C1D3}"/>
                  </a:ext>
                </a:extLst>
              </p:cNvPr>
              <p:cNvSpPr/>
              <p:nvPr/>
            </p:nvSpPr>
            <p:spPr>
              <a:xfrm>
                <a:off x="7837563" y="3865220"/>
                <a:ext cx="91774" cy="7610"/>
              </a:xfrm>
              <a:custGeom>
                <a:avLst/>
                <a:gdLst>
                  <a:gd name="connsiteX0" fmla="*/ 182 w 91774"/>
                  <a:gd name="connsiteY0" fmla="*/ 471 h 7610"/>
                  <a:gd name="connsiteX1" fmla="*/ 22908 w 91774"/>
                  <a:gd name="connsiteY1" fmla="*/ 3524 h 7610"/>
                  <a:gd name="connsiteX2" fmla="*/ 45709 w 91774"/>
                  <a:gd name="connsiteY2" fmla="*/ 5955 h 7610"/>
                  <a:gd name="connsiteX3" fmla="*/ 57133 w 91774"/>
                  <a:gd name="connsiteY3" fmla="*/ 7079 h 7610"/>
                  <a:gd name="connsiteX4" fmla="*/ 68602 w 91774"/>
                  <a:gd name="connsiteY4" fmla="*/ 7611 h 7610"/>
                  <a:gd name="connsiteX5" fmla="*/ 80117 w 91774"/>
                  <a:gd name="connsiteY5" fmla="*/ 7185 h 7610"/>
                  <a:gd name="connsiteX6" fmla="*/ 85859 w 91774"/>
                  <a:gd name="connsiteY6" fmla="*/ 6623 h 7610"/>
                  <a:gd name="connsiteX7" fmla="*/ 91586 w 91774"/>
                  <a:gd name="connsiteY7" fmla="*/ 5666 h 7610"/>
                  <a:gd name="connsiteX8" fmla="*/ 91768 w 91774"/>
                  <a:gd name="connsiteY8" fmla="*/ 5378 h 7610"/>
                  <a:gd name="connsiteX9" fmla="*/ 91571 w 91774"/>
                  <a:gd name="connsiteY9" fmla="*/ 5195 h 7610"/>
                  <a:gd name="connsiteX10" fmla="*/ 85844 w 91774"/>
                  <a:gd name="connsiteY10" fmla="*/ 4451 h 7610"/>
                  <a:gd name="connsiteX11" fmla="*/ 80147 w 91774"/>
                  <a:gd name="connsiteY11" fmla="*/ 3843 h 7610"/>
                  <a:gd name="connsiteX12" fmla="*/ 74466 w 91774"/>
                  <a:gd name="connsiteY12" fmla="*/ 3312 h 7610"/>
                  <a:gd name="connsiteX13" fmla="*/ 68784 w 91774"/>
                  <a:gd name="connsiteY13" fmla="*/ 2871 h 7610"/>
                  <a:gd name="connsiteX14" fmla="*/ 57391 w 91774"/>
                  <a:gd name="connsiteY14" fmla="*/ 2400 h 7610"/>
                  <a:gd name="connsiteX15" fmla="*/ 45968 w 91774"/>
                  <a:gd name="connsiteY15" fmla="*/ 2172 h 7610"/>
                  <a:gd name="connsiteX16" fmla="*/ 23121 w 91774"/>
                  <a:gd name="connsiteY16" fmla="*/ 1170 h 7610"/>
                  <a:gd name="connsiteX17" fmla="*/ 258 w 91774"/>
                  <a:gd name="connsiteY17" fmla="*/ 0 h 7610"/>
                  <a:gd name="connsiteX18" fmla="*/ 0 w 91774"/>
                  <a:gd name="connsiteY18" fmla="*/ 228 h 7610"/>
                  <a:gd name="connsiteX19" fmla="*/ 197 w 91774"/>
                  <a:gd name="connsiteY19" fmla="*/ 471 h 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74" h="7610">
                    <a:moveTo>
                      <a:pt x="182" y="471"/>
                    </a:moveTo>
                    <a:cubicBezTo>
                      <a:pt x="7732" y="1626"/>
                      <a:pt x="15312" y="2567"/>
                      <a:pt x="22908" y="3524"/>
                    </a:cubicBezTo>
                    <a:cubicBezTo>
                      <a:pt x="30503" y="4405"/>
                      <a:pt x="38099" y="5226"/>
                      <a:pt x="45709" y="5955"/>
                    </a:cubicBezTo>
                    <a:lnTo>
                      <a:pt x="57133" y="7079"/>
                    </a:lnTo>
                    <a:cubicBezTo>
                      <a:pt x="60946" y="7428"/>
                      <a:pt x="64774" y="7611"/>
                      <a:pt x="68602" y="7611"/>
                    </a:cubicBezTo>
                    <a:cubicBezTo>
                      <a:pt x="72430" y="7611"/>
                      <a:pt x="76273" y="7489"/>
                      <a:pt x="80117" y="7185"/>
                    </a:cubicBezTo>
                    <a:cubicBezTo>
                      <a:pt x="82031" y="7033"/>
                      <a:pt x="83945" y="6851"/>
                      <a:pt x="85859" y="6623"/>
                    </a:cubicBezTo>
                    <a:cubicBezTo>
                      <a:pt x="87773" y="6335"/>
                      <a:pt x="89687" y="6061"/>
                      <a:pt x="91586" y="5666"/>
                    </a:cubicBezTo>
                    <a:cubicBezTo>
                      <a:pt x="91723" y="5636"/>
                      <a:pt x="91799" y="5514"/>
                      <a:pt x="91768" y="5378"/>
                    </a:cubicBezTo>
                    <a:cubicBezTo>
                      <a:pt x="91753" y="5271"/>
                      <a:pt x="91662" y="5211"/>
                      <a:pt x="91571" y="5195"/>
                    </a:cubicBezTo>
                    <a:cubicBezTo>
                      <a:pt x="89642" y="4876"/>
                      <a:pt x="87743" y="4664"/>
                      <a:pt x="85844" y="4451"/>
                    </a:cubicBezTo>
                    <a:cubicBezTo>
                      <a:pt x="83945" y="4254"/>
                      <a:pt x="82046" y="4010"/>
                      <a:pt x="80147" y="3843"/>
                    </a:cubicBezTo>
                    <a:lnTo>
                      <a:pt x="74466" y="3312"/>
                    </a:lnTo>
                    <a:cubicBezTo>
                      <a:pt x="72567" y="3160"/>
                      <a:pt x="70668" y="3038"/>
                      <a:pt x="68784" y="2871"/>
                    </a:cubicBezTo>
                    <a:cubicBezTo>
                      <a:pt x="64987" y="2613"/>
                      <a:pt x="61189" y="2431"/>
                      <a:pt x="57391" y="2400"/>
                    </a:cubicBezTo>
                    <a:cubicBezTo>
                      <a:pt x="53578" y="2370"/>
                      <a:pt x="49781" y="2309"/>
                      <a:pt x="45968" y="2172"/>
                    </a:cubicBezTo>
                    <a:cubicBezTo>
                      <a:pt x="38357" y="1914"/>
                      <a:pt x="30731" y="1580"/>
                      <a:pt x="23121" y="1170"/>
                    </a:cubicBezTo>
                    <a:cubicBezTo>
                      <a:pt x="15495" y="851"/>
                      <a:pt x="7884" y="410"/>
                      <a:pt x="258" y="0"/>
                    </a:cubicBezTo>
                    <a:cubicBezTo>
                      <a:pt x="121" y="0"/>
                      <a:pt x="15" y="91"/>
                      <a:pt x="0" y="228"/>
                    </a:cubicBezTo>
                    <a:cubicBezTo>
                      <a:pt x="0" y="350"/>
                      <a:pt x="76" y="456"/>
                      <a:pt x="197" y="47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7" name="Freeform: Shape 2426">
                <a:extLst>
                  <a:ext uri="{FF2B5EF4-FFF2-40B4-BE49-F238E27FC236}">
                    <a16:creationId xmlns:a16="http://schemas.microsoft.com/office/drawing/2014/main" id="{D9C70DAB-337B-9991-59FF-1283E3EC6A8A}"/>
                  </a:ext>
                </a:extLst>
              </p:cNvPr>
              <p:cNvSpPr/>
              <p:nvPr/>
            </p:nvSpPr>
            <p:spPr>
              <a:xfrm>
                <a:off x="7864375" y="3896984"/>
                <a:ext cx="77115" cy="5621"/>
              </a:xfrm>
              <a:custGeom>
                <a:avLst/>
                <a:gdLst>
                  <a:gd name="connsiteX0" fmla="*/ 198 w 77115"/>
                  <a:gd name="connsiteY0" fmla="*/ 471 h 5621"/>
                  <a:gd name="connsiteX1" fmla="*/ 19277 w 77115"/>
                  <a:gd name="connsiteY1" fmla="*/ 2886 h 5621"/>
                  <a:gd name="connsiteX2" fmla="*/ 28848 w 77115"/>
                  <a:gd name="connsiteY2" fmla="*/ 3843 h 5621"/>
                  <a:gd name="connsiteX3" fmla="*/ 38448 w 77115"/>
                  <a:gd name="connsiteY3" fmla="*/ 4618 h 5621"/>
                  <a:gd name="connsiteX4" fmla="*/ 48064 w 77115"/>
                  <a:gd name="connsiteY4" fmla="*/ 5378 h 5621"/>
                  <a:gd name="connsiteX5" fmla="*/ 57695 w 77115"/>
                  <a:gd name="connsiteY5" fmla="*/ 5575 h 5621"/>
                  <a:gd name="connsiteX6" fmla="*/ 67341 w 77115"/>
                  <a:gd name="connsiteY6" fmla="*/ 4831 h 5621"/>
                  <a:gd name="connsiteX7" fmla="*/ 76927 w 77115"/>
                  <a:gd name="connsiteY7" fmla="*/ 3145 h 5621"/>
                  <a:gd name="connsiteX8" fmla="*/ 77109 w 77115"/>
                  <a:gd name="connsiteY8" fmla="*/ 2856 h 5621"/>
                  <a:gd name="connsiteX9" fmla="*/ 76912 w 77115"/>
                  <a:gd name="connsiteY9" fmla="*/ 2674 h 5621"/>
                  <a:gd name="connsiteX10" fmla="*/ 67296 w 77115"/>
                  <a:gd name="connsiteY10" fmla="*/ 1504 h 5621"/>
                  <a:gd name="connsiteX11" fmla="*/ 57741 w 77115"/>
                  <a:gd name="connsiteY11" fmla="*/ 836 h 5621"/>
                  <a:gd name="connsiteX12" fmla="*/ 48186 w 77115"/>
                  <a:gd name="connsiteY12" fmla="*/ 684 h 5621"/>
                  <a:gd name="connsiteX13" fmla="*/ 38615 w 77115"/>
                  <a:gd name="connsiteY13" fmla="*/ 820 h 5621"/>
                  <a:gd name="connsiteX14" fmla="*/ 29030 w 77115"/>
                  <a:gd name="connsiteY14" fmla="*/ 684 h 5621"/>
                  <a:gd name="connsiteX15" fmla="*/ 19444 w 77115"/>
                  <a:gd name="connsiteY15" fmla="*/ 516 h 5621"/>
                  <a:gd name="connsiteX16" fmla="*/ 243 w 77115"/>
                  <a:gd name="connsiteY16" fmla="*/ 0 h 5621"/>
                  <a:gd name="connsiteX17" fmla="*/ 0 w 77115"/>
                  <a:gd name="connsiteY17" fmla="*/ 228 h 5621"/>
                  <a:gd name="connsiteX18" fmla="*/ 198 w 77115"/>
                  <a:gd name="connsiteY18" fmla="*/ 471 h 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115" h="5621">
                    <a:moveTo>
                      <a:pt x="198" y="471"/>
                    </a:moveTo>
                    <a:cubicBezTo>
                      <a:pt x="6547" y="1428"/>
                      <a:pt x="12912" y="2157"/>
                      <a:pt x="19277" y="2886"/>
                    </a:cubicBezTo>
                    <a:cubicBezTo>
                      <a:pt x="22467" y="3220"/>
                      <a:pt x="25658" y="3555"/>
                      <a:pt x="28848" y="3843"/>
                    </a:cubicBezTo>
                    <a:cubicBezTo>
                      <a:pt x="32038" y="4132"/>
                      <a:pt x="35243" y="4375"/>
                      <a:pt x="38448" y="4618"/>
                    </a:cubicBezTo>
                    <a:lnTo>
                      <a:pt x="48064" y="5378"/>
                    </a:lnTo>
                    <a:cubicBezTo>
                      <a:pt x="51269" y="5636"/>
                      <a:pt x="54490" y="5666"/>
                      <a:pt x="57695" y="5575"/>
                    </a:cubicBezTo>
                    <a:cubicBezTo>
                      <a:pt x="60916" y="5438"/>
                      <a:pt x="64121" y="5226"/>
                      <a:pt x="67341" y="4831"/>
                    </a:cubicBezTo>
                    <a:cubicBezTo>
                      <a:pt x="70546" y="4481"/>
                      <a:pt x="73752" y="3919"/>
                      <a:pt x="76927" y="3145"/>
                    </a:cubicBezTo>
                    <a:cubicBezTo>
                      <a:pt x="77063" y="3114"/>
                      <a:pt x="77139" y="2977"/>
                      <a:pt x="77109" y="2856"/>
                    </a:cubicBezTo>
                    <a:cubicBezTo>
                      <a:pt x="77079" y="2765"/>
                      <a:pt x="77003" y="2689"/>
                      <a:pt x="76912" y="2674"/>
                    </a:cubicBezTo>
                    <a:cubicBezTo>
                      <a:pt x="73676" y="2096"/>
                      <a:pt x="70486" y="1808"/>
                      <a:pt x="67296" y="1504"/>
                    </a:cubicBezTo>
                    <a:cubicBezTo>
                      <a:pt x="64106" y="1246"/>
                      <a:pt x="60916" y="972"/>
                      <a:pt x="57741" y="836"/>
                    </a:cubicBezTo>
                    <a:cubicBezTo>
                      <a:pt x="54550" y="653"/>
                      <a:pt x="51376" y="638"/>
                      <a:pt x="48186" y="684"/>
                    </a:cubicBezTo>
                    <a:cubicBezTo>
                      <a:pt x="44996" y="790"/>
                      <a:pt x="41805" y="805"/>
                      <a:pt x="38615" y="820"/>
                    </a:cubicBezTo>
                    <a:cubicBezTo>
                      <a:pt x="35425" y="790"/>
                      <a:pt x="32235" y="760"/>
                      <a:pt x="29030" y="684"/>
                    </a:cubicBezTo>
                    <a:cubicBezTo>
                      <a:pt x="25840" y="653"/>
                      <a:pt x="22634" y="577"/>
                      <a:pt x="19444" y="516"/>
                    </a:cubicBezTo>
                    <a:cubicBezTo>
                      <a:pt x="13049" y="425"/>
                      <a:pt x="6654" y="197"/>
                      <a:pt x="243" y="0"/>
                    </a:cubicBezTo>
                    <a:cubicBezTo>
                      <a:pt x="106" y="0"/>
                      <a:pt x="0" y="91"/>
                      <a:pt x="0" y="228"/>
                    </a:cubicBezTo>
                    <a:cubicBezTo>
                      <a:pt x="0" y="349"/>
                      <a:pt x="91" y="456"/>
                      <a:pt x="198" y="47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1" name="Freeform: Shape 60">
              <a:extLst>
                <a:ext uri="{FF2B5EF4-FFF2-40B4-BE49-F238E27FC236}">
                  <a16:creationId xmlns:a16="http://schemas.microsoft.com/office/drawing/2014/main" id="{0272F8FE-3782-5E25-8BEB-7828CF62D5FB}"/>
                </a:ext>
              </a:extLst>
            </p:cNvPr>
            <p:cNvSpPr/>
            <p:nvPr/>
          </p:nvSpPr>
          <p:spPr>
            <a:xfrm>
              <a:off x="8531035" y="3273776"/>
              <a:ext cx="374294" cy="696071"/>
            </a:xfrm>
            <a:custGeom>
              <a:avLst/>
              <a:gdLst>
                <a:gd name="connsiteX0" fmla="*/ 346226 w 349114"/>
                <a:gd name="connsiteY0" fmla="*/ 82142 h 649244"/>
                <a:gd name="connsiteX1" fmla="*/ 345876 w 349114"/>
                <a:gd name="connsiteY1" fmla="*/ 136176 h 649244"/>
                <a:gd name="connsiteX2" fmla="*/ 251222 w 349114"/>
                <a:gd name="connsiteY2" fmla="*/ 380553 h 649244"/>
                <a:gd name="connsiteX3" fmla="*/ 44534 w 349114"/>
                <a:gd name="connsiteY3" fmla="*/ 643948 h 649244"/>
                <a:gd name="connsiteX4" fmla="*/ 38883 w 349114"/>
                <a:gd name="connsiteY4" fmla="*/ 367154 h 649244"/>
                <a:gd name="connsiteX5" fmla="*/ 205953 w 349114"/>
                <a:gd name="connsiteY5" fmla="*/ 14239 h 649244"/>
                <a:gd name="connsiteX6" fmla="*/ 346241 w 349114"/>
                <a:gd name="connsiteY6" fmla="*/ 82127 h 6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114" h="649244">
                  <a:moveTo>
                    <a:pt x="346226" y="82142"/>
                  </a:moveTo>
                  <a:cubicBezTo>
                    <a:pt x="350282" y="99916"/>
                    <a:pt x="349978" y="118418"/>
                    <a:pt x="345876" y="136176"/>
                  </a:cubicBezTo>
                  <a:cubicBezTo>
                    <a:pt x="338174" y="169596"/>
                    <a:pt x="315494" y="247328"/>
                    <a:pt x="251222" y="380553"/>
                  </a:cubicBezTo>
                  <a:cubicBezTo>
                    <a:pt x="161444" y="566656"/>
                    <a:pt x="132155" y="675074"/>
                    <a:pt x="44534" y="643948"/>
                  </a:cubicBezTo>
                  <a:cubicBezTo>
                    <a:pt x="-39623" y="614037"/>
                    <a:pt x="17403" y="455672"/>
                    <a:pt x="38883" y="367154"/>
                  </a:cubicBezTo>
                  <a:cubicBezTo>
                    <a:pt x="60363" y="278652"/>
                    <a:pt x="135300" y="56743"/>
                    <a:pt x="205953" y="14239"/>
                  </a:cubicBezTo>
                  <a:cubicBezTo>
                    <a:pt x="267035" y="-22508"/>
                    <a:pt x="331141" y="16047"/>
                    <a:pt x="346241" y="82127"/>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E820DB93-0C13-A167-CF9A-79AEBCA7B520}"/>
                </a:ext>
              </a:extLst>
            </p:cNvPr>
            <p:cNvSpPr/>
            <p:nvPr/>
          </p:nvSpPr>
          <p:spPr>
            <a:xfrm>
              <a:off x="8520746" y="3268872"/>
              <a:ext cx="388279" cy="705934"/>
            </a:xfrm>
            <a:custGeom>
              <a:avLst/>
              <a:gdLst>
                <a:gd name="connsiteX0" fmla="*/ 290030 w 362158"/>
                <a:gd name="connsiteY0" fmla="*/ 4093 h 658443"/>
                <a:gd name="connsiteX1" fmla="*/ 180975 w 362158"/>
                <a:gd name="connsiteY1" fmla="*/ 48010 h 658443"/>
                <a:gd name="connsiteX2" fmla="*/ 65433 w 362158"/>
                <a:gd name="connsiteY2" fmla="*/ 297247 h 658443"/>
                <a:gd name="connsiteX3" fmla="*/ 54404 w 362158"/>
                <a:gd name="connsiteY3" fmla="*/ 654127 h 658443"/>
                <a:gd name="connsiteX4" fmla="*/ 164279 w 362158"/>
                <a:gd name="connsiteY4" fmla="*/ 594336 h 658443"/>
                <a:gd name="connsiteX5" fmla="*/ 331061 w 362158"/>
                <a:gd name="connsiteY5" fmla="*/ 232959 h 658443"/>
                <a:gd name="connsiteX6" fmla="*/ 290030 w 362158"/>
                <a:gd name="connsiteY6" fmla="*/ 4093 h 65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158" h="658443">
                  <a:moveTo>
                    <a:pt x="290030" y="4093"/>
                  </a:moveTo>
                  <a:cubicBezTo>
                    <a:pt x="290030" y="4093"/>
                    <a:pt x="228522" y="-19833"/>
                    <a:pt x="180975" y="48010"/>
                  </a:cubicBezTo>
                  <a:cubicBezTo>
                    <a:pt x="133427" y="115853"/>
                    <a:pt x="102984" y="191837"/>
                    <a:pt x="65433" y="297247"/>
                  </a:cubicBezTo>
                  <a:cubicBezTo>
                    <a:pt x="27880" y="402657"/>
                    <a:pt x="-54773" y="619674"/>
                    <a:pt x="54404" y="654127"/>
                  </a:cubicBezTo>
                  <a:cubicBezTo>
                    <a:pt x="75990" y="660355"/>
                    <a:pt x="119633" y="670913"/>
                    <a:pt x="164279" y="594336"/>
                  </a:cubicBezTo>
                  <a:cubicBezTo>
                    <a:pt x="208926" y="517758"/>
                    <a:pt x="298324" y="318438"/>
                    <a:pt x="331061" y="232959"/>
                  </a:cubicBezTo>
                  <a:cubicBezTo>
                    <a:pt x="363797" y="147480"/>
                    <a:pt x="394741" y="44485"/>
                    <a:pt x="290030" y="4093"/>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459E6183-9051-7AD1-AFFB-9D3893C97690}"/>
                </a:ext>
              </a:extLst>
            </p:cNvPr>
            <p:cNvSpPr/>
            <p:nvPr/>
          </p:nvSpPr>
          <p:spPr>
            <a:xfrm>
              <a:off x="8102725" y="3619973"/>
              <a:ext cx="590354" cy="351594"/>
            </a:xfrm>
            <a:custGeom>
              <a:avLst/>
              <a:gdLst>
                <a:gd name="connsiteX0" fmla="*/ 454117 w 550639"/>
                <a:gd name="connsiteY0" fmla="*/ 326479 h 327941"/>
                <a:gd name="connsiteX1" fmla="*/ 239591 w 550639"/>
                <a:gd name="connsiteY1" fmla="*/ 223484 h 327941"/>
                <a:gd name="connsiteX2" fmla="*/ 19368 w 550639"/>
                <a:gd name="connsiteY2" fmla="*/ 71499 h 327941"/>
                <a:gd name="connsiteX3" fmla="*/ 85783 w 550639"/>
                <a:gd name="connsiteY3" fmla="*/ 6421 h 327941"/>
                <a:gd name="connsiteX4" fmla="*/ 323734 w 550639"/>
                <a:gd name="connsiteY4" fmla="*/ 85596 h 327941"/>
                <a:gd name="connsiteX5" fmla="*/ 538503 w 550639"/>
                <a:gd name="connsiteY5" fmla="*/ 186100 h 327941"/>
                <a:gd name="connsiteX6" fmla="*/ 454132 w 550639"/>
                <a:gd name="connsiteY6" fmla="*/ 326494 h 32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639" h="327941">
                  <a:moveTo>
                    <a:pt x="454117" y="326479"/>
                  </a:moveTo>
                  <a:cubicBezTo>
                    <a:pt x="454117" y="326479"/>
                    <a:pt x="369397" y="301733"/>
                    <a:pt x="239591" y="223484"/>
                  </a:cubicBezTo>
                  <a:cubicBezTo>
                    <a:pt x="109784" y="145236"/>
                    <a:pt x="79372" y="120201"/>
                    <a:pt x="19368" y="71499"/>
                  </a:cubicBezTo>
                  <a:cubicBezTo>
                    <a:pt x="-25430" y="35147"/>
                    <a:pt x="11940" y="-18613"/>
                    <a:pt x="85783" y="6421"/>
                  </a:cubicBezTo>
                  <a:cubicBezTo>
                    <a:pt x="159611" y="31456"/>
                    <a:pt x="227165" y="47027"/>
                    <a:pt x="323734" y="85596"/>
                  </a:cubicBezTo>
                  <a:cubicBezTo>
                    <a:pt x="420302" y="124166"/>
                    <a:pt x="511462" y="150522"/>
                    <a:pt x="538503" y="186100"/>
                  </a:cubicBezTo>
                  <a:cubicBezTo>
                    <a:pt x="576723" y="236397"/>
                    <a:pt x="518086" y="341472"/>
                    <a:pt x="454132" y="32649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5" name="Freeform: Shape 904">
              <a:extLst>
                <a:ext uri="{FF2B5EF4-FFF2-40B4-BE49-F238E27FC236}">
                  <a16:creationId xmlns:a16="http://schemas.microsoft.com/office/drawing/2014/main" id="{1105E820-E11A-492D-6CFD-29DDB2F59202}"/>
                </a:ext>
              </a:extLst>
            </p:cNvPr>
            <p:cNvSpPr/>
            <p:nvPr/>
          </p:nvSpPr>
          <p:spPr>
            <a:xfrm>
              <a:off x="8145494" y="3617933"/>
              <a:ext cx="560734" cy="357435"/>
            </a:xfrm>
            <a:custGeom>
              <a:avLst/>
              <a:gdLst>
                <a:gd name="connsiteX0" fmla="*/ 517053 w 523011"/>
                <a:gd name="connsiteY0" fmla="*/ 198378 h 333389"/>
                <a:gd name="connsiteX1" fmla="*/ 444866 w 523011"/>
                <a:gd name="connsiteY1" fmla="*/ 142703 h 333389"/>
                <a:gd name="connsiteX2" fmla="*/ 58819 w 523011"/>
                <a:gd name="connsiteY2" fmla="*/ 0 h 333389"/>
                <a:gd name="connsiteX3" fmla="*/ 0 w 523011"/>
                <a:gd name="connsiteY3" fmla="*/ 112352 h 333389"/>
                <a:gd name="connsiteX4" fmla="*/ 419026 w 523011"/>
                <a:gd name="connsiteY4" fmla="*/ 333091 h 333389"/>
                <a:gd name="connsiteX5" fmla="*/ 500616 w 523011"/>
                <a:gd name="connsiteY5" fmla="*/ 290663 h 333389"/>
                <a:gd name="connsiteX6" fmla="*/ 517053 w 523011"/>
                <a:gd name="connsiteY6" fmla="*/ 198393 h 33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011" h="333389">
                  <a:moveTo>
                    <a:pt x="517053" y="198378"/>
                  </a:moveTo>
                  <a:cubicBezTo>
                    <a:pt x="517053" y="198378"/>
                    <a:pt x="509062" y="172645"/>
                    <a:pt x="444866" y="142703"/>
                  </a:cubicBezTo>
                  <a:cubicBezTo>
                    <a:pt x="385044" y="114798"/>
                    <a:pt x="58819" y="0"/>
                    <a:pt x="58819" y="0"/>
                  </a:cubicBezTo>
                  <a:cubicBezTo>
                    <a:pt x="58819" y="0"/>
                    <a:pt x="37081" y="29258"/>
                    <a:pt x="0" y="112352"/>
                  </a:cubicBezTo>
                  <a:cubicBezTo>
                    <a:pt x="0" y="112352"/>
                    <a:pt x="338240" y="324068"/>
                    <a:pt x="419026" y="333091"/>
                  </a:cubicBezTo>
                  <a:cubicBezTo>
                    <a:pt x="428398" y="333410"/>
                    <a:pt x="465662" y="338454"/>
                    <a:pt x="500616" y="290663"/>
                  </a:cubicBezTo>
                  <a:cubicBezTo>
                    <a:pt x="538274" y="239181"/>
                    <a:pt x="517053" y="198393"/>
                    <a:pt x="517053" y="198393"/>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906" name="Graphic 3200">
              <a:extLst>
                <a:ext uri="{FF2B5EF4-FFF2-40B4-BE49-F238E27FC236}">
                  <a16:creationId xmlns:a16="http://schemas.microsoft.com/office/drawing/2014/main" id="{06B0FD45-28EF-F1E3-D5D2-1B1BE234B02F}"/>
                </a:ext>
              </a:extLst>
            </p:cNvPr>
            <p:cNvGrpSpPr/>
            <p:nvPr/>
          </p:nvGrpSpPr>
          <p:grpSpPr>
            <a:xfrm>
              <a:off x="5203998" y="3367658"/>
              <a:ext cx="925921" cy="1575154"/>
              <a:chOff x="5313871" y="3629579"/>
              <a:chExt cx="863631" cy="1469188"/>
            </a:xfrm>
          </p:grpSpPr>
          <p:grpSp>
            <p:nvGrpSpPr>
              <p:cNvPr id="2412" name="Graphic 3200">
                <a:extLst>
                  <a:ext uri="{FF2B5EF4-FFF2-40B4-BE49-F238E27FC236}">
                    <a16:creationId xmlns:a16="http://schemas.microsoft.com/office/drawing/2014/main" id="{A69A2088-6266-4091-EF63-C90138C7EF4E}"/>
                  </a:ext>
                </a:extLst>
              </p:cNvPr>
              <p:cNvGrpSpPr/>
              <p:nvPr/>
            </p:nvGrpSpPr>
            <p:grpSpPr>
              <a:xfrm>
                <a:off x="5313871" y="3694210"/>
                <a:ext cx="863631" cy="1404556"/>
                <a:chOff x="5313871" y="3694210"/>
                <a:chExt cx="863631" cy="1404556"/>
              </a:xfrm>
              <a:solidFill>
                <a:srgbClr val="293463"/>
              </a:solidFill>
            </p:grpSpPr>
            <p:sp>
              <p:nvSpPr>
                <p:cNvPr id="2420" name="Freeform: Shape 2419">
                  <a:extLst>
                    <a:ext uri="{FF2B5EF4-FFF2-40B4-BE49-F238E27FC236}">
                      <a16:creationId xmlns:a16="http://schemas.microsoft.com/office/drawing/2014/main" id="{247E7A5E-E466-3B7C-77D5-45C3096579CE}"/>
                    </a:ext>
                  </a:extLst>
                </p:cNvPr>
                <p:cNvSpPr/>
                <p:nvPr/>
              </p:nvSpPr>
              <p:spPr>
                <a:xfrm>
                  <a:off x="5313871" y="4351821"/>
                  <a:ext cx="116772" cy="642493"/>
                </a:xfrm>
                <a:custGeom>
                  <a:avLst/>
                  <a:gdLst>
                    <a:gd name="connsiteX0" fmla="*/ 15839 w 116772"/>
                    <a:gd name="connsiteY0" fmla="*/ 642494 h 642493"/>
                    <a:gd name="connsiteX1" fmla="*/ 14700 w 116772"/>
                    <a:gd name="connsiteY1" fmla="*/ 642448 h 642493"/>
                    <a:gd name="connsiteX2" fmla="*/ 41 w 116772"/>
                    <a:gd name="connsiteY2" fmla="*/ 625540 h 642493"/>
                    <a:gd name="connsiteX3" fmla="*/ 54880 w 116772"/>
                    <a:gd name="connsiteY3" fmla="*/ 141649 h 642493"/>
                    <a:gd name="connsiteX4" fmla="*/ 76466 w 116772"/>
                    <a:gd name="connsiteY4" fmla="*/ 41101 h 642493"/>
                    <a:gd name="connsiteX5" fmla="*/ 94149 w 116772"/>
                    <a:gd name="connsiteY5" fmla="*/ 1528 h 642493"/>
                    <a:gd name="connsiteX6" fmla="*/ 110069 w 116772"/>
                    <a:gd name="connsiteY6" fmla="*/ 2911 h 642493"/>
                    <a:gd name="connsiteX7" fmla="*/ 116692 w 116772"/>
                    <a:gd name="connsiteY7" fmla="*/ 17555 h 642493"/>
                    <a:gd name="connsiteX8" fmla="*/ 114732 w 116772"/>
                    <a:gd name="connsiteY8" fmla="*/ 23737 h 642493"/>
                    <a:gd name="connsiteX9" fmla="*/ 31623 w 116772"/>
                    <a:gd name="connsiteY9" fmla="*/ 627789 h 642493"/>
                    <a:gd name="connsiteX10" fmla="*/ 15855 w 116772"/>
                    <a:gd name="connsiteY10" fmla="*/ 642494 h 642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772" h="642493">
                      <a:moveTo>
                        <a:pt x="15839" y="642494"/>
                      </a:moveTo>
                      <a:cubicBezTo>
                        <a:pt x="15460" y="642494"/>
                        <a:pt x="15080" y="642478"/>
                        <a:pt x="14700" y="642448"/>
                      </a:cubicBezTo>
                      <a:cubicBezTo>
                        <a:pt x="5980" y="641825"/>
                        <a:pt x="-582" y="634260"/>
                        <a:pt x="41" y="625540"/>
                      </a:cubicBezTo>
                      <a:cubicBezTo>
                        <a:pt x="17541" y="379767"/>
                        <a:pt x="39522" y="226749"/>
                        <a:pt x="54880" y="141649"/>
                      </a:cubicBezTo>
                      <a:cubicBezTo>
                        <a:pt x="63828" y="92021"/>
                        <a:pt x="71560" y="59588"/>
                        <a:pt x="76466" y="41101"/>
                      </a:cubicBezTo>
                      <a:cubicBezTo>
                        <a:pt x="85930" y="5417"/>
                        <a:pt x="88179" y="4354"/>
                        <a:pt x="94149" y="1528"/>
                      </a:cubicBezTo>
                      <a:cubicBezTo>
                        <a:pt x="99329" y="-933"/>
                        <a:pt x="105420" y="-386"/>
                        <a:pt x="110069" y="2911"/>
                      </a:cubicBezTo>
                      <a:cubicBezTo>
                        <a:pt x="114732" y="6207"/>
                        <a:pt x="117269" y="11873"/>
                        <a:pt x="116692" y="17555"/>
                      </a:cubicBezTo>
                      <a:cubicBezTo>
                        <a:pt x="116464" y="19803"/>
                        <a:pt x="115765" y="21884"/>
                        <a:pt x="114732" y="23737"/>
                      </a:cubicBezTo>
                      <a:cubicBezTo>
                        <a:pt x="110418" y="35708"/>
                        <a:pt x="63858" y="175024"/>
                        <a:pt x="31623" y="627789"/>
                      </a:cubicBezTo>
                      <a:cubicBezTo>
                        <a:pt x="31030" y="636128"/>
                        <a:pt x="24088" y="642494"/>
                        <a:pt x="15855" y="64249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1" name="Freeform: Shape 2420">
                  <a:extLst>
                    <a:ext uri="{FF2B5EF4-FFF2-40B4-BE49-F238E27FC236}">
                      <a16:creationId xmlns:a16="http://schemas.microsoft.com/office/drawing/2014/main" id="{B443CC6F-F865-FE3A-A14C-AD56F431FBB1}"/>
                    </a:ext>
                  </a:extLst>
                </p:cNvPr>
                <p:cNvSpPr/>
                <p:nvPr/>
              </p:nvSpPr>
              <p:spPr>
                <a:xfrm>
                  <a:off x="5932136" y="4310560"/>
                  <a:ext cx="120837" cy="788207"/>
                </a:xfrm>
                <a:custGeom>
                  <a:avLst/>
                  <a:gdLst>
                    <a:gd name="connsiteX0" fmla="*/ 105000 w 120837"/>
                    <a:gd name="connsiteY0" fmla="*/ 788192 h 788207"/>
                    <a:gd name="connsiteX1" fmla="*/ 89232 w 120837"/>
                    <a:gd name="connsiteY1" fmla="*/ 773472 h 788207"/>
                    <a:gd name="connsiteX2" fmla="*/ 289 w 120837"/>
                    <a:gd name="connsiteY2" fmla="*/ 18818 h 788207"/>
                    <a:gd name="connsiteX3" fmla="*/ 12837 w 120837"/>
                    <a:gd name="connsiteY3" fmla="*/ 285 h 788207"/>
                    <a:gd name="connsiteX4" fmla="*/ 31370 w 120837"/>
                    <a:gd name="connsiteY4" fmla="*/ 12833 h 788207"/>
                    <a:gd name="connsiteX5" fmla="*/ 120799 w 120837"/>
                    <a:gd name="connsiteY5" fmla="*/ 771269 h 788207"/>
                    <a:gd name="connsiteX6" fmla="*/ 106109 w 120837"/>
                    <a:gd name="connsiteY6" fmla="*/ 788162 h 788207"/>
                    <a:gd name="connsiteX7" fmla="*/ 104985 w 120837"/>
                    <a:gd name="connsiteY7" fmla="*/ 788207 h 78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837" h="788207">
                      <a:moveTo>
                        <a:pt x="105000" y="788192"/>
                      </a:moveTo>
                      <a:cubicBezTo>
                        <a:pt x="96767" y="788192"/>
                        <a:pt x="89809" y="781812"/>
                        <a:pt x="89232" y="773472"/>
                      </a:cubicBezTo>
                      <a:cubicBezTo>
                        <a:pt x="57544" y="319431"/>
                        <a:pt x="867" y="21780"/>
                        <a:pt x="289" y="18818"/>
                      </a:cubicBezTo>
                      <a:cubicBezTo>
                        <a:pt x="-1366" y="10235"/>
                        <a:pt x="4254" y="1941"/>
                        <a:pt x="12837" y="285"/>
                      </a:cubicBezTo>
                      <a:cubicBezTo>
                        <a:pt x="21374" y="-1355"/>
                        <a:pt x="29714" y="4250"/>
                        <a:pt x="31370" y="12833"/>
                      </a:cubicBezTo>
                      <a:cubicBezTo>
                        <a:pt x="31947" y="15795"/>
                        <a:pt x="88974" y="315330"/>
                        <a:pt x="120799" y="771269"/>
                      </a:cubicBezTo>
                      <a:cubicBezTo>
                        <a:pt x="121406" y="779989"/>
                        <a:pt x="114829" y="787554"/>
                        <a:pt x="106109" y="788162"/>
                      </a:cubicBezTo>
                      <a:cubicBezTo>
                        <a:pt x="105730" y="788192"/>
                        <a:pt x="105365" y="788207"/>
                        <a:pt x="104985" y="788207"/>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2" name="Freeform: Shape 2421">
                  <a:extLst>
                    <a:ext uri="{FF2B5EF4-FFF2-40B4-BE49-F238E27FC236}">
                      <a16:creationId xmlns:a16="http://schemas.microsoft.com/office/drawing/2014/main" id="{3C56C611-627A-E07E-DC2D-B4DF7FFBF257}"/>
                    </a:ext>
                  </a:extLst>
                </p:cNvPr>
                <p:cNvSpPr/>
                <p:nvPr/>
              </p:nvSpPr>
              <p:spPr>
                <a:xfrm>
                  <a:off x="5541001" y="3694216"/>
                  <a:ext cx="84507" cy="1144437"/>
                </a:xfrm>
                <a:custGeom>
                  <a:avLst/>
                  <a:gdLst>
                    <a:gd name="connsiteX0" fmla="*/ 15252 w 84507"/>
                    <a:gd name="connsiteY0" fmla="*/ 1144422 h 1144437"/>
                    <a:gd name="connsiteX1" fmla="*/ 14265 w 84507"/>
                    <a:gd name="connsiteY1" fmla="*/ 1144392 h 1144437"/>
                    <a:gd name="connsiteX2" fmla="*/ 31 w 84507"/>
                    <a:gd name="connsiteY2" fmla="*/ 1128229 h 1144437"/>
                    <a:gd name="connsiteX3" fmla="*/ 53366 w 84507"/>
                    <a:gd name="connsiteY3" fmla="*/ 600284 h 1144437"/>
                    <a:gd name="connsiteX4" fmla="*/ 24428 w 84507"/>
                    <a:gd name="connsiteY4" fmla="*/ 15100 h 1144437"/>
                    <a:gd name="connsiteX5" fmla="*/ 39649 w 84507"/>
                    <a:gd name="connsiteY5" fmla="*/ 0 h 1144437"/>
                    <a:gd name="connsiteX6" fmla="*/ 54870 w 84507"/>
                    <a:gd name="connsiteY6" fmla="*/ 15358 h 1144437"/>
                    <a:gd name="connsiteX7" fmla="*/ 83946 w 84507"/>
                    <a:gd name="connsiteY7" fmla="*/ 599145 h 1144437"/>
                    <a:gd name="connsiteX8" fmla="*/ 84507 w 84507"/>
                    <a:gd name="connsiteY8" fmla="*/ 602927 h 1144437"/>
                    <a:gd name="connsiteX9" fmla="*/ 83216 w 84507"/>
                    <a:gd name="connsiteY9" fmla="*/ 606527 h 1144437"/>
                    <a:gd name="connsiteX10" fmla="*/ 30398 w 84507"/>
                    <a:gd name="connsiteY10" fmla="*/ 1130188 h 1144437"/>
                    <a:gd name="connsiteX11" fmla="*/ 15222 w 84507"/>
                    <a:gd name="connsiteY11" fmla="*/ 1144438 h 114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07" h="1144437">
                      <a:moveTo>
                        <a:pt x="15252" y="1144422"/>
                      </a:moveTo>
                      <a:cubicBezTo>
                        <a:pt x="14918" y="1144422"/>
                        <a:pt x="14599" y="1144422"/>
                        <a:pt x="14265" y="1144392"/>
                      </a:cubicBezTo>
                      <a:cubicBezTo>
                        <a:pt x="5864" y="1143845"/>
                        <a:pt x="-501" y="1136614"/>
                        <a:pt x="31" y="1128229"/>
                      </a:cubicBezTo>
                      <a:cubicBezTo>
                        <a:pt x="26007" y="722510"/>
                        <a:pt x="48034" y="620154"/>
                        <a:pt x="53366" y="600284"/>
                      </a:cubicBezTo>
                      <a:cubicBezTo>
                        <a:pt x="49371" y="571330"/>
                        <a:pt x="21602" y="357260"/>
                        <a:pt x="24428" y="15100"/>
                      </a:cubicBezTo>
                      <a:cubicBezTo>
                        <a:pt x="24503" y="6730"/>
                        <a:pt x="31294" y="0"/>
                        <a:pt x="39649" y="0"/>
                      </a:cubicBezTo>
                      <a:cubicBezTo>
                        <a:pt x="48186" y="76"/>
                        <a:pt x="54946" y="6942"/>
                        <a:pt x="54870" y="15358"/>
                      </a:cubicBezTo>
                      <a:cubicBezTo>
                        <a:pt x="51862" y="379758"/>
                        <a:pt x="83627" y="596988"/>
                        <a:pt x="83946" y="599145"/>
                      </a:cubicBezTo>
                      <a:lnTo>
                        <a:pt x="84507" y="602927"/>
                      </a:lnTo>
                      <a:lnTo>
                        <a:pt x="83216" y="606527"/>
                      </a:lnTo>
                      <a:cubicBezTo>
                        <a:pt x="82290" y="609292"/>
                        <a:pt x="59017" y="683363"/>
                        <a:pt x="30398" y="1130188"/>
                      </a:cubicBezTo>
                      <a:cubicBezTo>
                        <a:pt x="29881" y="1138255"/>
                        <a:pt x="23182" y="1144438"/>
                        <a:pt x="15222" y="1144438"/>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3" name="Freeform: Shape 2422">
                  <a:extLst>
                    <a:ext uri="{FF2B5EF4-FFF2-40B4-BE49-F238E27FC236}">
                      <a16:creationId xmlns:a16="http://schemas.microsoft.com/office/drawing/2014/main" id="{F8F45942-1B22-C69E-7067-BF7E1F42AEF1}"/>
                    </a:ext>
                  </a:extLst>
                </p:cNvPr>
                <p:cNvSpPr/>
                <p:nvPr/>
              </p:nvSpPr>
              <p:spPr>
                <a:xfrm>
                  <a:off x="6047451" y="3694210"/>
                  <a:ext cx="130051" cy="1213257"/>
                </a:xfrm>
                <a:custGeom>
                  <a:avLst/>
                  <a:gdLst>
                    <a:gd name="connsiteX0" fmla="*/ 114798 w 130051"/>
                    <a:gd name="connsiteY0" fmla="*/ 1213258 h 1213257"/>
                    <a:gd name="connsiteX1" fmla="*/ 99622 w 130051"/>
                    <a:gd name="connsiteY1" fmla="*/ 1199024 h 1213257"/>
                    <a:gd name="connsiteX2" fmla="*/ 2917 w 130051"/>
                    <a:gd name="connsiteY2" fmla="*/ 624884 h 1213257"/>
                    <a:gd name="connsiteX3" fmla="*/ 0 w 130051"/>
                    <a:gd name="connsiteY3" fmla="*/ 619779 h 1213257"/>
                    <a:gd name="connsiteX4" fmla="*/ 1276 w 130051"/>
                    <a:gd name="connsiteY4" fmla="*/ 614037 h 1213257"/>
                    <a:gd name="connsiteX5" fmla="*/ 46925 w 130051"/>
                    <a:gd name="connsiteY5" fmla="*/ 16169 h 1213257"/>
                    <a:gd name="connsiteX6" fmla="*/ 61189 w 130051"/>
                    <a:gd name="connsiteY6" fmla="*/ 36 h 1213257"/>
                    <a:gd name="connsiteX7" fmla="*/ 77322 w 130051"/>
                    <a:gd name="connsiteY7" fmla="*/ 14300 h 1213257"/>
                    <a:gd name="connsiteX8" fmla="*/ 32159 w 130051"/>
                    <a:gd name="connsiteY8" fmla="*/ 615237 h 1213257"/>
                    <a:gd name="connsiteX9" fmla="*/ 130019 w 130051"/>
                    <a:gd name="connsiteY9" fmla="*/ 1197034 h 1213257"/>
                    <a:gd name="connsiteX10" fmla="*/ 115815 w 130051"/>
                    <a:gd name="connsiteY10" fmla="*/ 1213227 h 1213257"/>
                    <a:gd name="connsiteX11" fmla="*/ 114813 w 130051"/>
                    <a:gd name="connsiteY11" fmla="*/ 1213258 h 121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051" h="1213257">
                      <a:moveTo>
                        <a:pt x="114798" y="1213258"/>
                      </a:moveTo>
                      <a:cubicBezTo>
                        <a:pt x="106838" y="1213258"/>
                        <a:pt x="100154" y="1207075"/>
                        <a:pt x="99622" y="1199024"/>
                      </a:cubicBezTo>
                      <a:cubicBezTo>
                        <a:pt x="70167" y="747489"/>
                        <a:pt x="3585" y="626053"/>
                        <a:pt x="2917" y="624884"/>
                      </a:cubicBezTo>
                      <a:lnTo>
                        <a:pt x="0" y="619779"/>
                      </a:lnTo>
                      <a:lnTo>
                        <a:pt x="1276" y="614037"/>
                      </a:lnTo>
                      <a:cubicBezTo>
                        <a:pt x="1929" y="611121"/>
                        <a:pt x="65549" y="319880"/>
                        <a:pt x="46925" y="16169"/>
                      </a:cubicBezTo>
                      <a:cubicBezTo>
                        <a:pt x="46408" y="7768"/>
                        <a:pt x="52788" y="552"/>
                        <a:pt x="61189" y="36"/>
                      </a:cubicBezTo>
                      <a:cubicBezTo>
                        <a:pt x="69620" y="-541"/>
                        <a:pt x="76805" y="5915"/>
                        <a:pt x="77322" y="14300"/>
                      </a:cubicBezTo>
                      <a:cubicBezTo>
                        <a:pt x="94822" y="299509"/>
                        <a:pt x="40818" y="573690"/>
                        <a:pt x="32159" y="615237"/>
                      </a:cubicBezTo>
                      <a:cubicBezTo>
                        <a:pt x="45664" y="643447"/>
                        <a:pt x="103146" y="785163"/>
                        <a:pt x="130019" y="1197034"/>
                      </a:cubicBezTo>
                      <a:cubicBezTo>
                        <a:pt x="130566" y="1205419"/>
                        <a:pt x="124201" y="1212665"/>
                        <a:pt x="115815" y="1213227"/>
                      </a:cubicBezTo>
                      <a:cubicBezTo>
                        <a:pt x="115481" y="1213242"/>
                        <a:pt x="115147" y="1213258"/>
                        <a:pt x="114813" y="1213258"/>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13" name="Graphic 3200">
                <a:extLst>
                  <a:ext uri="{FF2B5EF4-FFF2-40B4-BE49-F238E27FC236}">
                    <a16:creationId xmlns:a16="http://schemas.microsoft.com/office/drawing/2014/main" id="{6ED9FA76-0404-8A61-2C61-3CD55F73C953}"/>
                  </a:ext>
                </a:extLst>
              </p:cNvPr>
              <p:cNvGrpSpPr/>
              <p:nvPr/>
            </p:nvGrpSpPr>
            <p:grpSpPr>
              <a:xfrm>
                <a:off x="5329699" y="3629579"/>
                <a:ext cx="798871" cy="793028"/>
                <a:chOff x="5329699" y="3629579"/>
                <a:chExt cx="798871" cy="793028"/>
              </a:xfrm>
            </p:grpSpPr>
            <p:grpSp>
              <p:nvGrpSpPr>
                <p:cNvPr id="2414" name="Graphic 3200">
                  <a:extLst>
                    <a:ext uri="{FF2B5EF4-FFF2-40B4-BE49-F238E27FC236}">
                      <a16:creationId xmlns:a16="http://schemas.microsoft.com/office/drawing/2014/main" id="{85D300FA-E4C6-D89B-4665-A74A5C47AE15}"/>
                    </a:ext>
                  </a:extLst>
                </p:cNvPr>
                <p:cNvGrpSpPr/>
                <p:nvPr/>
              </p:nvGrpSpPr>
              <p:grpSpPr>
                <a:xfrm>
                  <a:off x="5329699" y="4230018"/>
                  <a:ext cx="779882" cy="192588"/>
                  <a:chOff x="5329699" y="4230018"/>
                  <a:chExt cx="779882" cy="192588"/>
                </a:xfrm>
              </p:grpSpPr>
              <p:sp>
                <p:nvSpPr>
                  <p:cNvPr id="2418" name="Freeform: Shape 2417">
                    <a:extLst>
                      <a:ext uri="{FF2B5EF4-FFF2-40B4-BE49-F238E27FC236}">
                        <a16:creationId xmlns:a16="http://schemas.microsoft.com/office/drawing/2014/main" id="{8FE5ED98-7CAA-B094-C741-833BAC09D00C}"/>
                      </a:ext>
                    </a:extLst>
                  </p:cNvPr>
                  <p:cNvSpPr/>
                  <p:nvPr/>
                </p:nvSpPr>
                <p:spPr>
                  <a:xfrm>
                    <a:off x="5329699" y="4234894"/>
                    <a:ext cx="779270" cy="187712"/>
                  </a:xfrm>
                  <a:custGeom>
                    <a:avLst/>
                    <a:gdLst>
                      <a:gd name="connsiteX0" fmla="*/ 635979 w 779270"/>
                      <a:gd name="connsiteY0" fmla="*/ 187057 h 187712"/>
                      <a:gd name="connsiteX1" fmla="*/ 22388 w 779270"/>
                      <a:gd name="connsiteY1" fmla="*/ 184718 h 187712"/>
                      <a:gd name="connsiteX2" fmla="*/ 8488 w 779270"/>
                      <a:gd name="connsiteY2" fmla="*/ 124805 h 187712"/>
                      <a:gd name="connsiteX3" fmla="*/ 295976 w 779270"/>
                      <a:gd name="connsiteY3" fmla="*/ 17086 h 187712"/>
                      <a:gd name="connsiteX4" fmla="*/ 643301 w 779270"/>
                      <a:gd name="connsiteY4" fmla="*/ 15750 h 187712"/>
                      <a:gd name="connsiteX5" fmla="*/ 777817 w 779270"/>
                      <a:gd name="connsiteY5" fmla="*/ 82711 h 187712"/>
                      <a:gd name="connsiteX6" fmla="*/ 635979 w 779270"/>
                      <a:gd name="connsiteY6" fmla="*/ 187057 h 18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270" h="187712">
                        <a:moveTo>
                          <a:pt x="635979" y="187057"/>
                        </a:moveTo>
                        <a:cubicBezTo>
                          <a:pt x="280877" y="189397"/>
                          <a:pt x="172778" y="184718"/>
                          <a:pt x="22388" y="184718"/>
                        </a:cubicBezTo>
                        <a:cubicBezTo>
                          <a:pt x="1242" y="184718"/>
                          <a:pt x="-8085" y="136214"/>
                          <a:pt x="8488" y="124805"/>
                        </a:cubicBezTo>
                        <a:cubicBezTo>
                          <a:pt x="92919" y="66746"/>
                          <a:pt x="188667" y="38703"/>
                          <a:pt x="295976" y="17086"/>
                        </a:cubicBezTo>
                        <a:cubicBezTo>
                          <a:pt x="405412" y="-4956"/>
                          <a:pt x="533820" y="-5958"/>
                          <a:pt x="643301" y="15750"/>
                        </a:cubicBezTo>
                        <a:cubicBezTo>
                          <a:pt x="703138" y="27614"/>
                          <a:pt x="758418" y="18423"/>
                          <a:pt x="777817" y="82711"/>
                        </a:cubicBezTo>
                        <a:cubicBezTo>
                          <a:pt x="793266" y="133904"/>
                          <a:pt x="681552" y="186754"/>
                          <a:pt x="635979" y="187057"/>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9" name="Freeform: Shape 2418">
                    <a:extLst>
                      <a:ext uri="{FF2B5EF4-FFF2-40B4-BE49-F238E27FC236}">
                        <a16:creationId xmlns:a16="http://schemas.microsoft.com/office/drawing/2014/main" id="{6188B5CD-4D78-90CE-88E1-D168DB884DC0}"/>
                      </a:ext>
                    </a:extLst>
                  </p:cNvPr>
                  <p:cNvSpPr/>
                  <p:nvPr/>
                </p:nvSpPr>
                <p:spPr>
                  <a:xfrm>
                    <a:off x="5329699" y="4230018"/>
                    <a:ext cx="779882" cy="158635"/>
                  </a:xfrm>
                  <a:custGeom>
                    <a:avLst/>
                    <a:gdLst>
                      <a:gd name="connsiteX0" fmla="*/ 618282 w 779882"/>
                      <a:gd name="connsiteY0" fmla="*/ 158635 h 158635"/>
                      <a:gd name="connsiteX1" fmla="*/ 22388 w 779882"/>
                      <a:gd name="connsiteY1" fmla="*/ 157952 h 158635"/>
                      <a:gd name="connsiteX2" fmla="*/ 8488 w 779882"/>
                      <a:gd name="connsiteY2" fmla="*/ 123362 h 158635"/>
                      <a:gd name="connsiteX3" fmla="*/ 316727 w 779882"/>
                      <a:gd name="connsiteY3" fmla="*/ 17086 h 158635"/>
                      <a:gd name="connsiteX4" fmla="*/ 664052 w 779882"/>
                      <a:gd name="connsiteY4" fmla="*/ 15749 h 158635"/>
                      <a:gd name="connsiteX5" fmla="*/ 777832 w 779882"/>
                      <a:gd name="connsiteY5" fmla="*/ 81268 h 158635"/>
                      <a:gd name="connsiteX6" fmla="*/ 618282 w 779882"/>
                      <a:gd name="connsiteY6" fmla="*/ 158635 h 15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82" h="158635">
                        <a:moveTo>
                          <a:pt x="618282" y="158635"/>
                        </a:moveTo>
                        <a:cubicBezTo>
                          <a:pt x="453551" y="158635"/>
                          <a:pt x="172793" y="157952"/>
                          <a:pt x="22388" y="157952"/>
                        </a:cubicBezTo>
                        <a:cubicBezTo>
                          <a:pt x="1242" y="157952"/>
                          <a:pt x="-8085" y="134770"/>
                          <a:pt x="8488" y="123362"/>
                        </a:cubicBezTo>
                        <a:cubicBezTo>
                          <a:pt x="92919" y="65302"/>
                          <a:pt x="209403" y="38703"/>
                          <a:pt x="316727" y="17086"/>
                        </a:cubicBezTo>
                        <a:cubicBezTo>
                          <a:pt x="426162" y="-4956"/>
                          <a:pt x="554571" y="-5958"/>
                          <a:pt x="664052" y="15749"/>
                        </a:cubicBezTo>
                        <a:cubicBezTo>
                          <a:pt x="723889" y="27614"/>
                          <a:pt x="751597" y="35407"/>
                          <a:pt x="777832" y="81268"/>
                        </a:cubicBezTo>
                        <a:cubicBezTo>
                          <a:pt x="798021" y="116541"/>
                          <a:pt x="663627" y="158635"/>
                          <a:pt x="618282" y="158635"/>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15" name="Graphic 3200">
                  <a:extLst>
                    <a:ext uri="{FF2B5EF4-FFF2-40B4-BE49-F238E27FC236}">
                      <a16:creationId xmlns:a16="http://schemas.microsoft.com/office/drawing/2014/main" id="{297AE5FC-D549-056F-2EB1-0210EA4C674C}"/>
                    </a:ext>
                  </a:extLst>
                </p:cNvPr>
                <p:cNvGrpSpPr/>
                <p:nvPr/>
              </p:nvGrpSpPr>
              <p:grpSpPr>
                <a:xfrm>
                  <a:off x="5545619" y="3629579"/>
                  <a:ext cx="582951" cy="317231"/>
                  <a:chOff x="5545619" y="3629579"/>
                  <a:chExt cx="582951" cy="317231"/>
                </a:xfrm>
              </p:grpSpPr>
              <p:sp>
                <p:nvSpPr>
                  <p:cNvPr id="2416" name="Freeform: Shape 2415">
                    <a:extLst>
                      <a:ext uri="{FF2B5EF4-FFF2-40B4-BE49-F238E27FC236}">
                        <a16:creationId xmlns:a16="http://schemas.microsoft.com/office/drawing/2014/main" id="{DE4C766D-14C3-1871-7B78-1F21B65684EF}"/>
                      </a:ext>
                    </a:extLst>
                  </p:cNvPr>
                  <p:cNvSpPr/>
                  <p:nvPr/>
                </p:nvSpPr>
                <p:spPr>
                  <a:xfrm>
                    <a:off x="5564608" y="3629579"/>
                    <a:ext cx="563962" cy="317231"/>
                  </a:xfrm>
                  <a:custGeom>
                    <a:avLst/>
                    <a:gdLst>
                      <a:gd name="connsiteX0" fmla="*/ 501589 w 563962"/>
                      <a:gd name="connsiteY0" fmla="*/ 0 h 317231"/>
                      <a:gd name="connsiteX1" fmla="*/ 563963 w 563962"/>
                      <a:gd name="connsiteY1" fmla="*/ 62374 h 317231"/>
                      <a:gd name="connsiteX2" fmla="*/ 563963 w 563962"/>
                      <a:gd name="connsiteY2" fmla="*/ 254858 h 317231"/>
                      <a:gd name="connsiteX3" fmla="*/ 501589 w 563962"/>
                      <a:gd name="connsiteY3" fmla="*/ 317232 h 317231"/>
                      <a:gd name="connsiteX4" fmla="*/ 62374 w 563962"/>
                      <a:gd name="connsiteY4" fmla="*/ 317232 h 317231"/>
                      <a:gd name="connsiteX5" fmla="*/ 0 w 563962"/>
                      <a:gd name="connsiteY5" fmla="*/ 254858 h 317231"/>
                      <a:gd name="connsiteX6" fmla="*/ 0 w 563962"/>
                      <a:gd name="connsiteY6" fmla="*/ 62374 h 317231"/>
                      <a:gd name="connsiteX7" fmla="*/ 62374 w 563962"/>
                      <a:gd name="connsiteY7" fmla="*/ 0 h 31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962" h="317231">
                        <a:moveTo>
                          <a:pt x="501589" y="0"/>
                        </a:moveTo>
                        <a:cubicBezTo>
                          <a:pt x="536037" y="0"/>
                          <a:pt x="563963" y="27926"/>
                          <a:pt x="563963" y="62374"/>
                        </a:cubicBezTo>
                        <a:lnTo>
                          <a:pt x="563963" y="254858"/>
                        </a:lnTo>
                        <a:cubicBezTo>
                          <a:pt x="563963" y="289306"/>
                          <a:pt x="536037" y="317232"/>
                          <a:pt x="501589" y="317232"/>
                        </a:cubicBezTo>
                        <a:lnTo>
                          <a:pt x="62374" y="317232"/>
                        </a:lnTo>
                        <a:cubicBezTo>
                          <a:pt x="27926" y="317232"/>
                          <a:pt x="0" y="289306"/>
                          <a:pt x="0" y="254858"/>
                        </a:cubicBezTo>
                        <a:lnTo>
                          <a:pt x="0" y="62374"/>
                        </a:lnTo>
                        <a:cubicBezTo>
                          <a:pt x="0" y="27926"/>
                          <a:pt x="27926" y="0"/>
                          <a:pt x="62374" y="0"/>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7" name="Freeform: Shape 2416">
                    <a:extLst>
                      <a:ext uri="{FF2B5EF4-FFF2-40B4-BE49-F238E27FC236}">
                        <a16:creationId xmlns:a16="http://schemas.microsoft.com/office/drawing/2014/main" id="{E238BA3B-8CB9-1849-DC89-AF52EF552303}"/>
                      </a:ext>
                    </a:extLst>
                  </p:cNvPr>
                  <p:cNvSpPr/>
                  <p:nvPr/>
                </p:nvSpPr>
                <p:spPr>
                  <a:xfrm>
                    <a:off x="5545619" y="3629579"/>
                    <a:ext cx="563962" cy="317231"/>
                  </a:xfrm>
                  <a:custGeom>
                    <a:avLst/>
                    <a:gdLst>
                      <a:gd name="connsiteX0" fmla="*/ 501589 w 563962"/>
                      <a:gd name="connsiteY0" fmla="*/ 0 h 317231"/>
                      <a:gd name="connsiteX1" fmla="*/ 563963 w 563962"/>
                      <a:gd name="connsiteY1" fmla="*/ 62374 h 317231"/>
                      <a:gd name="connsiteX2" fmla="*/ 563963 w 563962"/>
                      <a:gd name="connsiteY2" fmla="*/ 254858 h 317231"/>
                      <a:gd name="connsiteX3" fmla="*/ 501589 w 563962"/>
                      <a:gd name="connsiteY3" fmla="*/ 317232 h 317231"/>
                      <a:gd name="connsiteX4" fmla="*/ 62374 w 563962"/>
                      <a:gd name="connsiteY4" fmla="*/ 317232 h 317231"/>
                      <a:gd name="connsiteX5" fmla="*/ 0 w 563962"/>
                      <a:gd name="connsiteY5" fmla="*/ 254858 h 317231"/>
                      <a:gd name="connsiteX6" fmla="*/ 0 w 563962"/>
                      <a:gd name="connsiteY6" fmla="*/ 62374 h 317231"/>
                      <a:gd name="connsiteX7" fmla="*/ 62374 w 563962"/>
                      <a:gd name="connsiteY7" fmla="*/ 0 h 31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962" h="317231">
                        <a:moveTo>
                          <a:pt x="501589" y="0"/>
                        </a:moveTo>
                        <a:cubicBezTo>
                          <a:pt x="536037" y="0"/>
                          <a:pt x="563963" y="27926"/>
                          <a:pt x="563963" y="62374"/>
                        </a:cubicBezTo>
                        <a:lnTo>
                          <a:pt x="563963" y="254858"/>
                        </a:lnTo>
                        <a:cubicBezTo>
                          <a:pt x="563963" y="289306"/>
                          <a:pt x="536037" y="317232"/>
                          <a:pt x="501589" y="317232"/>
                        </a:cubicBezTo>
                        <a:lnTo>
                          <a:pt x="62374" y="317232"/>
                        </a:lnTo>
                        <a:cubicBezTo>
                          <a:pt x="27926" y="317232"/>
                          <a:pt x="0" y="289306"/>
                          <a:pt x="0" y="254858"/>
                        </a:cubicBezTo>
                        <a:lnTo>
                          <a:pt x="0" y="62374"/>
                        </a:lnTo>
                        <a:cubicBezTo>
                          <a:pt x="0" y="27926"/>
                          <a:pt x="27926" y="0"/>
                          <a:pt x="62374" y="0"/>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908" name="Graphic 3200">
              <a:extLst>
                <a:ext uri="{FF2B5EF4-FFF2-40B4-BE49-F238E27FC236}">
                  <a16:creationId xmlns:a16="http://schemas.microsoft.com/office/drawing/2014/main" id="{E1E32A9F-6EE8-71D7-9363-7766FB0DA9DF}"/>
                </a:ext>
              </a:extLst>
            </p:cNvPr>
            <p:cNvGrpSpPr/>
            <p:nvPr/>
          </p:nvGrpSpPr>
          <p:grpSpPr>
            <a:xfrm>
              <a:off x="4782483" y="2819207"/>
              <a:ext cx="1148296" cy="2088074"/>
              <a:chOff x="4920713" y="3118024"/>
              <a:chExt cx="1071046" cy="1947602"/>
            </a:xfrm>
          </p:grpSpPr>
          <p:grpSp>
            <p:nvGrpSpPr>
              <p:cNvPr id="1067" name="Graphic 3200">
                <a:extLst>
                  <a:ext uri="{FF2B5EF4-FFF2-40B4-BE49-F238E27FC236}">
                    <a16:creationId xmlns:a16="http://schemas.microsoft.com/office/drawing/2014/main" id="{C63EBE04-F32B-6A7A-CAE7-A92EE5E92C6B}"/>
                  </a:ext>
                </a:extLst>
              </p:cNvPr>
              <p:cNvGrpSpPr/>
              <p:nvPr/>
            </p:nvGrpSpPr>
            <p:grpSpPr>
              <a:xfrm>
                <a:off x="4920713" y="3643148"/>
                <a:ext cx="1028344" cy="1422478"/>
                <a:chOff x="4920713" y="3643148"/>
                <a:chExt cx="1028344" cy="1422478"/>
              </a:xfrm>
            </p:grpSpPr>
            <p:grpSp>
              <p:nvGrpSpPr>
                <p:cNvPr id="2375" name="Graphic 3200">
                  <a:extLst>
                    <a:ext uri="{FF2B5EF4-FFF2-40B4-BE49-F238E27FC236}">
                      <a16:creationId xmlns:a16="http://schemas.microsoft.com/office/drawing/2014/main" id="{E72A88E4-BBEC-D9FE-F393-94538C54E522}"/>
                    </a:ext>
                  </a:extLst>
                </p:cNvPr>
                <p:cNvGrpSpPr/>
                <p:nvPr/>
              </p:nvGrpSpPr>
              <p:grpSpPr>
                <a:xfrm>
                  <a:off x="4920713" y="4037571"/>
                  <a:ext cx="1018600" cy="1028055"/>
                  <a:chOff x="4920713" y="4037571"/>
                  <a:chExt cx="1018600" cy="1028055"/>
                </a:xfrm>
              </p:grpSpPr>
              <p:grpSp>
                <p:nvGrpSpPr>
                  <p:cNvPr id="2379" name="Graphic 3200">
                    <a:extLst>
                      <a:ext uri="{FF2B5EF4-FFF2-40B4-BE49-F238E27FC236}">
                        <a16:creationId xmlns:a16="http://schemas.microsoft.com/office/drawing/2014/main" id="{8FDE0E76-696C-EE54-BB78-0C495E6B3716}"/>
                      </a:ext>
                    </a:extLst>
                  </p:cNvPr>
                  <p:cNvGrpSpPr/>
                  <p:nvPr/>
                </p:nvGrpSpPr>
                <p:grpSpPr>
                  <a:xfrm>
                    <a:off x="4920713" y="4037571"/>
                    <a:ext cx="897906" cy="933387"/>
                    <a:chOff x="4920713" y="4037571"/>
                    <a:chExt cx="897906" cy="933387"/>
                  </a:xfrm>
                </p:grpSpPr>
                <p:sp>
                  <p:nvSpPr>
                    <p:cNvPr id="2396" name="Freeform: Shape 2395">
                      <a:extLst>
                        <a:ext uri="{FF2B5EF4-FFF2-40B4-BE49-F238E27FC236}">
                          <a16:creationId xmlns:a16="http://schemas.microsoft.com/office/drawing/2014/main" id="{A6890726-147B-EFE7-01C1-1753E24DC489}"/>
                        </a:ext>
                      </a:extLst>
                    </p:cNvPr>
                    <p:cNvSpPr/>
                    <p:nvPr/>
                  </p:nvSpPr>
                  <p:spPr>
                    <a:xfrm>
                      <a:off x="5082906" y="4037571"/>
                      <a:ext cx="735713" cy="305216"/>
                    </a:xfrm>
                    <a:custGeom>
                      <a:avLst/>
                      <a:gdLst>
                        <a:gd name="connsiteX0" fmla="*/ 735436 w 735713"/>
                        <a:gd name="connsiteY0" fmla="*/ 140536 h 305216"/>
                        <a:gd name="connsiteX1" fmla="*/ 535402 w 735713"/>
                        <a:gd name="connsiteY1" fmla="*/ 5 h 305216"/>
                        <a:gd name="connsiteX2" fmla="*/ 28740 w 735713"/>
                        <a:gd name="connsiteY2" fmla="*/ 61437 h 305216"/>
                        <a:gd name="connsiteX3" fmla="*/ 59213 w 735713"/>
                        <a:gd name="connsiteY3" fmla="*/ 211158 h 305216"/>
                        <a:gd name="connsiteX4" fmla="*/ 395767 w 735713"/>
                        <a:gd name="connsiteY4" fmla="*/ 295240 h 305216"/>
                        <a:gd name="connsiteX5" fmla="*/ 735436 w 735713"/>
                        <a:gd name="connsiteY5" fmla="*/ 140551 h 30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713" h="305216">
                          <a:moveTo>
                            <a:pt x="735436" y="140536"/>
                          </a:moveTo>
                          <a:cubicBezTo>
                            <a:pt x="735436" y="140536"/>
                            <a:pt x="725987" y="-937"/>
                            <a:pt x="535402" y="5"/>
                          </a:cubicBezTo>
                          <a:cubicBezTo>
                            <a:pt x="356970" y="886"/>
                            <a:pt x="101671" y="2694"/>
                            <a:pt x="28740" y="61437"/>
                          </a:cubicBezTo>
                          <a:cubicBezTo>
                            <a:pt x="6713" y="77250"/>
                            <a:pt x="-35731" y="175186"/>
                            <a:pt x="59213" y="211158"/>
                          </a:cubicBezTo>
                          <a:cubicBezTo>
                            <a:pt x="154156" y="247115"/>
                            <a:pt x="306870" y="281355"/>
                            <a:pt x="395767" y="295240"/>
                          </a:cubicBezTo>
                          <a:cubicBezTo>
                            <a:pt x="484664" y="309124"/>
                            <a:pt x="745386" y="337653"/>
                            <a:pt x="735436" y="140551"/>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97" name="Graphic 3200">
                      <a:extLst>
                        <a:ext uri="{FF2B5EF4-FFF2-40B4-BE49-F238E27FC236}">
                          <a16:creationId xmlns:a16="http://schemas.microsoft.com/office/drawing/2014/main" id="{DD7A6451-6590-9FC6-192C-4A95CE26A5FC}"/>
                        </a:ext>
                      </a:extLst>
                    </p:cNvPr>
                    <p:cNvGrpSpPr/>
                    <p:nvPr/>
                  </p:nvGrpSpPr>
                  <p:grpSpPr>
                    <a:xfrm>
                      <a:off x="4920713" y="4666931"/>
                      <a:ext cx="342244" cy="304027"/>
                      <a:chOff x="4920713" y="4666931"/>
                      <a:chExt cx="342244" cy="304027"/>
                    </a:xfrm>
                  </p:grpSpPr>
                  <p:grpSp>
                    <p:nvGrpSpPr>
                      <p:cNvPr id="2401" name="Graphic 3200">
                        <a:extLst>
                          <a:ext uri="{FF2B5EF4-FFF2-40B4-BE49-F238E27FC236}">
                            <a16:creationId xmlns:a16="http://schemas.microsoft.com/office/drawing/2014/main" id="{4FB54D89-9B33-F308-D4A8-715C3D2F610C}"/>
                          </a:ext>
                        </a:extLst>
                      </p:cNvPr>
                      <p:cNvGrpSpPr/>
                      <p:nvPr/>
                    </p:nvGrpSpPr>
                    <p:grpSpPr>
                      <a:xfrm>
                        <a:off x="4920713" y="4869548"/>
                        <a:ext cx="342244" cy="101411"/>
                        <a:chOff x="4920713" y="4869548"/>
                        <a:chExt cx="342244" cy="101411"/>
                      </a:xfrm>
                    </p:grpSpPr>
                    <p:grpSp>
                      <p:nvGrpSpPr>
                        <p:cNvPr id="2406" name="Graphic 3200">
                          <a:extLst>
                            <a:ext uri="{FF2B5EF4-FFF2-40B4-BE49-F238E27FC236}">
                              <a16:creationId xmlns:a16="http://schemas.microsoft.com/office/drawing/2014/main" id="{A11A462E-C3B1-20C1-2FEE-B193B7266443}"/>
                            </a:ext>
                          </a:extLst>
                        </p:cNvPr>
                        <p:cNvGrpSpPr/>
                        <p:nvPr/>
                      </p:nvGrpSpPr>
                      <p:grpSpPr>
                        <a:xfrm>
                          <a:off x="5170935" y="4905752"/>
                          <a:ext cx="88228" cy="65207"/>
                          <a:chOff x="5170935" y="4905752"/>
                          <a:chExt cx="88228" cy="65207"/>
                        </a:xfrm>
                      </p:grpSpPr>
                      <p:sp>
                        <p:nvSpPr>
                          <p:cNvPr id="2410" name="Freeform: Shape 2409">
                            <a:extLst>
                              <a:ext uri="{FF2B5EF4-FFF2-40B4-BE49-F238E27FC236}">
                                <a16:creationId xmlns:a16="http://schemas.microsoft.com/office/drawing/2014/main" id="{1C1EC33D-858F-620F-A7E0-134685B66F21}"/>
                              </a:ext>
                            </a:extLst>
                          </p:cNvPr>
                          <p:cNvSpPr/>
                          <p:nvPr/>
                        </p:nvSpPr>
                        <p:spPr>
                          <a:xfrm>
                            <a:off x="5196304" y="4905752"/>
                            <a:ext cx="62859" cy="65207"/>
                          </a:xfrm>
                          <a:custGeom>
                            <a:avLst/>
                            <a:gdLst>
                              <a:gd name="connsiteX0" fmla="*/ 62860 w 62859"/>
                              <a:gd name="connsiteY0" fmla="*/ 0 h 65207"/>
                              <a:gd name="connsiteX1" fmla="*/ 62860 w 62859"/>
                              <a:gd name="connsiteY1" fmla="*/ 57148 h 65207"/>
                              <a:gd name="connsiteX2" fmla="*/ 61963 w 62859"/>
                              <a:gd name="connsiteY2" fmla="*/ 58561 h 65207"/>
                              <a:gd name="connsiteX3" fmla="*/ 0 w 62859"/>
                              <a:gd name="connsiteY3" fmla="*/ 64516 h 65207"/>
                              <a:gd name="connsiteX4" fmla="*/ 0 w 62859"/>
                              <a:gd name="connsiteY4" fmla="*/ 14948 h 65207"/>
                              <a:gd name="connsiteX5" fmla="*/ 62860 w 62859"/>
                              <a:gd name="connsiteY5" fmla="*/ 0 h 6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59" h="65207">
                                <a:moveTo>
                                  <a:pt x="62860" y="0"/>
                                </a:moveTo>
                                <a:lnTo>
                                  <a:pt x="62860" y="57148"/>
                                </a:lnTo>
                                <a:cubicBezTo>
                                  <a:pt x="62860" y="57756"/>
                                  <a:pt x="62510" y="58303"/>
                                  <a:pt x="61963" y="58561"/>
                                </a:cubicBezTo>
                                <a:cubicBezTo>
                                  <a:pt x="57923" y="60445"/>
                                  <a:pt x="39967" y="67402"/>
                                  <a:pt x="0" y="64516"/>
                                </a:cubicBezTo>
                                <a:lnTo>
                                  <a:pt x="0" y="14948"/>
                                </a:lnTo>
                                <a:lnTo>
                                  <a:pt x="62860" y="0"/>
                                </a:lnTo>
                                <a:close/>
                              </a:path>
                            </a:pathLst>
                          </a:custGeom>
                          <a:solidFill>
                            <a:srgbClr val="336D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1" name="Freeform: Shape 2410">
                            <a:extLst>
                              <a:ext uri="{FF2B5EF4-FFF2-40B4-BE49-F238E27FC236}">
                                <a16:creationId xmlns:a16="http://schemas.microsoft.com/office/drawing/2014/main" id="{B56F8F7E-D0E2-0CF8-9F0C-58371F47075A}"/>
                              </a:ext>
                            </a:extLst>
                          </p:cNvPr>
                          <p:cNvSpPr/>
                          <p:nvPr/>
                        </p:nvSpPr>
                        <p:spPr>
                          <a:xfrm>
                            <a:off x="5170935" y="4920699"/>
                            <a:ext cx="25383" cy="49583"/>
                          </a:xfrm>
                          <a:custGeom>
                            <a:avLst/>
                            <a:gdLst>
                              <a:gd name="connsiteX0" fmla="*/ 25369 w 25383"/>
                              <a:gd name="connsiteY0" fmla="*/ 49583 h 49583"/>
                              <a:gd name="connsiteX1" fmla="*/ 1231 w 25383"/>
                              <a:gd name="connsiteY1" fmla="*/ 38980 h 49583"/>
                              <a:gd name="connsiteX2" fmla="*/ 0 w 25383"/>
                              <a:gd name="connsiteY2" fmla="*/ 37081 h 49583"/>
                              <a:gd name="connsiteX3" fmla="*/ 0 w 25383"/>
                              <a:gd name="connsiteY3" fmla="*/ 0 h 49583"/>
                              <a:gd name="connsiteX4" fmla="*/ 25384 w 25383"/>
                              <a:gd name="connsiteY4" fmla="*/ 0 h 49583"/>
                              <a:gd name="connsiteX5" fmla="*/ 25384 w 25383"/>
                              <a:gd name="connsiteY5" fmla="*/ 49568 h 4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83" h="49583">
                                <a:moveTo>
                                  <a:pt x="25369" y="49583"/>
                                </a:moveTo>
                                <a:lnTo>
                                  <a:pt x="1231" y="38980"/>
                                </a:lnTo>
                                <a:cubicBezTo>
                                  <a:pt x="486" y="38646"/>
                                  <a:pt x="0" y="37902"/>
                                  <a:pt x="0" y="37081"/>
                                </a:cubicBezTo>
                                <a:lnTo>
                                  <a:pt x="0" y="0"/>
                                </a:lnTo>
                                <a:lnTo>
                                  <a:pt x="25384" y="0"/>
                                </a:lnTo>
                                <a:lnTo>
                                  <a:pt x="25384" y="49568"/>
                                </a:lnTo>
                                <a:close/>
                              </a:path>
                            </a:pathLst>
                          </a:custGeom>
                          <a:solidFill>
                            <a:srgbClr val="35648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07" name="Graphic 3200">
                          <a:extLst>
                            <a:ext uri="{FF2B5EF4-FFF2-40B4-BE49-F238E27FC236}">
                              <a16:creationId xmlns:a16="http://schemas.microsoft.com/office/drawing/2014/main" id="{B15B7318-7C76-2D08-E989-58A10405A22B}"/>
                            </a:ext>
                          </a:extLst>
                        </p:cNvPr>
                        <p:cNvGrpSpPr/>
                        <p:nvPr/>
                      </p:nvGrpSpPr>
                      <p:grpSpPr>
                        <a:xfrm>
                          <a:off x="4920713" y="4869548"/>
                          <a:ext cx="342244" cy="98871"/>
                          <a:chOff x="4920713" y="4869548"/>
                          <a:chExt cx="342244" cy="98871"/>
                        </a:xfrm>
                      </p:grpSpPr>
                      <p:sp>
                        <p:nvSpPr>
                          <p:cNvPr id="2408" name="Freeform: Shape 2407">
                            <a:extLst>
                              <a:ext uri="{FF2B5EF4-FFF2-40B4-BE49-F238E27FC236}">
                                <a16:creationId xmlns:a16="http://schemas.microsoft.com/office/drawing/2014/main" id="{5B05FE37-BF06-30A7-25F1-2BF28CF8355E}"/>
                              </a:ext>
                            </a:extLst>
                          </p:cNvPr>
                          <p:cNvSpPr/>
                          <p:nvPr/>
                        </p:nvSpPr>
                        <p:spPr>
                          <a:xfrm>
                            <a:off x="4920879" y="4869548"/>
                            <a:ext cx="337622" cy="85052"/>
                          </a:xfrm>
                          <a:custGeom>
                            <a:avLst/>
                            <a:gdLst>
                              <a:gd name="connsiteX0" fmla="*/ 337571 w 337622"/>
                              <a:gd name="connsiteY0" fmla="*/ 2996 h 85052"/>
                              <a:gd name="connsiteX1" fmla="*/ 306491 w 337622"/>
                              <a:gd name="connsiteY1" fmla="*/ 5958 h 85052"/>
                              <a:gd name="connsiteX2" fmla="*/ 144950 w 337622"/>
                              <a:gd name="connsiteY2" fmla="*/ 61345 h 85052"/>
                              <a:gd name="connsiteX3" fmla="*/ 44144 w 337622"/>
                              <a:gd name="connsiteY3" fmla="*/ 60874 h 85052"/>
                              <a:gd name="connsiteX4" fmla="*/ 29 w 337622"/>
                              <a:gd name="connsiteY4" fmla="*/ 61345 h 85052"/>
                              <a:gd name="connsiteX5" fmla="*/ 46042 w 337622"/>
                              <a:gd name="connsiteY5" fmla="*/ 80318 h 85052"/>
                              <a:gd name="connsiteX6" fmla="*/ 192391 w 337622"/>
                              <a:gd name="connsiteY6" fmla="*/ 65142 h 85052"/>
                              <a:gd name="connsiteX7" fmla="*/ 337556 w 337622"/>
                              <a:gd name="connsiteY7" fmla="*/ 2996 h 8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622" h="85052">
                                <a:moveTo>
                                  <a:pt x="337571" y="2996"/>
                                </a:moveTo>
                                <a:cubicBezTo>
                                  <a:pt x="337571" y="2996"/>
                                  <a:pt x="334016" y="-5420"/>
                                  <a:pt x="306491" y="5958"/>
                                </a:cubicBezTo>
                                <a:cubicBezTo>
                                  <a:pt x="278980" y="17351"/>
                                  <a:pt x="175317" y="51379"/>
                                  <a:pt x="144950" y="61345"/>
                                </a:cubicBezTo>
                                <a:cubicBezTo>
                                  <a:pt x="114584" y="71310"/>
                                  <a:pt x="66444" y="64185"/>
                                  <a:pt x="44144" y="60874"/>
                                </a:cubicBezTo>
                                <a:cubicBezTo>
                                  <a:pt x="21843" y="57547"/>
                                  <a:pt x="-928" y="55177"/>
                                  <a:pt x="29" y="61345"/>
                                </a:cubicBezTo>
                                <a:cubicBezTo>
                                  <a:pt x="29" y="61345"/>
                                  <a:pt x="8095" y="75107"/>
                                  <a:pt x="46042" y="80318"/>
                                </a:cubicBezTo>
                                <a:cubicBezTo>
                                  <a:pt x="83989" y="85544"/>
                                  <a:pt x="133572" y="92182"/>
                                  <a:pt x="192391" y="65142"/>
                                </a:cubicBezTo>
                                <a:cubicBezTo>
                                  <a:pt x="251211" y="38102"/>
                                  <a:pt x="340412" y="35733"/>
                                  <a:pt x="337556" y="2996"/>
                                </a:cubicBezTo>
                                <a:close/>
                              </a:path>
                            </a:pathLst>
                          </a:custGeom>
                          <a:solidFill>
                            <a:srgbClr val="336D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9" name="Freeform: Shape 2408">
                            <a:extLst>
                              <a:ext uri="{FF2B5EF4-FFF2-40B4-BE49-F238E27FC236}">
                                <a16:creationId xmlns:a16="http://schemas.microsoft.com/office/drawing/2014/main" id="{B8AEB8E3-687D-D134-B39A-6AB9763C79ED}"/>
                              </a:ext>
                            </a:extLst>
                          </p:cNvPr>
                          <p:cNvSpPr/>
                          <p:nvPr/>
                        </p:nvSpPr>
                        <p:spPr>
                          <a:xfrm>
                            <a:off x="4920713" y="4872529"/>
                            <a:ext cx="342244" cy="95890"/>
                          </a:xfrm>
                          <a:custGeom>
                            <a:avLst/>
                            <a:gdLst>
                              <a:gd name="connsiteX0" fmla="*/ 337737 w 342244"/>
                              <a:gd name="connsiteY0" fmla="*/ 15 h 95890"/>
                              <a:gd name="connsiteX1" fmla="*/ 342052 w 342244"/>
                              <a:gd name="connsiteY1" fmla="*/ 27435 h 95890"/>
                              <a:gd name="connsiteX2" fmla="*/ 336613 w 342244"/>
                              <a:gd name="connsiteY2" fmla="*/ 34332 h 95890"/>
                              <a:gd name="connsiteX3" fmla="*/ 249980 w 342244"/>
                              <a:gd name="connsiteY3" fmla="*/ 59305 h 95890"/>
                              <a:gd name="connsiteX4" fmla="*/ 167827 w 342244"/>
                              <a:gd name="connsiteY4" fmla="*/ 88882 h 95890"/>
                              <a:gd name="connsiteX5" fmla="*/ 150965 w 342244"/>
                              <a:gd name="connsiteY5" fmla="*/ 93546 h 95890"/>
                              <a:gd name="connsiteX6" fmla="*/ 8171 w 342244"/>
                              <a:gd name="connsiteY6" fmla="*/ 83793 h 95890"/>
                              <a:gd name="connsiteX7" fmla="*/ 484 w 342244"/>
                              <a:gd name="connsiteY7" fmla="*/ 74815 h 95890"/>
                              <a:gd name="connsiteX8" fmla="*/ 196 w 342244"/>
                              <a:gd name="connsiteY8" fmla="*/ 58364 h 95890"/>
                              <a:gd name="connsiteX9" fmla="*/ 112866 w 342244"/>
                              <a:gd name="connsiteY9" fmla="*/ 75438 h 95890"/>
                              <a:gd name="connsiteX10" fmla="*/ 261115 w 342244"/>
                              <a:gd name="connsiteY10" fmla="*/ 35349 h 95890"/>
                              <a:gd name="connsiteX11" fmla="*/ 337737 w 342244"/>
                              <a:gd name="connsiteY11" fmla="*/ 0 h 9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2244" h="95890">
                                <a:moveTo>
                                  <a:pt x="337737" y="15"/>
                                </a:moveTo>
                                <a:cubicBezTo>
                                  <a:pt x="337737" y="15"/>
                                  <a:pt x="343343" y="8416"/>
                                  <a:pt x="342052" y="27435"/>
                                </a:cubicBezTo>
                                <a:cubicBezTo>
                                  <a:pt x="341839" y="30625"/>
                                  <a:pt x="339667" y="33359"/>
                                  <a:pt x="336613" y="34332"/>
                                </a:cubicBezTo>
                                <a:cubicBezTo>
                                  <a:pt x="323974" y="38387"/>
                                  <a:pt x="289111" y="51528"/>
                                  <a:pt x="249980" y="59305"/>
                                </a:cubicBezTo>
                                <a:cubicBezTo>
                                  <a:pt x="209420" y="67372"/>
                                  <a:pt x="181773" y="81894"/>
                                  <a:pt x="167827" y="88882"/>
                                </a:cubicBezTo>
                                <a:cubicBezTo>
                                  <a:pt x="162556" y="91525"/>
                                  <a:pt x="156844" y="93090"/>
                                  <a:pt x="150965" y="93546"/>
                                </a:cubicBezTo>
                                <a:cubicBezTo>
                                  <a:pt x="124168" y="95581"/>
                                  <a:pt x="71000" y="100716"/>
                                  <a:pt x="8171" y="83793"/>
                                </a:cubicBezTo>
                                <a:cubicBezTo>
                                  <a:pt x="4008" y="82669"/>
                                  <a:pt x="986" y="79099"/>
                                  <a:pt x="484" y="74815"/>
                                </a:cubicBezTo>
                                <a:cubicBezTo>
                                  <a:pt x="59" y="71109"/>
                                  <a:pt x="-199" y="65777"/>
                                  <a:pt x="196" y="58364"/>
                                </a:cubicBezTo>
                                <a:cubicBezTo>
                                  <a:pt x="196" y="58364"/>
                                  <a:pt x="49292" y="81606"/>
                                  <a:pt x="112866" y="75438"/>
                                </a:cubicBezTo>
                                <a:cubicBezTo>
                                  <a:pt x="176441" y="69271"/>
                                  <a:pt x="186163" y="52910"/>
                                  <a:pt x="261115" y="35349"/>
                                </a:cubicBezTo>
                                <a:cubicBezTo>
                                  <a:pt x="336006" y="20234"/>
                                  <a:pt x="337084" y="7778"/>
                                  <a:pt x="337737" y="0"/>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402" name="Freeform: Shape 2401">
                        <a:extLst>
                          <a:ext uri="{FF2B5EF4-FFF2-40B4-BE49-F238E27FC236}">
                            <a16:creationId xmlns:a16="http://schemas.microsoft.com/office/drawing/2014/main" id="{4BD93DEF-B168-051D-DFAD-1CD7A5A20F90}"/>
                          </a:ext>
                        </a:extLst>
                      </p:cNvPr>
                      <p:cNvSpPr/>
                      <p:nvPr/>
                    </p:nvSpPr>
                    <p:spPr>
                      <a:xfrm>
                        <a:off x="4932494" y="4666931"/>
                        <a:ext cx="321486" cy="282381"/>
                      </a:xfrm>
                      <a:custGeom>
                        <a:avLst/>
                        <a:gdLst>
                          <a:gd name="connsiteX0" fmla="*/ 308168 w 321486"/>
                          <a:gd name="connsiteY0" fmla="*/ 57365 h 282381"/>
                          <a:gd name="connsiteX1" fmla="*/ 306512 w 321486"/>
                          <a:gd name="connsiteY1" fmla="*/ 114999 h 282381"/>
                          <a:gd name="connsiteX2" fmla="*/ 311252 w 321486"/>
                          <a:gd name="connsiteY2" fmla="*/ 214271 h 282381"/>
                          <a:gd name="connsiteX3" fmla="*/ 199051 w 321486"/>
                          <a:gd name="connsiteY3" fmla="*/ 249499 h 282381"/>
                          <a:gd name="connsiteX4" fmla="*/ 55786 w 321486"/>
                          <a:gd name="connsiteY4" fmla="*/ 281993 h 282381"/>
                          <a:gd name="connsiteX5" fmla="*/ 50 w 321486"/>
                          <a:gd name="connsiteY5" fmla="*/ 251155 h 282381"/>
                          <a:gd name="connsiteX6" fmla="*/ 48205 w 321486"/>
                          <a:gd name="connsiteY6" fmla="*/ 216520 h 282381"/>
                          <a:gd name="connsiteX7" fmla="*/ 142617 w 321486"/>
                          <a:gd name="connsiteY7" fmla="*/ 166466 h 282381"/>
                          <a:gd name="connsiteX8" fmla="*/ 210931 w 321486"/>
                          <a:gd name="connsiteY8" fmla="*/ 92927 h 282381"/>
                          <a:gd name="connsiteX9" fmla="*/ 208318 w 321486"/>
                          <a:gd name="connsiteY9" fmla="*/ 41931 h 282381"/>
                          <a:gd name="connsiteX10" fmla="*/ 260027 w 321486"/>
                          <a:gd name="connsiteY10" fmla="*/ 65 h 282381"/>
                          <a:gd name="connsiteX11" fmla="*/ 308183 w 321486"/>
                          <a:gd name="connsiteY11" fmla="*/ 57350 h 2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1486" h="282381">
                            <a:moveTo>
                              <a:pt x="308168" y="57365"/>
                            </a:moveTo>
                            <a:cubicBezTo>
                              <a:pt x="308168" y="57365"/>
                              <a:pt x="302243" y="85833"/>
                              <a:pt x="306512" y="114999"/>
                            </a:cubicBezTo>
                            <a:cubicBezTo>
                              <a:pt x="311813" y="151214"/>
                              <a:pt x="334387" y="190786"/>
                              <a:pt x="311252" y="214271"/>
                            </a:cubicBezTo>
                            <a:cubicBezTo>
                              <a:pt x="289680" y="236162"/>
                              <a:pt x="250290" y="229569"/>
                              <a:pt x="199051" y="249499"/>
                            </a:cubicBezTo>
                            <a:cubicBezTo>
                              <a:pt x="147812" y="269430"/>
                              <a:pt x="139275" y="285076"/>
                              <a:pt x="55786" y="281993"/>
                            </a:cubicBezTo>
                            <a:cubicBezTo>
                              <a:pt x="20209" y="277724"/>
                              <a:pt x="-1180" y="277451"/>
                              <a:pt x="50" y="251155"/>
                            </a:cubicBezTo>
                            <a:cubicBezTo>
                              <a:pt x="992" y="230754"/>
                              <a:pt x="24963" y="219847"/>
                              <a:pt x="48205" y="216520"/>
                            </a:cubicBezTo>
                            <a:cubicBezTo>
                              <a:pt x="69063" y="213542"/>
                              <a:pt x="96118" y="200630"/>
                              <a:pt x="142617" y="166466"/>
                            </a:cubicBezTo>
                            <a:cubicBezTo>
                              <a:pt x="194631" y="128261"/>
                              <a:pt x="211888" y="116184"/>
                              <a:pt x="210931" y="92927"/>
                            </a:cubicBezTo>
                            <a:cubicBezTo>
                              <a:pt x="210232" y="75730"/>
                              <a:pt x="209032" y="58064"/>
                              <a:pt x="208318" y="41931"/>
                            </a:cubicBezTo>
                            <a:cubicBezTo>
                              <a:pt x="207391" y="20937"/>
                              <a:pt x="225164" y="1493"/>
                              <a:pt x="260027" y="65"/>
                            </a:cubicBezTo>
                            <a:cubicBezTo>
                              <a:pt x="292962" y="-1287"/>
                              <a:pt x="313166" y="18567"/>
                              <a:pt x="308183" y="57350"/>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403" name="Graphic 3200">
                        <a:extLst>
                          <a:ext uri="{FF2B5EF4-FFF2-40B4-BE49-F238E27FC236}">
                            <a16:creationId xmlns:a16="http://schemas.microsoft.com/office/drawing/2014/main" id="{0355D802-9376-76BB-2CF2-332929585F8E}"/>
                          </a:ext>
                        </a:extLst>
                      </p:cNvPr>
                      <p:cNvGrpSpPr/>
                      <p:nvPr/>
                    </p:nvGrpSpPr>
                    <p:grpSpPr>
                      <a:xfrm>
                        <a:off x="4920908" y="4791332"/>
                        <a:ext cx="325042" cy="164232"/>
                        <a:chOff x="4920908" y="4791332"/>
                        <a:chExt cx="325042" cy="164232"/>
                      </a:xfrm>
                      <a:solidFill>
                        <a:srgbClr val="4B79BA"/>
                      </a:solidFill>
                    </p:grpSpPr>
                    <p:sp>
                      <p:nvSpPr>
                        <p:cNvPr id="2404" name="Freeform: Shape 2403">
                          <a:extLst>
                            <a:ext uri="{FF2B5EF4-FFF2-40B4-BE49-F238E27FC236}">
                              <a16:creationId xmlns:a16="http://schemas.microsoft.com/office/drawing/2014/main" id="{0B5A793F-017E-EE9E-2C2A-337414246841}"/>
                            </a:ext>
                          </a:extLst>
                        </p:cNvPr>
                        <p:cNvSpPr/>
                        <p:nvPr/>
                      </p:nvSpPr>
                      <p:spPr>
                        <a:xfrm>
                          <a:off x="4920908" y="4862701"/>
                          <a:ext cx="169834" cy="92863"/>
                        </a:xfrm>
                        <a:custGeom>
                          <a:avLst/>
                          <a:gdLst>
                            <a:gd name="connsiteX0" fmla="*/ 169834 w 169834"/>
                            <a:gd name="connsiteY0" fmla="*/ 77215 h 92863"/>
                            <a:gd name="connsiteX1" fmla="*/ 139589 w 169834"/>
                            <a:gd name="connsiteY1" fmla="*/ 49112 h 92863"/>
                            <a:gd name="connsiteX2" fmla="*/ 108706 w 169834"/>
                            <a:gd name="connsiteY2" fmla="*/ 926 h 92863"/>
                            <a:gd name="connsiteX3" fmla="*/ 105182 w 169834"/>
                            <a:gd name="connsiteY3" fmla="*/ 197 h 92863"/>
                            <a:gd name="connsiteX4" fmla="*/ 52059 w 169834"/>
                            <a:gd name="connsiteY4" fmla="*/ 20644 h 92863"/>
                            <a:gd name="connsiteX5" fmla="*/ 0 w 169834"/>
                            <a:gd name="connsiteY5" fmla="*/ 68207 h 92863"/>
                            <a:gd name="connsiteX6" fmla="*/ 169834 w 169834"/>
                            <a:gd name="connsiteY6" fmla="*/ 77215 h 9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834" h="92863">
                              <a:moveTo>
                                <a:pt x="169834" y="77215"/>
                              </a:moveTo>
                              <a:cubicBezTo>
                                <a:pt x="169834" y="77215"/>
                                <a:pt x="147822" y="62981"/>
                                <a:pt x="139589" y="49112"/>
                              </a:cubicBezTo>
                              <a:cubicBezTo>
                                <a:pt x="126890" y="27723"/>
                                <a:pt x="116590" y="8324"/>
                                <a:pt x="108706" y="926"/>
                              </a:cubicBezTo>
                              <a:cubicBezTo>
                                <a:pt x="107764" y="45"/>
                                <a:pt x="106397" y="-229"/>
                                <a:pt x="105182" y="197"/>
                              </a:cubicBezTo>
                              <a:cubicBezTo>
                                <a:pt x="97404" y="2946"/>
                                <a:pt x="86619" y="13261"/>
                                <a:pt x="52059" y="20644"/>
                              </a:cubicBezTo>
                              <a:cubicBezTo>
                                <a:pt x="15419" y="28467"/>
                                <a:pt x="471" y="38250"/>
                                <a:pt x="0" y="68207"/>
                              </a:cubicBezTo>
                              <a:cubicBezTo>
                                <a:pt x="0" y="68207"/>
                                <a:pt x="71640" y="117076"/>
                                <a:pt x="169834" y="77215"/>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5" name="Freeform: Shape 2404">
                          <a:extLst>
                            <a:ext uri="{FF2B5EF4-FFF2-40B4-BE49-F238E27FC236}">
                              <a16:creationId xmlns:a16="http://schemas.microsoft.com/office/drawing/2014/main" id="{A79D9C8E-8406-62FC-7F3D-FBE5ACF9D595}"/>
                            </a:ext>
                          </a:extLst>
                        </p:cNvPr>
                        <p:cNvSpPr/>
                        <p:nvPr/>
                      </p:nvSpPr>
                      <p:spPr>
                        <a:xfrm>
                          <a:off x="5068336" y="4791332"/>
                          <a:ext cx="177615" cy="155343"/>
                        </a:xfrm>
                        <a:custGeom>
                          <a:avLst/>
                          <a:gdLst>
                            <a:gd name="connsiteX0" fmla="*/ 172918 w 177615"/>
                            <a:gd name="connsiteY0" fmla="*/ 214 h 155343"/>
                            <a:gd name="connsiteX1" fmla="*/ 177172 w 177615"/>
                            <a:gd name="connsiteY1" fmla="*/ 17790 h 155343"/>
                            <a:gd name="connsiteX2" fmla="*/ 176762 w 177615"/>
                            <a:gd name="connsiteY2" fmla="*/ 18534 h 155343"/>
                            <a:gd name="connsiteX3" fmla="*/ 125826 w 177615"/>
                            <a:gd name="connsiteY3" fmla="*/ 71733 h 155343"/>
                            <a:gd name="connsiteX4" fmla="*/ 85981 w 177615"/>
                            <a:gd name="connsiteY4" fmla="*/ 130082 h 155343"/>
                            <a:gd name="connsiteX5" fmla="*/ 41866 w 177615"/>
                            <a:gd name="connsiteY5" fmla="*/ 145379 h 155343"/>
                            <a:gd name="connsiteX6" fmla="*/ 9130 w 177615"/>
                            <a:gd name="connsiteY6" fmla="*/ 155344 h 155343"/>
                            <a:gd name="connsiteX7" fmla="*/ 0 w 177615"/>
                            <a:gd name="connsiteY7" fmla="*/ 136841 h 155343"/>
                            <a:gd name="connsiteX8" fmla="*/ 89551 w 177615"/>
                            <a:gd name="connsiteY8" fmla="*/ 80984 h 155343"/>
                            <a:gd name="connsiteX9" fmla="*/ 172007 w 177615"/>
                            <a:gd name="connsiteY9" fmla="*/ 154 h 155343"/>
                            <a:gd name="connsiteX10" fmla="*/ 172918 w 177615"/>
                            <a:gd name="connsiteY10" fmla="*/ 214 h 15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615" h="155343">
                              <a:moveTo>
                                <a:pt x="172918" y="214"/>
                              </a:moveTo>
                              <a:cubicBezTo>
                                <a:pt x="174422" y="1824"/>
                                <a:pt x="179055" y="7749"/>
                                <a:pt x="177172" y="17790"/>
                              </a:cubicBezTo>
                              <a:cubicBezTo>
                                <a:pt x="177111" y="18079"/>
                                <a:pt x="176974" y="18337"/>
                                <a:pt x="176762" y="18534"/>
                              </a:cubicBezTo>
                              <a:cubicBezTo>
                                <a:pt x="173875" y="21314"/>
                                <a:pt x="151697" y="42870"/>
                                <a:pt x="125826" y="71733"/>
                              </a:cubicBezTo>
                              <a:cubicBezTo>
                                <a:pt x="107430" y="92256"/>
                                <a:pt x="84902" y="108024"/>
                                <a:pt x="85981" y="130082"/>
                              </a:cubicBezTo>
                              <a:cubicBezTo>
                                <a:pt x="85981" y="130082"/>
                                <a:pt x="51816" y="140760"/>
                                <a:pt x="41866" y="145379"/>
                              </a:cubicBezTo>
                              <a:cubicBezTo>
                                <a:pt x="41866" y="145379"/>
                                <a:pt x="14112" y="154630"/>
                                <a:pt x="9130" y="155344"/>
                              </a:cubicBezTo>
                              <a:lnTo>
                                <a:pt x="0" y="136841"/>
                              </a:lnTo>
                              <a:cubicBezTo>
                                <a:pt x="0" y="136841"/>
                                <a:pt x="43765" y="130795"/>
                                <a:pt x="89551" y="80984"/>
                              </a:cubicBezTo>
                              <a:cubicBezTo>
                                <a:pt x="135822" y="30626"/>
                                <a:pt x="167814" y="3648"/>
                                <a:pt x="172007" y="154"/>
                              </a:cubicBezTo>
                              <a:cubicBezTo>
                                <a:pt x="172280" y="-74"/>
                                <a:pt x="172675" y="-44"/>
                                <a:pt x="172918" y="214"/>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398" name="Graphic 3200">
                      <a:extLst>
                        <a:ext uri="{FF2B5EF4-FFF2-40B4-BE49-F238E27FC236}">
                          <a16:creationId xmlns:a16="http://schemas.microsoft.com/office/drawing/2014/main" id="{A3EB632D-DAB9-222C-EBB0-C7FC7661A4E2}"/>
                        </a:ext>
                      </a:extLst>
                    </p:cNvPr>
                    <p:cNvGrpSpPr/>
                    <p:nvPr/>
                  </p:nvGrpSpPr>
                  <p:grpSpPr>
                    <a:xfrm>
                      <a:off x="5080686" y="4084642"/>
                      <a:ext cx="201250" cy="725732"/>
                      <a:chOff x="5080686" y="4084642"/>
                      <a:chExt cx="201250" cy="725732"/>
                    </a:xfrm>
                  </p:grpSpPr>
                  <p:sp>
                    <p:nvSpPr>
                      <p:cNvPr id="2399" name="Freeform: Shape 2398">
                        <a:extLst>
                          <a:ext uri="{FF2B5EF4-FFF2-40B4-BE49-F238E27FC236}">
                            <a16:creationId xmlns:a16="http://schemas.microsoft.com/office/drawing/2014/main" id="{2157A14E-9C37-50DB-6F40-00382D42F150}"/>
                          </a:ext>
                        </a:extLst>
                      </p:cNvPr>
                      <p:cNvSpPr/>
                      <p:nvPr/>
                    </p:nvSpPr>
                    <p:spPr>
                      <a:xfrm>
                        <a:off x="5080686" y="4084642"/>
                        <a:ext cx="201235" cy="725732"/>
                      </a:xfrm>
                      <a:custGeom>
                        <a:avLst/>
                        <a:gdLst>
                          <a:gd name="connsiteX0" fmla="*/ 68466 w 201235"/>
                          <a:gd name="connsiteY0" fmla="*/ 679 h 725732"/>
                          <a:gd name="connsiteX1" fmla="*/ 92 w 201235"/>
                          <a:gd name="connsiteY1" fmla="*/ 89576 h 725732"/>
                          <a:gd name="connsiteX2" fmla="*/ 34438 w 201235"/>
                          <a:gd name="connsiteY2" fmla="*/ 454203 h 725732"/>
                          <a:gd name="connsiteX3" fmla="*/ 116803 w 201235"/>
                          <a:gd name="connsiteY3" fmla="*/ 725209 h 725732"/>
                          <a:gd name="connsiteX4" fmla="*/ 167906 w 201235"/>
                          <a:gd name="connsiteY4" fmla="*/ 576065 h 725732"/>
                          <a:gd name="connsiteX5" fmla="*/ 200763 w 201235"/>
                          <a:gd name="connsiteY5" fmla="*/ 256099 h 725732"/>
                          <a:gd name="connsiteX6" fmla="*/ 90007 w 201235"/>
                          <a:gd name="connsiteY6" fmla="*/ 284 h 725732"/>
                          <a:gd name="connsiteX7" fmla="*/ 68466 w 201235"/>
                          <a:gd name="connsiteY7" fmla="*/ 679 h 72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235" h="725732">
                            <a:moveTo>
                              <a:pt x="68466" y="679"/>
                            </a:moveTo>
                            <a:cubicBezTo>
                              <a:pt x="24579" y="5358"/>
                              <a:pt x="-1762" y="45477"/>
                              <a:pt x="92" y="89576"/>
                            </a:cubicBezTo>
                            <a:cubicBezTo>
                              <a:pt x="2871" y="155398"/>
                              <a:pt x="5424" y="239510"/>
                              <a:pt x="34438" y="454203"/>
                            </a:cubicBezTo>
                            <a:cubicBezTo>
                              <a:pt x="73388" y="742405"/>
                              <a:pt x="83824" y="718829"/>
                              <a:pt x="116803" y="725209"/>
                            </a:cubicBezTo>
                            <a:cubicBezTo>
                              <a:pt x="157348" y="733048"/>
                              <a:pt x="156300" y="651487"/>
                              <a:pt x="167906" y="576065"/>
                            </a:cubicBezTo>
                            <a:cubicBezTo>
                              <a:pt x="178326" y="508374"/>
                              <a:pt x="205108" y="355933"/>
                              <a:pt x="200763" y="256099"/>
                            </a:cubicBezTo>
                            <a:cubicBezTo>
                              <a:pt x="195781" y="141529"/>
                              <a:pt x="158198" y="4689"/>
                              <a:pt x="90007" y="284"/>
                            </a:cubicBezTo>
                            <a:cubicBezTo>
                              <a:pt x="82335" y="-218"/>
                              <a:pt x="75165" y="-35"/>
                              <a:pt x="68466" y="679"/>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0" name="Freeform: Shape 2399">
                        <a:extLst>
                          <a:ext uri="{FF2B5EF4-FFF2-40B4-BE49-F238E27FC236}">
                            <a16:creationId xmlns:a16="http://schemas.microsoft.com/office/drawing/2014/main" id="{B6AF2334-C741-20F5-FC81-608012FED907}"/>
                          </a:ext>
                        </a:extLst>
                      </p:cNvPr>
                      <p:cNvSpPr/>
                      <p:nvPr/>
                    </p:nvSpPr>
                    <p:spPr>
                      <a:xfrm>
                        <a:off x="5132897" y="4240448"/>
                        <a:ext cx="149039" cy="367728"/>
                      </a:xfrm>
                      <a:custGeom>
                        <a:avLst/>
                        <a:gdLst>
                          <a:gd name="connsiteX0" fmla="*/ 0 w 149039"/>
                          <a:gd name="connsiteY0" fmla="*/ 3740 h 367728"/>
                          <a:gd name="connsiteX1" fmla="*/ 145286 w 149039"/>
                          <a:gd name="connsiteY1" fmla="*/ 57622 h 367728"/>
                          <a:gd name="connsiteX2" fmla="*/ 148567 w 149039"/>
                          <a:gd name="connsiteY2" fmla="*/ 100293 h 367728"/>
                          <a:gd name="connsiteX3" fmla="*/ 123988 w 149039"/>
                          <a:gd name="connsiteY3" fmla="*/ 367729 h 367728"/>
                          <a:gd name="connsiteX4" fmla="*/ 15 w 149039"/>
                          <a:gd name="connsiteY4" fmla="*/ 3740 h 36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39" h="367728">
                            <a:moveTo>
                              <a:pt x="0" y="3740"/>
                            </a:moveTo>
                            <a:cubicBezTo>
                              <a:pt x="50388" y="-10403"/>
                              <a:pt x="101278" y="17305"/>
                              <a:pt x="145286" y="57622"/>
                            </a:cubicBezTo>
                            <a:cubicBezTo>
                              <a:pt x="146866" y="71992"/>
                              <a:pt x="147960" y="86302"/>
                              <a:pt x="148567" y="100293"/>
                            </a:cubicBezTo>
                            <a:cubicBezTo>
                              <a:pt x="152000" y="179195"/>
                              <a:pt x="135989" y="290924"/>
                              <a:pt x="123988" y="367729"/>
                            </a:cubicBezTo>
                            <a:cubicBezTo>
                              <a:pt x="101536" y="315290"/>
                              <a:pt x="15" y="3740"/>
                              <a:pt x="15" y="3740"/>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380" name="Graphic 3200">
                    <a:extLst>
                      <a:ext uri="{FF2B5EF4-FFF2-40B4-BE49-F238E27FC236}">
                        <a16:creationId xmlns:a16="http://schemas.microsoft.com/office/drawing/2014/main" id="{EC9E45EC-40DA-DE7E-1EBD-84F1902AB879}"/>
                      </a:ext>
                    </a:extLst>
                  </p:cNvPr>
                  <p:cNvGrpSpPr/>
                  <p:nvPr/>
                </p:nvGrpSpPr>
                <p:grpSpPr>
                  <a:xfrm>
                    <a:off x="5182382" y="4052740"/>
                    <a:ext cx="756931" cy="1012886"/>
                    <a:chOff x="5182382" y="4052740"/>
                    <a:chExt cx="756931" cy="1012886"/>
                  </a:xfrm>
                </p:grpSpPr>
                <p:sp>
                  <p:nvSpPr>
                    <p:cNvPr id="2381" name="Freeform: Shape 2380">
                      <a:extLst>
                        <a:ext uri="{FF2B5EF4-FFF2-40B4-BE49-F238E27FC236}">
                          <a16:creationId xmlns:a16="http://schemas.microsoft.com/office/drawing/2014/main" id="{80D07BEE-9840-0EC4-37AD-D5767F18BD57}"/>
                        </a:ext>
                      </a:extLst>
                    </p:cNvPr>
                    <p:cNvSpPr/>
                    <p:nvPr/>
                  </p:nvSpPr>
                  <p:spPr>
                    <a:xfrm>
                      <a:off x="5182382" y="4052740"/>
                      <a:ext cx="756931" cy="345347"/>
                    </a:xfrm>
                    <a:custGeom>
                      <a:avLst/>
                      <a:gdLst>
                        <a:gd name="connsiteX0" fmla="*/ 707129 w 756931"/>
                        <a:gd name="connsiteY0" fmla="*/ 250966 h 345347"/>
                        <a:gd name="connsiteX1" fmla="*/ 716107 w 756931"/>
                        <a:gd name="connsiteY1" fmla="*/ 51950 h 345347"/>
                        <a:gd name="connsiteX2" fmla="*/ 556739 w 756931"/>
                        <a:gd name="connsiteY2" fmla="*/ 1273 h 345347"/>
                        <a:gd name="connsiteX3" fmla="*/ 224058 w 756931"/>
                        <a:gd name="connsiteY3" fmla="*/ 81906 h 345347"/>
                        <a:gd name="connsiteX4" fmla="*/ 59541 w 756931"/>
                        <a:gd name="connsiteY4" fmla="*/ 148944 h 345347"/>
                        <a:gd name="connsiteX5" fmla="*/ 5112 w 756931"/>
                        <a:gd name="connsiteY5" fmla="*/ 269559 h 345347"/>
                        <a:gd name="connsiteX6" fmla="*/ 154545 w 756931"/>
                        <a:gd name="connsiteY6" fmla="*/ 345347 h 345347"/>
                        <a:gd name="connsiteX7" fmla="*/ 415570 w 756931"/>
                        <a:gd name="connsiteY7" fmla="*/ 333711 h 345347"/>
                        <a:gd name="connsiteX8" fmla="*/ 707145 w 756931"/>
                        <a:gd name="connsiteY8" fmla="*/ 250981 h 34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931" h="345347">
                          <a:moveTo>
                            <a:pt x="707129" y="250966"/>
                          </a:moveTo>
                          <a:cubicBezTo>
                            <a:pt x="769944" y="201124"/>
                            <a:pt x="773787" y="107670"/>
                            <a:pt x="716107" y="51950"/>
                          </a:cubicBezTo>
                          <a:cubicBezTo>
                            <a:pt x="684602" y="21522"/>
                            <a:pt x="634031" y="-6353"/>
                            <a:pt x="556739" y="1273"/>
                          </a:cubicBezTo>
                          <a:cubicBezTo>
                            <a:pt x="398876" y="16828"/>
                            <a:pt x="345404" y="37868"/>
                            <a:pt x="224058" y="81906"/>
                          </a:cubicBezTo>
                          <a:cubicBezTo>
                            <a:pt x="136392" y="113716"/>
                            <a:pt x="118649" y="118152"/>
                            <a:pt x="59541" y="148944"/>
                          </a:cubicBezTo>
                          <a:cubicBezTo>
                            <a:pt x="433" y="179736"/>
                            <a:pt x="-7451" y="237841"/>
                            <a:pt x="5112" y="269559"/>
                          </a:cubicBezTo>
                          <a:cubicBezTo>
                            <a:pt x="17675" y="301278"/>
                            <a:pt x="51004" y="345347"/>
                            <a:pt x="154545" y="345347"/>
                          </a:cubicBezTo>
                          <a:cubicBezTo>
                            <a:pt x="249792" y="345347"/>
                            <a:pt x="320323" y="345407"/>
                            <a:pt x="415570" y="333711"/>
                          </a:cubicBezTo>
                          <a:cubicBezTo>
                            <a:pt x="480071" y="325781"/>
                            <a:pt x="626678" y="314828"/>
                            <a:pt x="707145" y="250981"/>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2" name="Freeform: Shape 2381">
                      <a:extLst>
                        <a:ext uri="{FF2B5EF4-FFF2-40B4-BE49-F238E27FC236}">
                          <a16:creationId xmlns:a16="http://schemas.microsoft.com/office/drawing/2014/main" id="{C0B12A9A-3CC7-4CB3-B3C2-A8B3337B1716}"/>
                        </a:ext>
                      </a:extLst>
                    </p:cNvPr>
                    <p:cNvSpPr/>
                    <p:nvPr/>
                  </p:nvSpPr>
                  <p:spPr>
                    <a:xfrm>
                      <a:off x="5362584" y="4257480"/>
                      <a:ext cx="114660" cy="140424"/>
                    </a:xfrm>
                    <a:custGeom>
                      <a:avLst/>
                      <a:gdLst>
                        <a:gd name="connsiteX0" fmla="*/ 114661 w 114660"/>
                        <a:gd name="connsiteY0" fmla="*/ 138784 h 140424"/>
                        <a:gd name="connsiteX1" fmla="*/ 40697 w 114660"/>
                        <a:gd name="connsiteY1" fmla="*/ 140425 h 140424"/>
                        <a:gd name="connsiteX2" fmla="*/ 0 w 114660"/>
                        <a:gd name="connsiteY2" fmla="*/ 0 h 140424"/>
                        <a:gd name="connsiteX3" fmla="*/ 114661 w 114660"/>
                        <a:gd name="connsiteY3" fmla="*/ 138784 h 140424"/>
                      </a:gdLst>
                      <a:ahLst/>
                      <a:cxnLst>
                        <a:cxn ang="0">
                          <a:pos x="connsiteX0" y="connsiteY0"/>
                        </a:cxn>
                        <a:cxn ang="0">
                          <a:pos x="connsiteX1" y="connsiteY1"/>
                        </a:cxn>
                        <a:cxn ang="0">
                          <a:pos x="connsiteX2" y="connsiteY2"/>
                        </a:cxn>
                        <a:cxn ang="0">
                          <a:pos x="connsiteX3" y="connsiteY3"/>
                        </a:cxn>
                      </a:cxnLst>
                      <a:rect l="l" t="t" r="r" b="b"/>
                      <a:pathLst>
                        <a:path w="114660" h="140424">
                          <a:moveTo>
                            <a:pt x="114661" y="138784"/>
                          </a:moveTo>
                          <a:cubicBezTo>
                            <a:pt x="90264" y="139772"/>
                            <a:pt x="66020" y="140227"/>
                            <a:pt x="40697" y="140425"/>
                          </a:cubicBezTo>
                          <a:lnTo>
                            <a:pt x="0" y="0"/>
                          </a:lnTo>
                          <a:cubicBezTo>
                            <a:pt x="51573" y="30518"/>
                            <a:pt x="95353" y="103055"/>
                            <a:pt x="114661" y="138784"/>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83" name="Graphic 3200">
                      <a:extLst>
                        <a:ext uri="{FF2B5EF4-FFF2-40B4-BE49-F238E27FC236}">
                          <a16:creationId xmlns:a16="http://schemas.microsoft.com/office/drawing/2014/main" id="{45DF6C5F-FF67-5515-F925-5E06A008D7DA}"/>
                        </a:ext>
                      </a:extLst>
                    </p:cNvPr>
                    <p:cNvGrpSpPr/>
                    <p:nvPr/>
                  </p:nvGrpSpPr>
                  <p:grpSpPr>
                    <a:xfrm>
                      <a:off x="5262250" y="4774546"/>
                      <a:ext cx="356265" cy="291081"/>
                      <a:chOff x="5262250" y="4774546"/>
                      <a:chExt cx="356265" cy="291081"/>
                    </a:xfrm>
                  </p:grpSpPr>
                  <p:grpSp>
                    <p:nvGrpSpPr>
                      <p:cNvPr id="2385" name="Graphic 3200">
                        <a:extLst>
                          <a:ext uri="{FF2B5EF4-FFF2-40B4-BE49-F238E27FC236}">
                            <a16:creationId xmlns:a16="http://schemas.microsoft.com/office/drawing/2014/main" id="{F03B0578-5E54-8B13-C1DA-A0BB5AEF38E2}"/>
                          </a:ext>
                        </a:extLst>
                      </p:cNvPr>
                      <p:cNvGrpSpPr/>
                      <p:nvPr/>
                    </p:nvGrpSpPr>
                    <p:grpSpPr>
                      <a:xfrm>
                        <a:off x="5262280" y="4965775"/>
                        <a:ext cx="356235" cy="99852"/>
                        <a:chOff x="5262280" y="4965775"/>
                        <a:chExt cx="356235" cy="99852"/>
                      </a:xfrm>
                    </p:grpSpPr>
                    <p:grpSp>
                      <p:nvGrpSpPr>
                        <p:cNvPr id="2390" name="Graphic 3200">
                          <a:extLst>
                            <a:ext uri="{FF2B5EF4-FFF2-40B4-BE49-F238E27FC236}">
                              <a16:creationId xmlns:a16="http://schemas.microsoft.com/office/drawing/2014/main" id="{5ED58D77-870E-1B7A-8632-F6803B33E1B9}"/>
                            </a:ext>
                          </a:extLst>
                        </p:cNvPr>
                        <p:cNvGrpSpPr/>
                        <p:nvPr/>
                      </p:nvGrpSpPr>
                      <p:grpSpPr>
                        <a:xfrm>
                          <a:off x="5526479" y="5000406"/>
                          <a:ext cx="88244" cy="65220"/>
                          <a:chOff x="5526479" y="5000406"/>
                          <a:chExt cx="88244" cy="65220"/>
                        </a:xfrm>
                      </p:grpSpPr>
                      <p:sp>
                        <p:nvSpPr>
                          <p:cNvPr id="2394" name="Freeform: Shape 2393">
                            <a:extLst>
                              <a:ext uri="{FF2B5EF4-FFF2-40B4-BE49-F238E27FC236}">
                                <a16:creationId xmlns:a16="http://schemas.microsoft.com/office/drawing/2014/main" id="{3C6B2D33-02AB-E93F-1090-D48563C6B9EF}"/>
                              </a:ext>
                            </a:extLst>
                          </p:cNvPr>
                          <p:cNvSpPr/>
                          <p:nvPr/>
                        </p:nvSpPr>
                        <p:spPr>
                          <a:xfrm>
                            <a:off x="5551863" y="5000406"/>
                            <a:ext cx="62860" cy="65220"/>
                          </a:xfrm>
                          <a:custGeom>
                            <a:avLst/>
                            <a:gdLst>
                              <a:gd name="connsiteX0" fmla="*/ 62860 w 62860"/>
                              <a:gd name="connsiteY0" fmla="*/ 0 h 65220"/>
                              <a:gd name="connsiteX1" fmla="*/ 62860 w 62860"/>
                              <a:gd name="connsiteY1" fmla="*/ 56510 h 65220"/>
                              <a:gd name="connsiteX2" fmla="*/ 61311 w 62860"/>
                              <a:gd name="connsiteY2" fmla="*/ 58865 h 65220"/>
                              <a:gd name="connsiteX3" fmla="*/ 0 w 62860"/>
                              <a:gd name="connsiteY3" fmla="*/ 64531 h 65220"/>
                              <a:gd name="connsiteX4" fmla="*/ 0 w 62860"/>
                              <a:gd name="connsiteY4" fmla="*/ 14963 h 65220"/>
                              <a:gd name="connsiteX5" fmla="*/ 62860 w 62860"/>
                              <a:gd name="connsiteY5" fmla="*/ 15 h 6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0" h="65220">
                                <a:moveTo>
                                  <a:pt x="62860" y="0"/>
                                </a:moveTo>
                                <a:lnTo>
                                  <a:pt x="62860" y="56510"/>
                                </a:lnTo>
                                <a:cubicBezTo>
                                  <a:pt x="62860" y="57528"/>
                                  <a:pt x="62252" y="58455"/>
                                  <a:pt x="61311" y="58865"/>
                                </a:cubicBezTo>
                                <a:cubicBezTo>
                                  <a:pt x="56222" y="61067"/>
                                  <a:pt x="38129" y="67280"/>
                                  <a:pt x="0" y="64531"/>
                                </a:cubicBezTo>
                                <a:lnTo>
                                  <a:pt x="0" y="14963"/>
                                </a:lnTo>
                                <a:lnTo>
                                  <a:pt x="62860" y="15"/>
                                </a:lnTo>
                                <a:close/>
                              </a:path>
                            </a:pathLst>
                          </a:custGeom>
                          <a:solidFill>
                            <a:srgbClr val="336D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5" name="Freeform: Shape 2394">
                            <a:extLst>
                              <a:ext uri="{FF2B5EF4-FFF2-40B4-BE49-F238E27FC236}">
                                <a16:creationId xmlns:a16="http://schemas.microsoft.com/office/drawing/2014/main" id="{0023183C-38C8-3994-8F82-B2CAD56277CA}"/>
                              </a:ext>
                            </a:extLst>
                          </p:cNvPr>
                          <p:cNvSpPr/>
                          <p:nvPr/>
                        </p:nvSpPr>
                        <p:spPr>
                          <a:xfrm>
                            <a:off x="5526479" y="5015339"/>
                            <a:ext cx="25383" cy="49583"/>
                          </a:xfrm>
                          <a:custGeom>
                            <a:avLst/>
                            <a:gdLst>
                              <a:gd name="connsiteX0" fmla="*/ 25384 w 25383"/>
                              <a:gd name="connsiteY0" fmla="*/ 49583 h 49583"/>
                              <a:gd name="connsiteX1" fmla="*/ 1534 w 25383"/>
                              <a:gd name="connsiteY1" fmla="*/ 39101 h 49583"/>
                              <a:gd name="connsiteX2" fmla="*/ 0 w 25383"/>
                              <a:gd name="connsiteY2" fmla="*/ 36747 h 49583"/>
                              <a:gd name="connsiteX3" fmla="*/ 0 w 25383"/>
                              <a:gd name="connsiteY3" fmla="*/ 0 h 49583"/>
                              <a:gd name="connsiteX4" fmla="*/ 25384 w 25383"/>
                              <a:gd name="connsiteY4" fmla="*/ 0 h 49583"/>
                              <a:gd name="connsiteX5" fmla="*/ 25384 w 25383"/>
                              <a:gd name="connsiteY5" fmla="*/ 49568 h 4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83" h="49583">
                                <a:moveTo>
                                  <a:pt x="25384" y="49583"/>
                                </a:moveTo>
                                <a:lnTo>
                                  <a:pt x="1534" y="39101"/>
                                </a:lnTo>
                                <a:cubicBezTo>
                                  <a:pt x="608" y="38691"/>
                                  <a:pt x="0" y="37765"/>
                                  <a:pt x="0" y="36747"/>
                                </a:cubicBezTo>
                                <a:lnTo>
                                  <a:pt x="0" y="0"/>
                                </a:lnTo>
                                <a:lnTo>
                                  <a:pt x="25384" y="0"/>
                                </a:lnTo>
                                <a:lnTo>
                                  <a:pt x="25384" y="49568"/>
                                </a:lnTo>
                                <a:close/>
                              </a:path>
                            </a:pathLst>
                          </a:custGeom>
                          <a:solidFill>
                            <a:srgbClr val="35648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91" name="Graphic 3200">
                          <a:extLst>
                            <a:ext uri="{FF2B5EF4-FFF2-40B4-BE49-F238E27FC236}">
                              <a16:creationId xmlns:a16="http://schemas.microsoft.com/office/drawing/2014/main" id="{3196E563-F300-3B7A-8E0A-E8F80849B455}"/>
                            </a:ext>
                          </a:extLst>
                        </p:cNvPr>
                        <p:cNvGrpSpPr/>
                        <p:nvPr/>
                      </p:nvGrpSpPr>
                      <p:grpSpPr>
                        <a:xfrm>
                          <a:off x="5262280" y="4965775"/>
                          <a:ext cx="356235" cy="97299"/>
                          <a:chOff x="5262280" y="4965775"/>
                          <a:chExt cx="356235" cy="97299"/>
                        </a:xfrm>
                      </p:grpSpPr>
                      <p:sp>
                        <p:nvSpPr>
                          <p:cNvPr id="2392" name="Freeform: Shape 2391">
                            <a:extLst>
                              <a:ext uri="{FF2B5EF4-FFF2-40B4-BE49-F238E27FC236}">
                                <a16:creationId xmlns:a16="http://schemas.microsoft.com/office/drawing/2014/main" id="{F318B965-605E-9C77-3686-E3A064BCDC1E}"/>
                              </a:ext>
                            </a:extLst>
                          </p:cNvPr>
                          <p:cNvSpPr/>
                          <p:nvPr/>
                        </p:nvSpPr>
                        <p:spPr>
                          <a:xfrm>
                            <a:off x="5262447" y="4965775"/>
                            <a:ext cx="351629" cy="83480"/>
                          </a:xfrm>
                          <a:custGeom>
                            <a:avLst/>
                            <a:gdLst>
                              <a:gd name="connsiteX0" fmla="*/ 351562 w 351629"/>
                              <a:gd name="connsiteY0" fmla="*/ 1424 h 83480"/>
                              <a:gd name="connsiteX1" fmla="*/ 318826 w 351629"/>
                              <a:gd name="connsiteY1" fmla="*/ 7121 h 83480"/>
                              <a:gd name="connsiteX2" fmla="*/ 158957 w 351629"/>
                              <a:gd name="connsiteY2" fmla="*/ 59772 h 83480"/>
                              <a:gd name="connsiteX3" fmla="*/ 44144 w 351629"/>
                              <a:gd name="connsiteY3" fmla="*/ 59302 h 83480"/>
                              <a:gd name="connsiteX4" fmla="*/ 29 w 351629"/>
                              <a:gd name="connsiteY4" fmla="*/ 59772 h 83480"/>
                              <a:gd name="connsiteX5" fmla="*/ 46042 w 351629"/>
                              <a:gd name="connsiteY5" fmla="*/ 78746 h 83480"/>
                              <a:gd name="connsiteX6" fmla="*/ 206398 w 351629"/>
                              <a:gd name="connsiteY6" fmla="*/ 63570 h 83480"/>
                              <a:gd name="connsiteX7" fmla="*/ 351562 w 351629"/>
                              <a:gd name="connsiteY7" fmla="*/ 142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29" h="83480">
                                <a:moveTo>
                                  <a:pt x="351562" y="1424"/>
                                </a:moveTo>
                                <a:cubicBezTo>
                                  <a:pt x="351562" y="1424"/>
                                  <a:pt x="346336" y="-4272"/>
                                  <a:pt x="318826" y="7121"/>
                                </a:cubicBezTo>
                                <a:cubicBezTo>
                                  <a:pt x="291315" y="18514"/>
                                  <a:pt x="189308" y="49823"/>
                                  <a:pt x="158957" y="59772"/>
                                </a:cubicBezTo>
                                <a:cubicBezTo>
                                  <a:pt x="128605" y="69722"/>
                                  <a:pt x="66444" y="62613"/>
                                  <a:pt x="44144" y="59302"/>
                                </a:cubicBezTo>
                                <a:cubicBezTo>
                                  <a:pt x="21843" y="55975"/>
                                  <a:pt x="-928" y="53605"/>
                                  <a:pt x="29" y="59772"/>
                                </a:cubicBezTo>
                                <a:cubicBezTo>
                                  <a:pt x="29" y="59772"/>
                                  <a:pt x="8096" y="73535"/>
                                  <a:pt x="46042" y="78746"/>
                                </a:cubicBezTo>
                                <a:cubicBezTo>
                                  <a:pt x="83989" y="83972"/>
                                  <a:pt x="147563" y="90610"/>
                                  <a:pt x="206398" y="63570"/>
                                </a:cubicBezTo>
                                <a:cubicBezTo>
                                  <a:pt x="265217" y="36531"/>
                                  <a:pt x="354418" y="34161"/>
                                  <a:pt x="351562" y="1424"/>
                                </a:cubicBezTo>
                                <a:close/>
                              </a:path>
                            </a:pathLst>
                          </a:custGeom>
                          <a:solidFill>
                            <a:srgbClr val="336D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3" name="Freeform: Shape 2392">
                            <a:extLst>
                              <a:ext uri="{FF2B5EF4-FFF2-40B4-BE49-F238E27FC236}">
                                <a16:creationId xmlns:a16="http://schemas.microsoft.com/office/drawing/2014/main" id="{C9025702-514B-5E06-6C03-B9DE179F0353}"/>
                              </a:ext>
                            </a:extLst>
                          </p:cNvPr>
                          <p:cNvSpPr/>
                          <p:nvPr/>
                        </p:nvSpPr>
                        <p:spPr>
                          <a:xfrm>
                            <a:off x="5262280" y="4967184"/>
                            <a:ext cx="356235" cy="95890"/>
                          </a:xfrm>
                          <a:custGeom>
                            <a:avLst/>
                            <a:gdLst>
                              <a:gd name="connsiteX0" fmla="*/ 351729 w 356235"/>
                              <a:gd name="connsiteY0" fmla="*/ 15 h 95890"/>
                              <a:gd name="connsiteX1" fmla="*/ 356042 w 356235"/>
                              <a:gd name="connsiteY1" fmla="*/ 27435 h 95890"/>
                              <a:gd name="connsiteX2" fmla="*/ 350604 w 356235"/>
                              <a:gd name="connsiteY2" fmla="*/ 34332 h 95890"/>
                              <a:gd name="connsiteX3" fmla="*/ 263971 w 356235"/>
                              <a:gd name="connsiteY3" fmla="*/ 59305 h 95890"/>
                              <a:gd name="connsiteX4" fmla="*/ 181818 w 356235"/>
                              <a:gd name="connsiteY4" fmla="*/ 88882 h 95890"/>
                              <a:gd name="connsiteX5" fmla="*/ 164956 w 356235"/>
                              <a:gd name="connsiteY5" fmla="*/ 93546 h 95890"/>
                              <a:gd name="connsiteX6" fmla="*/ 8171 w 356235"/>
                              <a:gd name="connsiteY6" fmla="*/ 83793 h 95890"/>
                              <a:gd name="connsiteX7" fmla="*/ 484 w 356235"/>
                              <a:gd name="connsiteY7" fmla="*/ 74815 h 95890"/>
                              <a:gd name="connsiteX8" fmla="*/ 195 w 356235"/>
                              <a:gd name="connsiteY8" fmla="*/ 58363 h 95890"/>
                              <a:gd name="connsiteX9" fmla="*/ 126857 w 356235"/>
                              <a:gd name="connsiteY9" fmla="*/ 75438 h 95890"/>
                              <a:gd name="connsiteX10" fmla="*/ 285314 w 356235"/>
                              <a:gd name="connsiteY10" fmla="*/ 32858 h 95890"/>
                              <a:gd name="connsiteX11" fmla="*/ 351729 w 356235"/>
                              <a:gd name="connsiteY11" fmla="*/ 0 h 9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235" h="95890">
                                <a:moveTo>
                                  <a:pt x="351729" y="15"/>
                                </a:moveTo>
                                <a:cubicBezTo>
                                  <a:pt x="351729" y="15"/>
                                  <a:pt x="357334" y="8416"/>
                                  <a:pt x="356042" y="27435"/>
                                </a:cubicBezTo>
                                <a:cubicBezTo>
                                  <a:pt x="355830" y="30625"/>
                                  <a:pt x="353658" y="33359"/>
                                  <a:pt x="350604" y="34332"/>
                                </a:cubicBezTo>
                                <a:cubicBezTo>
                                  <a:pt x="337965" y="38387"/>
                                  <a:pt x="302631" y="49446"/>
                                  <a:pt x="263971" y="59305"/>
                                </a:cubicBezTo>
                                <a:cubicBezTo>
                                  <a:pt x="225522" y="69103"/>
                                  <a:pt x="195763" y="81894"/>
                                  <a:pt x="181818" y="88882"/>
                                </a:cubicBezTo>
                                <a:cubicBezTo>
                                  <a:pt x="176547" y="91525"/>
                                  <a:pt x="170835" y="93090"/>
                                  <a:pt x="164956" y="93546"/>
                                </a:cubicBezTo>
                                <a:cubicBezTo>
                                  <a:pt x="138159" y="95581"/>
                                  <a:pt x="71000" y="100716"/>
                                  <a:pt x="8171" y="83793"/>
                                </a:cubicBezTo>
                                <a:cubicBezTo>
                                  <a:pt x="4008" y="82669"/>
                                  <a:pt x="985" y="79099"/>
                                  <a:pt x="484" y="74815"/>
                                </a:cubicBezTo>
                                <a:cubicBezTo>
                                  <a:pt x="59" y="71109"/>
                                  <a:pt x="-200" y="65777"/>
                                  <a:pt x="195" y="58363"/>
                                </a:cubicBezTo>
                                <a:cubicBezTo>
                                  <a:pt x="195" y="58363"/>
                                  <a:pt x="63299" y="81606"/>
                                  <a:pt x="126857" y="75438"/>
                                </a:cubicBezTo>
                                <a:cubicBezTo>
                                  <a:pt x="190431" y="69271"/>
                                  <a:pt x="210347" y="50419"/>
                                  <a:pt x="285314" y="32858"/>
                                </a:cubicBezTo>
                                <a:cubicBezTo>
                                  <a:pt x="327651" y="23956"/>
                                  <a:pt x="346518" y="13292"/>
                                  <a:pt x="351729" y="0"/>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386" name="Freeform: Shape 2385">
                        <a:extLst>
                          <a:ext uri="{FF2B5EF4-FFF2-40B4-BE49-F238E27FC236}">
                            <a16:creationId xmlns:a16="http://schemas.microsoft.com/office/drawing/2014/main" id="{FF02572E-2D8D-5041-CD9C-99085CB1FC61}"/>
                          </a:ext>
                        </a:extLst>
                      </p:cNvPr>
                      <p:cNvSpPr/>
                      <p:nvPr/>
                    </p:nvSpPr>
                    <p:spPr>
                      <a:xfrm>
                        <a:off x="5272906" y="4774546"/>
                        <a:ext cx="328721" cy="269708"/>
                      </a:xfrm>
                      <a:custGeom>
                        <a:avLst/>
                        <a:gdLst>
                          <a:gd name="connsiteX0" fmla="*/ 287494 w 328721"/>
                          <a:gd name="connsiteY0" fmla="*/ 50086 h 269708"/>
                          <a:gd name="connsiteX1" fmla="*/ 303855 w 328721"/>
                          <a:gd name="connsiteY1" fmla="*/ 97057 h 269708"/>
                          <a:gd name="connsiteX2" fmla="*/ 318803 w 328721"/>
                          <a:gd name="connsiteY2" fmla="*/ 205216 h 269708"/>
                          <a:gd name="connsiteX3" fmla="*/ 217282 w 328721"/>
                          <a:gd name="connsiteY3" fmla="*/ 237239 h 269708"/>
                          <a:gd name="connsiteX4" fmla="*/ 66892 w 328721"/>
                          <a:gd name="connsiteY4" fmla="*/ 269018 h 269708"/>
                          <a:gd name="connsiteX5" fmla="*/ 6 w 328721"/>
                          <a:gd name="connsiteY5" fmla="*/ 238180 h 269708"/>
                          <a:gd name="connsiteX6" fmla="*/ 48389 w 328721"/>
                          <a:gd name="connsiteY6" fmla="*/ 205444 h 269708"/>
                          <a:gd name="connsiteX7" fmla="*/ 150867 w 328721"/>
                          <a:gd name="connsiteY7" fmla="*/ 156104 h 269708"/>
                          <a:gd name="connsiteX8" fmla="*/ 205661 w 328721"/>
                          <a:gd name="connsiteY8" fmla="*/ 87790 h 269708"/>
                          <a:gd name="connsiteX9" fmla="*/ 190713 w 328721"/>
                          <a:gd name="connsiteY9" fmla="*/ 50071 h 269708"/>
                          <a:gd name="connsiteX10" fmla="*/ 229146 w 328721"/>
                          <a:gd name="connsiteY10" fmla="*/ 1688 h 269708"/>
                          <a:gd name="connsiteX11" fmla="*/ 287494 w 328721"/>
                          <a:gd name="connsiteY11" fmla="*/ 50071 h 26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721" h="269708">
                            <a:moveTo>
                              <a:pt x="287494" y="50086"/>
                            </a:moveTo>
                            <a:cubicBezTo>
                              <a:pt x="287494" y="50086"/>
                              <a:pt x="287494" y="64320"/>
                              <a:pt x="303855" y="97057"/>
                            </a:cubicBezTo>
                            <a:cubicBezTo>
                              <a:pt x="320216" y="129793"/>
                              <a:pt x="341574" y="184587"/>
                              <a:pt x="318803" y="205216"/>
                            </a:cubicBezTo>
                            <a:cubicBezTo>
                              <a:pt x="296031" y="225845"/>
                              <a:pt x="268521" y="217308"/>
                              <a:pt x="217282" y="237239"/>
                            </a:cubicBezTo>
                            <a:cubicBezTo>
                              <a:pt x="166043" y="257169"/>
                              <a:pt x="138775" y="273287"/>
                              <a:pt x="66892" y="269018"/>
                            </a:cubicBezTo>
                            <a:cubicBezTo>
                              <a:pt x="31315" y="264749"/>
                              <a:pt x="568" y="264506"/>
                              <a:pt x="6" y="238180"/>
                            </a:cubicBezTo>
                            <a:cubicBezTo>
                              <a:pt x="-465" y="216351"/>
                              <a:pt x="25147" y="208771"/>
                              <a:pt x="48389" y="205444"/>
                            </a:cubicBezTo>
                            <a:cubicBezTo>
                              <a:pt x="69246" y="202466"/>
                              <a:pt x="107452" y="198092"/>
                              <a:pt x="150867" y="156104"/>
                            </a:cubicBezTo>
                            <a:cubicBezTo>
                              <a:pt x="194283" y="114116"/>
                              <a:pt x="207803" y="104865"/>
                              <a:pt x="205661" y="87790"/>
                            </a:cubicBezTo>
                            <a:cubicBezTo>
                              <a:pt x="203519" y="70716"/>
                              <a:pt x="194981" y="64305"/>
                              <a:pt x="190713" y="50071"/>
                            </a:cubicBezTo>
                            <a:cubicBezTo>
                              <a:pt x="186444" y="35837"/>
                              <a:pt x="197124" y="9511"/>
                              <a:pt x="229146" y="1688"/>
                            </a:cubicBezTo>
                            <a:cubicBezTo>
                              <a:pt x="261168" y="-6135"/>
                              <a:pt x="274689" y="13780"/>
                              <a:pt x="287494" y="50071"/>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87" name="Graphic 3200">
                        <a:extLst>
                          <a:ext uri="{FF2B5EF4-FFF2-40B4-BE49-F238E27FC236}">
                            <a16:creationId xmlns:a16="http://schemas.microsoft.com/office/drawing/2014/main" id="{A4B7AD71-8F5D-2F61-EBF6-80CDBF8F9852}"/>
                          </a:ext>
                        </a:extLst>
                      </p:cNvPr>
                      <p:cNvGrpSpPr/>
                      <p:nvPr/>
                    </p:nvGrpSpPr>
                    <p:grpSpPr>
                      <a:xfrm>
                        <a:off x="5262250" y="4885424"/>
                        <a:ext cx="329972" cy="165900"/>
                        <a:chOff x="5262250" y="4885424"/>
                        <a:chExt cx="329972" cy="165900"/>
                      </a:xfrm>
                      <a:solidFill>
                        <a:srgbClr val="4B79BA"/>
                      </a:solidFill>
                    </p:grpSpPr>
                    <p:sp>
                      <p:nvSpPr>
                        <p:cNvPr id="2388" name="Freeform: Shape 2387">
                          <a:extLst>
                            <a:ext uri="{FF2B5EF4-FFF2-40B4-BE49-F238E27FC236}">
                              <a16:creationId xmlns:a16="http://schemas.microsoft.com/office/drawing/2014/main" id="{35E9B095-1406-B4E7-3DE3-5F1F312AD9EE}"/>
                            </a:ext>
                          </a:extLst>
                        </p:cNvPr>
                        <p:cNvSpPr/>
                        <p:nvPr/>
                      </p:nvSpPr>
                      <p:spPr>
                        <a:xfrm>
                          <a:off x="5262250" y="4958956"/>
                          <a:ext cx="178612" cy="92368"/>
                        </a:xfrm>
                        <a:custGeom>
                          <a:avLst/>
                          <a:gdLst>
                            <a:gd name="connsiteX0" fmla="*/ 178612 w 178612"/>
                            <a:gd name="connsiteY0" fmla="*/ 77027 h 92368"/>
                            <a:gd name="connsiteX1" fmla="*/ 152514 w 178612"/>
                            <a:gd name="connsiteY1" fmla="*/ 48559 h 92368"/>
                            <a:gd name="connsiteX2" fmla="*/ 122664 w 178612"/>
                            <a:gd name="connsiteY2" fmla="*/ 966 h 92368"/>
                            <a:gd name="connsiteX3" fmla="*/ 119353 w 178612"/>
                            <a:gd name="connsiteY3" fmla="*/ 130 h 92368"/>
                            <a:gd name="connsiteX4" fmla="*/ 58103 w 178612"/>
                            <a:gd name="connsiteY4" fmla="*/ 18420 h 92368"/>
                            <a:gd name="connsiteX5" fmla="*/ 225 w 178612"/>
                            <a:gd name="connsiteY5" fmla="*/ 66575 h 92368"/>
                            <a:gd name="connsiteX6" fmla="*/ 178597 w 178612"/>
                            <a:gd name="connsiteY6" fmla="*/ 77012 h 9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12" h="92368">
                              <a:moveTo>
                                <a:pt x="178612" y="77027"/>
                              </a:moveTo>
                              <a:cubicBezTo>
                                <a:pt x="178612" y="77027"/>
                                <a:pt x="160110" y="62793"/>
                                <a:pt x="152514" y="48559"/>
                              </a:cubicBezTo>
                              <a:cubicBezTo>
                                <a:pt x="145359" y="35145"/>
                                <a:pt x="131034" y="9093"/>
                                <a:pt x="122664" y="966"/>
                              </a:cubicBezTo>
                              <a:cubicBezTo>
                                <a:pt x="121783" y="115"/>
                                <a:pt x="120522" y="-204"/>
                                <a:pt x="119353" y="130"/>
                              </a:cubicBezTo>
                              <a:cubicBezTo>
                                <a:pt x="110268" y="2758"/>
                                <a:pt x="90566" y="13574"/>
                                <a:pt x="58103" y="18420"/>
                              </a:cubicBezTo>
                              <a:cubicBezTo>
                                <a:pt x="31093" y="22461"/>
                                <a:pt x="-3101" y="31940"/>
                                <a:pt x="225" y="66575"/>
                              </a:cubicBezTo>
                              <a:cubicBezTo>
                                <a:pt x="225" y="66575"/>
                                <a:pt x="80403" y="116857"/>
                                <a:pt x="178597" y="77012"/>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9" name="Freeform: Shape 2388">
                          <a:extLst>
                            <a:ext uri="{FF2B5EF4-FFF2-40B4-BE49-F238E27FC236}">
                              <a16:creationId xmlns:a16="http://schemas.microsoft.com/office/drawing/2014/main" id="{F25382A8-3C32-4C50-04DE-787651F0D880}"/>
                            </a:ext>
                          </a:extLst>
                        </p:cNvPr>
                        <p:cNvSpPr/>
                        <p:nvPr/>
                      </p:nvSpPr>
                      <p:spPr>
                        <a:xfrm>
                          <a:off x="5418806" y="4885424"/>
                          <a:ext cx="173416" cy="155891"/>
                        </a:xfrm>
                        <a:custGeom>
                          <a:avLst/>
                          <a:gdLst>
                            <a:gd name="connsiteX0" fmla="*/ 166219 w 173416"/>
                            <a:gd name="connsiteY0" fmla="*/ 306 h 155891"/>
                            <a:gd name="connsiteX1" fmla="*/ 173176 w 173416"/>
                            <a:gd name="connsiteY1" fmla="*/ 20024 h 155891"/>
                            <a:gd name="connsiteX2" fmla="*/ 172918 w 173416"/>
                            <a:gd name="connsiteY2" fmla="*/ 20692 h 155891"/>
                            <a:gd name="connsiteX3" fmla="*/ 130930 w 173416"/>
                            <a:gd name="connsiteY3" fmla="*/ 72280 h 155891"/>
                            <a:gd name="connsiteX4" fmla="*/ 91085 w 173416"/>
                            <a:gd name="connsiteY4" fmla="*/ 130628 h 155891"/>
                            <a:gd name="connsiteX5" fmla="*/ 46970 w 173416"/>
                            <a:gd name="connsiteY5" fmla="*/ 145926 h 155891"/>
                            <a:gd name="connsiteX6" fmla="*/ 14234 w 173416"/>
                            <a:gd name="connsiteY6" fmla="*/ 155891 h 155891"/>
                            <a:gd name="connsiteX7" fmla="*/ 0 w 173416"/>
                            <a:gd name="connsiteY7" fmla="*/ 132406 h 155891"/>
                            <a:gd name="connsiteX8" fmla="*/ 94639 w 173416"/>
                            <a:gd name="connsiteY8" fmla="*/ 81532 h 155891"/>
                            <a:gd name="connsiteX9" fmla="*/ 164198 w 173416"/>
                            <a:gd name="connsiteY9" fmla="*/ 640 h 155891"/>
                            <a:gd name="connsiteX10" fmla="*/ 166219 w 173416"/>
                            <a:gd name="connsiteY10" fmla="*/ 291 h 15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16" h="155891">
                              <a:moveTo>
                                <a:pt x="166219" y="306"/>
                              </a:moveTo>
                              <a:cubicBezTo>
                                <a:pt x="168862" y="2372"/>
                                <a:pt x="174665" y="8326"/>
                                <a:pt x="173176" y="20024"/>
                              </a:cubicBezTo>
                              <a:cubicBezTo>
                                <a:pt x="173146" y="20267"/>
                                <a:pt x="173055" y="20494"/>
                                <a:pt x="172918" y="20692"/>
                              </a:cubicBezTo>
                              <a:cubicBezTo>
                                <a:pt x="171049" y="23350"/>
                                <a:pt x="156755" y="43478"/>
                                <a:pt x="130930" y="72280"/>
                              </a:cubicBezTo>
                              <a:cubicBezTo>
                                <a:pt x="112534" y="92803"/>
                                <a:pt x="90006" y="108571"/>
                                <a:pt x="91085" y="130628"/>
                              </a:cubicBezTo>
                              <a:cubicBezTo>
                                <a:pt x="91085" y="130628"/>
                                <a:pt x="56920" y="141308"/>
                                <a:pt x="46970" y="145926"/>
                              </a:cubicBezTo>
                              <a:cubicBezTo>
                                <a:pt x="46970" y="145926"/>
                                <a:pt x="19216" y="155177"/>
                                <a:pt x="14234" y="155891"/>
                              </a:cubicBezTo>
                              <a:lnTo>
                                <a:pt x="0" y="132406"/>
                              </a:lnTo>
                              <a:cubicBezTo>
                                <a:pt x="0" y="132406"/>
                                <a:pt x="49446" y="126725"/>
                                <a:pt x="94639" y="81532"/>
                              </a:cubicBezTo>
                              <a:cubicBezTo>
                                <a:pt x="140562" y="35610"/>
                                <a:pt x="160249" y="6732"/>
                                <a:pt x="164198" y="640"/>
                              </a:cubicBezTo>
                              <a:cubicBezTo>
                                <a:pt x="164639" y="-44"/>
                                <a:pt x="165581" y="-211"/>
                                <a:pt x="166219" y="291"/>
                              </a:cubicBezTo>
                              <a:close/>
                            </a:path>
                          </a:pathLst>
                        </a:custGeom>
                        <a:solidFill>
                          <a:srgbClr val="4B79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384" name="Freeform: Shape 2383">
                      <a:extLst>
                        <a:ext uri="{FF2B5EF4-FFF2-40B4-BE49-F238E27FC236}">
                          <a16:creationId xmlns:a16="http://schemas.microsoft.com/office/drawing/2014/main" id="{AE6E1490-338F-A804-21F1-E4D4CBAC57D8}"/>
                        </a:ext>
                      </a:extLst>
                    </p:cNvPr>
                    <p:cNvSpPr/>
                    <p:nvPr/>
                  </p:nvSpPr>
                  <p:spPr>
                    <a:xfrm>
                      <a:off x="5184613" y="4201391"/>
                      <a:ext cx="381578" cy="706446"/>
                    </a:xfrm>
                    <a:custGeom>
                      <a:avLst/>
                      <a:gdLst>
                        <a:gd name="connsiteX0" fmla="*/ 9276 w 381578"/>
                        <a:gd name="connsiteY0" fmla="*/ 141173 h 706446"/>
                        <a:gd name="connsiteX1" fmla="*/ 133097 w 381578"/>
                        <a:gd name="connsiteY1" fmla="*/ 378121 h 706446"/>
                        <a:gd name="connsiteX2" fmla="*/ 306546 w 381578"/>
                        <a:gd name="connsiteY2" fmla="*/ 676136 h 706446"/>
                        <a:gd name="connsiteX3" fmla="*/ 371047 w 381578"/>
                        <a:gd name="connsiteY3" fmla="*/ 691783 h 706446"/>
                        <a:gd name="connsiteX4" fmla="*/ 372840 w 381578"/>
                        <a:gd name="connsiteY4" fmla="*/ 606167 h 706446"/>
                        <a:gd name="connsiteX5" fmla="*/ 310283 w 381578"/>
                        <a:gd name="connsiteY5" fmla="*/ 382405 h 706446"/>
                        <a:gd name="connsiteX6" fmla="*/ 157645 w 381578"/>
                        <a:gd name="connsiteY6" fmla="*/ 34442 h 706446"/>
                        <a:gd name="connsiteX7" fmla="*/ 9276 w 381578"/>
                        <a:gd name="connsiteY7" fmla="*/ 141173 h 70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578" h="706446">
                          <a:moveTo>
                            <a:pt x="9276" y="141173"/>
                          </a:moveTo>
                          <a:cubicBezTo>
                            <a:pt x="9276" y="141173"/>
                            <a:pt x="67897" y="267440"/>
                            <a:pt x="133097" y="378121"/>
                          </a:cubicBezTo>
                          <a:cubicBezTo>
                            <a:pt x="189668" y="474188"/>
                            <a:pt x="277608" y="626264"/>
                            <a:pt x="306546" y="676136"/>
                          </a:cubicBezTo>
                          <a:cubicBezTo>
                            <a:pt x="335485" y="725993"/>
                            <a:pt x="361553" y="701581"/>
                            <a:pt x="371047" y="691783"/>
                          </a:cubicBezTo>
                          <a:cubicBezTo>
                            <a:pt x="380526" y="681985"/>
                            <a:pt x="388197" y="657163"/>
                            <a:pt x="372840" y="606167"/>
                          </a:cubicBezTo>
                          <a:cubicBezTo>
                            <a:pt x="357497" y="555171"/>
                            <a:pt x="336032" y="465195"/>
                            <a:pt x="310283" y="382405"/>
                          </a:cubicBezTo>
                          <a:cubicBezTo>
                            <a:pt x="280403" y="286338"/>
                            <a:pt x="232369" y="109151"/>
                            <a:pt x="157645" y="34442"/>
                          </a:cubicBezTo>
                          <a:cubicBezTo>
                            <a:pt x="69052" y="-54152"/>
                            <a:pt x="-31284" y="45121"/>
                            <a:pt x="9276" y="141173"/>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376" name="Graphic 3200">
                  <a:extLst>
                    <a:ext uri="{FF2B5EF4-FFF2-40B4-BE49-F238E27FC236}">
                      <a16:creationId xmlns:a16="http://schemas.microsoft.com/office/drawing/2014/main" id="{CF7D1E59-83AB-D33E-7D40-BD6967EC8B6A}"/>
                    </a:ext>
                  </a:extLst>
                </p:cNvPr>
                <p:cNvGrpSpPr/>
                <p:nvPr/>
              </p:nvGrpSpPr>
              <p:grpSpPr>
                <a:xfrm>
                  <a:off x="5074562" y="3643148"/>
                  <a:ext cx="874494" cy="764738"/>
                  <a:chOff x="5074562" y="3643148"/>
                  <a:chExt cx="874494" cy="764738"/>
                </a:xfrm>
                <a:solidFill>
                  <a:srgbClr val="2E3B72"/>
                </a:solidFill>
              </p:grpSpPr>
              <p:sp>
                <p:nvSpPr>
                  <p:cNvPr id="2377" name="Freeform: Shape 2376">
                    <a:extLst>
                      <a:ext uri="{FF2B5EF4-FFF2-40B4-BE49-F238E27FC236}">
                        <a16:creationId xmlns:a16="http://schemas.microsoft.com/office/drawing/2014/main" id="{65A63C60-89BA-A459-9FCE-502FC1A856E5}"/>
                      </a:ext>
                    </a:extLst>
                  </p:cNvPr>
                  <p:cNvSpPr/>
                  <p:nvPr/>
                </p:nvSpPr>
                <p:spPr>
                  <a:xfrm>
                    <a:off x="5521526" y="3643148"/>
                    <a:ext cx="423609" cy="699219"/>
                  </a:xfrm>
                  <a:custGeom>
                    <a:avLst/>
                    <a:gdLst>
                      <a:gd name="connsiteX0" fmla="*/ 325420 w 423609"/>
                      <a:gd name="connsiteY0" fmla="*/ 158437 h 699219"/>
                      <a:gd name="connsiteX1" fmla="*/ 375763 w 423609"/>
                      <a:gd name="connsiteY1" fmla="*/ 372477 h 699219"/>
                      <a:gd name="connsiteX2" fmla="*/ 274424 w 423609"/>
                      <a:gd name="connsiteY2" fmla="*/ 693340 h 699219"/>
                      <a:gd name="connsiteX3" fmla="*/ 699 w 423609"/>
                      <a:gd name="connsiteY3" fmla="*/ 469654 h 699219"/>
                      <a:gd name="connsiteX4" fmla="*/ 39330 w 423609"/>
                      <a:gd name="connsiteY4" fmla="*/ 268754 h 699219"/>
                      <a:gd name="connsiteX5" fmla="*/ 70365 w 423609"/>
                      <a:gd name="connsiteY5" fmla="*/ 50491 h 699219"/>
                      <a:gd name="connsiteX6" fmla="*/ 325435 w 423609"/>
                      <a:gd name="connsiteY6" fmla="*/ 158453 h 69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609" h="699219">
                        <a:moveTo>
                          <a:pt x="325420" y="158437"/>
                        </a:moveTo>
                        <a:cubicBezTo>
                          <a:pt x="325420" y="158437"/>
                          <a:pt x="304259" y="267189"/>
                          <a:pt x="375763" y="372477"/>
                        </a:cubicBezTo>
                        <a:cubicBezTo>
                          <a:pt x="438106" y="464291"/>
                          <a:pt x="469931" y="648967"/>
                          <a:pt x="274424" y="693340"/>
                        </a:cubicBezTo>
                        <a:cubicBezTo>
                          <a:pt x="125827" y="727063"/>
                          <a:pt x="18336" y="610823"/>
                          <a:pt x="699" y="469654"/>
                        </a:cubicBezTo>
                        <a:cubicBezTo>
                          <a:pt x="-6365" y="420238"/>
                          <a:pt x="42519" y="333740"/>
                          <a:pt x="39330" y="268754"/>
                        </a:cubicBezTo>
                        <a:cubicBezTo>
                          <a:pt x="35319" y="187330"/>
                          <a:pt x="13672" y="96610"/>
                          <a:pt x="70365" y="50491"/>
                        </a:cubicBezTo>
                        <a:cubicBezTo>
                          <a:pt x="177703" y="-36827"/>
                          <a:pt x="345183" y="-17063"/>
                          <a:pt x="325435" y="158453"/>
                        </a:cubicBezTo>
                        <a:close/>
                      </a:path>
                    </a:pathLst>
                  </a:custGeom>
                  <a:solidFill>
                    <a:srgbClr val="2E3B7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8" name="Freeform: Shape 2377">
                    <a:extLst>
                      <a:ext uri="{FF2B5EF4-FFF2-40B4-BE49-F238E27FC236}">
                        <a16:creationId xmlns:a16="http://schemas.microsoft.com/office/drawing/2014/main" id="{C4CC4DB4-E20B-DE03-C3FC-983E30B01F6E}"/>
                      </a:ext>
                    </a:extLst>
                  </p:cNvPr>
                  <p:cNvSpPr/>
                  <p:nvPr/>
                </p:nvSpPr>
                <p:spPr>
                  <a:xfrm>
                    <a:off x="5074562" y="4014122"/>
                    <a:ext cx="874494" cy="393764"/>
                  </a:xfrm>
                  <a:custGeom>
                    <a:avLst/>
                    <a:gdLst>
                      <a:gd name="connsiteX0" fmla="*/ 450246 w 874494"/>
                      <a:gd name="connsiteY0" fmla="*/ 15859 h 393764"/>
                      <a:gd name="connsiteX1" fmla="*/ 146686 w 874494"/>
                      <a:gd name="connsiteY1" fmla="*/ 39572 h 393764"/>
                      <a:gd name="connsiteX2" fmla="*/ 2812 w 874494"/>
                      <a:gd name="connsiteY2" fmla="*/ 137599 h 393764"/>
                      <a:gd name="connsiteX3" fmla="*/ 8342 w 874494"/>
                      <a:gd name="connsiteY3" fmla="*/ 353021 h 393764"/>
                      <a:gd name="connsiteX4" fmla="*/ 94110 w 874494"/>
                      <a:gd name="connsiteY4" fmla="*/ 377919 h 393764"/>
                      <a:gd name="connsiteX5" fmla="*/ 363292 w 874494"/>
                      <a:gd name="connsiteY5" fmla="*/ 393733 h 393764"/>
                      <a:gd name="connsiteX6" fmla="*/ 719823 w 874494"/>
                      <a:gd name="connsiteY6" fmla="*/ 354206 h 393764"/>
                      <a:gd name="connsiteX7" fmla="*/ 873981 w 874494"/>
                      <a:gd name="connsiteY7" fmla="*/ 160522 h 393764"/>
                      <a:gd name="connsiteX8" fmla="*/ 450246 w 874494"/>
                      <a:gd name="connsiteY8" fmla="*/ 15859 h 39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494" h="393764">
                        <a:moveTo>
                          <a:pt x="450246" y="15859"/>
                        </a:moveTo>
                        <a:cubicBezTo>
                          <a:pt x="450246" y="15859"/>
                          <a:pt x="229688" y="20598"/>
                          <a:pt x="146686" y="39572"/>
                        </a:cubicBezTo>
                        <a:cubicBezTo>
                          <a:pt x="63682" y="58545"/>
                          <a:pt x="11502" y="71989"/>
                          <a:pt x="2812" y="137599"/>
                        </a:cubicBezTo>
                        <a:cubicBezTo>
                          <a:pt x="-5877" y="203208"/>
                          <a:pt x="8342" y="353021"/>
                          <a:pt x="8342" y="353021"/>
                        </a:cubicBezTo>
                        <a:cubicBezTo>
                          <a:pt x="8342" y="353021"/>
                          <a:pt x="75926" y="375549"/>
                          <a:pt x="94110" y="377919"/>
                        </a:cubicBezTo>
                        <a:cubicBezTo>
                          <a:pt x="112293" y="380289"/>
                          <a:pt x="184632" y="394523"/>
                          <a:pt x="363292" y="393733"/>
                        </a:cubicBezTo>
                        <a:cubicBezTo>
                          <a:pt x="363292" y="393733"/>
                          <a:pt x="577530" y="392943"/>
                          <a:pt x="719823" y="354206"/>
                        </a:cubicBezTo>
                        <a:cubicBezTo>
                          <a:pt x="862117" y="315469"/>
                          <a:pt x="877930" y="207158"/>
                          <a:pt x="873981" y="160522"/>
                        </a:cubicBezTo>
                        <a:cubicBezTo>
                          <a:pt x="870031" y="113886"/>
                          <a:pt x="757770" y="-51346"/>
                          <a:pt x="450246" y="15859"/>
                        </a:cubicBezTo>
                        <a:close/>
                      </a:path>
                    </a:pathLst>
                  </a:custGeom>
                  <a:solidFill>
                    <a:srgbClr val="2E3B7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068" name="Graphic 3200">
                <a:extLst>
                  <a:ext uri="{FF2B5EF4-FFF2-40B4-BE49-F238E27FC236}">
                    <a16:creationId xmlns:a16="http://schemas.microsoft.com/office/drawing/2014/main" id="{4522AF13-B872-05CD-03DB-16F525ABE958}"/>
                  </a:ext>
                </a:extLst>
              </p:cNvPr>
              <p:cNvGrpSpPr/>
              <p:nvPr/>
            </p:nvGrpSpPr>
            <p:grpSpPr>
              <a:xfrm>
                <a:off x="5072240" y="3118024"/>
                <a:ext cx="919519" cy="1289815"/>
                <a:chOff x="5072240" y="3118024"/>
                <a:chExt cx="919519" cy="1289815"/>
              </a:xfrm>
            </p:grpSpPr>
            <p:grpSp>
              <p:nvGrpSpPr>
                <p:cNvPr id="1069" name="Graphic 3200">
                  <a:extLst>
                    <a:ext uri="{FF2B5EF4-FFF2-40B4-BE49-F238E27FC236}">
                      <a16:creationId xmlns:a16="http://schemas.microsoft.com/office/drawing/2014/main" id="{06DB3841-F225-CF6D-9175-2D93D67234A0}"/>
                    </a:ext>
                  </a:extLst>
                </p:cNvPr>
                <p:cNvGrpSpPr/>
                <p:nvPr/>
              </p:nvGrpSpPr>
              <p:grpSpPr>
                <a:xfrm>
                  <a:off x="5127891" y="3341785"/>
                  <a:ext cx="553184" cy="501286"/>
                  <a:chOff x="5127891" y="3341785"/>
                  <a:chExt cx="553184" cy="501286"/>
                </a:xfrm>
              </p:grpSpPr>
              <p:grpSp>
                <p:nvGrpSpPr>
                  <p:cNvPr id="1087" name="Graphic 3200">
                    <a:extLst>
                      <a:ext uri="{FF2B5EF4-FFF2-40B4-BE49-F238E27FC236}">
                        <a16:creationId xmlns:a16="http://schemas.microsoft.com/office/drawing/2014/main" id="{23C566B1-B4BB-C0BC-1560-D86ED550F226}"/>
                      </a:ext>
                    </a:extLst>
                  </p:cNvPr>
                  <p:cNvGrpSpPr/>
                  <p:nvPr/>
                </p:nvGrpSpPr>
                <p:grpSpPr>
                  <a:xfrm>
                    <a:off x="5351232" y="3341785"/>
                    <a:ext cx="329843" cy="497519"/>
                    <a:chOff x="5351232" y="3341785"/>
                    <a:chExt cx="329843" cy="497519"/>
                  </a:xfrm>
                </p:grpSpPr>
                <p:sp>
                  <p:nvSpPr>
                    <p:cNvPr id="2372" name="Freeform: Shape 2371">
                      <a:extLst>
                        <a:ext uri="{FF2B5EF4-FFF2-40B4-BE49-F238E27FC236}">
                          <a16:creationId xmlns:a16="http://schemas.microsoft.com/office/drawing/2014/main" id="{D2B51045-D07B-7E81-A11A-1DC845B7DB9F}"/>
                        </a:ext>
                      </a:extLst>
                    </p:cNvPr>
                    <p:cNvSpPr/>
                    <p:nvPr/>
                  </p:nvSpPr>
                  <p:spPr>
                    <a:xfrm>
                      <a:off x="5357172" y="3343834"/>
                      <a:ext cx="320961" cy="463347"/>
                    </a:xfrm>
                    <a:custGeom>
                      <a:avLst/>
                      <a:gdLst>
                        <a:gd name="connsiteX0" fmla="*/ 222627 w 320961"/>
                        <a:gd name="connsiteY0" fmla="*/ 8966 h 463347"/>
                        <a:gd name="connsiteX1" fmla="*/ 133031 w 320961"/>
                        <a:gd name="connsiteY1" fmla="*/ 129749 h 463347"/>
                        <a:gd name="connsiteX2" fmla="*/ 1067 w 320961"/>
                        <a:gd name="connsiteY2" fmla="*/ 395985 h 463347"/>
                        <a:gd name="connsiteX3" fmla="*/ 90222 w 320961"/>
                        <a:gd name="connsiteY3" fmla="*/ 455184 h 463347"/>
                        <a:gd name="connsiteX4" fmla="*/ 226576 w 320961"/>
                        <a:gd name="connsiteY4" fmla="*/ 316460 h 463347"/>
                        <a:gd name="connsiteX5" fmla="*/ 315686 w 320961"/>
                        <a:gd name="connsiteY5" fmla="*/ 50878 h 463347"/>
                        <a:gd name="connsiteX6" fmla="*/ 222627 w 320961"/>
                        <a:gd name="connsiteY6" fmla="*/ 8981 h 46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961" h="463347">
                          <a:moveTo>
                            <a:pt x="222627" y="8966"/>
                          </a:moveTo>
                          <a:cubicBezTo>
                            <a:pt x="222627" y="8966"/>
                            <a:pt x="179469" y="44786"/>
                            <a:pt x="133031" y="129749"/>
                          </a:cubicBezTo>
                          <a:cubicBezTo>
                            <a:pt x="86607" y="214712"/>
                            <a:pt x="9331" y="359116"/>
                            <a:pt x="1067" y="395985"/>
                          </a:cubicBezTo>
                          <a:cubicBezTo>
                            <a:pt x="-7212" y="432853"/>
                            <a:pt x="33651" y="483256"/>
                            <a:pt x="90222" y="455184"/>
                          </a:cubicBezTo>
                          <a:cubicBezTo>
                            <a:pt x="146793" y="427096"/>
                            <a:pt x="184057" y="372317"/>
                            <a:pt x="226576" y="316460"/>
                          </a:cubicBezTo>
                          <a:cubicBezTo>
                            <a:pt x="317160" y="197455"/>
                            <a:pt x="330771" y="97514"/>
                            <a:pt x="315686" y="50878"/>
                          </a:cubicBezTo>
                          <a:cubicBezTo>
                            <a:pt x="300601" y="4242"/>
                            <a:pt x="246278" y="-11891"/>
                            <a:pt x="222627" y="8981"/>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3" name="Freeform: Shape 2372">
                      <a:extLst>
                        <a:ext uri="{FF2B5EF4-FFF2-40B4-BE49-F238E27FC236}">
                          <a16:creationId xmlns:a16="http://schemas.microsoft.com/office/drawing/2014/main" id="{CA028D91-03C3-C863-AF5A-A6BCB6CBF353}"/>
                        </a:ext>
                      </a:extLst>
                    </p:cNvPr>
                    <p:cNvSpPr/>
                    <p:nvPr/>
                  </p:nvSpPr>
                  <p:spPr>
                    <a:xfrm>
                      <a:off x="5351232" y="3341785"/>
                      <a:ext cx="329843" cy="497519"/>
                    </a:xfrm>
                    <a:custGeom>
                      <a:avLst/>
                      <a:gdLst>
                        <a:gd name="connsiteX0" fmla="*/ 219998 w 329843"/>
                        <a:gd name="connsiteY0" fmla="*/ 16317 h 497519"/>
                        <a:gd name="connsiteX1" fmla="*/ 97226 w 329843"/>
                        <a:gd name="connsiteY1" fmla="*/ 197818 h 497519"/>
                        <a:gd name="connsiteX2" fmla="*/ 459 w 329843"/>
                        <a:gd name="connsiteY2" fmla="*/ 409883 h 497519"/>
                        <a:gd name="connsiteX3" fmla="*/ 80789 w 329843"/>
                        <a:gd name="connsiteY3" fmla="*/ 495560 h 497519"/>
                        <a:gd name="connsiteX4" fmla="*/ 224708 w 329843"/>
                        <a:gd name="connsiteY4" fmla="*/ 347570 h 497519"/>
                        <a:gd name="connsiteX5" fmla="*/ 320547 w 329843"/>
                        <a:gd name="connsiteY5" fmla="*/ 156605 h 497519"/>
                        <a:gd name="connsiteX6" fmla="*/ 285958 w 329843"/>
                        <a:gd name="connsiteY6" fmla="*/ 5729 h 497519"/>
                        <a:gd name="connsiteX7" fmla="*/ 219998 w 329843"/>
                        <a:gd name="connsiteY7" fmla="*/ 16317 h 49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843" h="497519">
                          <a:moveTo>
                            <a:pt x="219998" y="16317"/>
                          </a:moveTo>
                          <a:cubicBezTo>
                            <a:pt x="219998" y="16317"/>
                            <a:pt x="188067" y="34470"/>
                            <a:pt x="97226" y="197818"/>
                          </a:cubicBezTo>
                          <a:cubicBezTo>
                            <a:pt x="6384" y="361166"/>
                            <a:pt x="4272" y="392003"/>
                            <a:pt x="459" y="409883"/>
                          </a:cubicBezTo>
                          <a:cubicBezTo>
                            <a:pt x="-4402" y="432745"/>
                            <a:pt x="29778" y="510811"/>
                            <a:pt x="80789" y="495560"/>
                          </a:cubicBezTo>
                          <a:cubicBezTo>
                            <a:pt x="131800" y="480308"/>
                            <a:pt x="187809" y="399128"/>
                            <a:pt x="224708" y="347570"/>
                          </a:cubicBezTo>
                          <a:cubicBezTo>
                            <a:pt x="261607" y="296012"/>
                            <a:pt x="298429" y="234960"/>
                            <a:pt x="320547" y="156605"/>
                          </a:cubicBezTo>
                          <a:cubicBezTo>
                            <a:pt x="342650" y="78250"/>
                            <a:pt x="323039" y="23198"/>
                            <a:pt x="285958" y="5729"/>
                          </a:cubicBezTo>
                          <a:cubicBezTo>
                            <a:pt x="248892" y="-11741"/>
                            <a:pt x="219998" y="16317"/>
                            <a:pt x="219998" y="16317"/>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4" name="Freeform: Shape 2373">
                      <a:extLst>
                        <a:ext uri="{FF2B5EF4-FFF2-40B4-BE49-F238E27FC236}">
                          <a16:creationId xmlns:a16="http://schemas.microsoft.com/office/drawing/2014/main" id="{AA170F72-08CF-BB17-1C09-752F3C122FCE}"/>
                        </a:ext>
                      </a:extLst>
                    </p:cNvPr>
                    <p:cNvSpPr/>
                    <p:nvPr/>
                  </p:nvSpPr>
                  <p:spPr>
                    <a:xfrm>
                      <a:off x="5458259" y="3482158"/>
                      <a:ext cx="213611" cy="336304"/>
                    </a:xfrm>
                    <a:custGeom>
                      <a:avLst/>
                      <a:gdLst>
                        <a:gd name="connsiteX0" fmla="*/ 67642 w 213611"/>
                        <a:gd name="connsiteY0" fmla="*/ 555 h 336304"/>
                        <a:gd name="connsiteX1" fmla="*/ 8276 w 213611"/>
                        <a:gd name="connsiteY1" fmla="*/ 152585 h 336304"/>
                        <a:gd name="connsiteX2" fmla="*/ 19836 w 213611"/>
                        <a:gd name="connsiteY2" fmla="*/ 336304 h 336304"/>
                        <a:gd name="connsiteX3" fmla="*/ 125914 w 213611"/>
                        <a:gd name="connsiteY3" fmla="*/ 209825 h 336304"/>
                        <a:gd name="connsiteX4" fmla="*/ 213611 w 213611"/>
                        <a:gd name="connsiteY4" fmla="*/ 45019 h 336304"/>
                        <a:gd name="connsiteX5" fmla="*/ 67627 w 213611"/>
                        <a:gd name="connsiteY5" fmla="*/ 540 h 33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611" h="336304">
                          <a:moveTo>
                            <a:pt x="67642" y="555"/>
                          </a:moveTo>
                          <a:cubicBezTo>
                            <a:pt x="67642" y="555"/>
                            <a:pt x="55261" y="-13086"/>
                            <a:pt x="8276" y="152585"/>
                          </a:cubicBezTo>
                          <a:cubicBezTo>
                            <a:pt x="-18688" y="247650"/>
                            <a:pt x="29725" y="269176"/>
                            <a:pt x="19836" y="336304"/>
                          </a:cubicBezTo>
                          <a:cubicBezTo>
                            <a:pt x="59181" y="304753"/>
                            <a:pt x="98009" y="248820"/>
                            <a:pt x="125914" y="209825"/>
                          </a:cubicBezTo>
                          <a:cubicBezTo>
                            <a:pt x="158605" y="164161"/>
                            <a:pt x="191220" y="111023"/>
                            <a:pt x="213611" y="45019"/>
                          </a:cubicBezTo>
                          <a:cubicBezTo>
                            <a:pt x="181133" y="-17568"/>
                            <a:pt x="102247" y="4839"/>
                            <a:pt x="67627" y="540"/>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68" name="Graphic 3200">
                    <a:extLst>
                      <a:ext uri="{FF2B5EF4-FFF2-40B4-BE49-F238E27FC236}">
                        <a16:creationId xmlns:a16="http://schemas.microsoft.com/office/drawing/2014/main" id="{7B5E48F9-D49F-B77C-22A2-50A5CADA4FF3}"/>
                      </a:ext>
                    </a:extLst>
                  </p:cNvPr>
                  <p:cNvGrpSpPr/>
                  <p:nvPr/>
                </p:nvGrpSpPr>
                <p:grpSpPr>
                  <a:xfrm>
                    <a:off x="5127891" y="3643934"/>
                    <a:ext cx="417469" cy="199137"/>
                    <a:chOff x="5127891" y="3643934"/>
                    <a:chExt cx="417469" cy="199137"/>
                  </a:xfrm>
                </p:grpSpPr>
                <p:sp>
                  <p:nvSpPr>
                    <p:cNvPr id="2370" name="Freeform: Shape 2369">
                      <a:extLst>
                        <a:ext uri="{FF2B5EF4-FFF2-40B4-BE49-F238E27FC236}">
                          <a16:creationId xmlns:a16="http://schemas.microsoft.com/office/drawing/2014/main" id="{7CACB016-67E1-3A93-AD12-6C7B21006112}"/>
                        </a:ext>
                      </a:extLst>
                    </p:cNvPr>
                    <p:cNvSpPr/>
                    <p:nvPr/>
                  </p:nvSpPr>
                  <p:spPr>
                    <a:xfrm>
                      <a:off x="5127891" y="3657894"/>
                      <a:ext cx="406105" cy="180134"/>
                    </a:xfrm>
                    <a:custGeom>
                      <a:avLst/>
                      <a:gdLst>
                        <a:gd name="connsiteX0" fmla="*/ 331231 w 406105"/>
                        <a:gd name="connsiteY0" fmla="*/ 180134 h 180134"/>
                        <a:gd name="connsiteX1" fmla="*/ 152981 w 406105"/>
                        <a:gd name="connsiteY1" fmla="*/ 126374 h 180134"/>
                        <a:gd name="connsiteX2" fmla="*/ 236 w 406105"/>
                        <a:gd name="connsiteY2" fmla="*/ 32737 h 180134"/>
                        <a:gd name="connsiteX3" fmla="*/ 79123 w 406105"/>
                        <a:gd name="connsiteY3" fmla="*/ 1474 h 180134"/>
                        <a:gd name="connsiteX4" fmla="*/ 250354 w 406105"/>
                        <a:gd name="connsiteY4" fmla="*/ 27420 h 180134"/>
                        <a:gd name="connsiteX5" fmla="*/ 399195 w 406105"/>
                        <a:gd name="connsiteY5" fmla="*/ 86315 h 180134"/>
                        <a:gd name="connsiteX6" fmla="*/ 331231 w 406105"/>
                        <a:gd name="connsiteY6" fmla="*/ 180119 h 18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105" h="180134">
                          <a:moveTo>
                            <a:pt x="331231" y="180134"/>
                          </a:moveTo>
                          <a:cubicBezTo>
                            <a:pt x="331231" y="180134"/>
                            <a:pt x="241741" y="157272"/>
                            <a:pt x="152981" y="126374"/>
                          </a:cubicBezTo>
                          <a:cubicBezTo>
                            <a:pt x="74034" y="98893"/>
                            <a:pt x="3988" y="62131"/>
                            <a:pt x="236" y="32737"/>
                          </a:cubicBezTo>
                          <a:cubicBezTo>
                            <a:pt x="-3516" y="3343"/>
                            <a:pt x="38062" y="-3478"/>
                            <a:pt x="79123" y="1474"/>
                          </a:cubicBezTo>
                          <a:cubicBezTo>
                            <a:pt x="138701" y="8644"/>
                            <a:pt x="203202" y="18047"/>
                            <a:pt x="250354" y="27420"/>
                          </a:cubicBezTo>
                          <a:cubicBezTo>
                            <a:pt x="316283" y="40545"/>
                            <a:pt x="383518" y="47594"/>
                            <a:pt x="399195" y="86315"/>
                          </a:cubicBezTo>
                          <a:cubicBezTo>
                            <a:pt x="419460" y="136369"/>
                            <a:pt x="394668" y="180681"/>
                            <a:pt x="331231" y="180119"/>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1" name="Freeform: Shape 2370">
                      <a:extLst>
                        <a:ext uri="{FF2B5EF4-FFF2-40B4-BE49-F238E27FC236}">
                          <a16:creationId xmlns:a16="http://schemas.microsoft.com/office/drawing/2014/main" id="{EFCBF5BA-DED8-32B3-3CF8-0007AB2C9AA4}"/>
                        </a:ext>
                      </a:extLst>
                    </p:cNvPr>
                    <p:cNvSpPr/>
                    <p:nvPr/>
                  </p:nvSpPr>
                  <p:spPr>
                    <a:xfrm>
                      <a:off x="5164662" y="3643934"/>
                      <a:ext cx="380699" cy="199137"/>
                    </a:xfrm>
                    <a:custGeom>
                      <a:avLst/>
                      <a:gdLst>
                        <a:gd name="connsiteX0" fmla="*/ 380684 w 380699"/>
                        <a:gd name="connsiteY0" fmla="*/ 136232 h 199137"/>
                        <a:gd name="connsiteX1" fmla="*/ 331769 w 380699"/>
                        <a:gd name="connsiteY1" fmla="*/ 60733 h 199137"/>
                        <a:gd name="connsiteX2" fmla="*/ 26645 w 380699"/>
                        <a:gd name="connsiteY2" fmla="*/ 0 h 199137"/>
                        <a:gd name="connsiteX3" fmla="*/ 0 w 380699"/>
                        <a:gd name="connsiteY3" fmla="*/ 97784 h 199137"/>
                        <a:gd name="connsiteX4" fmla="*/ 302208 w 380699"/>
                        <a:gd name="connsiteY4" fmla="*/ 199077 h 199137"/>
                        <a:gd name="connsiteX5" fmla="*/ 380699 w 380699"/>
                        <a:gd name="connsiteY5" fmla="*/ 136232 h 19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699" h="199137">
                          <a:moveTo>
                            <a:pt x="380684" y="136232"/>
                          </a:moveTo>
                          <a:cubicBezTo>
                            <a:pt x="380684" y="136232"/>
                            <a:pt x="379332" y="77063"/>
                            <a:pt x="331769" y="60733"/>
                          </a:cubicBezTo>
                          <a:cubicBezTo>
                            <a:pt x="284206" y="44403"/>
                            <a:pt x="138313" y="7124"/>
                            <a:pt x="26645" y="0"/>
                          </a:cubicBezTo>
                          <a:cubicBezTo>
                            <a:pt x="26645" y="0"/>
                            <a:pt x="3053" y="53487"/>
                            <a:pt x="0" y="97784"/>
                          </a:cubicBezTo>
                          <a:cubicBezTo>
                            <a:pt x="0" y="97784"/>
                            <a:pt x="235884" y="194337"/>
                            <a:pt x="302208" y="199077"/>
                          </a:cubicBezTo>
                          <a:cubicBezTo>
                            <a:pt x="311170" y="199760"/>
                            <a:pt x="378588" y="195644"/>
                            <a:pt x="380699" y="136232"/>
                          </a:cubicBez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69" name="Freeform: Shape 2368">
                    <a:extLst>
                      <a:ext uri="{FF2B5EF4-FFF2-40B4-BE49-F238E27FC236}">
                        <a16:creationId xmlns:a16="http://schemas.microsoft.com/office/drawing/2014/main" id="{C54FD530-957A-7944-F9AE-A9A17D3C7130}"/>
                      </a:ext>
                    </a:extLst>
                  </p:cNvPr>
                  <p:cNvSpPr/>
                  <p:nvPr/>
                </p:nvSpPr>
                <p:spPr>
                  <a:xfrm>
                    <a:off x="5164646" y="3507018"/>
                    <a:ext cx="378597" cy="307357"/>
                  </a:xfrm>
                  <a:custGeom>
                    <a:avLst/>
                    <a:gdLst>
                      <a:gd name="connsiteX0" fmla="*/ 213159 w 378597"/>
                      <a:gd name="connsiteY0" fmla="*/ 166021 h 307357"/>
                      <a:gd name="connsiteX1" fmla="*/ 26645 w 378597"/>
                      <a:gd name="connsiteY1" fmla="*/ 136931 h 307357"/>
                      <a:gd name="connsiteX2" fmla="*/ 0 w 378597"/>
                      <a:gd name="connsiteY2" fmla="*/ 234715 h 307357"/>
                      <a:gd name="connsiteX3" fmla="*/ 193532 w 378597"/>
                      <a:gd name="connsiteY3" fmla="*/ 307358 h 307357"/>
                      <a:gd name="connsiteX4" fmla="*/ 199183 w 378597"/>
                      <a:gd name="connsiteY4" fmla="*/ 304031 h 307357"/>
                      <a:gd name="connsiteX5" fmla="*/ 336236 w 378597"/>
                      <a:gd name="connsiteY5" fmla="*/ 285635 h 307357"/>
                      <a:gd name="connsiteX6" fmla="*/ 375884 w 378597"/>
                      <a:gd name="connsiteY6" fmla="*/ 295980 h 307357"/>
                      <a:gd name="connsiteX7" fmla="*/ 376476 w 378597"/>
                      <a:gd name="connsiteY7" fmla="*/ 294537 h 307357"/>
                      <a:gd name="connsiteX8" fmla="*/ 344970 w 378597"/>
                      <a:gd name="connsiteY8" fmla="*/ 0 h 307357"/>
                      <a:gd name="connsiteX9" fmla="*/ 279391 w 378597"/>
                      <a:gd name="connsiteY9" fmla="*/ 176306 h 307357"/>
                      <a:gd name="connsiteX10" fmla="*/ 221134 w 378597"/>
                      <a:gd name="connsiteY10" fmla="*/ 152107 h 307357"/>
                      <a:gd name="connsiteX11" fmla="*/ 213159 w 378597"/>
                      <a:gd name="connsiteY11" fmla="*/ 166006 h 30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8597" h="307357">
                        <a:moveTo>
                          <a:pt x="213159" y="166021"/>
                        </a:moveTo>
                        <a:cubicBezTo>
                          <a:pt x="149676" y="150846"/>
                          <a:pt x="94730" y="141260"/>
                          <a:pt x="26645" y="136931"/>
                        </a:cubicBezTo>
                        <a:cubicBezTo>
                          <a:pt x="26645" y="136931"/>
                          <a:pt x="3053" y="190418"/>
                          <a:pt x="0" y="234715"/>
                        </a:cubicBezTo>
                        <a:cubicBezTo>
                          <a:pt x="0" y="234715"/>
                          <a:pt x="104179" y="277356"/>
                          <a:pt x="193532" y="307358"/>
                        </a:cubicBezTo>
                        <a:cubicBezTo>
                          <a:pt x="195446" y="306218"/>
                          <a:pt x="197330" y="305094"/>
                          <a:pt x="199183" y="304031"/>
                        </a:cubicBezTo>
                        <a:cubicBezTo>
                          <a:pt x="240685" y="280136"/>
                          <a:pt x="289903" y="273558"/>
                          <a:pt x="336236" y="285635"/>
                        </a:cubicBezTo>
                        <a:lnTo>
                          <a:pt x="375884" y="295980"/>
                        </a:lnTo>
                        <a:cubicBezTo>
                          <a:pt x="376081" y="295509"/>
                          <a:pt x="376279" y="295023"/>
                          <a:pt x="376476" y="294537"/>
                        </a:cubicBezTo>
                        <a:cubicBezTo>
                          <a:pt x="389571" y="271720"/>
                          <a:pt x="337451" y="31050"/>
                          <a:pt x="344970" y="0"/>
                        </a:cubicBezTo>
                        <a:cubicBezTo>
                          <a:pt x="344970" y="0"/>
                          <a:pt x="282839" y="145028"/>
                          <a:pt x="279391" y="176306"/>
                        </a:cubicBezTo>
                        <a:cubicBezTo>
                          <a:pt x="264413" y="192256"/>
                          <a:pt x="221134" y="152107"/>
                          <a:pt x="221134" y="152107"/>
                        </a:cubicBezTo>
                        <a:cubicBezTo>
                          <a:pt x="217944" y="157742"/>
                          <a:pt x="214602" y="163576"/>
                          <a:pt x="213159" y="166006"/>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70" name="Graphic 3200">
                  <a:extLst>
                    <a:ext uri="{FF2B5EF4-FFF2-40B4-BE49-F238E27FC236}">
                      <a16:creationId xmlns:a16="http://schemas.microsoft.com/office/drawing/2014/main" id="{D1EE6096-FEEA-3169-7B68-31A832396F7C}"/>
                    </a:ext>
                  </a:extLst>
                </p:cNvPr>
                <p:cNvGrpSpPr/>
                <p:nvPr/>
              </p:nvGrpSpPr>
              <p:grpSpPr>
                <a:xfrm>
                  <a:off x="5072240" y="3118024"/>
                  <a:ext cx="919519" cy="1289815"/>
                  <a:chOff x="5072240" y="3118024"/>
                  <a:chExt cx="919519" cy="1289815"/>
                </a:xfrm>
              </p:grpSpPr>
              <p:sp>
                <p:nvSpPr>
                  <p:cNvPr id="1071" name="Freeform: Shape 1070">
                    <a:extLst>
                      <a:ext uri="{FF2B5EF4-FFF2-40B4-BE49-F238E27FC236}">
                        <a16:creationId xmlns:a16="http://schemas.microsoft.com/office/drawing/2014/main" id="{79B4F085-E0E0-CFF5-7F74-BCF7D9868D14}"/>
                      </a:ext>
                    </a:extLst>
                  </p:cNvPr>
                  <p:cNvSpPr/>
                  <p:nvPr/>
                </p:nvSpPr>
                <p:spPr>
                  <a:xfrm>
                    <a:off x="5764109" y="3118024"/>
                    <a:ext cx="133491" cy="180827"/>
                  </a:xfrm>
                  <a:custGeom>
                    <a:avLst/>
                    <a:gdLst>
                      <a:gd name="connsiteX0" fmla="*/ 58880 w 133491"/>
                      <a:gd name="connsiteY0" fmla="*/ 441 h 180827"/>
                      <a:gd name="connsiteX1" fmla="*/ 122561 w 133491"/>
                      <a:gd name="connsiteY1" fmla="*/ 86953 h 180827"/>
                      <a:gd name="connsiteX2" fmla="*/ 92437 w 133491"/>
                      <a:gd name="connsiteY2" fmla="*/ 166387 h 180827"/>
                      <a:gd name="connsiteX3" fmla="*/ 0 w 133491"/>
                      <a:gd name="connsiteY3" fmla="*/ 122576 h 180827"/>
                      <a:gd name="connsiteX4" fmla="*/ 58896 w 133491"/>
                      <a:gd name="connsiteY4" fmla="*/ 441 h 180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91" h="180827">
                        <a:moveTo>
                          <a:pt x="58880" y="441"/>
                        </a:moveTo>
                        <a:cubicBezTo>
                          <a:pt x="58880" y="441"/>
                          <a:pt x="167602" y="-11347"/>
                          <a:pt x="122561" y="86953"/>
                        </a:cubicBezTo>
                        <a:cubicBezTo>
                          <a:pt x="100884" y="134273"/>
                          <a:pt x="115254" y="139909"/>
                          <a:pt x="92437" y="166387"/>
                        </a:cubicBezTo>
                        <a:cubicBezTo>
                          <a:pt x="82563" y="177841"/>
                          <a:pt x="-227" y="207508"/>
                          <a:pt x="0" y="122576"/>
                        </a:cubicBezTo>
                        <a:lnTo>
                          <a:pt x="58896" y="441"/>
                        </a:lnTo>
                        <a:close/>
                      </a:path>
                    </a:pathLst>
                  </a:custGeom>
                  <a:solidFill>
                    <a:srgbClr val="1D25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73" name="Graphic 3200">
                    <a:extLst>
                      <a:ext uri="{FF2B5EF4-FFF2-40B4-BE49-F238E27FC236}">
                        <a16:creationId xmlns:a16="http://schemas.microsoft.com/office/drawing/2014/main" id="{DCCD562D-B7A5-C781-D2A6-630EA742A92B}"/>
                      </a:ext>
                    </a:extLst>
                  </p:cNvPr>
                  <p:cNvGrpSpPr/>
                  <p:nvPr/>
                </p:nvGrpSpPr>
                <p:grpSpPr>
                  <a:xfrm>
                    <a:off x="5072240" y="3158528"/>
                    <a:ext cx="919519" cy="1249311"/>
                    <a:chOff x="5072240" y="3158528"/>
                    <a:chExt cx="919519" cy="1249311"/>
                  </a:xfrm>
                </p:grpSpPr>
                <p:grpSp>
                  <p:nvGrpSpPr>
                    <p:cNvPr id="1074" name="Graphic 3200">
                      <a:extLst>
                        <a:ext uri="{FF2B5EF4-FFF2-40B4-BE49-F238E27FC236}">
                          <a16:creationId xmlns:a16="http://schemas.microsoft.com/office/drawing/2014/main" id="{CEEED67A-A16C-1754-20ED-D3BCCCD461B0}"/>
                        </a:ext>
                      </a:extLst>
                    </p:cNvPr>
                    <p:cNvGrpSpPr/>
                    <p:nvPr/>
                  </p:nvGrpSpPr>
                  <p:grpSpPr>
                    <a:xfrm>
                      <a:off x="5484644" y="3158528"/>
                      <a:ext cx="424363" cy="895524"/>
                      <a:chOff x="5484644" y="3158528"/>
                      <a:chExt cx="424363" cy="895524"/>
                    </a:xfrm>
                  </p:grpSpPr>
                  <p:sp>
                    <p:nvSpPr>
                      <p:cNvPr id="1085" name="Freeform: Shape 1084">
                        <a:extLst>
                          <a:ext uri="{FF2B5EF4-FFF2-40B4-BE49-F238E27FC236}">
                            <a16:creationId xmlns:a16="http://schemas.microsoft.com/office/drawing/2014/main" id="{D9987E62-A5AC-BBA6-BD5F-58962F99F7EA}"/>
                          </a:ext>
                        </a:extLst>
                      </p:cNvPr>
                      <p:cNvSpPr/>
                      <p:nvPr/>
                    </p:nvSpPr>
                    <p:spPr>
                      <a:xfrm>
                        <a:off x="5484644" y="3313919"/>
                        <a:ext cx="424363" cy="740133"/>
                      </a:xfrm>
                      <a:custGeom>
                        <a:avLst/>
                        <a:gdLst>
                          <a:gd name="connsiteX0" fmla="*/ 256634 w 424363"/>
                          <a:gd name="connsiteY0" fmla="*/ 600 h 740133"/>
                          <a:gd name="connsiteX1" fmla="*/ 117607 w 424363"/>
                          <a:gd name="connsiteY1" fmla="*/ 52310 h 740133"/>
                          <a:gd name="connsiteX2" fmla="*/ 17149 w 424363"/>
                          <a:gd name="connsiteY2" fmla="*/ 231532 h 740133"/>
                          <a:gd name="connsiteX3" fmla="*/ 34589 w 424363"/>
                          <a:gd name="connsiteY3" fmla="*/ 409175 h 740133"/>
                          <a:gd name="connsiteX4" fmla="*/ 47121 w 424363"/>
                          <a:gd name="connsiteY4" fmla="*/ 428346 h 740133"/>
                          <a:gd name="connsiteX5" fmla="*/ 54990 w 424363"/>
                          <a:gd name="connsiteY5" fmla="*/ 564714 h 740133"/>
                          <a:gd name="connsiteX6" fmla="*/ 198848 w 424363"/>
                          <a:gd name="connsiteY6" fmla="*/ 738787 h 740133"/>
                          <a:gd name="connsiteX7" fmla="*/ 399474 w 424363"/>
                          <a:gd name="connsiteY7" fmla="*/ 443339 h 740133"/>
                          <a:gd name="connsiteX8" fmla="*/ 423916 w 424363"/>
                          <a:gd name="connsiteY8" fmla="*/ 140311 h 740133"/>
                          <a:gd name="connsiteX9" fmla="*/ 256649 w 424363"/>
                          <a:gd name="connsiteY9" fmla="*/ 615 h 74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4363" h="740133">
                            <a:moveTo>
                              <a:pt x="256634" y="600"/>
                            </a:moveTo>
                            <a:cubicBezTo>
                              <a:pt x="196174" y="-3076"/>
                              <a:pt x="160612" y="9654"/>
                              <a:pt x="117607" y="52310"/>
                            </a:cubicBezTo>
                            <a:cubicBezTo>
                              <a:pt x="80951" y="88662"/>
                              <a:pt x="46924" y="172166"/>
                              <a:pt x="17149" y="231532"/>
                            </a:cubicBezTo>
                            <a:cubicBezTo>
                              <a:pt x="-11865" y="289364"/>
                              <a:pt x="-2750" y="340876"/>
                              <a:pt x="34589" y="409175"/>
                            </a:cubicBezTo>
                            <a:cubicBezTo>
                              <a:pt x="37019" y="413610"/>
                              <a:pt x="47121" y="428346"/>
                              <a:pt x="47121" y="428346"/>
                            </a:cubicBezTo>
                            <a:cubicBezTo>
                              <a:pt x="47121" y="428346"/>
                              <a:pt x="47926" y="506138"/>
                              <a:pt x="54990" y="564714"/>
                            </a:cubicBezTo>
                            <a:cubicBezTo>
                              <a:pt x="60869" y="613492"/>
                              <a:pt x="69118" y="721454"/>
                              <a:pt x="198848" y="738787"/>
                            </a:cubicBezTo>
                            <a:cubicBezTo>
                              <a:pt x="328609" y="756120"/>
                              <a:pt x="375625" y="603238"/>
                              <a:pt x="399474" y="443339"/>
                            </a:cubicBezTo>
                            <a:cubicBezTo>
                              <a:pt x="417233" y="324242"/>
                              <a:pt x="426575" y="201712"/>
                              <a:pt x="423916" y="140311"/>
                            </a:cubicBezTo>
                            <a:cubicBezTo>
                              <a:pt x="420377" y="58660"/>
                              <a:pt x="362561" y="7056"/>
                              <a:pt x="256649" y="61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6" name="Freeform: Shape 1085">
                        <a:extLst>
                          <a:ext uri="{FF2B5EF4-FFF2-40B4-BE49-F238E27FC236}">
                            <a16:creationId xmlns:a16="http://schemas.microsoft.com/office/drawing/2014/main" id="{1E9A09C9-3816-64C9-13B1-8E137AFDD08A}"/>
                          </a:ext>
                        </a:extLst>
                      </p:cNvPr>
                      <p:cNvSpPr/>
                      <p:nvPr/>
                    </p:nvSpPr>
                    <p:spPr>
                      <a:xfrm>
                        <a:off x="5639611" y="3158528"/>
                        <a:ext cx="159673" cy="243562"/>
                      </a:xfrm>
                      <a:custGeom>
                        <a:avLst/>
                        <a:gdLst>
                          <a:gd name="connsiteX0" fmla="*/ 7849 w 159673"/>
                          <a:gd name="connsiteY0" fmla="*/ 117877 h 243562"/>
                          <a:gd name="connsiteX1" fmla="*/ 6101 w 159673"/>
                          <a:gd name="connsiteY1" fmla="*/ 176529 h 243562"/>
                          <a:gd name="connsiteX2" fmla="*/ 35663 w 159673"/>
                          <a:gd name="connsiteY2" fmla="*/ 241471 h 243562"/>
                          <a:gd name="connsiteX3" fmla="*/ 149808 w 159673"/>
                          <a:gd name="connsiteY3" fmla="*/ 206334 h 243562"/>
                          <a:gd name="connsiteX4" fmla="*/ 154258 w 159673"/>
                          <a:gd name="connsiteY4" fmla="*/ 163967 h 243562"/>
                          <a:gd name="connsiteX5" fmla="*/ 138840 w 159673"/>
                          <a:gd name="connsiteY5" fmla="*/ 39735 h 243562"/>
                          <a:gd name="connsiteX6" fmla="*/ 75737 w 159673"/>
                          <a:gd name="connsiteY6" fmla="*/ 4857 h 243562"/>
                          <a:gd name="connsiteX7" fmla="*/ 7849 w 159673"/>
                          <a:gd name="connsiteY7" fmla="*/ 117862 h 24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73" h="243562">
                            <a:moveTo>
                              <a:pt x="7849" y="117877"/>
                            </a:moveTo>
                            <a:cubicBezTo>
                              <a:pt x="7849" y="117877"/>
                              <a:pt x="12284" y="151009"/>
                              <a:pt x="6101" y="176529"/>
                            </a:cubicBezTo>
                            <a:cubicBezTo>
                              <a:pt x="-81" y="202050"/>
                              <a:pt x="-12355" y="229060"/>
                              <a:pt x="35663" y="241471"/>
                            </a:cubicBezTo>
                            <a:cubicBezTo>
                              <a:pt x="73139" y="251147"/>
                              <a:pt x="137108" y="225156"/>
                              <a:pt x="149808" y="206334"/>
                            </a:cubicBezTo>
                            <a:cubicBezTo>
                              <a:pt x="162507" y="187528"/>
                              <a:pt x="161763" y="184292"/>
                              <a:pt x="154258" y="163967"/>
                            </a:cubicBezTo>
                            <a:cubicBezTo>
                              <a:pt x="150096" y="152680"/>
                              <a:pt x="133341" y="127265"/>
                              <a:pt x="138840" y="39735"/>
                            </a:cubicBezTo>
                            <a:cubicBezTo>
                              <a:pt x="140921" y="12498"/>
                              <a:pt x="109035" y="-10319"/>
                              <a:pt x="75737" y="4857"/>
                            </a:cubicBezTo>
                            <a:cubicBezTo>
                              <a:pt x="52525" y="15445"/>
                              <a:pt x="116" y="30120"/>
                              <a:pt x="7849" y="11786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75" name="Graphic 3200">
                      <a:extLst>
                        <a:ext uri="{FF2B5EF4-FFF2-40B4-BE49-F238E27FC236}">
                          <a16:creationId xmlns:a16="http://schemas.microsoft.com/office/drawing/2014/main" id="{0527E57F-37E6-AF43-CDD2-169D26847463}"/>
                        </a:ext>
                      </a:extLst>
                    </p:cNvPr>
                    <p:cNvGrpSpPr/>
                    <p:nvPr/>
                  </p:nvGrpSpPr>
                  <p:grpSpPr>
                    <a:xfrm>
                      <a:off x="5072240" y="3312848"/>
                      <a:ext cx="919519" cy="1094991"/>
                      <a:chOff x="5072240" y="3312848"/>
                      <a:chExt cx="919519" cy="1094991"/>
                    </a:xfrm>
                  </p:grpSpPr>
                  <p:grpSp>
                    <p:nvGrpSpPr>
                      <p:cNvPr id="1076" name="Graphic 3200">
                        <a:extLst>
                          <a:ext uri="{FF2B5EF4-FFF2-40B4-BE49-F238E27FC236}">
                            <a16:creationId xmlns:a16="http://schemas.microsoft.com/office/drawing/2014/main" id="{B5AF58E5-ED11-5FCD-A6C6-A95CCE52DDD9}"/>
                          </a:ext>
                        </a:extLst>
                      </p:cNvPr>
                      <p:cNvGrpSpPr/>
                      <p:nvPr/>
                    </p:nvGrpSpPr>
                    <p:grpSpPr>
                      <a:xfrm>
                        <a:off x="5072240" y="3312848"/>
                        <a:ext cx="919519" cy="1094991"/>
                        <a:chOff x="5072240" y="3312848"/>
                        <a:chExt cx="919519" cy="1094991"/>
                      </a:xfrm>
                      <a:solidFill>
                        <a:srgbClr val="EBF8FF"/>
                      </a:solidFill>
                    </p:grpSpPr>
                    <p:sp>
                      <p:nvSpPr>
                        <p:cNvPr id="1083" name="Freeform: Shape 1082">
                          <a:extLst>
                            <a:ext uri="{FF2B5EF4-FFF2-40B4-BE49-F238E27FC236}">
                              <a16:creationId xmlns:a16="http://schemas.microsoft.com/office/drawing/2014/main" id="{E7F3CDBA-977A-8EC9-97C2-3C143C69A47C}"/>
                            </a:ext>
                          </a:extLst>
                        </p:cNvPr>
                        <p:cNvSpPr/>
                        <p:nvPr/>
                      </p:nvSpPr>
                      <p:spPr>
                        <a:xfrm>
                          <a:off x="5478814" y="3312848"/>
                          <a:ext cx="512945" cy="1039244"/>
                        </a:xfrm>
                        <a:custGeom>
                          <a:avLst/>
                          <a:gdLst>
                            <a:gd name="connsiteX0" fmla="*/ 311000 w 512945"/>
                            <a:gd name="connsiteY0" fmla="*/ 0 h 1039244"/>
                            <a:gd name="connsiteX1" fmla="*/ 368679 w 512945"/>
                            <a:gd name="connsiteY1" fmla="*/ 30640 h 1039244"/>
                            <a:gd name="connsiteX2" fmla="*/ 442507 w 512945"/>
                            <a:gd name="connsiteY2" fmla="*/ 147382 h 1039244"/>
                            <a:gd name="connsiteX3" fmla="*/ 456513 w 512945"/>
                            <a:gd name="connsiteY3" fmla="*/ 641953 h 1039244"/>
                            <a:gd name="connsiteX4" fmla="*/ 504304 w 512945"/>
                            <a:gd name="connsiteY4" fmla="*/ 912214 h 1039244"/>
                            <a:gd name="connsiteX5" fmla="*/ 188819 w 512945"/>
                            <a:gd name="connsiteY5" fmla="*/ 1015406 h 1039244"/>
                            <a:gd name="connsiteX6" fmla="*/ 59833 w 512945"/>
                            <a:gd name="connsiteY6" fmla="*/ 711724 h 1039244"/>
                            <a:gd name="connsiteX7" fmla="*/ 55412 w 512945"/>
                            <a:gd name="connsiteY7" fmla="*/ 524497 h 1039244"/>
                            <a:gd name="connsiteX8" fmla="*/ 44353 w 512945"/>
                            <a:gd name="connsiteY8" fmla="*/ 415031 h 1039244"/>
                            <a:gd name="connsiteX9" fmla="*/ 133 w 512945"/>
                            <a:gd name="connsiteY9" fmla="*/ 296724 h 1039244"/>
                            <a:gd name="connsiteX10" fmla="*/ 92266 w 512945"/>
                            <a:gd name="connsiteY10" fmla="*/ 88867 h 1039244"/>
                            <a:gd name="connsiteX11" fmla="*/ 167658 w 512945"/>
                            <a:gd name="connsiteY11" fmla="*/ 18791 h 1039244"/>
                            <a:gd name="connsiteX12" fmla="*/ 67945 w 512945"/>
                            <a:gd name="connsiteY12" fmla="*/ 250301 h 1039244"/>
                            <a:gd name="connsiteX13" fmla="*/ 221996 w 512945"/>
                            <a:gd name="connsiteY13" fmla="*/ 83717 h 1039244"/>
                            <a:gd name="connsiteX14" fmla="*/ 311000 w 512945"/>
                            <a:gd name="connsiteY14" fmla="*/ 0 h 103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2945" h="1039244">
                              <a:moveTo>
                                <a:pt x="311000" y="0"/>
                              </a:moveTo>
                              <a:cubicBezTo>
                                <a:pt x="311000" y="0"/>
                                <a:pt x="341412" y="15161"/>
                                <a:pt x="368679" y="30640"/>
                              </a:cubicBezTo>
                              <a:cubicBezTo>
                                <a:pt x="395947" y="46120"/>
                                <a:pt x="437357" y="64091"/>
                                <a:pt x="442507" y="147382"/>
                              </a:cubicBezTo>
                              <a:cubicBezTo>
                                <a:pt x="447672" y="230674"/>
                                <a:pt x="424187" y="485714"/>
                                <a:pt x="456513" y="641953"/>
                              </a:cubicBezTo>
                              <a:cubicBezTo>
                                <a:pt x="468286" y="698827"/>
                                <a:pt x="536736" y="804602"/>
                                <a:pt x="504304" y="912214"/>
                              </a:cubicBezTo>
                              <a:cubicBezTo>
                                <a:pt x="471871" y="1019827"/>
                                <a:pt x="295702" y="1073633"/>
                                <a:pt x="188819" y="1015406"/>
                              </a:cubicBezTo>
                              <a:cubicBezTo>
                                <a:pt x="81936" y="957179"/>
                                <a:pt x="56142" y="793543"/>
                                <a:pt x="59833" y="711724"/>
                              </a:cubicBezTo>
                              <a:cubicBezTo>
                                <a:pt x="63524" y="629906"/>
                                <a:pt x="59089" y="562823"/>
                                <a:pt x="55412" y="524497"/>
                              </a:cubicBezTo>
                              <a:cubicBezTo>
                                <a:pt x="51721" y="486170"/>
                                <a:pt x="46571" y="426834"/>
                                <a:pt x="44353" y="415031"/>
                              </a:cubicBezTo>
                              <a:cubicBezTo>
                                <a:pt x="44353" y="415031"/>
                                <a:pt x="-2814" y="361589"/>
                                <a:pt x="133" y="296724"/>
                              </a:cubicBezTo>
                              <a:cubicBezTo>
                                <a:pt x="3080" y="231859"/>
                                <a:pt x="75206" y="120494"/>
                                <a:pt x="92266" y="88867"/>
                              </a:cubicBezTo>
                              <a:cubicBezTo>
                                <a:pt x="109963" y="56070"/>
                                <a:pt x="146117" y="22650"/>
                                <a:pt x="167658" y="18791"/>
                              </a:cubicBezTo>
                              <a:cubicBezTo>
                                <a:pt x="167658" y="18791"/>
                                <a:pt x="96686" y="95505"/>
                                <a:pt x="67945" y="250301"/>
                              </a:cubicBezTo>
                              <a:cubicBezTo>
                                <a:pt x="67945" y="250301"/>
                                <a:pt x="130592" y="145635"/>
                                <a:pt x="221996" y="83717"/>
                              </a:cubicBezTo>
                              <a:cubicBezTo>
                                <a:pt x="221996" y="83717"/>
                                <a:pt x="299211" y="24336"/>
                                <a:pt x="311000" y="0"/>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4" name="Freeform: Shape 1083">
                          <a:extLst>
                            <a:ext uri="{FF2B5EF4-FFF2-40B4-BE49-F238E27FC236}">
                              <a16:creationId xmlns:a16="http://schemas.microsoft.com/office/drawing/2014/main" id="{D0F36344-1B4D-4568-FD8E-D96073039B64}"/>
                            </a:ext>
                          </a:extLst>
                        </p:cNvPr>
                        <p:cNvSpPr/>
                        <p:nvPr/>
                      </p:nvSpPr>
                      <p:spPr>
                        <a:xfrm>
                          <a:off x="5072240" y="3995744"/>
                          <a:ext cx="916829" cy="412094"/>
                        </a:xfrm>
                        <a:custGeom>
                          <a:avLst/>
                          <a:gdLst>
                            <a:gd name="connsiteX0" fmla="*/ 479379 w 916829"/>
                            <a:gd name="connsiteY0" fmla="*/ 16098 h 412094"/>
                            <a:gd name="connsiteX1" fmla="*/ 100746 w 916829"/>
                            <a:gd name="connsiteY1" fmla="*/ 59468 h 412094"/>
                            <a:gd name="connsiteX2" fmla="*/ 273 w 916829"/>
                            <a:gd name="connsiteY2" fmla="*/ 189624 h 412094"/>
                            <a:gd name="connsiteX3" fmla="*/ 2005 w 916829"/>
                            <a:gd name="connsiteY3" fmla="*/ 191052 h 412094"/>
                            <a:gd name="connsiteX4" fmla="*/ 86679 w 916829"/>
                            <a:gd name="connsiteY4" fmla="*/ 213018 h 412094"/>
                            <a:gd name="connsiteX5" fmla="*/ 199760 w 916829"/>
                            <a:gd name="connsiteY5" fmla="*/ 156067 h 412094"/>
                            <a:gd name="connsiteX6" fmla="*/ 132389 w 916829"/>
                            <a:gd name="connsiteY6" fmla="*/ 231779 h 412094"/>
                            <a:gd name="connsiteX7" fmla="*/ 365599 w 916829"/>
                            <a:gd name="connsiteY7" fmla="*/ 412095 h 412094"/>
                            <a:gd name="connsiteX8" fmla="*/ 825170 w 916829"/>
                            <a:gd name="connsiteY8" fmla="*/ 339042 h 412094"/>
                            <a:gd name="connsiteX9" fmla="*/ 895504 w 916829"/>
                            <a:gd name="connsiteY9" fmla="*/ 89364 h 412094"/>
                            <a:gd name="connsiteX10" fmla="*/ 479364 w 916829"/>
                            <a:gd name="connsiteY10" fmla="*/ 16098 h 412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829" h="412094">
                              <a:moveTo>
                                <a:pt x="479379" y="16098"/>
                              </a:moveTo>
                              <a:cubicBezTo>
                                <a:pt x="479379" y="16098"/>
                                <a:pt x="251971" y="20792"/>
                                <a:pt x="100746" y="59468"/>
                              </a:cubicBezTo>
                              <a:cubicBezTo>
                                <a:pt x="-7216" y="88893"/>
                                <a:pt x="-274" y="176043"/>
                                <a:pt x="273" y="189624"/>
                              </a:cubicBezTo>
                              <a:cubicBezTo>
                                <a:pt x="303" y="190520"/>
                                <a:pt x="1109" y="191189"/>
                                <a:pt x="2005" y="191052"/>
                              </a:cubicBezTo>
                              <a:cubicBezTo>
                                <a:pt x="9798" y="189897"/>
                                <a:pt x="44448" y="186753"/>
                                <a:pt x="86679" y="213018"/>
                              </a:cubicBezTo>
                              <a:cubicBezTo>
                                <a:pt x="86679" y="213018"/>
                                <a:pt x="118884" y="164270"/>
                                <a:pt x="199760" y="156067"/>
                              </a:cubicBezTo>
                              <a:cubicBezTo>
                                <a:pt x="199760" y="156067"/>
                                <a:pt x="149964" y="180783"/>
                                <a:pt x="132389" y="231779"/>
                              </a:cubicBezTo>
                              <a:cubicBezTo>
                                <a:pt x="132389" y="231779"/>
                                <a:pt x="286470" y="280222"/>
                                <a:pt x="365599" y="412095"/>
                              </a:cubicBezTo>
                              <a:cubicBezTo>
                                <a:pt x="365599" y="412095"/>
                                <a:pt x="684928" y="406732"/>
                                <a:pt x="825170" y="339042"/>
                              </a:cubicBezTo>
                              <a:cubicBezTo>
                                <a:pt x="961144" y="273402"/>
                                <a:pt x="909570" y="136835"/>
                                <a:pt x="895504" y="89364"/>
                              </a:cubicBezTo>
                              <a:cubicBezTo>
                                <a:pt x="881437" y="41892"/>
                                <a:pt x="641132" y="-33135"/>
                                <a:pt x="479364" y="16098"/>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77" name="Graphic 3200">
                        <a:extLst>
                          <a:ext uri="{FF2B5EF4-FFF2-40B4-BE49-F238E27FC236}">
                            <a16:creationId xmlns:a16="http://schemas.microsoft.com/office/drawing/2014/main" id="{8F04710E-7E32-A720-1F3A-DB03B7F32F0F}"/>
                          </a:ext>
                        </a:extLst>
                      </p:cNvPr>
                      <p:cNvGrpSpPr/>
                      <p:nvPr/>
                    </p:nvGrpSpPr>
                    <p:grpSpPr>
                      <a:xfrm>
                        <a:off x="5271514" y="3312848"/>
                        <a:ext cx="622000" cy="839191"/>
                        <a:chOff x="5271514" y="3312848"/>
                        <a:chExt cx="622000" cy="839191"/>
                      </a:xfrm>
                      <a:solidFill>
                        <a:srgbClr val="ACDBF2"/>
                      </a:solidFill>
                    </p:grpSpPr>
                    <p:sp>
                      <p:nvSpPr>
                        <p:cNvPr id="1078" name="Freeform: Shape 1077">
                          <a:extLst>
                            <a:ext uri="{FF2B5EF4-FFF2-40B4-BE49-F238E27FC236}">
                              <a16:creationId xmlns:a16="http://schemas.microsoft.com/office/drawing/2014/main" id="{51BE2BAA-16DF-DF35-C774-E9045D84E803}"/>
                            </a:ext>
                          </a:extLst>
                        </p:cNvPr>
                        <p:cNvSpPr/>
                        <p:nvPr/>
                      </p:nvSpPr>
                      <p:spPr>
                        <a:xfrm>
                          <a:off x="5510665" y="3391738"/>
                          <a:ext cx="382849" cy="583193"/>
                        </a:xfrm>
                        <a:custGeom>
                          <a:avLst/>
                          <a:gdLst>
                            <a:gd name="connsiteX0" fmla="*/ 376491 w 382849"/>
                            <a:gd name="connsiteY0" fmla="*/ 161491 h 583193"/>
                            <a:gd name="connsiteX1" fmla="*/ 344970 w 382849"/>
                            <a:gd name="connsiteY1" fmla="*/ 5131 h 583193"/>
                            <a:gd name="connsiteX2" fmla="*/ 197087 w 382849"/>
                            <a:gd name="connsiteY2" fmla="*/ 81496 h 583193"/>
                            <a:gd name="connsiteX3" fmla="*/ 88122 w 382849"/>
                            <a:gd name="connsiteY3" fmla="*/ 341017 h 583193"/>
                            <a:gd name="connsiteX4" fmla="*/ 0 w 382849"/>
                            <a:gd name="connsiteY4" fmla="*/ 319355 h 583193"/>
                            <a:gd name="connsiteX5" fmla="*/ 12472 w 382849"/>
                            <a:gd name="connsiteY5" fmla="*/ 336156 h 583193"/>
                            <a:gd name="connsiteX6" fmla="*/ 23531 w 382849"/>
                            <a:gd name="connsiteY6" fmla="*/ 445622 h 583193"/>
                            <a:gd name="connsiteX7" fmla="*/ 28878 w 382849"/>
                            <a:gd name="connsiteY7" fmla="*/ 535218 h 583193"/>
                            <a:gd name="connsiteX8" fmla="*/ 154659 w 382849"/>
                            <a:gd name="connsiteY8" fmla="*/ 580897 h 583193"/>
                            <a:gd name="connsiteX9" fmla="*/ 277082 w 382849"/>
                            <a:gd name="connsiteY9" fmla="*/ 483933 h 583193"/>
                            <a:gd name="connsiteX10" fmla="*/ 376476 w 382849"/>
                            <a:gd name="connsiteY10" fmla="*/ 161506 h 58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849" h="583193">
                              <a:moveTo>
                                <a:pt x="376491" y="161491"/>
                              </a:moveTo>
                              <a:cubicBezTo>
                                <a:pt x="376491" y="161491"/>
                                <a:pt x="403881" y="18316"/>
                                <a:pt x="344970" y="5131"/>
                              </a:cubicBezTo>
                              <a:cubicBezTo>
                                <a:pt x="265674" y="-12627"/>
                                <a:pt x="237586" y="16403"/>
                                <a:pt x="197087" y="81496"/>
                              </a:cubicBezTo>
                              <a:cubicBezTo>
                                <a:pt x="135275" y="180890"/>
                                <a:pt x="88122" y="341017"/>
                                <a:pt x="88122" y="341017"/>
                              </a:cubicBezTo>
                              <a:lnTo>
                                <a:pt x="0" y="319355"/>
                              </a:lnTo>
                              <a:cubicBezTo>
                                <a:pt x="11940" y="342794"/>
                                <a:pt x="12472" y="336156"/>
                                <a:pt x="12472" y="336156"/>
                              </a:cubicBezTo>
                              <a:cubicBezTo>
                                <a:pt x="14689" y="347944"/>
                                <a:pt x="19839" y="407280"/>
                                <a:pt x="23531" y="445622"/>
                              </a:cubicBezTo>
                              <a:cubicBezTo>
                                <a:pt x="25612" y="467208"/>
                                <a:pt x="27921" y="497909"/>
                                <a:pt x="28878" y="535218"/>
                              </a:cubicBezTo>
                              <a:cubicBezTo>
                                <a:pt x="76258" y="556242"/>
                                <a:pt x="122621" y="571752"/>
                                <a:pt x="154659" y="580897"/>
                              </a:cubicBezTo>
                              <a:cubicBezTo>
                                <a:pt x="208829" y="596376"/>
                                <a:pt x="257805" y="530220"/>
                                <a:pt x="277082" y="483933"/>
                              </a:cubicBezTo>
                              <a:cubicBezTo>
                                <a:pt x="307388" y="411199"/>
                                <a:pt x="376476" y="161506"/>
                                <a:pt x="376476" y="161506"/>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79" name="Graphic 3200">
                          <a:extLst>
                            <a:ext uri="{FF2B5EF4-FFF2-40B4-BE49-F238E27FC236}">
                              <a16:creationId xmlns:a16="http://schemas.microsoft.com/office/drawing/2014/main" id="{CED3A513-A6DC-EF29-EEC7-9DB75402125C}"/>
                            </a:ext>
                          </a:extLst>
                        </p:cNvPr>
                        <p:cNvGrpSpPr/>
                        <p:nvPr/>
                      </p:nvGrpSpPr>
                      <p:grpSpPr>
                        <a:xfrm>
                          <a:off x="5546743" y="3312848"/>
                          <a:ext cx="243054" cy="250300"/>
                          <a:chOff x="5546743" y="3312848"/>
                          <a:chExt cx="243054" cy="250300"/>
                        </a:xfrm>
                        <a:solidFill>
                          <a:srgbClr val="ACDBF2"/>
                        </a:solidFill>
                      </p:grpSpPr>
                      <p:sp>
                        <p:nvSpPr>
                          <p:cNvPr id="1081" name="Freeform: Shape 1080">
                            <a:extLst>
                              <a:ext uri="{FF2B5EF4-FFF2-40B4-BE49-F238E27FC236}">
                                <a16:creationId xmlns:a16="http://schemas.microsoft.com/office/drawing/2014/main" id="{6522A8AB-539C-4EA7-7975-AFA9709368E7}"/>
                              </a:ext>
                            </a:extLst>
                          </p:cNvPr>
                          <p:cNvSpPr/>
                          <p:nvPr/>
                        </p:nvSpPr>
                        <p:spPr>
                          <a:xfrm>
                            <a:off x="5546743" y="3331639"/>
                            <a:ext cx="99712" cy="231509"/>
                          </a:xfrm>
                          <a:custGeom>
                            <a:avLst/>
                            <a:gdLst>
                              <a:gd name="connsiteX0" fmla="*/ 99713 w 99712"/>
                              <a:gd name="connsiteY0" fmla="*/ 0 h 231509"/>
                              <a:gd name="connsiteX1" fmla="*/ 0 w 99712"/>
                              <a:gd name="connsiteY1" fmla="*/ 231509 h 231509"/>
                              <a:gd name="connsiteX2" fmla="*/ 23956 w 99712"/>
                              <a:gd name="connsiteY2" fmla="*/ 85008 h 231509"/>
                              <a:gd name="connsiteX3" fmla="*/ 93029 w 99712"/>
                              <a:gd name="connsiteY3" fmla="*/ 6790 h 231509"/>
                              <a:gd name="connsiteX4" fmla="*/ 99713 w 99712"/>
                              <a:gd name="connsiteY4" fmla="*/ 15 h 231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12" h="231509">
                                <a:moveTo>
                                  <a:pt x="99713" y="0"/>
                                </a:moveTo>
                                <a:cubicBezTo>
                                  <a:pt x="90416" y="10527"/>
                                  <a:pt x="26569" y="88442"/>
                                  <a:pt x="0" y="231509"/>
                                </a:cubicBezTo>
                                <a:cubicBezTo>
                                  <a:pt x="0" y="231509"/>
                                  <a:pt x="6258" y="103435"/>
                                  <a:pt x="23956" y="85008"/>
                                </a:cubicBezTo>
                                <a:cubicBezTo>
                                  <a:pt x="37689" y="70699"/>
                                  <a:pt x="75742" y="26204"/>
                                  <a:pt x="93029" y="6790"/>
                                </a:cubicBezTo>
                                <a:cubicBezTo>
                                  <a:pt x="96174" y="3251"/>
                                  <a:pt x="98407" y="1458"/>
                                  <a:pt x="99713" y="15"/>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2" name="Freeform: Shape 1081">
                            <a:extLst>
                              <a:ext uri="{FF2B5EF4-FFF2-40B4-BE49-F238E27FC236}">
                                <a16:creationId xmlns:a16="http://schemas.microsoft.com/office/drawing/2014/main" id="{4423ADCD-08E5-21DB-B47E-1A031A4FB17B}"/>
                              </a:ext>
                            </a:extLst>
                          </p:cNvPr>
                          <p:cNvSpPr/>
                          <p:nvPr/>
                        </p:nvSpPr>
                        <p:spPr>
                          <a:xfrm>
                            <a:off x="5546743" y="3312848"/>
                            <a:ext cx="243054" cy="250300"/>
                          </a:xfrm>
                          <a:custGeom>
                            <a:avLst/>
                            <a:gdLst>
                              <a:gd name="connsiteX0" fmla="*/ 142263 w 243054"/>
                              <a:gd name="connsiteY0" fmla="*/ 152259 h 250300"/>
                              <a:gd name="connsiteX1" fmla="*/ 0 w 243054"/>
                              <a:gd name="connsiteY1" fmla="*/ 250301 h 250300"/>
                              <a:gd name="connsiteX2" fmla="*/ 154051 w 243054"/>
                              <a:gd name="connsiteY2" fmla="*/ 83717 h 250300"/>
                              <a:gd name="connsiteX3" fmla="*/ 243055 w 243054"/>
                              <a:gd name="connsiteY3" fmla="*/ 0 h 250300"/>
                              <a:gd name="connsiteX4" fmla="*/ 193851 w 243054"/>
                              <a:gd name="connsiteY4" fmla="*/ 110256 h 250300"/>
                              <a:gd name="connsiteX5" fmla="*/ 142248 w 243054"/>
                              <a:gd name="connsiteY5" fmla="*/ 152274 h 25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054" h="250300">
                                <a:moveTo>
                                  <a:pt x="142263" y="152259"/>
                                </a:moveTo>
                                <a:cubicBezTo>
                                  <a:pt x="75924" y="182473"/>
                                  <a:pt x="0" y="250301"/>
                                  <a:pt x="0" y="250301"/>
                                </a:cubicBezTo>
                                <a:cubicBezTo>
                                  <a:pt x="0" y="250301"/>
                                  <a:pt x="62647" y="145635"/>
                                  <a:pt x="154051" y="83717"/>
                                </a:cubicBezTo>
                                <a:cubicBezTo>
                                  <a:pt x="154051" y="83717"/>
                                  <a:pt x="231266" y="24336"/>
                                  <a:pt x="243055" y="0"/>
                                </a:cubicBezTo>
                                <a:cubicBezTo>
                                  <a:pt x="238634" y="25794"/>
                                  <a:pt x="216698" y="53487"/>
                                  <a:pt x="193851" y="110256"/>
                                </a:cubicBezTo>
                                <a:cubicBezTo>
                                  <a:pt x="185101" y="131994"/>
                                  <a:pt x="163636" y="141944"/>
                                  <a:pt x="142248" y="152274"/>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80" name="Freeform: Shape 1079">
                          <a:extLst>
                            <a:ext uri="{FF2B5EF4-FFF2-40B4-BE49-F238E27FC236}">
                              <a16:creationId xmlns:a16="http://schemas.microsoft.com/office/drawing/2014/main" id="{AF029526-FDBE-A2B3-DDDE-55A028E56C96}"/>
                            </a:ext>
                          </a:extLst>
                        </p:cNvPr>
                        <p:cNvSpPr/>
                        <p:nvPr/>
                      </p:nvSpPr>
                      <p:spPr>
                        <a:xfrm>
                          <a:off x="5271514" y="3563088"/>
                          <a:ext cx="315126" cy="588951"/>
                        </a:xfrm>
                        <a:custGeom>
                          <a:avLst/>
                          <a:gdLst>
                            <a:gd name="connsiteX0" fmla="*/ 275244 w 315126"/>
                            <a:gd name="connsiteY0" fmla="*/ 61 h 588951"/>
                            <a:gd name="connsiteX1" fmla="*/ 269046 w 315126"/>
                            <a:gd name="connsiteY1" fmla="*/ 25354 h 588951"/>
                            <a:gd name="connsiteX2" fmla="*/ 264611 w 315126"/>
                            <a:gd name="connsiteY2" fmla="*/ 50981 h 588951"/>
                            <a:gd name="connsiteX3" fmla="*/ 264048 w 315126"/>
                            <a:gd name="connsiteY3" fmla="*/ 102675 h 588951"/>
                            <a:gd name="connsiteX4" fmla="*/ 275852 w 315126"/>
                            <a:gd name="connsiteY4" fmla="*/ 153079 h 588951"/>
                            <a:gd name="connsiteX5" fmla="*/ 280029 w 315126"/>
                            <a:gd name="connsiteY5" fmla="*/ 165383 h 588951"/>
                            <a:gd name="connsiteX6" fmla="*/ 284146 w 315126"/>
                            <a:gd name="connsiteY6" fmla="*/ 177825 h 588951"/>
                            <a:gd name="connsiteX7" fmla="*/ 285984 w 315126"/>
                            <a:gd name="connsiteY7" fmla="*/ 184053 h 588951"/>
                            <a:gd name="connsiteX8" fmla="*/ 287929 w 315126"/>
                            <a:gd name="connsiteY8" fmla="*/ 190251 h 588951"/>
                            <a:gd name="connsiteX9" fmla="*/ 291741 w 315126"/>
                            <a:gd name="connsiteY9" fmla="*/ 202783 h 588951"/>
                            <a:gd name="connsiteX10" fmla="*/ 294795 w 315126"/>
                            <a:gd name="connsiteY10" fmla="*/ 215604 h 588951"/>
                            <a:gd name="connsiteX11" fmla="*/ 296831 w 315126"/>
                            <a:gd name="connsiteY11" fmla="*/ 228623 h 588951"/>
                            <a:gd name="connsiteX12" fmla="*/ 297453 w 315126"/>
                            <a:gd name="connsiteY12" fmla="*/ 235186 h 588951"/>
                            <a:gd name="connsiteX13" fmla="*/ 297697 w 315126"/>
                            <a:gd name="connsiteY13" fmla="*/ 238467 h 588951"/>
                            <a:gd name="connsiteX14" fmla="*/ 297863 w 315126"/>
                            <a:gd name="connsiteY14" fmla="*/ 241718 h 588951"/>
                            <a:gd name="connsiteX15" fmla="*/ 298061 w 315126"/>
                            <a:gd name="connsiteY15" fmla="*/ 244908 h 588951"/>
                            <a:gd name="connsiteX16" fmla="*/ 298350 w 315126"/>
                            <a:gd name="connsiteY16" fmla="*/ 248159 h 588951"/>
                            <a:gd name="connsiteX17" fmla="*/ 298927 w 315126"/>
                            <a:gd name="connsiteY17" fmla="*/ 254645 h 588951"/>
                            <a:gd name="connsiteX18" fmla="*/ 303378 w 315126"/>
                            <a:gd name="connsiteY18" fmla="*/ 306583 h 588951"/>
                            <a:gd name="connsiteX19" fmla="*/ 311292 w 315126"/>
                            <a:gd name="connsiteY19" fmla="*/ 410534 h 588951"/>
                            <a:gd name="connsiteX20" fmla="*/ 314346 w 315126"/>
                            <a:gd name="connsiteY20" fmla="*/ 462609 h 588951"/>
                            <a:gd name="connsiteX21" fmla="*/ 315121 w 315126"/>
                            <a:gd name="connsiteY21" fmla="*/ 488752 h 588951"/>
                            <a:gd name="connsiteX22" fmla="*/ 315105 w 315126"/>
                            <a:gd name="connsiteY22" fmla="*/ 492049 h 588951"/>
                            <a:gd name="connsiteX23" fmla="*/ 315029 w 315126"/>
                            <a:gd name="connsiteY23" fmla="*/ 495375 h 588951"/>
                            <a:gd name="connsiteX24" fmla="*/ 314938 w 315126"/>
                            <a:gd name="connsiteY24" fmla="*/ 497062 h 588951"/>
                            <a:gd name="connsiteX25" fmla="*/ 314786 w 315126"/>
                            <a:gd name="connsiteY25" fmla="*/ 498869 h 588951"/>
                            <a:gd name="connsiteX26" fmla="*/ 313465 w 315126"/>
                            <a:gd name="connsiteY26" fmla="*/ 502728 h 588951"/>
                            <a:gd name="connsiteX27" fmla="*/ 308391 w 315126"/>
                            <a:gd name="connsiteY27" fmla="*/ 508197 h 588951"/>
                            <a:gd name="connsiteX28" fmla="*/ 302406 w 315126"/>
                            <a:gd name="connsiteY28" fmla="*/ 511706 h 588951"/>
                            <a:gd name="connsiteX29" fmla="*/ 289888 w 315126"/>
                            <a:gd name="connsiteY29" fmla="*/ 516400 h 588951"/>
                            <a:gd name="connsiteX30" fmla="*/ 277158 w 315126"/>
                            <a:gd name="connsiteY30" fmla="*/ 519757 h 588951"/>
                            <a:gd name="connsiteX31" fmla="*/ 251516 w 315126"/>
                            <a:gd name="connsiteY31" fmla="*/ 524952 h 588951"/>
                            <a:gd name="connsiteX32" fmla="*/ 200125 w 315126"/>
                            <a:gd name="connsiteY32" fmla="*/ 533733 h 588951"/>
                            <a:gd name="connsiteX33" fmla="*/ 148932 w 315126"/>
                            <a:gd name="connsiteY33" fmla="*/ 543166 h 588951"/>
                            <a:gd name="connsiteX34" fmla="*/ 98209 w 315126"/>
                            <a:gd name="connsiteY34" fmla="*/ 554772 h 588951"/>
                            <a:gd name="connsiteX35" fmla="*/ 48353 w 315126"/>
                            <a:gd name="connsiteY35" fmla="*/ 569644 h 588951"/>
                            <a:gd name="connsiteX36" fmla="*/ 23941 w 315126"/>
                            <a:gd name="connsiteY36" fmla="*/ 578698 h 588951"/>
                            <a:gd name="connsiteX37" fmla="*/ 0 w 315126"/>
                            <a:gd name="connsiteY37" fmla="*/ 588951 h 588951"/>
                            <a:gd name="connsiteX38" fmla="*/ 23652 w 315126"/>
                            <a:gd name="connsiteY38" fmla="*/ 577999 h 588951"/>
                            <a:gd name="connsiteX39" fmla="*/ 47897 w 315126"/>
                            <a:gd name="connsiteY39" fmla="*/ 568383 h 588951"/>
                            <a:gd name="connsiteX40" fmla="*/ 97572 w 315126"/>
                            <a:gd name="connsiteY40" fmla="*/ 552387 h 588951"/>
                            <a:gd name="connsiteX41" fmla="*/ 148248 w 315126"/>
                            <a:gd name="connsiteY41" fmla="*/ 539930 h 588951"/>
                            <a:gd name="connsiteX42" fmla="*/ 199442 w 315126"/>
                            <a:gd name="connsiteY42" fmla="*/ 529874 h 588951"/>
                            <a:gd name="connsiteX43" fmla="*/ 250711 w 315126"/>
                            <a:gd name="connsiteY43" fmla="*/ 520668 h 588951"/>
                            <a:gd name="connsiteX44" fmla="*/ 276095 w 315126"/>
                            <a:gd name="connsiteY44" fmla="*/ 515336 h 588951"/>
                            <a:gd name="connsiteX45" fmla="*/ 288521 w 315126"/>
                            <a:gd name="connsiteY45" fmla="*/ 511964 h 588951"/>
                            <a:gd name="connsiteX46" fmla="*/ 300355 w 315126"/>
                            <a:gd name="connsiteY46" fmla="*/ 507483 h 588951"/>
                            <a:gd name="connsiteX47" fmla="*/ 305581 w 315126"/>
                            <a:gd name="connsiteY47" fmla="*/ 504399 h 588951"/>
                            <a:gd name="connsiteX48" fmla="*/ 309333 w 315126"/>
                            <a:gd name="connsiteY48" fmla="*/ 500419 h 588951"/>
                            <a:gd name="connsiteX49" fmla="*/ 310107 w 315126"/>
                            <a:gd name="connsiteY49" fmla="*/ 498140 h 588951"/>
                            <a:gd name="connsiteX50" fmla="*/ 310214 w 315126"/>
                            <a:gd name="connsiteY50" fmla="*/ 496697 h 588951"/>
                            <a:gd name="connsiteX51" fmla="*/ 310290 w 315126"/>
                            <a:gd name="connsiteY51" fmla="*/ 495132 h 588951"/>
                            <a:gd name="connsiteX52" fmla="*/ 310366 w 315126"/>
                            <a:gd name="connsiteY52" fmla="*/ 491942 h 588951"/>
                            <a:gd name="connsiteX53" fmla="*/ 310381 w 315126"/>
                            <a:gd name="connsiteY53" fmla="*/ 488722 h 588951"/>
                            <a:gd name="connsiteX54" fmla="*/ 309560 w 315126"/>
                            <a:gd name="connsiteY54" fmla="*/ 462791 h 588951"/>
                            <a:gd name="connsiteX55" fmla="*/ 306462 w 315126"/>
                            <a:gd name="connsiteY55" fmla="*/ 410823 h 588951"/>
                            <a:gd name="connsiteX56" fmla="*/ 298805 w 315126"/>
                            <a:gd name="connsiteY56" fmla="*/ 306902 h 588951"/>
                            <a:gd name="connsiteX57" fmla="*/ 294674 w 315126"/>
                            <a:gd name="connsiteY57" fmla="*/ 254964 h 588951"/>
                            <a:gd name="connsiteX58" fmla="*/ 294142 w 315126"/>
                            <a:gd name="connsiteY58" fmla="*/ 248478 h 588951"/>
                            <a:gd name="connsiteX59" fmla="*/ 293868 w 315126"/>
                            <a:gd name="connsiteY59" fmla="*/ 245227 h 588951"/>
                            <a:gd name="connsiteX60" fmla="*/ 293686 w 315126"/>
                            <a:gd name="connsiteY60" fmla="*/ 241930 h 588951"/>
                            <a:gd name="connsiteX61" fmla="*/ 293534 w 315126"/>
                            <a:gd name="connsiteY61" fmla="*/ 238680 h 588951"/>
                            <a:gd name="connsiteX62" fmla="*/ 293306 w 315126"/>
                            <a:gd name="connsiteY62" fmla="*/ 235459 h 588951"/>
                            <a:gd name="connsiteX63" fmla="*/ 292729 w 315126"/>
                            <a:gd name="connsiteY63" fmla="*/ 229048 h 588951"/>
                            <a:gd name="connsiteX64" fmla="*/ 288035 w 315126"/>
                            <a:gd name="connsiteY64" fmla="*/ 203756 h 588951"/>
                            <a:gd name="connsiteX65" fmla="*/ 284389 w 315126"/>
                            <a:gd name="connsiteY65" fmla="*/ 191314 h 588951"/>
                            <a:gd name="connsiteX66" fmla="*/ 282490 w 315126"/>
                            <a:gd name="connsiteY66" fmla="*/ 185056 h 588951"/>
                            <a:gd name="connsiteX67" fmla="*/ 280713 w 315126"/>
                            <a:gd name="connsiteY67" fmla="*/ 178767 h 588951"/>
                            <a:gd name="connsiteX68" fmla="*/ 276794 w 315126"/>
                            <a:gd name="connsiteY68" fmla="*/ 166431 h 588951"/>
                            <a:gd name="connsiteX69" fmla="*/ 272768 w 315126"/>
                            <a:gd name="connsiteY69" fmla="*/ 154005 h 588951"/>
                            <a:gd name="connsiteX70" fmla="*/ 261633 w 315126"/>
                            <a:gd name="connsiteY70" fmla="*/ 102903 h 588951"/>
                            <a:gd name="connsiteX71" fmla="*/ 261026 w 315126"/>
                            <a:gd name="connsiteY71" fmla="*/ 96386 h 588951"/>
                            <a:gd name="connsiteX72" fmla="*/ 260585 w 315126"/>
                            <a:gd name="connsiteY72" fmla="*/ 89839 h 588951"/>
                            <a:gd name="connsiteX73" fmla="*/ 260646 w 315126"/>
                            <a:gd name="connsiteY73" fmla="*/ 76729 h 588951"/>
                            <a:gd name="connsiteX74" fmla="*/ 263304 w 315126"/>
                            <a:gd name="connsiteY74" fmla="*/ 50737 h 588951"/>
                            <a:gd name="connsiteX75" fmla="*/ 275229 w 315126"/>
                            <a:gd name="connsiteY75" fmla="*/ 0 h 58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15126" h="588951">
                              <a:moveTo>
                                <a:pt x="275244" y="61"/>
                              </a:moveTo>
                              <a:cubicBezTo>
                                <a:pt x="272844" y="8400"/>
                                <a:pt x="270824" y="16862"/>
                                <a:pt x="269046" y="25354"/>
                              </a:cubicBezTo>
                              <a:cubicBezTo>
                                <a:pt x="267254" y="33845"/>
                                <a:pt x="265750" y="42398"/>
                                <a:pt x="264611" y="50981"/>
                              </a:cubicBezTo>
                              <a:cubicBezTo>
                                <a:pt x="262347" y="68162"/>
                                <a:pt x="261466" y="85570"/>
                                <a:pt x="264048" y="102675"/>
                              </a:cubicBezTo>
                              <a:cubicBezTo>
                                <a:pt x="266191" y="119841"/>
                                <a:pt x="270413" y="136657"/>
                                <a:pt x="275852" y="153079"/>
                              </a:cubicBezTo>
                              <a:cubicBezTo>
                                <a:pt x="277189" y="157195"/>
                                <a:pt x="278617" y="161282"/>
                                <a:pt x="280029" y="165383"/>
                              </a:cubicBezTo>
                              <a:cubicBezTo>
                                <a:pt x="281442" y="169485"/>
                                <a:pt x="282885" y="173602"/>
                                <a:pt x="284146" y="177825"/>
                              </a:cubicBezTo>
                              <a:cubicBezTo>
                                <a:pt x="284800" y="179967"/>
                                <a:pt x="285331" y="181987"/>
                                <a:pt x="285984" y="184053"/>
                              </a:cubicBezTo>
                              <a:cubicBezTo>
                                <a:pt x="286607" y="186119"/>
                                <a:pt x="287275" y="188170"/>
                                <a:pt x="287929" y="190251"/>
                              </a:cubicBezTo>
                              <a:cubicBezTo>
                                <a:pt x="289250" y="194383"/>
                                <a:pt x="290572" y="198560"/>
                                <a:pt x="291741" y="202783"/>
                              </a:cubicBezTo>
                              <a:cubicBezTo>
                                <a:pt x="292926" y="207006"/>
                                <a:pt x="293944" y="211290"/>
                                <a:pt x="294795" y="215604"/>
                              </a:cubicBezTo>
                              <a:cubicBezTo>
                                <a:pt x="295661" y="219919"/>
                                <a:pt x="296314" y="224263"/>
                                <a:pt x="296831" y="228623"/>
                              </a:cubicBezTo>
                              <a:cubicBezTo>
                                <a:pt x="297074" y="230811"/>
                                <a:pt x="297317" y="232983"/>
                                <a:pt x="297453" y="235186"/>
                              </a:cubicBezTo>
                              <a:cubicBezTo>
                                <a:pt x="297529" y="236279"/>
                                <a:pt x="297636" y="237373"/>
                                <a:pt x="297697" y="238467"/>
                              </a:cubicBezTo>
                              <a:lnTo>
                                <a:pt x="297863" y="241718"/>
                              </a:lnTo>
                              <a:cubicBezTo>
                                <a:pt x="297924" y="242811"/>
                                <a:pt x="297955" y="243890"/>
                                <a:pt x="298061" y="244908"/>
                              </a:cubicBezTo>
                              <a:lnTo>
                                <a:pt x="298350" y="248159"/>
                              </a:lnTo>
                              <a:lnTo>
                                <a:pt x="298927" y="254645"/>
                              </a:lnTo>
                              <a:lnTo>
                                <a:pt x="303378" y="306583"/>
                              </a:lnTo>
                              <a:cubicBezTo>
                                <a:pt x="306234" y="341218"/>
                                <a:pt x="308907" y="375869"/>
                                <a:pt x="311292" y="410534"/>
                              </a:cubicBezTo>
                              <a:cubicBezTo>
                                <a:pt x="312493" y="427867"/>
                                <a:pt x="313510" y="445230"/>
                                <a:pt x="314346" y="462609"/>
                              </a:cubicBezTo>
                              <a:cubicBezTo>
                                <a:pt x="314726" y="471298"/>
                                <a:pt x="315075" y="480002"/>
                                <a:pt x="315121" y="488752"/>
                              </a:cubicBezTo>
                              <a:cubicBezTo>
                                <a:pt x="315136" y="489846"/>
                                <a:pt x="315121" y="490955"/>
                                <a:pt x="315105" y="492049"/>
                              </a:cubicBezTo>
                              <a:cubicBezTo>
                                <a:pt x="315075" y="493157"/>
                                <a:pt x="315105" y="494236"/>
                                <a:pt x="315029" y="495375"/>
                              </a:cubicBezTo>
                              <a:lnTo>
                                <a:pt x="314938" y="497062"/>
                              </a:lnTo>
                              <a:cubicBezTo>
                                <a:pt x="314908" y="497639"/>
                                <a:pt x="314908" y="498125"/>
                                <a:pt x="314786" y="498869"/>
                              </a:cubicBezTo>
                              <a:cubicBezTo>
                                <a:pt x="314589" y="500237"/>
                                <a:pt x="314118" y="501558"/>
                                <a:pt x="313465" y="502728"/>
                              </a:cubicBezTo>
                              <a:cubicBezTo>
                                <a:pt x="312158" y="505067"/>
                                <a:pt x="310290" y="506799"/>
                                <a:pt x="308391" y="508197"/>
                              </a:cubicBezTo>
                              <a:cubicBezTo>
                                <a:pt x="306477" y="509609"/>
                                <a:pt x="304456" y="510733"/>
                                <a:pt x="302406" y="511706"/>
                              </a:cubicBezTo>
                              <a:cubicBezTo>
                                <a:pt x="298319" y="513665"/>
                                <a:pt x="294111" y="515124"/>
                                <a:pt x="289888" y="516400"/>
                              </a:cubicBezTo>
                              <a:cubicBezTo>
                                <a:pt x="285665" y="517676"/>
                                <a:pt x="281412" y="518770"/>
                                <a:pt x="277158" y="519757"/>
                              </a:cubicBezTo>
                              <a:cubicBezTo>
                                <a:pt x="268636" y="521747"/>
                                <a:pt x="260084" y="523387"/>
                                <a:pt x="251516" y="524952"/>
                              </a:cubicBezTo>
                              <a:cubicBezTo>
                                <a:pt x="234381" y="528051"/>
                                <a:pt x="217245" y="530831"/>
                                <a:pt x="200125" y="533733"/>
                              </a:cubicBezTo>
                              <a:cubicBezTo>
                                <a:pt x="183005" y="536634"/>
                                <a:pt x="165931" y="539718"/>
                                <a:pt x="148932" y="543166"/>
                              </a:cubicBezTo>
                              <a:cubicBezTo>
                                <a:pt x="131933" y="546584"/>
                                <a:pt x="114995" y="550397"/>
                                <a:pt x="98209" y="554772"/>
                              </a:cubicBezTo>
                              <a:cubicBezTo>
                                <a:pt x="81423" y="559116"/>
                                <a:pt x="64759" y="563993"/>
                                <a:pt x="48353" y="569644"/>
                              </a:cubicBezTo>
                              <a:cubicBezTo>
                                <a:pt x="40150" y="572469"/>
                                <a:pt x="32007" y="575477"/>
                                <a:pt x="23941" y="578698"/>
                              </a:cubicBezTo>
                              <a:cubicBezTo>
                                <a:pt x="15875" y="581888"/>
                                <a:pt x="7884" y="585306"/>
                                <a:pt x="0" y="588951"/>
                              </a:cubicBezTo>
                              <a:cubicBezTo>
                                <a:pt x="7778" y="585078"/>
                                <a:pt x="15662" y="581432"/>
                                <a:pt x="23652" y="577999"/>
                              </a:cubicBezTo>
                              <a:cubicBezTo>
                                <a:pt x="31643" y="574596"/>
                                <a:pt x="39740" y="571391"/>
                                <a:pt x="47897" y="568383"/>
                              </a:cubicBezTo>
                              <a:cubicBezTo>
                                <a:pt x="64212" y="562367"/>
                                <a:pt x="80816" y="557081"/>
                                <a:pt x="97572" y="552387"/>
                              </a:cubicBezTo>
                              <a:cubicBezTo>
                                <a:pt x="114342" y="547723"/>
                                <a:pt x="131250" y="543637"/>
                                <a:pt x="148248" y="539930"/>
                              </a:cubicBezTo>
                              <a:cubicBezTo>
                                <a:pt x="165247" y="536254"/>
                                <a:pt x="182337" y="532988"/>
                                <a:pt x="199442" y="529874"/>
                              </a:cubicBezTo>
                              <a:cubicBezTo>
                                <a:pt x="216531" y="526730"/>
                                <a:pt x="233682" y="523889"/>
                                <a:pt x="250711" y="520668"/>
                              </a:cubicBezTo>
                              <a:cubicBezTo>
                                <a:pt x="259218" y="519058"/>
                                <a:pt x="267725" y="517357"/>
                                <a:pt x="276095" y="515336"/>
                              </a:cubicBezTo>
                              <a:cubicBezTo>
                                <a:pt x="280287" y="514319"/>
                                <a:pt x="284450" y="513225"/>
                                <a:pt x="288521" y="511964"/>
                              </a:cubicBezTo>
                              <a:cubicBezTo>
                                <a:pt x="292592" y="510688"/>
                                <a:pt x="296618" y="509290"/>
                                <a:pt x="300355" y="507483"/>
                              </a:cubicBezTo>
                              <a:cubicBezTo>
                                <a:pt x="302223" y="506586"/>
                                <a:pt x="304001" y="505569"/>
                                <a:pt x="305581" y="504399"/>
                              </a:cubicBezTo>
                              <a:cubicBezTo>
                                <a:pt x="307160" y="503244"/>
                                <a:pt x="308512" y="501892"/>
                                <a:pt x="309333" y="500419"/>
                              </a:cubicBezTo>
                              <a:cubicBezTo>
                                <a:pt x="309743" y="499690"/>
                                <a:pt x="310001" y="498930"/>
                                <a:pt x="310107" y="498140"/>
                              </a:cubicBezTo>
                              <a:cubicBezTo>
                                <a:pt x="310168" y="497806"/>
                                <a:pt x="310183" y="497214"/>
                                <a:pt x="310214" y="496697"/>
                              </a:cubicBezTo>
                              <a:lnTo>
                                <a:pt x="310290" y="495132"/>
                              </a:lnTo>
                              <a:cubicBezTo>
                                <a:pt x="310366" y="494099"/>
                                <a:pt x="310335" y="493006"/>
                                <a:pt x="310366" y="491942"/>
                              </a:cubicBezTo>
                              <a:cubicBezTo>
                                <a:pt x="310366" y="490879"/>
                                <a:pt x="310396" y="489800"/>
                                <a:pt x="310381" y="488722"/>
                              </a:cubicBezTo>
                              <a:cubicBezTo>
                                <a:pt x="310320" y="480109"/>
                                <a:pt x="309955" y="471435"/>
                                <a:pt x="309560" y="462791"/>
                              </a:cubicBezTo>
                              <a:cubicBezTo>
                                <a:pt x="308725" y="445473"/>
                                <a:pt x="307601" y="428141"/>
                                <a:pt x="306462" y="410823"/>
                              </a:cubicBezTo>
                              <a:cubicBezTo>
                                <a:pt x="304168" y="376172"/>
                                <a:pt x="301510" y="341537"/>
                                <a:pt x="298805" y="306902"/>
                              </a:cubicBezTo>
                              <a:lnTo>
                                <a:pt x="294674" y="254964"/>
                              </a:lnTo>
                              <a:lnTo>
                                <a:pt x="294142" y="248478"/>
                              </a:lnTo>
                              <a:lnTo>
                                <a:pt x="293868" y="245227"/>
                              </a:lnTo>
                              <a:cubicBezTo>
                                <a:pt x="293762" y="244087"/>
                                <a:pt x="293732" y="243009"/>
                                <a:pt x="293686" y="241930"/>
                              </a:cubicBezTo>
                              <a:lnTo>
                                <a:pt x="293534" y="238680"/>
                              </a:lnTo>
                              <a:cubicBezTo>
                                <a:pt x="293473" y="237601"/>
                                <a:pt x="293382" y="236538"/>
                                <a:pt x="293306" y="235459"/>
                              </a:cubicBezTo>
                              <a:cubicBezTo>
                                <a:pt x="293170" y="233317"/>
                                <a:pt x="292957" y="231175"/>
                                <a:pt x="292729" y="229048"/>
                              </a:cubicBezTo>
                              <a:cubicBezTo>
                                <a:pt x="291833" y="220511"/>
                                <a:pt x="290268" y="212065"/>
                                <a:pt x="288035" y="203756"/>
                              </a:cubicBezTo>
                              <a:cubicBezTo>
                                <a:pt x="286926" y="199593"/>
                                <a:pt x="285665" y="195477"/>
                                <a:pt x="284389" y="191314"/>
                              </a:cubicBezTo>
                              <a:cubicBezTo>
                                <a:pt x="283751" y="189233"/>
                                <a:pt x="283113" y="187152"/>
                                <a:pt x="282490" y="185056"/>
                              </a:cubicBezTo>
                              <a:cubicBezTo>
                                <a:pt x="281867" y="182990"/>
                                <a:pt x="281306" y="180787"/>
                                <a:pt x="280713" y="178767"/>
                              </a:cubicBezTo>
                              <a:cubicBezTo>
                                <a:pt x="279543" y="174650"/>
                                <a:pt x="278161" y="170548"/>
                                <a:pt x="276794" y="166431"/>
                              </a:cubicBezTo>
                              <a:cubicBezTo>
                                <a:pt x="275426" y="162315"/>
                                <a:pt x="274044" y="158183"/>
                                <a:pt x="272768" y="154005"/>
                              </a:cubicBezTo>
                              <a:cubicBezTo>
                                <a:pt x="267542" y="137371"/>
                                <a:pt x="263517" y="120282"/>
                                <a:pt x="261633" y="102903"/>
                              </a:cubicBezTo>
                              <a:cubicBezTo>
                                <a:pt x="261344" y="100746"/>
                                <a:pt x="261223" y="98559"/>
                                <a:pt x="261026" y="96386"/>
                              </a:cubicBezTo>
                              <a:cubicBezTo>
                                <a:pt x="260813" y="94214"/>
                                <a:pt x="260691" y="92026"/>
                                <a:pt x="260585" y="89839"/>
                              </a:cubicBezTo>
                              <a:cubicBezTo>
                                <a:pt x="260418" y="85464"/>
                                <a:pt x="260464" y="81089"/>
                                <a:pt x="260646" y="76729"/>
                              </a:cubicBezTo>
                              <a:cubicBezTo>
                                <a:pt x="261010" y="68010"/>
                                <a:pt x="261983" y="59336"/>
                                <a:pt x="263304" y="50737"/>
                              </a:cubicBezTo>
                              <a:cubicBezTo>
                                <a:pt x="265978" y="33541"/>
                                <a:pt x="270004" y="16573"/>
                                <a:pt x="275229" y="0"/>
                              </a:cubicBezTo>
                              <a:close/>
                            </a:path>
                          </a:pathLst>
                        </a:custGeom>
                        <a:solidFill>
                          <a:srgbClr val="AC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sp>
          <p:nvSpPr>
            <p:cNvPr id="909" name="Freeform: Shape 908">
              <a:extLst>
                <a:ext uri="{FF2B5EF4-FFF2-40B4-BE49-F238E27FC236}">
                  <a16:creationId xmlns:a16="http://schemas.microsoft.com/office/drawing/2014/main" id="{862EDFB8-03C7-34B6-8A71-EE974EF94A86}"/>
                </a:ext>
              </a:extLst>
            </p:cNvPr>
            <p:cNvSpPr/>
            <p:nvPr/>
          </p:nvSpPr>
          <p:spPr>
            <a:xfrm>
              <a:off x="5447250" y="2618381"/>
              <a:ext cx="304331" cy="390782"/>
            </a:xfrm>
            <a:custGeom>
              <a:avLst/>
              <a:gdLst>
                <a:gd name="connsiteX0" fmla="*/ 175895 w 283858"/>
                <a:gd name="connsiteY0" fmla="*/ 2458 h 364493"/>
                <a:gd name="connsiteX1" fmla="*/ 14233 w 283858"/>
                <a:gd name="connsiteY1" fmla="*/ 123119 h 364493"/>
                <a:gd name="connsiteX2" fmla="*/ 56145 w 283858"/>
                <a:gd name="connsiteY2" fmla="*/ 363014 h 364493"/>
                <a:gd name="connsiteX3" fmla="*/ 253505 w 283858"/>
                <a:gd name="connsiteY3" fmla="*/ 253807 h 364493"/>
                <a:gd name="connsiteX4" fmla="*/ 175895 w 283858"/>
                <a:gd name="connsiteY4" fmla="*/ 2473 h 364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58" h="364493">
                  <a:moveTo>
                    <a:pt x="175895" y="2458"/>
                  </a:moveTo>
                  <a:cubicBezTo>
                    <a:pt x="175895" y="2458"/>
                    <a:pt x="40346" y="-27681"/>
                    <a:pt x="14233" y="123119"/>
                  </a:cubicBezTo>
                  <a:cubicBezTo>
                    <a:pt x="-11880" y="273919"/>
                    <a:pt x="-4375" y="352882"/>
                    <a:pt x="56145" y="363014"/>
                  </a:cubicBezTo>
                  <a:cubicBezTo>
                    <a:pt x="116666" y="373146"/>
                    <a:pt x="206155" y="330657"/>
                    <a:pt x="253505" y="253807"/>
                  </a:cubicBezTo>
                  <a:cubicBezTo>
                    <a:pt x="300855" y="176941"/>
                    <a:pt x="305033" y="31062"/>
                    <a:pt x="175895" y="2473"/>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0" name="Freeform: Shape 909">
              <a:extLst>
                <a:ext uri="{FF2B5EF4-FFF2-40B4-BE49-F238E27FC236}">
                  <a16:creationId xmlns:a16="http://schemas.microsoft.com/office/drawing/2014/main" id="{F7D3FDA1-2808-3B77-C6FE-D08F218B5CE0}"/>
                </a:ext>
              </a:extLst>
            </p:cNvPr>
            <p:cNvSpPr/>
            <p:nvPr/>
          </p:nvSpPr>
          <p:spPr>
            <a:xfrm>
              <a:off x="5467380" y="2604245"/>
              <a:ext cx="175569" cy="123985"/>
            </a:xfrm>
            <a:custGeom>
              <a:avLst/>
              <a:gdLst>
                <a:gd name="connsiteX0" fmla="*/ 163758 w 163758"/>
                <a:gd name="connsiteY0" fmla="*/ 8761 h 115644"/>
                <a:gd name="connsiteX1" fmla="*/ 0 w 163758"/>
                <a:gd name="connsiteY1" fmla="*/ 115645 h 115644"/>
                <a:gd name="connsiteX2" fmla="*/ 78248 w 163758"/>
                <a:gd name="connsiteY2" fmla="*/ 40465 h 115644"/>
                <a:gd name="connsiteX3" fmla="*/ 163758 w 163758"/>
                <a:gd name="connsiteY3" fmla="*/ 8777 h 115644"/>
              </a:gdLst>
              <a:ahLst/>
              <a:cxnLst>
                <a:cxn ang="0">
                  <a:pos x="connsiteX0" y="connsiteY0"/>
                </a:cxn>
                <a:cxn ang="0">
                  <a:pos x="connsiteX1" y="connsiteY1"/>
                </a:cxn>
                <a:cxn ang="0">
                  <a:pos x="connsiteX2" y="connsiteY2"/>
                </a:cxn>
                <a:cxn ang="0">
                  <a:pos x="connsiteX3" y="connsiteY3"/>
                </a:cxn>
              </a:cxnLst>
              <a:rect l="l" t="t" r="r" b="b"/>
              <a:pathLst>
                <a:path w="163758" h="115644">
                  <a:moveTo>
                    <a:pt x="163758" y="8761"/>
                  </a:moveTo>
                  <a:cubicBezTo>
                    <a:pt x="163758" y="8761"/>
                    <a:pt x="15115" y="-45409"/>
                    <a:pt x="0" y="115645"/>
                  </a:cubicBezTo>
                  <a:cubicBezTo>
                    <a:pt x="0" y="115645"/>
                    <a:pt x="25551" y="53726"/>
                    <a:pt x="78248" y="40465"/>
                  </a:cubicBezTo>
                  <a:cubicBezTo>
                    <a:pt x="130946" y="27203"/>
                    <a:pt x="157849" y="13562"/>
                    <a:pt x="163758" y="877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1" name="Freeform: Shape 910">
              <a:extLst>
                <a:ext uri="{FF2B5EF4-FFF2-40B4-BE49-F238E27FC236}">
                  <a16:creationId xmlns:a16="http://schemas.microsoft.com/office/drawing/2014/main" id="{C1DC3518-EC22-6CF5-3C94-41BA28104BE3}"/>
                </a:ext>
              </a:extLst>
            </p:cNvPr>
            <p:cNvSpPr/>
            <p:nvPr/>
          </p:nvSpPr>
          <p:spPr>
            <a:xfrm>
              <a:off x="5545806" y="2613622"/>
              <a:ext cx="241018" cy="350454"/>
            </a:xfrm>
            <a:custGeom>
              <a:avLst/>
              <a:gdLst>
                <a:gd name="connsiteX0" fmla="*/ 191 w 224804"/>
                <a:gd name="connsiteY0" fmla="*/ 29212 h 326878"/>
                <a:gd name="connsiteX1" fmla="*/ 53010 w 224804"/>
                <a:gd name="connsiteY1" fmla="*/ 208951 h 326878"/>
                <a:gd name="connsiteX2" fmla="*/ 145341 w 224804"/>
                <a:gd name="connsiteY2" fmla="*/ 326878 h 326878"/>
                <a:gd name="connsiteX3" fmla="*/ 200818 w 224804"/>
                <a:gd name="connsiteY3" fmla="*/ 260934 h 326878"/>
                <a:gd name="connsiteX4" fmla="*/ 90608 w 224804"/>
                <a:gd name="connsiteY4" fmla="*/ 0 h 326878"/>
                <a:gd name="connsiteX5" fmla="*/ 191 w 224804"/>
                <a:gd name="connsiteY5" fmla="*/ 29197 h 32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804" h="326878">
                  <a:moveTo>
                    <a:pt x="191" y="29212"/>
                  </a:moveTo>
                  <a:cubicBezTo>
                    <a:pt x="191" y="29212"/>
                    <a:pt x="-6068" y="136976"/>
                    <a:pt x="53010" y="208951"/>
                  </a:cubicBezTo>
                  <a:cubicBezTo>
                    <a:pt x="112087" y="280926"/>
                    <a:pt x="130605" y="317065"/>
                    <a:pt x="145341" y="326878"/>
                  </a:cubicBezTo>
                  <a:cubicBezTo>
                    <a:pt x="145341" y="326878"/>
                    <a:pt x="175206" y="316974"/>
                    <a:pt x="200818" y="260934"/>
                  </a:cubicBezTo>
                  <a:cubicBezTo>
                    <a:pt x="241408" y="172113"/>
                    <a:pt x="245631" y="7200"/>
                    <a:pt x="90608" y="0"/>
                  </a:cubicBezTo>
                  <a:cubicBezTo>
                    <a:pt x="90608" y="0"/>
                    <a:pt x="24284" y="5454"/>
                    <a:pt x="191" y="2919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912" name="Graphic 3200">
              <a:extLst>
                <a:ext uri="{FF2B5EF4-FFF2-40B4-BE49-F238E27FC236}">
                  <a16:creationId xmlns:a16="http://schemas.microsoft.com/office/drawing/2014/main" id="{FA5595A6-F658-D3D7-52EF-C703550BCAE8}"/>
                </a:ext>
              </a:extLst>
            </p:cNvPr>
            <p:cNvGrpSpPr/>
            <p:nvPr/>
          </p:nvGrpSpPr>
          <p:grpSpPr>
            <a:xfrm>
              <a:off x="5596091" y="2803128"/>
              <a:ext cx="64232" cy="85233"/>
              <a:chOff x="5679587" y="3103027"/>
              <a:chExt cx="59911" cy="79499"/>
            </a:xfrm>
          </p:grpSpPr>
          <p:sp>
            <p:nvSpPr>
              <p:cNvPr id="1063" name="Freeform: Shape 1062">
                <a:extLst>
                  <a:ext uri="{FF2B5EF4-FFF2-40B4-BE49-F238E27FC236}">
                    <a16:creationId xmlns:a16="http://schemas.microsoft.com/office/drawing/2014/main" id="{735C4197-7A25-7E0D-DD3A-D7BC0B743A50}"/>
                  </a:ext>
                </a:extLst>
              </p:cNvPr>
              <p:cNvSpPr/>
              <p:nvPr/>
            </p:nvSpPr>
            <p:spPr>
              <a:xfrm>
                <a:off x="5679587" y="3103027"/>
                <a:ext cx="59911" cy="79499"/>
              </a:xfrm>
              <a:custGeom>
                <a:avLst/>
                <a:gdLst>
                  <a:gd name="connsiteX0" fmla="*/ 2219 w 59911"/>
                  <a:gd name="connsiteY0" fmla="*/ 37526 h 79499"/>
                  <a:gd name="connsiteX1" fmla="*/ 46197 w 59911"/>
                  <a:gd name="connsiteY1" fmla="*/ 536 h 79499"/>
                  <a:gd name="connsiteX2" fmla="*/ 42961 w 59911"/>
                  <a:gd name="connsiteY2" fmla="*/ 69457 h 79499"/>
                  <a:gd name="connsiteX3" fmla="*/ 2219 w 59911"/>
                  <a:gd name="connsiteY3" fmla="*/ 37526 h 79499"/>
                </a:gdLst>
                <a:ahLst/>
                <a:cxnLst>
                  <a:cxn ang="0">
                    <a:pos x="connsiteX0" y="connsiteY0"/>
                  </a:cxn>
                  <a:cxn ang="0">
                    <a:pos x="connsiteX1" y="connsiteY1"/>
                  </a:cxn>
                  <a:cxn ang="0">
                    <a:pos x="connsiteX2" y="connsiteY2"/>
                  </a:cxn>
                  <a:cxn ang="0">
                    <a:pos x="connsiteX3" y="connsiteY3"/>
                  </a:cxn>
                </a:cxnLst>
                <a:rect l="l" t="t" r="r" b="b"/>
                <a:pathLst>
                  <a:path w="59911" h="79499">
                    <a:moveTo>
                      <a:pt x="2219" y="37526"/>
                    </a:moveTo>
                    <a:cubicBezTo>
                      <a:pt x="2219" y="37526"/>
                      <a:pt x="17759" y="-5237"/>
                      <a:pt x="46197" y="536"/>
                    </a:cubicBezTo>
                    <a:cubicBezTo>
                      <a:pt x="74634" y="6308"/>
                      <a:pt x="51362" y="56742"/>
                      <a:pt x="42961" y="69457"/>
                    </a:cubicBezTo>
                    <a:cubicBezTo>
                      <a:pt x="32525" y="85255"/>
                      <a:pt x="-10116" y="87595"/>
                      <a:pt x="2219" y="37526"/>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64" name="Graphic 3200">
                <a:extLst>
                  <a:ext uri="{FF2B5EF4-FFF2-40B4-BE49-F238E27FC236}">
                    <a16:creationId xmlns:a16="http://schemas.microsoft.com/office/drawing/2014/main" id="{12B27D3C-1200-2626-2B5D-0A48F693CB56}"/>
                  </a:ext>
                </a:extLst>
              </p:cNvPr>
              <p:cNvGrpSpPr/>
              <p:nvPr/>
            </p:nvGrpSpPr>
            <p:grpSpPr>
              <a:xfrm>
                <a:off x="5698623" y="3121958"/>
                <a:ext cx="25356" cy="42417"/>
                <a:chOff x="5698623" y="3121958"/>
                <a:chExt cx="25356" cy="42417"/>
              </a:xfrm>
              <a:solidFill>
                <a:srgbClr val="E57E73"/>
              </a:solidFill>
            </p:grpSpPr>
            <p:sp>
              <p:nvSpPr>
                <p:cNvPr id="1065" name="Freeform: Shape 1064">
                  <a:extLst>
                    <a:ext uri="{FF2B5EF4-FFF2-40B4-BE49-F238E27FC236}">
                      <a16:creationId xmlns:a16="http://schemas.microsoft.com/office/drawing/2014/main" id="{351C4D28-7BCE-5B8A-F3D6-E852875CB9B8}"/>
                    </a:ext>
                  </a:extLst>
                </p:cNvPr>
                <p:cNvSpPr/>
                <p:nvPr/>
              </p:nvSpPr>
              <p:spPr>
                <a:xfrm>
                  <a:off x="5698623" y="3121958"/>
                  <a:ext cx="21556" cy="42417"/>
                </a:xfrm>
                <a:custGeom>
                  <a:avLst/>
                  <a:gdLst>
                    <a:gd name="connsiteX0" fmla="*/ 3645 w 21556"/>
                    <a:gd name="connsiteY0" fmla="*/ 42383 h 42417"/>
                    <a:gd name="connsiteX1" fmla="*/ 6106 w 21556"/>
                    <a:gd name="connsiteY1" fmla="*/ 39148 h 42417"/>
                    <a:gd name="connsiteX2" fmla="*/ 19641 w 21556"/>
                    <a:gd name="connsiteY2" fmla="*/ 5667 h 42417"/>
                    <a:gd name="connsiteX3" fmla="*/ 21373 w 21556"/>
                    <a:gd name="connsiteY3" fmla="*/ 1915 h 42417"/>
                    <a:gd name="connsiteX4" fmla="*/ 17621 w 21556"/>
                    <a:gd name="connsiteY4" fmla="*/ 183 h 42417"/>
                    <a:gd name="connsiteX5" fmla="*/ 303 w 21556"/>
                    <a:gd name="connsiteY5" fmla="*/ 39847 h 42417"/>
                    <a:gd name="connsiteX6" fmla="*/ 3554 w 21556"/>
                    <a:gd name="connsiteY6" fmla="*/ 42399 h 42417"/>
                    <a:gd name="connsiteX7" fmla="*/ 3645 w 21556"/>
                    <a:gd name="connsiteY7" fmla="*/ 42399 h 4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56" h="42417">
                      <a:moveTo>
                        <a:pt x="3645" y="42383"/>
                      </a:moveTo>
                      <a:cubicBezTo>
                        <a:pt x="5195" y="42156"/>
                        <a:pt x="6303" y="40728"/>
                        <a:pt x="6106" y="39148"/>
                      </a:cubicBezTo>
                      <a:cubicBezTo>
                        <a:pt x="6076" y="38874"/>
                        <a:pt x="3038" y="11804"/>
                        <a:pt x="19641" y="5667"/>
                      </a:cubicBezTo>
                      <a:cubicBezTo>
                        <a:pt x="21160" y="5105"/>
                        <a:pt x="21935" y="3434"/>
                        <a:pt x="21373" y="1915"/>
                      </a:cubicBezTo>
                      <a:cubicBezTo>
                        <a:pt x="20811" y="396"/>
                        <a:pt x="19155" y="-379"/>
                        <a:pt x="17621" y="183"/>
                      </a:cubicBezTo>
                      <a:cubicBezTo>
                        <a:pt x="-3312" y="7915"/>
                        <a:pt x="151" y="38540"/>
                        <a:pt x="303" y="39847"/>
                      </a:cubicBezTo>
                      <a:cubicBezTo>
                        <a:pt x="501" y="41442"/>
                        <a:pt x="1959" y="42581"/>
                        <a:pt x="3554" y="42399"/>
                      </a:cubicBezTo>
                      <a:cubicBezTo>
                        <a:pt x="3584" y="42399"/>
                        <a:pt x="3615" y="42399"/>
                        <a:pt x="3645" y="42399"/>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6" name="Freeform: Shape 1065">
                  <a:extLst>
                    <a:ext uri="{FF2B5EF4-FFF2-40B4-BE49-F238E27FC236}">
                      <a16:creationId xmlns:a16="http://schemas.microsoft.com/office/drawing/2014/main" id="{5E5C6824-AB7B-4028-6855-897E6B9859EB}"/>
                    </a:ext>
                  </a:extLst>
                </p:cNvPr>
                <p:cNvSpPr/>
                <p:nvPr/>
              </p:nvSpPr>
              <p:spPr>
                <a:xfrm>
                  <a:off x="5699883" y="3136002"/>
                  <a:ext cx="24096" cy="14321"/>
                </a:xfrm>
                <a:custGeom>
                  <a:avLst/>
                  <a:gdLst>
                    <a:gd name="connsiteX0" fmla="*/ 3342 w 24096"/>
                    <a:gd name="connsiteY0" fmla="*/ 14273 h 14321"/>
                    <a:gd name="connsiteX1" fmla="*/ 5149 w 24096"/>
                    <a:gd name="connsiteY1" fmla="*/ 13270 h 14321"/>
                    <a:gd name="connsiteX2" fmla="*/ 20720 w 24096"/>
                    <a:gd name="connsiteY2" fmla="*/ 5979 h 14321"/>
                    <a:gd name="connsiteX3" fmla="*/ 24062 w 24096"/>
                    <a:gd name="connsiteY3" fmla="*/ 3548 h 14321"/>
                    <a:gd name="connsiteX4" fmla="*/ 21632 w 24096"/>
                    <a:gd name="connsiteY4" fmla="*/ 206 h 14321"/>
                    <a:gd name="connsiteX5" fmla="*/ 683 w 24096"/>
                    <a:gd name="connsiteY5" fmla="*/ 9518 h 14321"/>
                    <a:gd name="connsiteX6" fmla="*/ 1048 w 24096"/>
                    <a:gd name="connsiteY6" fmla="*/ 13635 h 14321"/>
                    <a:gd name="connsiteX7" fmla="*/ 3357 w 24096"/>
                    <a:gd name="connsiteY7" fmla="*/ 14288 h 1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6" h="14321">
                      <a:moveTo>
                        <a:pt x="3342" y="14273"/>
                      </a:moveTo>
                      <a:cubicBezTo>
                        <a:pt x="4025" y="14167"/>
                        <a:pt x="4663" y="13832"/>
                        <a:pt x="5149" y="13270"/>
                      </a:cubicBezTo>
                      <a:cubicBezTo>
                        <a:pt x="5225" y="13179"/>
                        <a:pt x="12517" y="4687"/>
                        <a:pt x="20720" y="5979"/>
                      </a:cubicBezTo>
                      <a:cubicBezTo>
                        <a:pt x="22315" y="6222"/>
                        <a:pt x="23804" y="5143"/>
                        <a:pt x="24062" y="3548"/>
                      </a:cubicBezTo>
                      <a:cubicBezTo>
                        <a:pt x="24305" y="1953"/>
                        <a:pt x="23226" y="464"/>
                        <a:pt x="21632" y="206"/>
                      </a:cubicBezTo>
                      <a:cubicBezTo>
                        <a:pt x="10147" y="-1602"/>
                        <a:pt x="1063" y="9062"/>
                        <a:pt x="683" y="9518"/>
                      </a:cubicBezTo>
                      <a:cubicBezTo>
                        <a:pt x="-350" y="10749"/>
                        <a:pt x="-198" y="12602"/>
                        <a:pt x="1048" y="13635"/>
                      </a:cubicBezTo>
                      <a:cubicBezTo>
                        <a:pt x="1716" y="14197"/>
                        <a:pt x="2552" y="14410"/>
                        <a:pt x="3357" y="14288"/>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913" name="Freeform: Shape 912">
              <a:extLst>
                <a:ext uri="{FF2B5EF4-FFF2-40B4-BE49-F238E27FC236}">
                  <a16:creationId xmlns:a16="http://schemas.microsoft.com/office/drawing/2014/main" id="{8976E655-1A11-5C14-CBA4-8FC0439175B1}"/>
                </a:ext>
              </a:extLst>
            </p:cNvPr>
            <p:cNvSpPr/>
            <p:nvPr/>
          </p:nvSpPr>
          <p:spPr>
            <a:xfrm>
              <a:off x="5564191" y="2767709"/>
              <a:ext cx="43448" cy="163305"/>
            </a:xfrm>
            <a:custGeom>
              <a:avLst/>
              <a:gdLst>
                <a:gd name="connsiteX0" fmla="*/ 1227 w 40525"/>
                <a:gd name="connsiteY0" fmla="*/ 0 h 152319"/>
                <a:gd name="connsiteX1" fmla="*/ 6133 w 40525"/>
                <a:gd name="connsiteY1" fmla="*/ 63331 h 152319"/>
                <a:gd name="connsiteX2" fmla="*/ 15415 w 40525"/>
                <a:gd name="connsiteY2" fmla="*/ 110286 h 152319"/>
                <a:gd name="connsiteX3" fmla="*/ 8321 w 40525"/>
                <a:gd name="connsiteY3" fmla="*/ 152319 h 152319"/>
                <a:gd name="connsiteX4" fmla="*/ 19243 w 40525"/>
                <a:gd name="connsiteY4" fmla="*/ 124474 h 152319"/>
                <a:gd name="connsiteX5" fmla="*/ 32338 w 40525"/>
                <a:gd name="connsiteY5" fmla="*/ 85722 h 152319"/>
                <a:gd name="connsiteX6" fmla="*/ 40526 w 40525"/>
                <a:gd name="connsiteY6" fmla="*/ 52971 h 152319"/>
                <a:gd name="connsiteX7" fmla="*/ 1227 w 40525"/>
                <a:gd name="connsiteY7" fmla="*/ 15 h 15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25" h="152319">
                  <a:moveTo>
                    <a:pt x="1227" y="0"/>
                  </a:moveTo>
                  <a:cubicBezTo>
                    <a:pt x="1227" y="0"/>
                    <a:pt x="-3680" y="40393"/>
                    <a:pt x="6133" y="63331"/>
                  </a:cubicBezTo>
                  <a:cubicBezTo>
                    <a:pt x="15962" y="86254"/>
                    <a:pt x="20322" y="94442"/>
                    <a:pt x="15415" y="110286"/>
                  </a:cubicBezTo>
                  <a:cubicBezTo>
                    <a:pt x="10508" y="126115"/>
                    <a:pt x="1227" y="132115"/>
                    <a:pt x="8321" y="152319"/>
                  </a:cubicBezTo>
                  <a:cubicBezTo>
                    <a:pt x="8321" y="152319"/>
                    <a:pt x="9415" y="136490"/>
                    <a:pt x="19243" y="124474"/>
                  </a:cubicBezTo>
                  <a:cubicBezTo>
                    <a:pt x="29072" y="112458"/>
                    <a:pt x="35619" y="101551"/>
                    <a:pt x="32338" y="85722"/>
                  </a:cubicBezTo>
                  <a:cubicBezTo>
                    <a:pt x="29057" y="69893"/>
                    <a:pt x="40526" y="52971"/>
                    <a:pt x="40526" y="52971"/>
                  </a:cubicBezTo>
                  <a:lnTo>
                    <a:pt x="1227" y="15"/>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914" name="Graphic 3200">
              <a:extLst>
                <a:ext uri="{FF2B5EF4-FFF2-40B4-BE49-F238E27FC236}">
                  <a16:creationId xmlns:a16="http://schemas.microsoft.com/office/drawing/2014/main" id="{8ADD1DC5-06DF-993E-DBCB-7ECFBB0E63CC}"/>
                </a:ext>
              </a:extLst>
            </p:cNvPr>
            <p:cNvGrpSpPr/>
            <p:nvPr/>
          </p:nvGrpSpPr>
          <p:grpSpPr>
            <a:xfrm>
              <a:off x="4812771" y="3232285"/>
              <a:ext cx="501293" cy="441313"/>
              <a:chOff x="4948963" y="3503313"/>
              <a:chExt cx="467569" cy="411624"/>
            </a:xfrm>
          </p:grpSpPr>
          <p:sp>
            <p:nvSpPr>
              <p:cNvPr id="1058" name="Freeform: Shape 1057">
                <a:extLst>
                  <a:ext uri="{FF2B5EF4-FFF2-40B4-BE49-F238E27FC236}">
                    <a16:creationId xmlns:a16="http://schemas.microsoft.com/office/drawing/2014/main" id="{0FC52690-2DAA-F036-0C59-D5D500B4A9E1}"/>
                  </a:ext>
                </a:extLst>
              </p:cNvPr>
              <p:cNvSpPr/>
              <p:nvPr/>
            </p:nvSpPr>
            <p:spPr>
              <a:xfrm>
                <a:off x="5201272" y="3503313"/>
                <a:ext cx="89518" cy="162996"/>
              </a:xfrm>
              <a:custGeom>
                <a:avLst/>
                <a:gdLst>
                  <a:gd name="connsiteX0" fmla="*/ 4010 w 89518"/>
                  <a:gd name="connsiteY0" fmla="*/ 162208 h 162996"/>
                  <a:gd name="connsiteX1" fmla="*/ 789 w 89518"/>
                  <a:gd name="connsiteY1" fmla="*/ 152410 h 162996"/>
                  <a:gd name="connsiteX2" fmla="*/ 75711 w 89518"/>
                  <a:gd name="connsiteY2" fmla="*/ 4010 h 162996"/>
                  <a:gd name="connsiteX3" fmla="*/ 85509 w 89518"/>
                  <a:gd name="connsiteY3" fmla="*/ 789 h 162996"/>
                  <a:gd name="connsiteX4" fmla="*/ 88729 w 89518"/>
                  <a:gd name="connsiteY4" fmla="*/ 10587 h 162996"/>
                  <a:gd name="connsiteX5" fmla="*/ 13808 w 89518"/>
                  <a:gd name="connsiteY5" fmla="*/ 158987 h 162996"/>
                  <a:gd name="connsiteX6" fmla="*/ 4010 w 89518"/>
                  <a:gd name="connsiteY6" fmla="*/ 162208 h 162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18" h="162996">
                    <a:moveTo>
                      <a:pt x="4010" y="162208"/>
                    </a:moveTo>
                    <a:cubicBezTo>
                      <a:pt x="409" y="160400"/>
                      <a:pt x="-1034" y="156010"/>
                      <a:pt x="789" y="152410"/>
                    </a:cubicBezTo>
                    <a:lnTo>
                      <a:pt x="75711" y="4010"/>
                    </a:lnTo>
                    <a:cubicBezTo>
                      <a:pt x="77518" y="409"/>
                      <a:pt x="81909" y="-1034"/>
                      <a:pt x="85509" y="789"/>
                    </a:cubicBezTo>
                    <a:cubicBezTo>
                      <a:pt x="89109" y="2597"/>
                      <a:pt x="90552" y="6987"/>
                      <a:pt x="88729" y="10587"/>
                    </a:cubicBezTo>
                    <a:lnTo>
                      <a:pt x="13808" y="158987"/>
                    </a:lnTo>
                    <a:cubicBezTo>
                      <a:pt x="12000" y="162587"/>
                      <a:pt x="7610" y="164031"/>
                      <a:pt x="4010" y="162208"/>
                    </a:cubicBezTo>
                    <a:close/>
                  </a:path>
                </a:pathLst>
              </a:custGeom>
              <a:solidFill>
                <a:srgbClr val="2E3B7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59" name="Graphic 3200">
                <a:extLst>
                  <a:ext uri="{FF2B5EF4-FFF2-40B4-BE49-F238E27FC236}">
                    <a16:creationId xmlns:a16="http://schemas.microsoft.com/office/drawing/2014/main" id="{6D4DB03F-21A9-82E1-BEEE-42BC1E4F89A3}"/>
                  </a:ext>
                </a:extLst>
              </p:cNvPr>
              <p:cNvGrpSpPr/>
              <p:nvPr/>
            </p:nvGrpSpPr>
            <p:grpSpPr>
              <a:xfrm>
                <a:off x="4948963" y="3582822"/>
                <a:ext cx="467569" cy="332115"/>
                <a:chOff x="4948963" y="3582822"/>
                <a:chExt cx="467569" cy="332115"/>
              </a:xfrm>
            </p:grpSpPr>
            <p:sp>
              <p:nvSpPr>
                <p:cNvPr id="1060" name="Freeform: Shape 1059">
                  <a:extLst>
                    <a:ext uri="{FF2B5EF4-FFF2-40B4-BE49-F238E27FC236}">
                      <a16:creationId xmlns:a16="http://schemas.microsoft.com/office/drawing/2014/main" id="{F4459A9C-D831-221E-F600-3FB1635649AF}"/>
                    </a:ext>
                  </a:extLst>
                </p:cNvPr>
                <p:cNvSpPr/>
                <p:nvPr/>
              </p:nvSpPr>
              <p:spPr>
                <a:xfrm>
                  <a:off x="4948963" y="3582822"/>
                  <a:ext cx="467569" cy="326434"/>
                </a:xfrm>
                <a:custGeom>
                  <a:avLst/>
                  <a:gdLst>
                    <a:gd name="connsiteX0" fmla="*/ 155710 w 467569"/>
                    <a:gd name="connsiteY0" fmla="*/ 2505 h 326434"/>
                    <a:gd name="connsiteX1" fmla="*/ 4438 w 467569"/>
                    <a:gd name="connsiteY1" fmla="*/ 87544 h 326434"/>
                    <a:gd name="connsiteX2" fmla="*/ 1583 w 467569"/>
                    <a:gd name="connsiteY2" fmla="*/ 100806 h 326434"/>
                    <a:gd name="connsiteX3" fmla="*/ 275474 w 467569"/>
                    <a:gd name="connsiteY3" fmla="*/ 321970 h 326434"/>
                    <a:gd name="connsiteX4" fmla="*/ 293537 w 467569"/>
                    <a:gd name="connsiteY4" fmla="*/ 325601 h 326434"/>
                    <a:gd name="connsiteX5" fmla="*/ 463341 w 467569"/>
                    <a:gd name="connsiteY5" fmla="*/ 274088 h 326434"/>
                    <a:gd name="connsiteX6" fmla="*/ 465604 w 467569"/>
                    <a:gd name="connsiteY6" fmla="*/ 263971 h 326434"/>
                    <a:gd name="connsiteX7" fmla="*/ 178298 w 467569"/>
                    <a:gd name="connsiteY7" fmla="*/ 5012 h 326434"/>
                    <a:gd name="connsiteX8" fmla="*/ 155710 w 467569"/>
                    <a:gd name="connsiteY8" fmla="*/ 2505 h 32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569" h="326434">
                      <a:moveTo>
                        <a:pt x="155710" y="2505"/>
                      </a:moveTo>
                      <a:lnTo>
                        <a:pt x="4438" y="87544"/>
                      </a:lnTo>
                      <a:cubicBezTo>
                        <a:pt x="793" y="89595"/>
                        <a:pt x="-1820" y="97099"/>
                        <a:pt x="1583" y="100806"/>
                      </a:cubicBezTo>
                      <a:lnTo>
                        <a:pt x="275474" y="321970"/>
                      </a:lnTo>
                      <a:cubicBezTo>
                        <a:pt x="280503" y="326133"/>
                        <a:pt x="287293" y="327485"/>
                        <a:pt x="293537" y="325601"/>
                      </a:cubicBezTo>
                      <a:lnTo>
                        <a:pt x="463341" y="274088"/>
                      </a:lnTo>
                      <a:cubicBezTo>
                        <a:pt x="467776" y="272736"/>
                        <a:pt x="469037" y="267070"/>
                        <a:pt x="465604" y="263971"/>
                      </a:cubicBezTo>
                      <a:lnTo>
                        <a:pt x="178298" y="5012"/>
                      </a:lnTo>
                      <a:cubicBezTo>
                        <a:pt x="172085" y="-593"/>
                        <a:pt x="163001" y="-1596"/>
                        <a:pt x="155710" y="2505"/>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1" name="Freeform: Shape 1060">
                  <a:extLst>
                    <a:ext uri="{FF2B5EF4-FFF2-40B4-BE49-F238E27FC236}">
                      <a16:creationId xmlns:a16="http://schemas.microsoft.com/office/drawing/2014/main" id="{B34C081F-F91F-C85F-0A1D-0B1F5DBED34E}"/>
                    </a:ext>
                  </a:extLst>
                </p:cNvPr>
                <p:cNvSpPr/>
                <p:nvPr/>
              </p:nvSpPr>
              <p:spPr>
                <a:xfrm>
                  <a:off x="4974454" y="3588991"/>
                  <a:ext cx="117457" cy="81481"/>
                </a:xfrm>
                <a:custGeom>
                  <a:avLst/>
                  <a:gdLst>
                    <a:gd name="connsiteX0" fmla="*/ 27346 w 117457"/>
                    <a:gd name="connsiteY0" fmla="*/ 81481 h 81481"/>
                    <a:gd name="connsiteX1" fmla="*/ 3633 w 117457"/>
                    <a:gd name="connsiteY1" fmla="*/ 60548 h 81481"/>
                    <a:gd name="connsiteX2" fmla="*/ 5106 w 117457"/>
                    <a:gd name="connsiteY2" fmla="*/ 43367 h 81481"/>
                    <a:gd name="connsiteX3" fmla="*/ 75835 w 117457"/>
                    <a:gd name="connsiteY3" fmla="*/ 1592 h 81481"/>
                    <a:gd name="connsiteX4" fmla="*/ 88732 w 117457"/>
                    <a:gd name="connsiteY4" fmla="*/ 2838 h 81481"/>
                    <a:gd name="connsiteX5" fmla="*/ 117458 w 117457"/>
                    <a:gd name="connsiteY5" fmla="*/ 29088 h 81481"/>
                    <a:gd name="connsiteX6" fmla="*/ 27346 w 117457"/>
                    <a:gd name="connsiteY6" fmla="*/ 81481 h 81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57" h="81481">
                      <a:moveTo>
                        <a:pt x="27346" y="81481"/>
                      </a:moveTo>
                      <a:lnTo>
                        <a:pt x="3633" y="60548"/>
                      </a:lnTo>
                      <a:cubicBezTo>
                        <a:pt x="-1775" y="55778"/>
                        <a:pt x="-1031" y="47150"/>
                        <a:pt x="5106" y="43367"/>
                      </a:cubicBezTo>
                      <a:lnTo>
                        <a:pt x="75835" y="1592"/>
                      </a:lnTo>
                      <a:cubicBezTo>
                        <a:pt x="79921" y="-930"/>
                        <a:pt x="85192" y="-413"/>
                        <a:pt x="88732" y="2838"/>
                      </a:cubicBezTo>
                      <a:lnTo>
                        <a:pt x="117458" y="29088"/>
                      </a:lnTo>
                      <a:lnTo>
                        <a:pt x="27346" y="81481"/>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2" name="Freeform: Shape 1061">
                  <a:extLst>
                    <a:ext uri="{FF2B5EF4-FFF2-40B4-BE49-F238E27FC236}">
                      <a16:creationId xmlns:a16="http://schemas.microsoft.com/office/drawing/2014/main" id="{6340BA76-BE52-1B20-371D-5D82D0C3F279}"/>
                    </a:ext>
                  </a:extLst>
                </p:cNvPr>
                <p:cNvSpPr/>
                <p:nvPr/>
              </p:nvSpPr>
              <p:spPr>
                <a:xfrm>
                  <a:off x="4949450" y="3588503"/>
                  <a:ext cx="466155" cy="326434"/>
                </a:xfrm>
                <a:custGeom>
                  <a:avLst/>
                  <a:gdLst>
                    <a:gd name="connsiteX0" fmla="*/ 154311 w 466155"/>
                    <a:gd name="connsiteY0" fmla="*/ 2506 h 326434"/>
                    <a:gd name="connsiteX1" fmla="*/ 3040 w 466155"/>
                    <a:gd name="connsiteY1" fmla="*/ 87544 h 326434"/>
                    <a:gd name="connsiteX2" fmla="*/ 2159 w 466155"/>
                    <a:gd name="connsiteY2" fmla="*/ 97327 h 326434"/>
                    <a:gd name="connsiteX3" fmla="*/ 274061 w 466155"/>
                    <a:gd name="connsiteY3" fmla="*/ 321970 h 326434"/>
                    <a:gd name="connsiteX4" fmla="*/ 292123 w 466155"/>
                    <a:gd name="connsiteY4" fmla="*/ 325601 h 326434"/>
                    <a:gd name="connsiteX5" fmla="*/ 461927 w 466155"/>
                    <a:gd name="connsiteY5" fmla="*/ 274088 h 326434"/>
                    <a:gd name="connsiteX6" fmla="*/ 464190 w 466155"/>
                    <a:gd name="connsiteY6" fmla="*/ 263971 h 326434"/>
                    <a:gd name="connsiteX7" fmla="*/ 176885 w 466155"/>
                    <a:gd name="connsiteY7" fmla="*/ 5012 h 326434"/>
                    <a:gd name="connsiteX8" fmla="*/ 154296 w 466155"/>
                    <a:gd name="connsiteY8" fmla="*/ 2506 h 32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155" h="326434">
                      <a:moveTo>
                        <a:pt x="154311" y="2506"/>
                      </a:moveTo>
                      <a:lnTo>
                        <a:pt x="3040" y="87544"/>
                      </a:lnTo>
                      <a:cubicBezTo>
                        <a:pt x="-606" y="89595"/>
                        <a:pt x="-1062" y="94669"/>
                        <a:pt x="2159" y="97327"/>
                      </a:cubicBezTo>
                      <a:lnTo>
                        <a:pt x="274061" y="321970"/>
                      </a:lnTo>
                      <a:cubicBezTo>
                        <a:pt x="279089" y="326132"/>
                        <a:pt x="285879" y="327485"/>
                        <a:pt x="292123" y="325601"/>
                      </a:cubicBezTo>
                      <a:lnTo>
                        <a:pt x="461927" y="274088"/>
                      </a:lnTo>
                      <a:cubicBezTo>
                        <a:pt x="466363" y="272736"/>
                        <a:pt x="467623" y="267070"/>
                        <a:pt x="464190" y="263971"/>
                      </a:cubicBezTo>
                      <a:lnTo>
                        <a:pt x="176885" y="5012"/>
                      </a:lnTo>
                      <a:cubicBezTo>
                        <a:pt x="170671" y="-593"/>
                        <a:pt x="161587" y="-1596"/>
                        <a:pt x="154296" y="2506"/>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915" name="Graphic 3200">
              <a:extLst>
                <a:ext uri="{FF2B5EF4-FFF2-40B4-BE49-F238E27FC236}">
                  <a16:creationId xmlns:a16="http://schemas.microsoft.com/office/drawing/2014/main" id="{6470F1C2-D494-5332-1E4D-A2BF041CC5F2}"/>
                </a:ext>
              </a:extLst>
            </p:cNvPr>
            <p:cNvGrpSpPr/>
            <p:nvPr/>
          </p:nvGrpSpPr>
          <p:grpSpPr>
            <a:xfrm>
              <a:off x="4922479" y="3371334"/>
              <a:ext cx="340262" cy="187114"/>
              <a:chOff x="5051291" y="3633008"/>
              <a:chExt cx="317371" cy="174526"/>
            </a:xfrm>
          </p:grpSpPr>
          <p:sp>
            <p:nvSpPr>
              <p:cNvPr id="1054" name="Freeform: Shape 1053">
                <a:extLst>
                  <a:ext uri="{FF2B5EF4-FFF2-40B4-BE49-F238E27FC236}">
                    <a16:creationId xmlns:a16="http://schemas.microsoft.com/office/drawing/2014/main" id="{1F3D9D5E-36A2-4B3B-AAE4-E89F8E0EE12B}"/>
                  </a:ext>
                </a:extLst>
              </p:cNvPr>
              <p:cNvSpPr/>
              <p:nvPr/>
            </p:nvSpPr>
            <p:spPr>
              <a:xfrm>
                <a:off x="5051291" y="3633008"/>
                <a:ext cx="317371" cy="174526"/>
              </a:xfrm>
              <a:custGeom>
                <a:avLst/>
                <a:gdLst>
                  <a:gd name="connsiteX0" fmla="*/ 290041 w 317371"/>
                  <a:gd name="connsiteY0" fmla="*/ 99140 h 174526"/>
                  <a:gd name="connsiteX1" fmla="*/ 224994 w 317371"/>
                  <a:gd name="connsiteY1" fmla="*/ 58003 h 174526"/>
                  <a:gd name="connsiteX2" fmla="*/ 165871 w 317371"/>
                  <a:gd name="connsiteY2" fmla="*/ 6156 h 174526"/>
                  <a:gd name="connsiteX3" fmla="*/ 129230 w 317371"/>
                  <a:gd name="connsiteY3" fmla="*/ 186 h 174526"/>
                  <a:gd name="connsiteX4" fmla="*/ 155814 w 317371"/>
                  <a:gd name="connsiteY4" fmla="*/ 24142 h 174526"/>
                  <a:gd name="connsiteX5" fmla="*/ 163577 w 317371"/>
                  <a:gd name="connsiteY5" fmla="*/ 60813 h 174526"/>
                  <a:gd name="connsiteX6" fmla="*/ 61099 w 317371"/>
                  <a:gd name="connsiteY6" fmla="*/ 75594 h 174526"/>
                  <a:gd name="connsiteX7" fmla="*/ 1 w 317371"/>
                  <a:gd name="connsiteY7" fmla="*/ 91043 h 174526"/>
                  <a:gd name="connsiteX8" fmla="*/ 17699 w 317371"/>
                  <a:gd name="connsiteY8" fmla="*/ 104077 h 174526"/>
                  <a:gd name="connsiteX9" fmla="*/ 6716 w 317371"/>
                  <a:gd name="connsiteY9" fmla="*/ 116503 h 174526"/>
                  <a:gd name="connsiteX10" fmla="*/ 41928 w 317371"/>
                  <a:gd name="connsiteY10" fmla="*/ 131268 h 174526"/>
                  <a:gd name="connsiteX11" fmla="*/ 36384 w 317371"/>
                  <a:gd name="connsiteY11" fmla="*/ 140535 h 174526"/>
                  <a:gd name="connsiteX12" fmla="*/ 69652 w 317371"/>
                  <a:gd name="connsiteY12" fmla="*/ 154009 h 174526"/>
                  <a:gd name="connsiteX13" fmla="*/ 154660 w 317371"/>
                  <a:gd name="connsiteY13" fmla="*/ 160557 h 174526"/>
                  <a:gd name="connsiteX14" fmla="*/ 251289 w 317371"/>
                  <a:gd name="connsiteY14" fmla="*/ 172497 h 174526"/>
                  <a:gd name="connsiteX15" fmla="*/ 300705 w 317371"/>
                  <a:gd name="connsiteY15" fmla="*/ 165706 h 174526"/>
                  <a:gd name="connsiteX16" fmla="*/ 290041 w 317371"/>
                  <a:gd name="connsiteY16" fmla="*/ 99140 h 17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7371" h="174526">
                    <a:moveTo>
                      <a:pt x="290041" y="99140"/>
                    </a:moveTo>
                    <a:cubicBezTo>
                      <a:pt x="264338" y="86136"/>
                      <a:pt x="243876" y="82232"/>
                      <a:pt x="224994" y="58003"/>
                    </a:cubicBezTo>
                    <a:cubicBezTo>
                      <a:pt x="206112" y="33773"/>
                      <a:pt x="191847" y="15058"/>
                      <a:pt x="165871" y="6156"/>
                    </a:cubicBezTo>
                    <a:cubicBezTo>
                      <a:pt x="146259" y="-558"/>
                      <a:pt x="137980" y="-224"/>
                      <a:pt x="129230" y="186"/>
                    </a:cubicBezTo>
                    <a:lnTo>
                      <a:pt x="155814" y="24142"/>
                    </a:lnTo>
                    <a:cubicBezTo>
                      <a:pt x="159521" y="27742"/>
                      <a:pt x="173846" y="48250"/>
                      <a:pt x="163577" y="60813"/>
                    </a:cubicBezTo>
                    <a:cubicBezTo>
                      <a:pt x="153718" y="72905"/>
                      <a:pt x="103770" y="73923"/>
                      <a:pt x="61099" y="75594"/>
                    </a:cubicBezTo>
                    <a:cubicBezTo>
                      <a:pt x="18428" y="77265"/>
                      <a:pt x="-166" y="82582"/>
                      <a:pt x="1" y="91043"/>
                    </a:cubicBezTo>
                    <a:cubicBezTo>
                      <a:pt x="214" y="101722"/>
                      <a:pt x="17699" y="104077"/>
                      <a:pt x="17699" y="104077"/>
                    </a:cubicBezTo>
                    <a:cubicBezTo>
                      <a:pt x="17699" y="104077"/>
                      <a:pt x="1308" y="105079"/>
                      <a:pt x="6716" y="116503"/>
                    </a:cubicBezTo>
                    <a:cubicBezTo>
                      <a:pt x="12123" y="127927"/>
                      <a:pt x="41928" y="131268"/>
                      <a:pt x="41928" y="131268"/>
                    </a:cubicBezTo>
                    <a:cubicBezTo>
                      <a:pt x="41928" y="131268"/>
                      <a:pt x="32950" y="130403"/>
                      <a:pt x="36384" y="140535"/>
                    </a:cubicBezTo>
                    <a:cubicBezTo>
                      <a:pt x="39832" y="150667"/>
                      <a:pt x="69652" y="154009"/>
                      <a:pt x="69652" y="154009"/>
                    </a:cubicBezTo>
                    <a:cubicBezTo>
                      <a:pt x="69743" y="170932"/>
                      <a:pt x="102494" y="169641"/>
                      <a:pt x="154660" y="160557"/>
                    </a:cubicBezTo>
                    <a:cubicBezTo>
                      <a:pt x="188657" y="154632"/>
                      <a:pt x="221713" y="165372"/>
                      <a:pt x="251289" y="172497"/>
                    </a:cubicBezTo>
                    <a:cubicBezTo>
                      <a:pt x="280866" y="179621"/>
                      <a:pt x="300705" y="165706"/>
                      <a:pt x="300705" y="165706"/>
                    </a:cubicBezTo>
                    <a:cubicBezTo>
                      <a:pt x="330814" y="150698"/>
                      <a:pt x="315760" y="112143"/>
                      <a:pt x="290041" y="9914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5" name="Freeform: Shape 1054">
                <a:extLst>
                  <a:ext uri="{FF2B5EF4-FFF2-40B4-BE49-F238E27FC236}">
                    <a16:creationId xmlns:a16="http://schemas.microsoft.com/office/drawing/2014/main" id="{B41E856F-19DD-9829-C2E1-D115CAF7F21F}"/>
                  </a:ext>
                </a:extLst>
              </p:cNvPr>
              <p:cNvSpPr/>
              <p:nvPr/>
            </p:nvSpPr>
            <p:spPr>
              <a:xfrm>
                <a:off x="5068807" y="3727499"/>
                <a:ext cx="95520" cy="9782"/>
              </a:xfrm>
              <a:custGeom>
                <a:avLst/>
                <a:gdLst>
                  <a:gd name="connsiteX0" fmla="*/ 182 w 95520"/>
                  <a:gd name="connsiteY0" fmla="*/ 9388 h 9782"/>
                  <a:gd name="connsiteX1" fmla="*/ 23956 w 95520"/>
                  <a:gd name="connsiteY1" fmla="*/ 6851 h 9782"/>
                  <a:gd name="connsiteX2" fmla="*/ 47715 w 95520"/>
                  <a:gd name="connsiteY2" fmla="*/ 4238 h 9782"/>
                  <a:gd name="connsiteX3" fmla="*/ 53639 w 95520"/>
                  <a:gd name="connsiteY3" fmla="*/ 3509 h 9782"/>
                  <a:gd name="connsiteX4" fmla="*/ 59563 w 95520"/>
                  <a:gd name="connsiteY4" fmla="*/ 2719 h 9782"/>
                  <a:gd name="connsiteX5" fmla="*/ 71428 w 95520"/>
                  <a:gd name="connsiteY5" fmla="*/ 1443 h 9782"/>
                  <a:gd name="connsiteX6" fmla="*/ 83337 w 95520"/>
                  <a:gd name="connsiteY6" fmla="*/ 608 h 9782"/>
                  <a:gd name="connsiteX7" fmla="*/ 89307 w 95520"/>
                  <a:gd name="connsiteY7" fmla="*/ 258 h 9782"/>
                  <a:gd name="connsiteX8" fmla="*/ 95308 w 95520"/>
                  <a:gd name="connsiteY8" fmla="*/ 0 h 9782"/>
                  <a:gd name="connsiteX9" fmla="*/ 95521 w 95520"/>
                  <a:gd name="connsiteY9" fmla="*/ 197 h 9782"/>
                  <a:gd name="connsiteX10" fmla="*/ 95384 w 95520"/>
                  <a:gd name="connsiteY10" fmla="*/ 395 h 9782"/>
                  <a:gd name="connsiteX11" fmla="*/ 89581 w 95520"/>
                  <a:gd name="connsiteY11" fmla="*/ 2081 h 9782"/>
                  <a:gd name="connsiteX12" fmla="*/ 83717 w 95520"/>
                  <a:gd name="connsiteY12" fmla="*/ 3418 h 9782"/>
                  <a:gd name="connsiteX13" fmla="*/ 77808 w 95520"/>
                  <a:gd name="connsiteY13" fmla="*/ 4527 h 9782"/>
                  <a:gd name="connsiteX14" fmla="*/ 71883 w 95520"/>
                  <a:gd name="connsiteY14" fmla="*/ 5453 h 9782"/>
                  <a:gd name="connsiteX15" fmla="*/ 59974 w 95520"/>
                  <a:gd name="connsiteY15" fmla="*/ 6699 h 9782"/>
                  <a:gd name="connsiteX16" fmla="*/ 48019 w 95520"/>
                  <a:gd name="connsiteY16" fmla="*/ 7444 h 9782"/>
                  <a:gd name="connsiteX17" fmla="*/ 24123 w 95520"/>
                  <a:gd name="connsiteY17" fmla="*/ 8856 h 9782"/>
                  <a:gd name="connsiteX18" fmla="*/ 213 w 95520"/>
                  <a:gd name="connsiteY18" fmla="*/ 9783 h 9782"/>
                  <a:gd name="connsiteX19" fmla="*/ 0 w 95520"/>
                  <a:gd name="connsiteY19" fmla="*/ 9585 h 9782"/>
                  <a:gd name="connsiteX20" fmla="*/ 182 w 95520"/>
                  <a:gd name="connsiteY20" fmla="*/ 9373 h 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520" h="9782">
                    <a:moveTo>
                      <a:pt x="182" y="9388"/>
                    </a:moveTo>
                    <a:lnTo>
                      <a:pt x="23956" y="6851"/>
                    </a:lnTo>
                    <a:cubicBezTo>
                      <a:pt x="31886" y="6031"/>
                      <a:pt x="39800" y="5165"/>
                      <a:pt x="47715" y="4238"/>
                    </a:cubicBezTo>
                    <a:lnTo>
                      <a:pt x="53639" y="3509"/>
                    </a:lnTo>
                    <a:lnTo>
                      <a:pt x="59563" y="2719"/>
                    </a:lnTo>
                    <a:cubicBezTo>
                      <a:pt x="63513" y="2187"/>
                      <a:pt x="67463" y="1777"/>
                      <a:pt x="71428" y="1443"/>
                    </a:cubicBezTo>
                    <a:cubicBezTo>
                      <a:pt x="75393" y="1155"/>
                      <a:pt x="79357" y="820"/>
                      <a:pt x="83337" y="608"/>
                    </a:cubicBezTo>
                    <a:cubicBezTo>
                      <a:pt x="85312" y="456"/>
                      <a:pt x="87302" y="365"/>
                      <a:pt x="89307" y="258"/>
                    </a:cubicBezTo>
                    <a:cubicBezTo>
                      <a:pt x="91298" y="152"/>
                      <a:pt x="93288" y="30"/>
                      <a:pt x="95308" y="0"/>
                    </a:cubicBezTo>
                    <a:cubicBezTo>
                      <a:pt x="95429" y="0"/>
                      <a:pt x="95521" y="91"/>
                      <a:pt x="95521" y="197"/>
                    </a:cubicBezTo>
                    <a:cubicBezTo>
                      <a:pt x="95521" y="289"/>
                      <a:pt x="95460" y="365"/>
                      <a:pt x="95384" y="395"/>
                    </a:cubicBezTo>
                    <a:cubicBezTo>
                      <a:pt x="93470" y="1018"/>
                      <a:pt x="91525" y="1550"/>
                      <a:pt x="89581" y="2081"/>
                    </a:cubicBezTo>
                    <a:cubicBezTo>
                      <a:pt x="87636" y="2552"/>
                      <a:pt x="85677" y="3008"/>
                      <a:pt x="83717" y="3418"/>
                    </a:cubicBezTo>
                    <a:cubicBezTo>
                      <a:pt x="81758" y="3828"/>
                      <a:pt x="79783" y="4162"/>
                      <a:pt x="77808" y="4527"/>
                    </a:cubicBezTo>
                    <a:cubicBezTo>
                      <a:pt x="75833" y="4876"/>
                      <a:pt x="73858" y="5150"/>
                      <a:pt x="71883" y="5453"/>
                    </a:cubicBezTo>
                    <a:cubicBezTo>
                      <a:pt x="67934" y="6031"/>
                      <a:pt x="63954" y="6426"/>
                      <a:pt x="59974" y="6699"/>
                    </a:cubicBezTo>
                    <a:lnTo>
                      <a:pt x="48019" y="7444"/>
                    </a:lnTo>
                    <a:cubicBezTo>
                      <a:pt x="40059" y="7960"/>
                      <a:pt x="32099" y="8431"/>
                      <a:pt x="24123" y="8856"/>
                    </a:cubicBezTo>
                    <a:cubicBezTo>
                      <a:pt x="16148" y="9206"/>
                      <a:pt x="8188" y="9585"/>
                      <a:pt x="213" y="9783"/>
                    </a:cubicBezTo>
                    <a:cubicBezTo>
                      <a:pt x="106" y="9783"/>
                      <a:pt x="15" y="9692"/>
                      <a:pt x="0" y="9585"/>
                    </a:cubicBezTo>
                    <a:cubicBezTo>
                      <a:pt x="0" y="9479"/>
                      <a:pt x="76" y="9388"/>
                      <a:pt x="182" y="9373"/>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6" name="Freeform: Shape 1055">
                <a:extLst>
                  <a:ext uri="{FF2B5EF4-FFF2-40B4-BE49-F238E27FC236}">
                    <a16:creationId xmlns:a16="http://schemas.microsoft.com/office/drawing/2014/main" id="{8C6846EF-8F0A-ABBE-E280-F1177F2B6B9E}"/>
                  </a:ext>
                </a:extLst>
              </p:cNvPr>
              <p:cNvSpPr/>
              <p:nvPr/>
            </p:nvSpPr>
            <p:spPr>
              <a:xfrm>
                <a:off x="5093036" y="3754205"/>
                <a:ext cx="78658" cy="10284"/>
              </a:xfrm>
              <a:custGeom>
                <a:avLst/>
                <a:gdLst>
                  <a:gd name="connsiteX0" fmla="*/ 182 w 78658"/>
                  <a:gd name="connsiteY0" fmla="*/ 9874 h 10284"/>
                  <a:gd name="connsiteX1" fmla="*/ 19763 w 78658"/>
                  <a:gd name="connsiteY1" fmla="*/ 7307 h 10284"/>
                  <a:gd name="connsiteX2" fmla="*/ 39299 w 78658"/>
                  <a:gd name="connsiteY2" fmla="*/ 4588 h 10284"/>
                  <a:gd name="connsiteX3" fmla="*/ 49021 w 78658"/>
                  <a:gd name="connsiteY3" fmla="*/ 2993 h 10284"/>
                  <a:gd name="connsiteX4" fmla="*/ 58759 w 78658"/>
                  <a:gd name="connsiteY4" fmla="*/ 1610 h 10284"/>
                  <a:gd name="connsiteX5" fmla="*/ 63650 w 78658"/>
                  <a:gd name="connsiteY5" fmla="*/ 1094 h 10284"/>
                  <a:gd name="connsiteX6" fmla="*/ 68557 w 78658"/>
                  <a:gd name="connsiteY6" fmla="*/ 653 h 10284"/>
                  <a:gd name="connsiteX7" fmla="*/ 73479 w 78658"/>
                  <a:gd name="connsiteY7" fmla="*/ 274 h 10284"/>
                  <a:gd name="connsiteX8" fmla="*/ 78446 w 78658"/>
                  <a:gd name="connsiteY8" fmla="*/ 0 h 10284"/>
                  <a:gd name="connsiteX9" fmla="*/ 78659 w 78658"/>
                  <a:gd name="connsiteY9" fmla="*/ 197 h 10284"/>
                  <a:gd name="connsiteX10" fmla="*/ 78537 w 78658"/>
                  <a:gd name="connsiteY10" fmla="*/ 395 h 10284"/>
                  <a:gd name="connsiteX11" fmla="*/ 73828 w 78658"/>
                  <a:gd name="connsiteY11" fmla="*/ 2081 h 10284"/>
                  <a:gd name="connsiteX12" fmla="*/ 69043 w 78658"/>
                  <a:gd name="connsiteY12" fmla="*/ 3448 h 10284"/>
                  <a:gd name="connsiteX13" fmla="*/ 59351 w 78658"/>
                  <a:gd name="connsiteY13" fmla="*/ 5606 h 10284"/>
                  <a:gd name="connsiteX14" fmla="*/ 49538 w 78658"/>
                  <a:gd name="connsiteY14" fmla="*/ 6957 h 10284"/>
                  <a:gd name="connsiteX15" fmla="*/ 39679 w 78658"/>
                  <a:gd name="connsiteY15" fmla="*/ 7793 h 10284"/>
                  <a:gd name="connsiteX16" fmla="*/ 19961 w 78658"/>
                  <a:gd name="connsiteY16" fmla="*/ 9312 h 10284"/>
                  <a:gd name="connsiteX17" fmla="*/ 213 w 78658"/>
                  <a:gd name="connsiteY17" fmla="*/ 10284 h 10284"/>
                  <a:gd name="connsiteX18" fmla="*/ 0 w 78658"/>
                  <a:gd name="connsiteY18" fmla="*/ 10087 h 10284"/>
                  <a:gd name="connsiteX19" fmla="*/ 182 w 78658"/>
                  <a:gd name="connsiteY19" fmla="*/ 9874 h 10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658" h="10284">
                    <a:moveTo>
                      <a:pt x="182" y="9874"/>
                    </a:moveTo>
                    <a:cubicBezTo>
                      <a:pt x="6715" y="9023"/>
                      <a:pt x="13247" y="8218"/>
                      <a:pt x="19763" y="7307"/>
                    </a:cubicBezTo>
                    <a:cubicBezTo>
                      <a:pt x="26280" y="6456"/>
                      <a:pt x="32797" y="5575"/>
                      <a:pt x="39299" y="4588"/>
                    </a:cubicBezTo>
                    <a:cubicBezTo>
                      <a:pt x="42550" y="4101"/>
                      <a:pt x="45786" y="3555"/>
                      <a:pt x="49021" y="2993"/>
                    </a:cubicBezTo>
                    <a:cubicBezTo>
                      <a:pt x="52257" y="2431"/>
                      <a:pt x="55508" y="1990"/>
                      <a:pt x="58759" y="1610"/>
                    </a:cubicBezTo>
                    <a:cubicBezTo>
                      <a:pt x="60399" y="1458"/>
                      <a:pt x="62025" y="1276"/>
                      <a:pt x="63650" y="1094"/>
                    </a:cubicBezTo>
                    <a:lnTo>
                      <a:pt x="68557" y="653"/>
                    </a:lnTo>
                    <a:cubicBezTo>
                      <a:pt x="70182" y="486"/>
                      <a:pt x="71838" y="395"/>
                      <a:pt x="73479" y="274"/>
                    </a:cubicBezTo>
                    <a:cubicBezTo>
                      <a:pt x="75119" y="152"/>
                      <a:pt x="76775" y="30"/>
                      <a:pt x="78446" y="0"/>
                    </a:cubicBezTo>
                    <a:cubicBezTo>
                      <a:pt x="78568" y="0"/>
                      <a:pt x="78659" y="91"/>
                      <a:pt x="78659" y="197"/>
                    </a:cubicBezTo>
                    <a:cubicBezTo>
                      <a:pt x="78659" y="289"/>
                      <a:pt x="78613" y="365"/>
                      <a:pt x="78537" y="395"/>
                    </a:cubicBezTo>
                    <a:cubicBezTo>
                      <a:pt x="76988" y="1018"/>
                      <a:pt x="75408" y="1550"/>
                      <a:pt x="73828" y="2081"/>
                    </a:cubicBezTo>
                    <a:cubicBezTo>
                      <a:pt x="72248" y="2582"/>
                      <a:pt x="70638" y="3023"/>
                      <a:pt x="69043" y="3448"/>
                    </a:cubicBezTo>
                    <a:cubicBezTo>
                      <a:pt x="65838" y="4299"/>
                      <a:pt x="62602" y="4998"/>
                      <a:pt x="59351" y="5606"/>
                    </a:cubicBezTo>
                    <a:cubicBezTo>
                      <a:pt x="56100" y="6213"/>
                      <a:pt x="52834" y="6638"/>
                      <a:pt x="49538" y="6957"/>
                    </a:cubicBezTo>
                    <a:lnTo>
                      <a:pt x="39679" y="7793"/>
                    </a:lnTo>
                    <a:cubicBezTo>
                      <a:pt x="33116" y="8370"/>
                      <a:pt x="26539" y="8856"/>
                      <a:pt x="19961" y="9312"/>
                    </a:cubicBezTo>
                    <a:cubicBezTo>
                      <a:pt x="13383" y="9677"/>
                      <a:pt x="6806" y="10072"/>
                      <a:pt x="213" y="10284"/>
                    </a:cubicBezTo>
                    <a:cubicBezTo>
                      <a:pt x="106" y="10284"/>
                      <a:pt x="15" y="10193"/>
                      <a:pt x="0" y="10087"/>
                    </a:cubicBezTo>
                    <a:cubicBezTo>
                      <a:pt x="0" y="9981"/>
                      <a:pt x="76" y="9889"/>
                      <a:pt x="182" y="9874"/>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7" name="Freeform: Shape 1056">
                <a:extLst>
                  <a:ext uri="{FF2B5EF4-FFF2-40B4-BE49-F238E27FC236}">
                    <a16:creationId xmlns:a16="http://schemas.microsoft.com/office/drawing/2014/main" id="{61B99946-CF4A-D5EF-ABDE-F6CC88E38425}"/>
                  </a:ext>
                </a:extLst>
              </p:cNvPr>
              <p:cNvSpPr/>
              <p:nvPr/>
            </p:nvSpPr>
            <p:spPr>
              <a:xfrm>
                <a:off x="5120730" y="3777098"/>
                <a:ext cx="65821" cy="10086"/>
              </a:xfrm>
              <a:custGeom>
                <a:avLst/>
                <a:gdLst>
                  <a:gd name="connsiteX0" fmla="*/ 197 w 65821"/>
                  <a:gd name="connsiteY0" fmla="*/ 9722 h 10086"/>
                  <a:gd name="connsiteX1" fmla="*/ 16558 w 65821"/>
                  <a:gd name="connsiteY1" fmla="*/ 7170 h 10086"/>
                  <a:gd name="connsiteX2" fmla="*/ 24715 w 65821"/>
                  <a:gd name="connsiteY2" fmla="*/ 5818 h 10086"/>
                  <a:gd name="connsiteX3" fmla="*/ 32858 w 65821"/>
                  <a:gd name="connsiteY3" fmla="*/ 4436 h 10086"/>
                  <a:gd name="connsiteX4" fmla="*/ 40955 w 65821"/>
                  <a:gd name="connsiteY4" fmla="*/ 2825 h 10086"/>
                  <a:gd name="connsiteX5" fmla="*/ 49082 w 65821"/>
                  <a:gd name="connsiteY5" fmla="*/ 1458 h 10086"/>
                  <a:gd name="connsiteX6" fmla="*/ 57285 w 65821"/>
                  <a:gd name="connsiteY6" fmla="*/ 516 h 10086"/>
                  <a:gd name="connsiteX7" fmla="*/ 65609 w 65821"/>
                  <a:gd name="connsiteY7" fmla="*/ 0 h 10086"/>
                  <a:gd name="connsiteX8" fmla="*/ 65822 w 65821"/>
                  <a:gd name="connsiteY8" fmla="*/ 197 h 10086"/>
                  <a:gd name="connsiteX9" fmla="*/ 65701 w 65821"/>
                  <a:gd name="connsiteY9" fmla="*/ 380 h 10086"/>
                  <a:gd name="connsiteX10" fmla="*/ 57832 w 65821"/>
                  <a:gd name="connsiteY10" fmla="*/ 3296 h 10086"/>
                  <a:gd name="connsiteX11" fmla="*/ 49765 w 65821"/>
                  <a:gd name="connsiteY11" fmla="*/ 5423 h 10086"/>
                  <a:gd name="connsiteX12" fmla="*/ 41562 w 65821"/>
                  <a:gd name="connsiteY12" fmla="*/ 6760 h 10086"/>
                  <a:gd name="connsiteX13" fmla="*/ 33298 w 65821"/>
                  <a:gd name="connsiteY13" fmla="*/ 7610 h 10086"/>
                  <a:gd name="connsiteX14" fmla="*/ 25035 w 65821"/>
                  <a:gd name="connsiteY14" fmla="*/ 8461 h 10086"/>
                  <a:gd name="connsiteX15" fmla="*/ 16770 w 65821"/>
                  <a:gd name="connsiteY15" fmla="*/ 9145 h 10086"/>
                  <a:gd name="connsiteX16" fmla="*/ 213 w 65821"/>
                  <a:gd name="connsiteY16" fmla="*/ 10087 h 10086"/>
                  <a:gd name="connsiteX17" fmla="*/ 0 w 65821"/>
                  <a:gd name="connsiteY17" fmla="*/ 9889 h 10086"/>
                  <a:gd name="connsiteX18" fmla="*/ 167 w 65821"/>
                  <a:gd name="connsiteY18" fmla="*/ 9677 h 1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821" h="10086">
                    <a:moveTo>
                      <a:pt x="197" y="9722"/>
                    </a:moveTo>
                    <a:cubicBezTo>
                      <a:pt x="5651" y="8902"/>
                      <a:pt x="11119" y="8097"/>
                      <a:pt x="16558" y="7170"/>
                    </a:cubicBezTo>
                    <a:cubicBezTo>
                      <a:pt x="19277" y="6729"/>
                      <a:pt x="21996" y="6289"/>
                      <a:pt x="24715" y="5818"/>
                    </a:cubicBezTo>
                    <a:cubicBezTo>
                      <a:pt x="27434" y="5377"/>
                      <a:pt x="30154" y="4907"/>
                      <a:pt x="32858" y="4436"/>
                    </a:cubicBezTo>
                    <a:cubicBezTo>
                      <a:pt x="35562" y="3934"/>
                      <a:pt x="38266" y="3418"/>
                      <a:pt x="40955" y="2825"/>
                    </a:cubicBezTo>
                    <a:cubicBezTo>
                      <a:pt x="43659" y="2279"/>
                      <a:pt x="46347" y="1792"/>
                      <a:pt x="49082" y="1458"/>
                    </a:cubicBezTo>
                    <a:cubicBezTo>
                      <a:pt x="51801" y="1078"/>
                      <a:pt x="54550" y="805"/>
                      <a:pt x="57285" y="516"/>
                    </a:cubicBezTo>
                    <a:cubicBezTo>
                      <a:pt x="60034" y="273"/>
                      <a:pt x="62784" y="15"/>
                      <a:pt x="65609" y="0"/>
                    </a:cubicBezTo>
                    <a:cubicBezTo>
                      <a:pt x="65731" y="0"/>
                      <a:pt x="65822" y="91"/>
                      <a:pt x="65822" y="197"/>
                    </a:cubicBezTo>
                    <a:cubicBezTo>
                      <a:pt x="65822" y="289"/>
                      <a:pt x="65776" y="349"/>
                      <a:pt x="65701" y="380"/>
                    </a:cubicBezTo>
                    <a:cubicBezTo>
                      <a:pt x="63133" y="1534"/>
                      <a:pt x="60505" y="2506"/>
                      <a:pt x="57832" y="3296"/>
                    </a:cubicBezTo>
                    <a:cubicBezTo>
                      <a:pt x="55173" y="4132"/>
                      <a:pt x="52484" y="4800"/>
                      <a:pt x="49765" y="5423"/>
                    </a:cubicBezTo>
                    <a:cubicBezTo>
                      <a:pt x="47046" y="6000"/>
                      <a:pt x="44312" y="6471"/>
                      <a:pt x="41562" y="6760"/>
                    </a:cubicBezTo>
                    <a:lnTo>
                      <a:pt x="33298" y="7610"/>
                    </a:lnTo>
                    <a:cubicBezTo>
                      <a:pt x="30549" y="7899"/>
                      <a:pt x="27799" y="8203"/>
                      <a:pt x="25035" y="8461"/>
                    </a:cubicBezTo>
                    <a:cubicBezTo>
                      <a:pt x="22285" y="8720"/>
                      <a:pt x="19520" y="8932"/>
                      <a:pt x="16770" y="9145"/>
                    </a:cubicBezTo>
                    <a:cubicBezTo>
                      <a:pt x="11256" y="9525"/>
                      <a:pt x="5742" y="9904"/>
                      <a:pt x="213" y="10087"/>
                    </a:cubicBezTo>
                    <a:cubicBezTo>
                      <a:pt x="106" y="10087"/>
                      <a:pt x="0" y="9996"/>
                      <a:pt x="0" y="9889"/>
                    </a:cubicBezTo>
                    <a:cubicBezTo>
                      <a:pt x="0" y="9783"/>
                      <a:pt x="76" y="9692"/>
                      <a:pt x="167" y="9677"/>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856" name="Freeform: Shape 1855">
              <a:extLst>
                <a:ext uri="{FF2B5EF4-FFF2-40B4-BE49-F238E27FC236}">
                  <a16:creationId xmlns:a16="http://schemas.microsoft.com/office/drawing/2014/main" id="{4F364A7D-6AEA-3B1A-B452-41E5DCB010AD}"/>
                </a:ext>
              </a:extLst>
            </p:cNvPr>
            <p:cNvSpPr/>
            <p:nvPr/>
          </p:nvSpPr>
          <p:spPr>
            <a:xfrm>
              <a:off x="5545645" y="3091600"/>
              <a:ext cx="294014" cy="610645"/>
            </a:xfrm>
            <a:custGeom>
              <a:avLst/>
              <a:gdLst>
                <a:gd name="connsiteX0" fmla="*/ 269965 w 274235"/>
                <a:gd name="connsiteY0" fmla="*/ 65367 h 569565"/>
                <a:gd name="connsiteX1" fmla="*/ 272866 w 274235"/>
                <a:gd name="connsiteY1" fmla="*/ 111867 h 569565"/>
                <a:gd name="connsiteX2" fmla="*/ 205936 w 274235"/>
                <a:gd name="connsiteY2" fmla="*/ 327699 h 569565"/>
                <a:gd name="connsiteX3" fmla="*/ 43757 w 274235"/>
                <a:gd name="connsiteY3" fmla="*/ 566531 h 569565"/>
                <a:gd name="connsiteX4" fmla="*/ 22475 w 274235"/>
                <a:gd name="connsiteY4" fmla="*/ 328778 h 569565"/>
                <a:gd name="connsiteX5" fmla="*/ 145263 w 274235"/>
                <a:gd name="connsiteY5" fmla="*/ 15298 h 569565"/>
                <a:gd name="connsiteX6" fmla="*/ 269965 w 274235"/>
                <a:gd name="connsiteY6" fmla="*/ 65383 h 56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235" h="569565">
                  <a:moveTo>
                    <a:pt x="269965" y="65367"/>
                  </a:moveTo>
                  <a:cubicBezTo>
                    <a:pt x="274507" y="80422"/>
                    <a:pt x="275343" y="96342"/>
                    <a:pt x="272866" y="111867"/>
                  </a:cubicBezTo>
                  <a:cubicBezTo>
                    <a:pt x="268218" y="141064"/>
                    <a:pt x="253316" y="209271"/>
                    <a:pt x="205936" y="327699"/>
                  </a:cubicBezTo>
                  <a:cubicBezTo>
                    <a:pt x="139749" y="493113"/>
                    <a:pt x="120973" y="588117"/>
                    <a:pt x="43757" y="566531"/>
                  </a:cubicBezTo>
                  <a:cubicBezTo>
                    <a:pt x="-30405" y="545795"/>
                    <a:pt x="9244" y="406175"/>
                    <a:pt x="22475" y="328778"/>
                  </a:cubicBezTo>
                  <a:cubicBezTo>
                    <a:pt x="35706" y="251365"/>
                    <a:pt x="87006" y="56040"/>
                    <a:pt x="145263" y="15298"/>
                  </a:cubicBezTo>
                  <a:cubicBezTo>
                    <a:pt x="195621" y="-19945"/>
                    <a:pt x="253058" y="9435"/>
                    <a:pt x="269965" y="65383"/>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57" name="Freeform: Shape 1856">
              <a:extLst>
                <a:ext uri="{FF2B5EF4-FFF2-40B4-BE49-F238E27FC236}">
                  <a16:creationId xmlns:a16="http://schemas.microsoft.com/office/drawing/2014/main" id="{1CAE1CA1-1371-BAD6-5DC4-3E39E26810D7}"/>
                </a:ext>
              </a:extLst>
            </p:cNvPr>
            <p:cNvSpPr/>
            <p:nvPr/>
          </p:nvSpPr>
          <p:spPr>
            <a:xfrm>
              <a:off x="5536215" y="3087359"/>
              <a:ext cx="306323" cy="619236"/>
            </a:xfrm>
            <a:custGeom>
              <a:avLst/>
              <a:gdLst>
                <a:gd name="connsiteX0" fmla="*/ 217267 w 285716"/>
                <a:gd name="connsiteY0" fmla="*/ 2148 h 577578"/>
                <a:gd name="connsiteX1" fmla="*/ 126061 w 285716"/>
                <a:gd name="connsiteY1" fmla="*/ 46384 h 577578"/>
                <a:gd name="connsiteX2" fmla="*/ 41448 w 285716"/>
                <a:gd name="connsiteY2" fmla="*/ 267624 h 577578"/>
                <a:gd name="connsiteX3" fmla="*/ 53114 w 285716"/>
                <a:gd name="connsiteY3" fmla="*/ 575270 h 577578"/>
                <a:gd name="connsiteX4" fmla="*/ 144093 w 285716"/>
                <a:gd name="connsiteY4" fmla="*/ 517332 h 577578"/>
                <a:gd name="connsiteX5" fmla="*/ 266136 w 285716"/>
                <a:gd name="connsiteY5" fmla="*/ 196591 h 577578"/>
                <a:gd name="connsiteX6" fmla="*/ 217267 w 285716"/>
                <a:gd name="connsiteY6" fmla="*/ 2148 h 57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16" h="577578">
                  <a:moveTo>
                    <a:pt x="217267" y="2148"/>
                  </a:moveTo>
                  <a:cubicBezTo>
                    <a:pt x="217267" y="2148"/>
                    <a:pt x="162945" y="-14775"/>
                    <a:pt x="126061" y="46384"/>
                  </a:cubicBezTo>
                  <a:cubicBezTo>
                    <a:pt x="89177" y="107557"/>
                    <a:pt x="67500" y="174732"/>
                    <a:pt x="41448" y="267624"/>
                  </a:cubicBezTo>
                  <a:cubicBezTo>
                    <a:pt x="15395" y="360517"/>
                    <a:pt x="-42831" y="552104"/>
                    <a:pt x="53114" y="575270"/>
                  </a:cubicBezTo>
                  <a:cubicBezTo>
                    <a:pt x="72057" y="579341"/>
                    <a:pt x="110232" y="585843"/>
                    <a:pt x="144093" y="517332"/>
                  </a:cubicBezTo>
                  <a:cubicBezTo>
                    <a:pt x="177953" y="448821"/>
                    <a:pt x="243046" y="272060"/>
                    <a:pt x="266136" y="196591"/>
                  </a:cubicBezTo>
                  <a:cubicBezTo>
                    <a:pt x="289226" y="121123"/>
                    <a:pt x="309734" y="30692"/>
                    <a:pt x="217267" y="2148"/>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58" name="Freeform: Shape 1857">
              <a:extLst>
                <a:ext uri="{FF2B5EF4-FFF2-40B4-BE49-F238E27FC236}">
                  <a16:creationId xmlns:a16="http://schemas.microsoft.com/office/drawing/2014/main" id="{42A8BFB5-BBD4-0EEA-B588-8C447EF00E7D}"/>
                </a:ext>
              </a:extLst>
            </p:cNvPr>
            <p:cNvSpPr/>
            <p:nvPr/>
          </p:nvSpPr>
          <p:spPr>
            <a:xfrm>
              <a:off x="5136541" y="3471646"/>
              <a:ext cx="534043" cy="230628"/>
            </a:xfrm>
            <a:custGeom>
              <a:avLst/>
              <a:gdLst>
                <a:gd name="connsiteX0" fmla="*/ 430762 w 498116"/>
                <a:gd name="connsiteY0" fmla="*/ 215059 h 215113"/>
                <a:gd name="connsiteX1" fmla="*/ 232749 w 498116"/>
                <a:gd name="connsiteY1" fmla="*/ 161237 h 215113"/>
                <a:gd name="connsiteX2" fmla="*/ 22263 w 498116"/>
                <a:gd name="connsiteY2" fmla="*/ 66765 h 215113"/>
                <a:gd name="connsiteX3" fmla="*/ 68413 w 498116"/>
                <a:gd name="connsiteY3" fmla="*/ 1201 h 215113"/>
                <a:gd name="connsiteX4" fmla="*/ 282560 w 498116"/>
                <a:gd name="connsiteY4" fmla="*/ 31158 h 215113"/>
                <a:gd name="connsiteX5" fmla="*/ 480376 w 498116"/>
                <a:gd name="connsiteY5" fmla="*/ 82822 h 215113"/>
                <a:gd name="connsiteX6" fmla="*/ 430762 w 498116"/>
                <a:gd name="connsiteY6" fmla="*/ 215059 h 2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116" h="215113">
                  <a:moveTo>
                    <a:pt x="430762" y="215059"/>
                  </a:moveTo>
                  <a:cubicBezTo>
                    <a:pt x="430762" y="215059"/>
                    <a:pt x="355066" y="207312"/>
                    <a:pt x="232749" y="161237"/>
                  </a:cubicBezTo>
                  <a:cubicBezTo>
                    <a:pt x="110447" y="115164"/>
                    <a:pt x="80764" y="98681"/>
                    <a:pt x="22263" y="66765"/>
                  </a:cubicBezTo>
                  <a:cubicBezTo>
                    <a:pt x="-21410" y="42931"/>
                    <a:pt x="1893" y="-8491"/>
                    <a:pt x="68413" y="1201"/>
                  </a:cubicBezTo>
                  <a:cubicBezTo>
                    <a:pt x="134934" y="10893"/>
                    <a:pt x="194650" y="13552"/>
                    <a:pt x="282560" y="31158"/>
                  </a:cubicBezTo>
                  <a:cubicBezTo>
                    <a:pt x="370469" y="48779"/>
                    <a:pt x="451893" y="56891"/>
                    <a:pt x="480376" y="82822"/>
                  </a:cubicBezTo>
                  <a:cubicBezTo>
                    <a:pt x="520647" y="119508"/>
                    <a:pt x="487333" y="217763"/>
                    <a:pt x="430762" y="215059"/>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59" name="Freeform: Shape 1858">
              <a:extLst>
                <a:ext uri="{FF2B5EF4-FFF2-40B4-BE49-F238E27FC236}">
                  <a16:creationId xmlns:a16="http://schemas.microsoft.com/office/drawing/2014/main" id="{D1061B88-7693-0405-6470-D07A2C02F372}"/>
                </a:ext>
              </a:extLst>
            </p:cNvPr>
            <p:cNvSpPr/>
            <p:nvPr/>
          </p:nvSpPr>
          <p:spPr>
            <a:xfrm>
              <a:off x="5185622" y="3463194"/>
              <a:ext cx="496242" cy="242644"/>
            </a:xfrm>
            <a:custGeom>
              <a:avLst/>
              <a:gdLst>
                <a:gd name="connsiteX0" fmla="*/ 451884 w 462858"/>
                <a:gd name="connsiteY0" fmla="*/ 96629 h 226320"/>
                <a:gd name="connsiteX1" fmla="*/ 381975 w 462858"/>
                <a:gd name="connsiteY1" fmla="*/ 60688 h 226320"/>
                <a:gd name="connsiteX2" fmla="*/ 32326 w 462858"/>
                <a:gd name="connsiteY2" fmla="*/ 0 h 226320"/>
                <a:gd name="connsiteX3" fmla="*/ 0 w 462858"/>
                <a:gd name="connsiteY3" fmla="*/ 104468 h 226320"/>
                <a:gd name="connsiteX4" fmla="*/ 389814 w 462858"/>
                <a:gd name="connsiteY4" fmla="*/ 226177 h 226320"/>
                <a:gd name="connsiteX5" fmla="*/ 452370 w 462858"/>
                <a:gd name="connsiteY5" fmla="*/ 177445 h 226320"/>
                <a:gd name="connsiteX6" fmla="*/ 451884 w 462858"/>
                <a:gd name="connsiteY6" fmla="*/ 96629 h 2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858" h="226320">
                  <a:moveTo>
                    <a:pt x="451884" y="96629"/>
                  </a:moveTo>
                  <a:cubicBezTo>
                    <a:pt x="451884" y="96629"/>
                    <a:pt x="441083" y="76061"/>
                    <a:pt x="381975" y="60688"/>
                  </a:cubicBezTo>
                  <a:cubicBezTo>
                    <a:pt x="326893" y="46363"/>
                    <a:pt x="32326" y="0"/>
                    <a:pt x="32326" y="0"/>
                  </a:cubicBezTo>
                  <a:cubicBezTo>
                    <a:pt x="32326" y="0"/>
                    <a:pt x="18457" y="28210"/>
                    <a:pt x="0" y="104468"/>
                  </a:cubicBezTo>
                  <a:cubicBezTo>
                    <a:pt x="0" y="104468"/>
                    <a:pt x="319890" y="231160"/>
                    <a:pt x="389814" y="226177"/>
                  </a:cubicBezTo>
                  <a:cubicBezTo>
                    <a:pt x="397820" y="224977"/>
                    <a:pt x="430191" y="223443"/>
                    <a:pt x="452370" y="177445"/>
                  </a:cubicBezTo>
                  <a:cubicBezTo>
                    <a:pt x="476250" y="127908"/>
                    <a:pt x="451884" y="96629"/>
                    <a:pt x="451884" y="96629"/>
                  </a:cubicBezTo>
                  <a:close/>
                </a:path>
              </a:pathLst>
            </a:custGeom>
            <a:solidFill>
              <a:srgbClr val="EBF8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860" name="Graphic 3200">
              <a:extLst>
                <a:ext uri="{FF2B5EF4-FFF2-40B4-BE49-F238E27FC236}">
                  <a16:creationId xmlns:a16="http://schemas.microsoft.com/office/drawing/2014/main" id="{A5A585C5-D7ED-B2F3-6FD0-9A10C6EA51E4}"/>
                </a:ext>
              </a:extLst>
            </p:cNvPr>
            <p:cNvGrpSpPr/>
            <p:nvPr/>
          </p:nvGrpSpPr>
          <p:grpSpPr>
            <a:xfrm>
              <a:off x="5848980" y="3646613"/>
              <a:ext cx="1237496" cy="1852695"/>
              <a:chOff x="5915463" y="3889768"/>
              <a:chExt cx="1154245" cy="1728057"/>
            </a:xfrm>
            <a:solidFill>
              <a:srgbClr val="293463"/>
            </a:solidFill>
          </p:grpSpPr>
          <p:grpSp>
            <p:nvGrpSpPr>
              <p:cNvPr id="1046" name="Graphic 3200">
                <a:extLst>
                  <a:ext uri="{FF2B5EF4-FFF2-40B4-BE49-F238E27FC236}">
                    <a16:creationId xmlns:a16="http://schemas.microsoft.com/office/drawing/2014/main" id="{7315C274-9E42-E458-4CCE-DAA1299CDF68}"/>
                  </a:ext>
                </a:extLst>
              </p:cNvPr>
              <p:cNvGrpSpPr/>
              <p:nvPr/>
            </p:nvGrpSpPr>
            <p:grpSpPr>
              <a:xfrm>
                <a:off x="6609889" y="3889768"/>
                <a:ext cx="459820" cy="902324"/>
                <a:chOff x="6609889" y="3889768"/>
                <a:chExt cx="459820" cy="902324"/>
              </a:xfrm>
              <a:solidFill>
                <a:srgbClr val="293463"/>
              </a:solidFill>
            </p:grpSpPr>
            <p:sp>
              <p:nvSpPr>
                <p:cNvPr id="1052" name="Freeform: Shape 1051">
                  <a:extLst>
                    <a:ext uri="{FF2B5EF4-FFF2-40B4-BE49-F238E27FC236}">
                      <a16:creationId xmlns:a16="http://schemas.microsoft.com/office/drawing/2014/main" id="{0A2DB38C-B59D-ED80-83CD-38C1592DF87D}"/>
                    </a:ext>
                  </a:extLst>
                </p:cNvPr>
                <p:cNvSpPr/>
                <p:nvPr/>
              </p:nvSpPr>
              <p:spPr>
                <a:xfrm>
                  <a:off x="6803863" y="3889768"/>
                  <a:ext cx="265846" cy="902324"/>
                </a:xfrm>
                <a:custGeom>
                  <a:avLst/>
                  <a:gdLst>
                    <a:gd name="connsiteX0" fmla="*/ 16061 w 265846"/>
                    <a:gd name="connsiteY0" fmla="*/ 902325 h 902324"/>
                    <a:gd name="connsiteX1" fmla="*/ 35 w 265846"/>
                    <a:gd name="connsiteY1" fmla="*/ 887301 h 902324"/>
                    <a:gd name="connsiteX2" fmla="*/ 15013 w 265846"/>
                    <a:gd name="connsiteY2" fmla="*/ 870211 h 902324"/>
                    <a:gd name="connsiteX3" fmla="*/ 233701 w 265846"/>
                    <a:gd name="connsiteY3" fmla="*/ 15905 h 902324"/>
                    <a:gd name="connsiteX4" fmla="*/ 249758 w 265846"/>
                    <a:gd name="connsiteY4" fmla="*/ 0 h 902324"/>
                    <a:gd name="connsiteX5" fmla="*/ 249940 w 265846"/>
                    <a:gd name="connsiteY5" fmla="*/ 0 h 902324"/>
                    <a:gd name="connsiteX6" fmla="*/ 265845 w 265846"/>
                    <a:gd name="connsiteY6" fmla="*/ 16239 h 902324"/>
                    <a:gd name="connsiteX7" fmla="*/ 233063 w 265846"/>
                    <a:gd name="connsiteY7" fmla="*/ 447889 h 902324"/>
                    <a:gd name="connsiteX8" fmla="*/ 17124 w 265846"/>
                    <a:gd name="connsiteY8" fmla="*/ 902294 h 902324"/>
                    <a:gd name="connsiteX9" fmla="*/ 16061 w 265846"/>
                    <a:gd name="connsiteY9" fmla="*/ 902325 h 90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846" h="902324">
                      <a:moveTo>
                        <a:pt x="16061" y="902325"/>
                      </a:moveTo>
                      <a:cubicBezTo>
                        <a:pt x="7660" y="902325"/>
                        <a:pt x="597" y="895808"/>
                        <a:pt x="35" y="887301"/>
                      </a:cubicBezTo>
                      <a:cubicBezTo>
                        <a:pt x="-542" y="878445"/>
                        <a:pt x="6172" y="870788"/>
                        <a:pt x="15013" y="870211"/>
                      </a:cubicBezTo>
                      <a:cubicBezTo>
                        <a:pt x="187050" y="858955"/>
                        <a:pt x="231195" y="249693"/>
                        <a:pt x="233701" y="15905"/>
                      </a:cubicBezTo>
                      <a:cubicBezTo>
                        <a:pt x="233792" y="7094"/>
                        <a:pt x="240978" y="0"/>
                        <a:pt x="249758" y="0"/>
                      </a:cubicBezTo>
                      <a:cubicBezTo>
                        <a:pt x="249819" y="0"/>
                        <a:pt x="249880" y="0"/>
                        <a:pt x="249940" y="0"/>
                      </a:cubicBezTo>
                      <a:cubicBezTo>
                        <a:pt x="258812" y="91"/>
                        <a:pt x="265936" y="7368"/>
                        <a:pt x="265845" y="16239"/>
                      </a:cubicBezTo>
                      <a:cubicBezTo>
                        <a:pt x="265815" y="18396"/>
                        <a:pt x="263217" y="233621"/>
                        <a:pt x="233063" y="447889"/>
                      </a:cubicBezTo>
                      <a:cubicBezTo>
                        <a:pt x="191577" y="742744"/>
                        <a:pt x="118934" y="895626"/>
                        <a:pt x="17124" y="902294"/>
                      </a:cubicBezTo>
                      <a:cubicBezTo>
                        <a:pt x="16760" y="902310"/>
                        <a:pt x="16410" y="902325"/>
                        <a:pt x="16061" y="902325"/>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3" name="Freeform: Shape 1052">
                  <a:extLst>
                    <a:ext uri="{FF2B5EF4-FFF2-40B4-BE49-F238E27FC236}">
                      <a16:creationId xmlns:a16="http://schemas.microsoft.com/office/drawing/2014/main" id="{2C6CC123-BB87-BBF1-15EE-FE7E740C0FF5}"/>
                    </a:ext>
                  </a:extLst>
                </p:cNvPr>
                <p:cNvSpPr/>
                <p:nvPr/>
              </p:nvSpPr>
              <p:spPr>
                <a:xfrm>
                  <a:off x="6609889" y="3890750"/>
                  <a:ext cx="276956" cy="863229"/>
                </a:xfrm>
                <a:custGeom>
                  <a:avLst/>
                  <a:gdLst>
                    <a:gd name="connsiteX0" fmla="*/ 14756 w 276956"/>
                    <a:gd name="connsiteY0" fmla="*/ 863229 h 863229"/>
                    <a:gd name="connsiteX1" fmla="*/ 36 w 276956"/>
                    <a:gd name="connsiteY1" fmla="*/ 849482 h 863229"/>
                    <a:gd name="connsiteX2" fmla="*/ 13753 w 276956"/>
                    <a:gd name="connsiteY2" fmla="*/ 833713 h 863229"/>
                    <a:gd name="connsiteX3" fmla="*/ 247420 w 276956"/>
                    <a:gd name="connsiteY3" fmla="*/ 14361 h 863229"/>
                    <a:gd name="connsiteX4" fmla="*/ 262596 w 276956"/>
                    <a:gd name="connsiteY4" fmla="*/ 6 h 863229"/>
                    <a:gd name="connsiteX5" fmla="*/ 276951 w 276956"/>
                    <a:gd name="connsiteY5" fmla="*/ 15182 h 863229"/>
                    <a:gd name="connsiteX6" fmla="*/ 237242 w 276956"/>
                    <a:gd name="connsiteY6" fmla="*/ 428131 h 863229"/>
                    <a:gd name="connsiteX7" fmla="*/ 15804 w 276956"/>
                    <a:gd name="connsiteY7" fmla="*/ 863184 h 863229"/>
                    <a:gd name="connsiteX8" fmla="*/ 14771 w 276956"/>
                    <a:gd name="connsiteY8" fmla="*/ 863214 h 86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956" h="863229">
                      <a:moveTo>
                        <a:pt x="14756" y="863229"/>
                      </a:moveTo>
                      <a:cubicBezTo>
                        <a:pt x="7069" y="863229"/>
                        <a:pt x="568" y="857274"/>
                        <a:pt x="36" y="849482"/>
                      </a:cubicBezTo>
                      <a:cubicBezTo>
                        <a:pt x="-526" y="841339"/>
                        <a:pt x="5611" y="834291"/>
                        <a:pt x="13753" y="833713"/>
                      </a:cubicBezTo>
                      <a:cubicBezTo>
                        <a:pt x="186960" y="821652"/>
                        <a:pt x="241146" y="238169"/>
                        <a:pt x="247420" y="14361"/>
                      </a:cubicBezTo>
                      <a:cubicBezTo>
                        <a:pt x="247648" y="6204"/>
                        <a:pt x="254180" y="-222"/>
                        <a:pt x="262596" y="6"/>
                      </a:cubicBezTo>
                      <a:cubicBezTo>
                        <a:pt x="270753" y="234"/>
                        <a:pt x="277179" y="7039"/>
                        <a:pt x="276951" y="15182"/>
                      </a:cubicBezTo>
                      <a:cubicBezTo>
                        <a:pt x="276890" y="17232"/>
                        <a:pt x="270814" y="223054"/>
                        <a:pt x="237242" y="428131"/>
                      </a:cubicBezTo>
                      <a:cubicBezTo>
                        <a:pt x="191153" y="709786"/>
                        <a:pt x="116641" y="856165"/>
                        <a:pt x="15804" y="863184"/>
                      </a:cubicBezTo>
                      <a:cubicBezTo>
                        <a:pt x="15455" y="863214"/>
                        <a:pt x="15105" y="863214"/>
                        <a:pt x="14771" y="86321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47" name="Graphic 3200">
                <a:extLst>
                  <a:ext uri="{FF2B5EF4-FFF2-40B4-BE49-F238E27FC236}">
                    <a16:creationId xmlns:a16="http://schemas.microsoft.com/office/drawing/2014/main" id="{A45EC6B4-9B33-9F90-49ED-DA80A9D8120B}"/>
                  </a:ext>
                </a:extLst>
              </p:cNvPr>
              <p:cNvGrpSpPr/>
              <p:nvPr/>
            </p:nvGrpSpPr>
            <p:grpSpPr>
              <a:xfrm>
                <a:off x="5915463" y="4645552"/>
                <a:ext cx="1116318" cy="972273"/>
                <a:chOff x="5915463" y="4645552"/>
                <a:chExt cx="1116318" cy="972273"/>
              </a:xfrm>
              <a:solidFill>
                <a:srgbClr val="293463"/>
              </a:solidFill>
            </p:grpSpPr>
            <p:sp>
              <p:nvSpPr>
                <p:cNvPr id="1048" name="Freeform: Shape 1047">
                  <a:extLst>
                    <a:ext uri="{FF2B5EF4-FFF2-40B4-BE49-F238E27FC236}">
                      <a16:creationId xmlns:a16="http://schemas.microsoft.com/office/drawing/2014/main" id="{7082B399-C492-C2FC-757D-0571B33BACAE}"/>
                    </a:ext>
                  </a:extLst>
                </p:cNvPr>
                <p:cNvSpPr/>
                <p:nvPr/>
              </p:nvSpPr>
              <p:spPr>
                <a:xfrm>
                  <a:off x="6073115" y="4758422"/>
                  <a:ext cx="194647" cy="859388"/>
                </a:xfrm>
                <a:custGeom>
                  <a:avLst/>
                  <a:gdLst>
                    <a:gd name="connsiteX0" fmla="*/ 14409 w 194647"/>
                    <a:gd name="connsiteY0" fmla="*/ 859373 h 859388"/>
                    <a:gd name="connsiteX1" fmla="*/ 13346 w 194647"/>
                    <a:gd name="connsiteY1" fmla="*/ 859328 h 859388"/>
                    <a:gd name="connsiteX2" fmla="*/ 39 w 194647"/>
                    <a:gd name="connsiteY2" fmla="*/ 844653 h 859388"/>
                    <a:gd name="connsiteX3" fmla="*/ 166242 w 194647"/>
                    <a:gd name="connsiteY3" fmla="*/ 10551 h 859388"/>
                    <a:gd name="connsiteX4" fmla="*/ 183575 w 194647"/>
                    <a:gd name="connsiteY4" fmla="*/ 373 h 859388"/>
                    <a:gd name="connsiteX5" fmla="*/ 194254 w 194647"/>
                    <a:gd name="connsiteY5" fmla="*/ 16885 h 859388"/>
                    <a:gd name="connsiteX6" fmla="*/ 28749 w 194647"/>
                    <a:gd name="connsiteY6" fmla="*/ 846658 h 859388"/>
                    <a:gd name="connsiteX7" fmla="*/ 14409 w 194647"/>
                    <a:gd name="connsiteY7" fmla="*/ 859388 h 85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647" h="859388">
                      <a:moveTo>
                        <a:pt x="14409" y="859373"/>
                      </a:moveTo>
                      <a:cubicBezTo>
                        <a:pt x="14060" y="859373"/>
                        <a:pt x="13711" y="859373"/>
                        <a:pt x="13346" y="859328"/>
                      </a:cubicBezTo>
                      <a:cubicBezTo>
                        <a:pt x="5416" y="858781"/>
                        <a:pt x="-539" y="852203"/>
                        <a:pt x="39" y="844653"/>
                      </a:cubicBezTo>
                      <a:cubicBezTo>
                        <a:pt x="18237" y="606657"/>
                        <a:pt x="164754" y="16475"/>
                        <a:pt x="166242" y="10551"/>
                      </a:cubicBezTo>
                      <a:cubicBezTo>
                        <a:pt x="168080" y="3183"/>
                        <a:pt x="175873" y="-1374"/>
                        <a:pt x="183575" y="373"/>
                      </a:cubicBezTo>
                      <a:cubicBezTo>
                        <a:pt x="191307" y="2120"/>
                        <a:pt x="196092" y="9518"/>
                        <a:pt x="194254" y="16885"/>
                      </a:cubicBezTo>
                      <a:cubicBezTo>
                        <a:pt x="192781" y="22795"/>
                        <a:pt x="46796" y="610850"/>
                        <a:pt x="28749" y="846658"/>
                      </a:cubicBezTo>
                      <a:cubicBezTo>
                        <a:pt x="28202" y="853874"/>
                        <a:pt x="21883" y="859388"/>
                        <a:pt x="14409" y="859388"/>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9" name="Freeform: Shape 1048">
                  <a:extLst>
                    <a:ext uri="{FF2B5EF4-FFF2-40B4-BE49-F238E27FC236}">
                      <a16:creationId xmlns:a16="http://schemas.microsoft.com/office/drawing/2014/main" id="{93D7085A-485A-3C5D-EB1D-DAEBB249FC97}"/>
                    </a:ext>
                  </a:extLst>
                </p:cNvPr>
                <p:cNvSpPr/>
                <p:nvPr/>
              </p:nvSpPr>
              <p:spPr>
                <a:xfrm>
                  <a:off x="6799980" y="4703215"/>
                  <a:ext cx="231801" cy="914610"/>
                </a:xfrm>
                <a:custGeom>
                  <a:avLst/>
                  <a:gdLst>
                    <a:gd name="connsiteX0" fmla="*/ 217380 w 231801"/>
                    <a:gd name="connsiteY0" fmla="*/ 914580 h 914610"/>
                    <a:gd name="connsiteX1" fmla="*/ 203131 w 231801"/>
                    <a:gd name="connsiteY1" fmla="*/ 902655 h 914610"/>
                    <a:gd name="connsiteX2" fmla="*/ 4221 w 231801"/>
                    <a:gd name="connsiteY2" fmla="*/ 23420 h 914610"/>
                    <a:gd name="connsiteX3" fmla="*/ 4221 w 231801"/>
                    <a:gd name="connsiteY3" fmla="*/ 4022 h 914610"/>
                    <a:gd name="connsiteX4" fmla="*/ 24577 w 231801"/>
                    <a:gd name="connsiteY4" fmla="*/ 4022 h 914610"/>
                    <a:gd name="connsiteX5" fmla="*/ 231675 w 231801"/>
                    <a:gd name="connsiteY5" fmla="*/ 899085 h 914610"/>
                    <a:gd name="connsiteX6" fmla="*/ 219294 w 231801"/>
                    <a:gd name="connsiteY6" fmla="*/ 914489 h 914610"/>
                    <a:gd name="connsiteX7" fmla="*/ 217380 w 231801"/>
                    <a:gd name="connsiteY7" fmla="*/ 914610 h 91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801" h="914610">
                      <a:moveTo>
                        <a:pt x="217380" y="914580"/>
                      </a:moveTo>
                      <a:cubicBezTo>
                        <a:pt x="210271" y="914580"/>
                        <a:pt x="204088" y="909567"/>
                        <a:pt x="203131" y="902655"/>
                      </a:cubicBezTo>
                      <a:cubicBezTo>
                        <a:pt x="172400" y="681521"/>
                        <a:pt x="76773" y="92478"/>
                        <a:pt x="4221" y="23420"/>
                      </a:cubicBezTo>
                      <a:cubicBezTo>
                        <a:pt x="-1400" y="18058"/>
                        <a:pt x="-1415" y="9384"/>
                        <a:pt x="4221" y="4022"/>
                      </a:cubicBezTo>
                      <a:cubicBezTo>
                        <a:pt x="9827" y="-1341"/>
                        <a:pt x="18956" y="-1341"/>
                        <a:pt x="24577" y="4022"/>
                      </a:cubicBezTo>
                      <a:cubicBezTo>
                        <a:pt x="118852" y="93769"/>
                        <a:pt x="227117" y="866242"/>
                        <a:pt x="231675" y="899085"/>
                      </a:cubicBezTo>
                      <a:cubicBezTo>
                        <a:pt x="232723" y="906590"/>
                        <a:pt x="227178" y="913486"/>
                        <a:pt x="219294" y="914489"/>
                      </a:cubicBezTo>
                      <a:cubicBezTo>
                        <a:pt x="218656" y="914580"/>
                        <a:pt x="218018" y="914610"/>
                        <a:pt x="217380" y="914610"/>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0" name="Freeform: Shape 1049">
                  <a:extLst>
                    <a:ext uri="{FF2B5EF4-FFF2-40B4-BE49-F238E27FC236}">
                      <a16:creationId xmlns:a16="http://schemas.microsoft.com/office/drawing/2014/main" id="{FE1A2077-B582-2A50-9645-0C2841E3D6A3}"/>
                    </a:ext>
                  </a:extLst>
                </p:cNvPr>
                <p:cNvSpPr/>
                <p:nvPr/>
              </p:nvSpPr>
              <p:spPr>
                <a:xfrm>
                  <a:off x="6622471" y="4645552"/>
                  <a:ext cx="163935" cy="751321"/>
                </a:xfrm>
                <a:custGeom>
                  <a:avLst/>
                  <a:gdLst>
                    <a:gd name="connsiteX0" fmla="*/ 147854 w 163935"/>
                    <a:gd name="connsiteY0" fmla="*/ 751306 h 751321"/>
                    <a:gd name="connsiteX1" fmla="*/ 131828 w 163935"/>
                    <a:gd name="connsiteY1" fmla="*/ 736131 h 751321"/>
                    <a:gd name="connsiteX2" fmla="*/ 101978 w 163935"/>
                    <a:gd name="connsiteY2" fmla="*/ 404407 h 751321"/>
                    <a:gd name="connsiteX3" fmla="*/ 6442 w 163935"/>
                    <a:gd name="connsiteY3" fmla="*/ 28933 h 751321"/>
                    <a:gd name="connsiteX4" fmla="*/ 3206 w 163935"/>
                    <a:gd name="connsiteY4" fmla="*/ 6435 h 751321"/>
                    <a:gd name="connsiteX5" fmla="*/ 25704 w 163935"/>
                    <a:gd name="connsiteY5" fmla="*/ 3200 h 751321"/>
                    <a:gd name="connsiteX6" fmla="*/ 163911 w 163935"/>
                    <a:gd name="connsiteY6" fmla="*/ 734353 h 751321"/>
                    <a:gd name="connsiteX7" fmla="*/ 148750 w 163935"/>
                    <a:gd name="connsiteY7" fmla="*/ 751291 h 751321"/>
                    <a:gd name="connsiteX8" fmla="*/ 147854 w 163935"/>
                    <a:gd name="connsiteY8" fmla="*/ 751322 h 751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935" h="751321">
                      <a:moveTo>
                        <a:pt x="147854" y="751306"/>
                      </a:moveTo>
                      <a:cubicBezTo>
                        <a:pt x="139377" y="751306"/>
                        <a:pt x="132299" y="744683"/>
                        <a:pt x="131828" y="736131"/>
                      </a:cubicBezTo>
                      <a:cubicBezTo>
                        <a:pt x="131736" y="734520"/>
                        <a:pt x="122637" y="572737"/>
                        <a:pt x="101978" y="404407"/>
                      </a:cubicBezTo>
                      <a:cubicBezTo>
                        <a:pt x="66233" y="113197"/>
                        <a:pt x="26783" y="44154"/>
                        <a:pt x="6442" y="28933"/>
                      </a:cubicBezTo>
                      <a:cubicBezTo>
                        <a:pt x="-667" y="23601"/>
                        <a:pt x="-2111" y="13544"/>
                        <a:pt x="3206" y="6435"/>
                      </a:cubicBezTo>
                      <a:cubicBezTo>
                        <a:pt x="8523" y="-674"/>
                        <a:pt x="18610" y="-2102"/>
                        <a:pt x="25704" y="3200"/>
                      </a:cubicBezTo>
                      <a:cubicBezTo>
                        <a:pt x="124779" y="77407"/>
                        <a:pt x="160189" y="667331"/>
                        <a:pt x="163911" y="734353"/>
                      </a:cubicBezTo>
                      <a:cubicBezTo>
                        <a:pt x="164397" y="743209"/>
                        <a:pt x="157622" y="750790"/>
                        <a:pt x="148750" y="751291"/>
                      </a:cubicBezTo>
                      <a:cubicBezTo>
                        <a:pt x="148446" y="751306"/>
                        <a:pt x="148143" y="751322"/>
                        <a:pt x="147854" y="751322"/>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1" name="Freeform: Shape 1050">
                  <a:extLst>
                    <a:ext uri="{FF2B5EF4-FFF2-40B4-BE49-F238E27FC236}">
                      <a16:creationId xmlns:a16="http://schemas.microsoft.com/office/drawing/2014/main" id="{8A8D8E5D-69FD-6DB5-305B-2726AEB0F076}"/>
                    </a:ext>
                  </a:extLst>
                </p:cNvPr>
                <p:cNvSpPr/>
                <p:nvPr/>
              </p:nvSpPr>
              <p:spPr>
                <a:xfrm>
                  <a:off x="5915463" y="4690539"/>
                  <a:ext cx="223591" cy="744843"/>
                </a:xfrm>
                <a:custGeom>
                  <a:avLst/>
                  <a:gdLst>
                    <a:gd name="connsiteX0" fmla="*/ 14790 w 223591"/>
                    <a:gd name="connsiteY0" fmla="*/ 744844 h 744843"/>
                    <a:gd name="connsiteX1" fmla="*/ 11706 w 223591"/>
                    <a:gd name="connsiteY1" fmla="*/ 744510 h 744843"/>
                    <a:gd name="connsiteX2" fmla="*/ 328 w 223591"/>
                    <a:gd name="connsiteY2" fmla="*/ 726994 h 744843"/>
                    <a:gd name="connsiteX3" fmla="*/ 197005 w 223591"/>
                    <a:gd name="connsiteY3" fmla="*/ 5897 h 744843"/>
                    <a:gd name="connsiteX4" fmla="*/ 217695 w 223591"/>
                    <a:gd name="connsiteY4" fmla="*/ 2966 h 744843"/>
                    <a:gd name="connsiteX5" fmla="*/ 220626 w 223591"/>
                    <a:gd name="connsiteY5" fmla="*/ 23655 h 744843"/>
                    <a:gd name="connsiteX6" fmla="*/ 29236 w 223591"/>
                    <a:gd name="connsiteY6" fmla="*/ 733132 h 744843"/>
                    <a:gd name="connsiteX7" fmla="*/ 14805 w 223591"/>
                    <a:gd name="connsiteY7" fmla="*/ 744844 h 74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591" h="744843">
                      <a:moveTo>
                        <a:pt x="14790" y="744844"/>
                      </a:moveTo>
                      <a:cubicBezTo>
                        <a:pt x="13772" y="744844"/>
                        <a:pt x="12739" y="744738"/>
                        <a:pt x="11706" y="744510"/>
                      </a:cubicBezTo>
                      <a:cubicBezTo>
                        <a:pt x="3715" y="742808"/>
                        <a:pt x="-1374" y="734970"/>
                        <a:pt x="328" y="726994"/>
                      </a:cubicBezTo>
                      <a:cubicBezTo>
                        <a:pt x="5872" y="700851"/>
                        <a:pt x="137016" y="85680"/>
                        <a:pt x="197005" y="5897"/>
                      </a:cubicBezTo>
                      <a:cubicBezTo>
                        <a:pt x="201896" y="-620"/>
                        <a:pt x="211178" y="-1941"/>
                        <a:pt x="217695" y="2966"/>
                      </a:cubicBezTo>
                      <a:cubicBezTo>
                        <a:pt x="224211" y="7872"/>
                        <a:pt x="225533" y="17123"/>
                        <a:pt x="220626" y="23655"/>
                      </a:cubicBezTo>
                      <a:cubicBezTo>
                        <a:pt x="174066" y="85574"/>
                        <a:pt x="66682" y="556780"/>
                        <a:pt x="29236" y="733132"/>
                      </a:cubicBezTo>
                      <a:cubicBezTo>
                        <a:pt x="27763" y="740074"/>
                        <a:pt x="21626" y="744844"/>
                        <a:pt x="14805" y="74484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61" name="Graphic 3200">
              <a:extLst>
                <a:ext uri="{FF2B5EF4-FFF2-40B4-BE49-F238E27FC236}">
                  <a16:creationId xmlns:a16="http://schemas.microsoft.com/office/drawing/2014/main" id="{E1034E99-68B6-4611-D80B-C1C6AC11B528}"/>
                </a:ext>
              </a:extLst>
            </p:cNvPr>
            <p:cNvGrpSpPr/>
            <p:nvPr/>
          </p:nvGrpSpPr>
          <p:grpSpPr>
            <a:xfrm>
              <a:off x="5949446" y="3594592"/>
              <a:ext cx="1154296" cy="1059126"/>
              <a:chOff x="6009170" y="3841246"/>
              <a:chExt cx="1076642" cy="987875"/>
            </a:xfrm>
          </p:grpSpPr>
          <p:grpSp>
            <p:nvGrpSpPr>
              <p:cNvPr id="1039" name="Graphic 3200">
                <a:extLst>
                  <a:ext uri="{FF2B5EF4-FFF2-40B4-BE49-F238E27FC236}">
                    <a16:creationId xmlns:a16="http://schemas.microsoft.com/office/drawing/2014/main" id="{90DCDFDB-4B5C-2FDC-4241-9CA9FF36A09E}"/>
                  </a:ext>
                </a:extLst>
              </p:cNvPr>
              <p:cNvGrpSpPr/>
              <p:nvPr/>
            </p:nvGrpSpPr>
            <p:grpSpPr>
              <a:xfrm>
                <a:off x="6009170" y="4622121"/>
                <a:ext cx="944162" cy="207000"/>
                <a:chOff x="6009170" y="4622121"/>
                <a:chExt cx="944162" cy="207000"/>
              </a:xfrm>
            </p:grpSpPr>
            <p:sp>
              <p:nvSpPr>
                <p:cNvPr id="1043" name="Freeform: Shape 1042">
                  <a:extLst>
                    <a:ext uri="{FF2B5EF4-FFF2-40B4-BE49-F238E27FC236}">
                      <a16:creationId xmlns:a16="http://schemas.microsoft.com/office/drawing/2014/main" id="{0C98EC26-EC3A-1879-C440-CDF4EC94FF4F}"/>
                    </a:ext>
                  </a:extLst>
                </p:cNvPr>
                <p:cNvSpPr/>
                <p:nvPr/>
              </p:nvSpPr>
              <p:spPr>
                <a:xfrm>
                  <a:off x="6009170" y="4645082"/>
                  <a:ext cx="943583" cy="184039"/>
                </a:xfrm>
                <a:custGeom>
                  <a:avLst/>
                  <a:gdLst>
                    <a:gd name="connsiteX0" fmla="*/ 37431 w 943583"/>
                    <a:gd name="connsiteY0" fmla="*/ 14410 h 184039"/>
                    <a:gd name="connsiteX1" fmla="*/ 64364 w 943583"/>
                    <a:gd name="connsiteY1" fmla="*/ 10506 h 184039"/>
                    <a:gd name="connsiteX2" fmla="*/ 614898 w 943583"/>
                    <a:gd name="connsiteY2" fmla="*/ 39 h 184039"/>
                    <a:gd name="connsiteX3" fmla="*/ 659559 w 943583"/>
                    <a:gd name="connsiteY3" fmla="*/ 6723 h 184039"/>
                    <a:gd name="connsiteX4" fmla="*/ 850494 w 943583"/>
                    <a:gd name="connsiteY4" fmla="*/ 72530 h 184039"/>
                    <a:gd name="connsiteX5" fmla="*/ 943584 w 943583"/>
                    <a:gd name="connsiteY5" fmla="*/ 99358 h 184039"/>
                    <a:gd name="connsiteX6" fmla="*/ 929000 w 943583"/>
                    <a:gd name="connsiteY6" fmla="*/ 133810 h 184039"/>
                    <a:gd name="connsiteX7" fmla="*/ 923258 w 943583"/>
                    <a:gd name="connsiteY7" fmla="*/ 139264 h 184039"/>
                    <a:gd name="connsiteX8" fmla="*/ 922027 w 943583"/>
                    <a:gd name="connsiteY8" fmla="*/ 140145 h 184039"/>
                    <a:gd name="connsiteX9" fmla="*/ 920903 w 943583"/>
                    <a:gd name="connsiteY9" fmla="*/ 140586 h 184039"/>
                    <a:gd name="connsiteX10" fmla="*/ 919703 w 943583"/>
                    <a:gd name="connsiteY10" fmla="*/ 141072 h 184039"/>
                    <a:gd name="connsiteX11" fmla="*/ 917987 w 943583"/>
                    <a:gd name="connsiteY11" fmla="*/ 141452 h 184039"/>
                    <a:gd name="connsiteX12" fmla="*/ 913976 w 943583"/>
                    <a:gd name="connsiteY12" fmla="*/ 142332 h 184039"/>
                    <a:gd name="connsiteX13" fmla="*/ 128014 w 943583"/>
                    <a:gd name="connsiteY13" fmla="*/ 173519 h 184039"/>
                    <a:gd name="connsiteX14" fmla="*/ 116575 w 943583"/>
                    <a:gd name="connsiteY14" fmla="*/ 157933 h 184039"/>
                    <a:gd name="connsiteX15" fmla="*/ 107202 w 943583"/>
                    <a:gd name="connsiteY15" fmla="*/ 150779 h 184039"/>
                    <a:gd name="connsiteX16" fmla="*/ 2962 w 943583"/>
                    <a:gd name="connsiteY16" fmla="*/ 30892 h 184039"/>
                    <a:gd name="connsiteX17" fmla="*/ 365 w 943583"/>
                    <a:gd name="connsiteY17" fmla="*/ 28021 h 184039"/>
                    <a:gd name="connsiteX18" fmla="*/ 365 w 943583"/>
                    <a:gd name="connsiteY18" fmla="*/ 26198 h 184039"/>
                    <a:gd name="connsiteX19" fmla="*/ 37415 w 943583"/>
                    <a:gd name="connsiteY19" fmla="*/ 14425 h 18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3583" h="184039">
                      <a:moveTo>
                        <a:pt x="37431" y="14410"/>
                      </a:moveTo>
                      <a:cubicBezTo>
                        <a:pt x="48854" y="12101"/>
                        <a:pt x="59655" y="10506"/>
                        <a:pt x="64364" y="10506"/>
                      </a:cubicBezTo>
                      <a:cubicBezTo>
                        <a:pt x="192469" y="9382"/>
                        <a:pt x="508379" y="-705"/>
                        <a:pt x="614898" y="39"/>
                      </a:cubicBezTo>
                      <a:cubicBezTo>
                        <a:pt x="630985" y="176"/>
                        <a:pt x="645994" y="2394"/>
                        <a:pt x="659559" y="6723"/>
                      </a:cubicBezTo>
                      <a:cubicBezTo>
                        <a:pt x="720064" y="26244"/>
                        <a:pt x="768523" y="39764"/>
                        <a:pt x="850494" y="72530"/>
                      </a:cubicBezTo>
                      <a:cubicBezTo>
                        <a:pt x="920250" y="90562"/>
                        <a:pt x="943584" y="99358"/>
                        <a:pt x="943584" y="99358"/>
                      </a:cubicBezTo>
                      <a:cubicBezTo>
                        <a:pt x="943584" y="99358"/>
                        <a:pt x="939436" y="121020"/>
                        <a:pt x="929000" y="133810"/>
                      </a:cubicBezTo>
                      <a:cubicBezTo>
                        <a:pt x="927678" y="135967"/>
                        <a:pt x="925704" y="137775"/>
                        <a:pt x="923258" y="139264"/>
                      </a:cubicBezTo>
                      <a:cubicBezTo>
                        <a:pt x="922848" y="139553"/>
                        <a:pt x="922453" y="139887"/>
                        <a:pt x="922027" y="140145"/>
                      </a:cubicBezTo>
                      <a:cubicBezTo>
                        <a:pt x="921678" y="140358"/>
                        <a:pt x="921268" y="140433"/>
                        <a:pt x="920903" y="140586"/>
                      </a:cubicBezTo>
                      <a:cubicBezTo>
                        <a:pt x="920508" y="140753"/>
                        <a:pt x="920113" y="140920"/>
                        <a:pt x="919703" y="141072"/>
                      </a:cubicBezTo>
                      <a:cubicBezTo>
                        <a:pt x="919141" y="141239"/>
                        <a:pt x="918579" y="141375"/>
                        <a:pt x="917987" y="141452"/>
                      </a:cubicBezTo>
                      <a:cubicBezTo>
                        <a:pt x="916680" y="141801"/>
                        <a:pt x="915450" y="142211"/>
                        <a:pt x="913976" y="142332"/>
                      </a:cubicBezTo>
                      <a:cubicBezTo>
                        <a:pt x="741575" y="155822"/>
                        <a:pt x="426303" y="205435"/>
                        <a:pt x="128014" y="173519"/>
                      </a:cubicBezTo>
                      <a:cubicBezTo>
                        <a:pt x="123836" y="173064"/>
                        <a:pt x="119811" y="159407"/>
                        <a:pt x="116575" y="157933"/>
                      </a:cubicBezTo>
                      <a:cubicBezTo>
                        <a:pt x="112777" y="156171"/>
                        <a:pt x="109633" y="153756"/>
                        <a:pt x="107202" y="150779"/>
                      </a:cubicBezTo>
                      <a:cubicBezTo>
                        <a:pt x="82426" y="120503"/>
                        <a:pt x="31415" y="62823"/>
                        <a:pt x="2962" y="30892"/>
                      </a:cubicBezTo>
                      <a:cubicBezTo>
                        <a:pt x="2081" y="29874"/>
                        <a:pt x="1185" y="28963"/>
                        <a:pt x="365" y="28021"/>
                      </a:cubicBezTo>
                      <a:cubicBezTo>
                        <a:pt x="-122" y="27444"/>
                        <a:pt x="-122" y="26821"/>
                        <a:pt x="365" y="26198"/>
                      </a:cubicBezTo>
                      <a:cubicBezTo>
                        <a:pt x="3053" y="22476"/>
                        <a:pt x="20857" y="17722"/>
                        <a:pt x="37415" y="14425"/>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4" name="Freeform: Shape 1043">
                  <a:extLst>
                    <a:ext uri="{FF2B5EF4-FFF2-40B4-BE49-F238E27FC236}">
                      <a16:creationId xmlns:a16="http://schemas.microsoft.com/office/drawing/2014/main" id="{1EFF51ED-CD10-9946-DEC2-9585C443D308}"/>
                    </a:ext>
                  </a:extLst>
                </p:cNvPr>
                <p:cNvSpPr/>
                <p:nvPr/>
              </p:nvSpPr>
              <p:spPr>
                <a:xfrm>
                  <a:off x="6009519" y="4653205"/>
                  <a:ext cx="167099" cy="149810"/>
                </a:xfrm>
                <a:custGeom>
                  <a:avLst/>
                  <a:gdLst>
                    <a:gd name="connsiteX0" fmla="*/ 0 w 167099"/>
                    <a:gd name="connsiteY0" fmla="*/ 18014 h 149810"/>
                    <a:gd name="connsiteX1" fmla="*/ 0 w 167099"/>
                    <a:gd name="connsiteY1" fmla="*/ 19883 h 149810"/>
                    <a:gd name="connsiteX2" fmla="*/ 2567 w 167099"/>
                    <a:gd name="connsiteY2" fmla="*/ 22754 h 149810"/>
                    <a:gd name="connsiteX3" fmla="*/ 106838 w 167099"/>
                    <a:gd name="connsiteY3" fmla="*/ 142656 h 149810"/>
                    <a:gd name="connsiteX4" fmla="*/ 116210 w 167099"/>
                    <a:gd name="connsiteY4" fmla="*/ 149811 h 149810"/>
                    <a:gd name="connsiteX5" fmla="*/ 167100 w 167099"/>
                    <a:gd name="connsiteY5" fmla="*/ 111302 h 149810"/>
                    <a:gd name="connsiteX6" fmla="*/ 47563 w 167099"/>
                    <a:gd name="connsiteY6" fmla="*/ 11968 h 149810"/>
                    <a:gd name="connsiteX7" fmla="*/ 37081 w 167099"/>
                    <a:gd name="connsiteY7" fmla="*/ 6287 h 149810"/>
                    <a:gd name="connsiteX8" fmla="*/ 16589 w 167099"/>
                    <a:gd name="connsiteY8" fmla="*/ 469 h 149810"/>
                    <a:gd name="connsiteX9" fmla="*/ 0 w 167099"/>
                    <a:gd name="connsiteY9" fmla="*/ 18014 h 14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99" h="149810">
                      <a:moveTo>
                        <a:pt x="0" y="18014"/>
                      </a:moveTo>
                      <a:lnTo>
                        <a:pt x="0" y="19883"/>
                      </a:lnTo>
                      <a:cubicBezTo>
                        <a:pt x="0" y="19883"/>
                        <a:pt x="2567" y="22754"/>
                        <a:pt x="2567" y="22754"/>
                      </a:cubicBezTo>
                      <a:cubicBezTo>
                        <a:pt x="31050" y="54701"/>
                        <a:pt x="82061" y="112380"/>
                        <a:pt x="106838" y="142656"/>
                      </a:cubicBezTo>
                      <a:cubicBezTo>
                        <a:pt x="109268" y="145633"/>
                        <a:pt x="112428" y="148049"/>
                        <a:pt x="116210" y="149811"/>
                      </a:cubicBezTo>
                      <a:cubicBezTo>
                        <a:pt x="122424" y="128863"/>
                        <a:pt x="167100" y="111302"/>
                        <a:pt x="167100" y="111302"/>
                      </a:cubicBezTo>
                      <a:lnTo>
                        <a:pt x="47563" y="11968"/>
                      </a:lnTo>
                      <a:cubicBezTo>
                        <a:pt x="47563" y="11968"/>
                        <a:pt x="42869" y="9174"/>
                        <a:pt x="37081" y="6287"/>
                      </a:cubicBezTo>
                      <a:cubicBezTo>
                        <a:pt x="29546" y="2535"/>
                        <a:pt x="20189" y="-1369"/>
                        <a:pt x="16589" y="469"/>
                      </a:cubicBezTo>
                      <a:cubicBezTo>
                        <a:pt x="10330" y="3689"/>
                        <a:pt x="0" y="18014"/>
                        <a:pt x="0" y="18014"/>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5" name="Freeform: Shape 1044">
                  <a:extLst>
                    <a:ext uri="{FF2B5EF4-FFF2-40B4-BE49-F238E27FC236}">
                      <a16:creationId xmlns:a16="http://schemas.microsoft.com/office/drawing/2014/main" id="{E31E2826-9A6A-6E8F-F28D-386415739926}"/>
                    </a:ext>
                  </a:extLst>
                </p:cNvPr>
                <p:cNvSpPr/>
                <p:nvPr/>
              </p:nvSpPr>
              <p:spPr>
                <a:xfrm>
                  <a:off x="6025454" y="4622121"/>
                  <a:ext cx="927877" cy="170545"/>
                </a:xfrm>
                <a:custGeom>
                  <a:avLst/>
                  <a:gdLst>
                    <a:gd name="connsiteX0" fmla="*/ 910908 w 927877"/>
                    <a:gd name="connsiteY0" fmla="*/ 134137 h 170545"/>
                    <a:gd name="connsiteX1" fmla="*/ 129973 w 927877"/>
                    <a:gd name="connsiteY1" fmla="*/ 161086 h 170545"/>
                    <a:gd name="connsiteX2" fmla="*/ 109374 w 927877"/>
                    <a:gd name="connsiteY2" fmla="*/ 151515 h 170545"/>
                    <a:gd name="connsiteX3" fmla="*/ 380 w 927877"/>
                    <a:gd name="connsiteY3" fmla="*/ 33695 h 170545"/>
                    <a:gd name="connsiteX4" fmla="*/ 64121 w 927877"/>
                    <a:gd name="connsiteY4" fmla="*/ 15982 h 170545"/>
                    <a:gd name="connsiteX5" fmla="*/ 612877 w 927877"/>
                    <a:gd name="connsiteY5" fmla="*/ 1 h 170545"/>
                    <a:gd name="connsiteX6" fmla="*/ 657356 w 927877"/>
                    <a:gd name="connsiteY6" fmla="*/ 6002 h 170545"/>
                    <a:gd name="connsiteX7" fmla="*/ 918989 w 927877"/>
                    <a:gd name="connsiteY7" fmla="*/ 107097 h 170545"/>
                    <a:gd name="connsiteX8" fmla="*/ 910923 w 927877"/>
                    <a:gd name="connsiteY8" fmla="*/ 134107 h 17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7877" h="170545">
                      <a:moveTo>
                        <a:pt x="910908" y="134137"/>
                      </a:moveTo>
                      <a:cubicBezTo>
                        <a:pt x="740375" y="149130"/>
                        <a:pt x="427548" y="188490"/>
                        <a:pt x="129973" y="161086"/>
                      </a:cubicBezTo>
                      <a:cubicBezTo>
                        <a:pt x="120783" y="160235"/>
                        <a:pt x="113932" y="156741"/>
                        <a:pt x="109374" y="151515"/>
                      </a:cubicBezTo>
                      <a:cubicBezTo>
                        <a:pt x="83292" y="121635"/>
                        <a:pt x="28954" y="63879"/>
                        <a:pt x="380" y="33695"/>
                      </a:cubicBezTo>
                      <a:cubicBezTo>
                        <a:pt x="-5150" y="27846"/>
                        <a:pt x="51345" y="16225"/>
                        <a:pt x="64121" y="15982"/>
                      </a:cubicBezTo>
                      <a:cubicBezTo>
                        <a:pt x="192104" y="13552"/>
                        <a:pt x="506936" y="381"/>
                        <a:pt x="612877" y="1"/>
                      </a:cubicBezTo>
                      <a:cubicBezTo>
                        <a:pt x="628888" y="-59"/>
                        <a:pt x="643867" y="1931"/>
                        <a:pt x="657356" y="6002"/>
                      </a:cubicBezTo>
                      <a:cubicBezTo>
                        <a:pt x="724895" y="26388"/>
                        <a:pt x="821342" y="71231"/>
                        <a:pt x="918989" y="107097"/>
                      </a:cubicBezTo>
                      <a:cubicBezTo>
                        <a:pt x="933846" y="112551"/>
                        <a:pt x="929349" y="132496"/>
                        <a:pt x="910923" y="134107"/>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40" name="Graphic 3200">
                <a:extLst>
                  <a:ext uri="{FF2B5EF4-FFF2-40B4-BE49-F238E27FC236}">
                    <a16:creationId xmlns:a16="http://schemas.microsoft.com/office/drawing/2014/main" id="{F909CB3C-86FE-E866-A473-4CF4E1DDB225}"/>
                  </a:ext>
                </a:extLst>
              </p:cNvPr>
              <p:cNvGrpSpPr/>
              <p:nvPr/>
            </p:nvGrpSpPr>
            <p:grpSpPr>
              <a:xfrm>
                <a:off x="6823322" y="3841246"/>
                <a:ext cx="262490" cy="409077"/>
                <a:chOff x="6823322" y="3841246"/>
                <a:chExt cx="262490" cy="409077"/>
              </a:xfrm>
            </p:grpSpPr>
            <p:sp>
              <p:nvSpPr>
                <p:cNvPr id="1041" name="Freeform: Shape 1040">
                  <a:extLst>
                    <a:ext uri="{FF2B5EF4-FFF2-40B4-BE49-F238E27FC236}">
                      <a16:creationId xmlns:a16="http://schemas.microsoft.com/office/drawing/2014/main" id="{D7A36574-EBB9-6A0C-630E-D9E05AC93D3D}"/>
                    </a:ext>
                  </a:extLst>
                </p:cNvPr>
                <p:cNvSpPr/>
                <p:nvPr/>
              </p:nvSpPr>
              <p:spPr>
                <a:xfrm>
                  <a:off x="6836629" y="3844147"/>
                  <a:ext cx="249183" cy="406175"/>
                </a:xfrm>
                <a:custGeom>
                  <a:avLst/>
                  <a:gdLst>
                    <a:gd name="connsiteX0" fmla="*/ 223509 w 249183"/>
                    <a:gd name="connsiteY0" fmla="*/ 22075 h 406175"/>
                    <a:gd name="connsiteX1" fmla="*/ 32118 w 249183"/>
                    <a:gd name="connsiteY1" fmla="*/ 170 h 406175"/>
                    <a:gd name="connsiteX2" fmla="*/ 35 w 249183"/>
                    <a:gd name="connsiteY2" fmla="*/ 37752 h 406175"/>
                    <a:gd name="connsiteX3" fmla="*/ 65 w 249183"/>
                    <a:gd name="connsiteY3" fmla="*/ 306252 h 406175"/>
                    <a:gd name="connsiteX4" fmla="*/ 38848 w 249183"/>
                    <a:gd name="connsiteY4" fmla="*/ 364813 h 406175"/>
                    <a:gd name="connsiteX5" fmla="*/ 206905 w 249183"/>
                    <a:gd name="connsiteY5" fmla="*/ 403990 h 406175"/>
                    <a:gd name="connsiteX6" fmla="*/ 244259 w 249183"/>
                    <a:gd name="connsiteY6" fmla="*/ 373335 h 406175"/>
                    <a:gd name="connsiteX7" fmla="*/ 249181 w 249183"/>
                    <a:gd name="connsiteY7" fmla="*/ 56984 h 406175"/>
                    <a:gd name="connsiteX8" fmla="*/ 223524 w 249183"/>
                    <a:gd name="connsiteY8" fmla="*/ 22075 h 4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183" h="406175">
                      <a:moveTo>
                        <a:pt x="223509" y="22075"/>
                      </a:moveTo>
                      <a:lnTo>
                        <a:pt x="32118" y="170"/>
                      </a:lnTo>
                      <a:cubicBezTo>
                        <a:pt x="13935" y="-1911"/>
                        <a:pt x="-816" y="15361"/>
                        <a:pt x="35" y="37752"/>
                      </a:cubicBezTo>
                      <a:cubicBezTo>
                        <a:pt x="2132" y="93199"/>
                        <a:pt x="2025" y="220514"/>
                        <a:pt x="65" y="306252"/>
                      </a:cubicBezTo>
                      <a:cubicBezTo>
                        <a:pt x="-572" y="334188"/>
                        <a:pt x="16229" y="359541"/>
                        <a:pt x="38848" y="364813"/>
                      </a:cubicBezTo>
                      <a:lnTo>
                        <a:pt x="206905" y="403990"/>
                      </a:lnTo>
                      <a:cubicBezTo>
                        <a:pt x="225362" y="412056"/>
                        <a:pt x="243849" y="396896"/>
                        <a:pt x="244259" y="373335"/>
                      </a:cubicBezTo>
                      <a:cubicBezTo>
                        <a:pt x="245657" y="292428"/>
                        <a:pt x="248452" y="127895"/>
                        <a:pt x="249181" y="56984"/>
                      </a:cubicBezTo>
                      <a:cubicBezTo>
                        <a:pt x="249364" y="39287"/>
                        <a:pt x="237925" y="23716"/>
                        <a:pt x="223524" y="22075"/>
                      </a:cubicBezTo>
                      <a:close/>
                    </a:path>
                  </a:pathLst>
                </a:custGeom>
                <a:solidFill>
                  <a:srgbClr val="663A3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2" name="Freeform: Shape 1041">
                  <a:extLst>
                    <a:ext uri="{FF2B5EF4-FFF2-40B4-BE49-F238E27FC236}">
                      <a16:creationId xmlns:a16="http://schemas.microsoft.com/office/drawing/2014/main" id="{4DD059B1-3E73-083A-BAB2-E8E23530F539}"/>
                    </a:ext>
                  </a:extLst>
                </p:cNvPr>
                <p:cNvSpPr/>
                <p:nvPr/>
              </p:nvSpPr>
              <p:spPr>
                <a:xfrm>
                  <a:off x="6823322" y="3841246"/>
                  <a:ext cx="249183" cy="406175"/>
                </a:xfrm>
                <a:custGeom>
                  <a:avLst/>
                  <a:gdLst>
                    <a:gd name="connsiteX0" fmla="*/ 223509 w 249183"/>
                    <a:gd name="connsiteY0" fmla="*/ 22075 h 406175"/>
                    <a:gd name="connsiteX1" fmla="*/ 32118 w 249183"/>
                    <a:gd name="connsiteY1" fmla="*/ 170 h 406175"/>
                    <a:gd name="connsiteX2" fmla="*/ 35 w 249183"/>
                    <a:gd name="connsiteY2" fmla="*/ 37752 h 406175"/>
                    <a:gd name="connsiteX3" fmla="*/ 65 w 249183"/>
                    <a:gd name="connsiteY3" fmla="*/ 306252 h 406175"/>
                    <a:gd name="connsiteX4" fmla="*/ 38848 w 249183"/>
                    <a:gd name="connsiteY4" fmla="*/ 364813 h 406175"/>
                    <a:gd name="connsiteX5" fmla="*/ 206905 w 249183"/>
                    <a:gd name="connsiteY5" fmla="*/ 403990 h 406175"/>
                    <a:gd name="connsiteX6" fmla="*/ 244259 w 249183"/>
                    <a:gd name="connsiteY6" fmla="*/ 373335 h 406175"/>
                    <a:gd name="connsiteX7" fmla="*/ 249181 w 249183"/>
                    <a:gd name="connsiteY7" fmla="*/ 56984 h 406175"/>
                    <a:gd name="connsiteX8" fmla="*/ 223524 w 249183"/>
                    <a:gd name="connsiteY8" fmla="*/ 22075 h 4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183" h="406175">
                      <a:moveTo>
                        <a:pt x="223509" y="22075"/>
                      </a:moveTo>
                      <a:lnTo>
                        <a:pt x="32118" y="170"/>
                      </a:lnTo>
                      <a:cubicBezTo>
                        <a:pt x="13935" y="-1911"/>
                        <a:pt x="-816" y="15361"/>
                        <a:pt x="35" y="37752"/>
                      </a:cubicBezTo>
                      <a:cubicBezTo>
                        <a:pt x="2132" y="93199"/>
                        <a:pt x="2025" y="220514"/>
                        <a:pt x="65" y="306252"/>
                      </a:cubicBezTo>
                      <a:cubicBezTo>
                        <a:pt x="-572" y="334188"/>
                        <a:pt x="16229" y="359541"/>
                        <a:pt x="38848" y="364813"/>
                      </a:cubicBezTo>
                      <a:lnTo>
                        <a:pt x="206905" y="403990"/>
                      </a:lnTo>
                      <a:cubicBezTo>
                        <a:pt x="225362" y="412056"/>
                        <a:pt x="243849" y="396896"/>
                        <a:pt x="244259" y="373335"/>
                      </a:cubicBezTo>
                      <a:cubicBezTo>
                        <a:pt x="245657" y="292428"/>
                        <a:pt x="248452" y="127895"/>
                        <a:pt x="249181" y="56984"/>
                      </a:cubicBezTo>
                      <a:cubicBezTo>
                        <a:pt x="249364" y="39287"/>
                        <a:pt x="237925" y="23716"/>
                        <a:pt x="223524" y="22075"/>
                      </a:cubicBezTo>
                      <a:close/>
                    </a:path>
                  </a:pathLst>
                </a:custGeom>
                <a:solidFill>
                  <a:srgbClr val="7F4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62" name="Graphic 3200">
              <a:extLst>
                <a:ext uri="{FF2B5EF4-FFF2-40B4-BE49-F238E27FC236}">
                  <a16:creationId xmlns:a16="http://schemas.microsoft.com/office/drawing/2014/main" id="{890B110B-D90F-8514-C538-35495C5BF78B}"/>
                </a:ext>
              </a:extLst>
            </p:cNvPr>
            <p:cNvGrpSpPr/>
            <p:nvPr/>
          </p:nvGrpSpPr>
          <p:grpSpPr>
            <a:xfrm>
              <a:off x="5671992" y="3239378"/>
              <a:ext cx="693117" cy="669212"/>
              <a:chOff x="5750381" y="3509929"/>
              <a:chExt cx="646489" cy="624192"/>
            </a:xfrm>
          </p:grpSpPr>
          <p:grpSp>
            <p:nvGrpSpPr>
              <p:cNvPr id="1030" name="Graphic 3200">
                <a:extLst>
                  <a:ext uri="{FF2B5EF4-FFF2-40B4-BE49-F238E27FC236}">
                    <a16:creationId xmlns:a16="http://schemas.microsoft.com/office/drawing/2014/main" id="{20C8E1B4-916D-42A0-AB2B-AEACC9FFE061}"/>
                  </a:ext>
                </a:extLst>
              </p:cNvPr>
              <p:cNvGrpSpPr/>
              <p:nvPr/>
            </p:nvGrpSpPr>
            <p:grpSpPr>
              <a:xfrm>
                <a:off x="6038302" y="3509929"/>
                <a:ext cx="358568" cy="624192"/>
                <a:chOff x="6038302" y="3509929"/>
                <a:chExt cx="358568" cy="624192"/>
              </a:xfrm>
            </p:grpSpPr>
            <p:sp>
              <p:nvSpPr>
                <p:cNvPr id="1036" name="Freeform: Shape 1035">
                  <a:extLst>
                    <a:ext uri="{FF2B5EF4-FFF2-40B4-BE49-F238E27FC236}">
                      <a16:creationId xmlns:a16="http://schemas.microsoft.com/office/drawing/2014/main" id="{17471158-D2D6-D2CA-9775-2391D6376605}"/>
                    </a:ext>
                  </a:extLst>
                </p:cNvPr>
                <p:cNvSpPr/>
                <p:nvPr/>
              </p:nvSpPr>
              <p:spPr>
                <a:xfrm>
                  <a:off x="6044453" y="3513141"/>
                  <a:ext cx="348501" cy="582879"/>
                </a:xfrm>
                <a:custGeom>
                  <a:avLst/>
                  <a:gdLst>
                    <a:gd name="connsiteX0" fmla="*/ 218678 w 348501"/>
                    <a:gd name="connsiteY0" fmla="*/ 14522 h 582879"/>
                    <a:gd name="connsiteX1" fmla="*/ 125908 w 348501"/>
                    <a:gd name="connsiteY1" fmla="*/ 171246 h 582879"/>
                    <a:gd name="connsiteX2" fmla="*/ 355 w 348501"/>
                    <a:gd name="connsiteY2" fmla="*/ 508500 h 582879"/>
                    <a:gd name="connsiteX3" fmla="*/ 115183 w 348501"/>
                    <a:gd name="connsiteY3" fmla="*/ 568610 h 582879"/>
                    <a:gd name="connsiteX4" fmla="*/ 262033 w 348501"/>
                    <a:gd name="connsiteY4" fmla="*/ 384390 h 582879"/>
                    <a:gd name="connsiteX5" fmla="*/ 336043 w 348501"/>
                    <a:gd name="connsiteY5" fmla="*/ 53304 h 582879"/>
                    <a:gd name="connsiteX6" fmla="*/ 218678 w 348501"/>
                    <a:gd name="connsiteY6" fmla="*/ 14506 h 5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501" h="582879">
                      <a:moveTo>
                        <a:pt x="218678" y="14522"/>
                      </a:moveTo>
                      <a:cubicBezTo>
                        <a:pt x="218678" y="14522"/>
                        <a:pt x="171176" y="63087"/>
                        <a:pt x="125908" y="171246"/>
                      </a:cubicBezTo>
                      <a:cubicBezTo>
                        <a:pt x="80639" y="279405"/>
                        <a:pt x="5687" y="463048"/>
                        <a:pt x="355" y="508500"/>
                      </a:cubicBezTo>
                      <a:cubicBezTo>
                        <a:pt x="-4977" y="553951"/>
                        <a:pt x="50561" y="609534"/>
                        <a:pt x="115183" y="568610"/>
                      </a:cubicBezTo>
                      <a:cubicBezTo>
                        <a:pt x="179790" y="527686"/>
                        <a:pt x="217813" y="457033"/>
                        <a:pt x="262033" y="384390"/>
                      </a:cubicBezTo>
                      <a:cubicBezTo>
                        <a:pt x="356217" y="229670"/>
                        <a:pt x="360076" y="107581"/>
                        <a:pt x="336043" y="53304"/>
                      </a:cubicBezTo>
                      <a:cubicBezTo>
                        <a:pt x="312012" y="-973"/>
                        <a:pt x="244549" y="-13597"/>
                        <a:pt x="218678" y="14506"/>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7" name="Freeform: Shape 1036">
                  <a:extLst>
                    <a:ext uri="{FF2B5EF4-FFF2-40B4-BE49-F238E27FC236}">
                      <a16:creationId xmlns:a16="http://schemas.microsoft.com/office/drawing/2014/main" id="{453CD371-704E-B033-4B0F-7A51431C6F6B}"/>
                    </a:ext>
                  </a:extLst>
                </p:cNvPr>
                <p:cNvSpPr/>
                <p:nvPr/>
              </p:nvSpPr>
              <p:spPr>
                <a:xfrm>
                  <a:off x="6038302" y="3509929"/>
                  <a:ext cx="358568" cy="624192"/>
                </a:xfrm>
                <a:custGeom>
                  <a:avLst/>
                  <a:gdLst>
                    <a:gd name="connsiteX0" fmla="*/ 215183 w 358568"/>
                    <a:gd name="connsiteY0" fmla="*/ 25177 h 624192"/>
                    <a:gd name="connsiteX1" fmla="*/ 90071 w 358568"/>
                    <a:gd name="connsiteY1" fmla="*/ 259208 h 624192"/>
                    <a:gd name="connsiteX2" fmla="*/ 125 w 358568"/>
                    <a:gd name="connsiteY2" fmla="*/ 526796 h 624192"/>
                    <a:gd name="connsiteX3" fmla="*/ 107632 w 358568"/>
                    <a:gd name="connsiteY3" fmla="*/ 619917 h 624192"/>
                    <a:gd name="connsiteX4" fmla="*/ 262427 w 358568"/>
                    <a:gd name="connsiteY4" fmla="*/ 423605 h 624192"/>
                    <a:gd name="connsiteX5" fmla="*/ 353907 w 358568"/>
                    <a:gd name="connsiteY5" fmla="*/ 181553 h 624192"/>
                    <a:gd name="connsiteX6" fmla="*/ 293325 w 358568"/>
                    <a:gd name="connsiteY6" fmla="*/ 4153 h 624192"/>
                    <a:gd name="connsiteX7" fmla="*/ 215198 w 358568"/>
                    <a:gd name="connsiteY7" fmla="*/ 25177 h 62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568" h="624192">
                      <a:moveTo>
                        <a:pt x="215183" y="25177"/>
                      </a:moveTo>
                      <a:cubicBezTo>
                        <a:pt x="215183" y="25177"/>
                        <a:pt x="178998" y="51063"/>
                        <a:pt x="90071" y="259208"/>
                      </a:cubicBezTo>
                      <a:cubicBezTo>
                        <a:pt x="1143" y="467369"/>
                        <a:pt x="2465" y="504785"/>
                        <a:pt x="125" y="526796"/>
                      </a:cubicBezTo>
                      <a:cubicBezTo>
                        <a:pt x="-2867" y="554930"/>
                        <a:pt x="48098" y="644693"/>
                        <a:pt x="107632" y="619917"/>
                      </a:cubicBezTo>
                      <a:cubicBezTo>
                        <a:pt x="167180" y="595155"/>
                        <a:pt x="224449" y="490323"/>
                        <a:pt x="262427" y="423605"/>
                      </a:cubicBezTo>
                      <a:cubicBezTo>
                        <a:pt x="300404" y="356871"/>
                        <a:pt x="337106" y="278698"/>
                        <a:pt x="353907" y="181553"/>
                      </a:cubicBezTo>
                      <a:cubicBezTo>
                        <a:pt x="370708" y="84392"/>
                        <a:pt x="340159" y="20544"/>
                        <a:pt x="293325" y="4153"/>
                      </a:cubicBezTo>
                      <a:cubicBezTo>
                        <a:pt x="246492" y="-12238"/>
                        <a:pt x="215198" y="25177"/>
                        <a:pt x="215198" y="25177"/>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8" name="Freeform: Shape 1037">
                  <a:extLst>
                    <a:ext uri="{FF2B5EF4-FFF2-40B4-BE49-F238E27FC236}">
                      <a16:creationId xmlns:a16="http://schemas.microsoft.com/office/drawing/2014/main" id="{AE427EC1-7E39-35E2-F46E-9707FD29346D}"/>
                    </a:ext>
                  </a:extLst>
                </p:cNvPr>
                <p:cNvSpPr/>
                <p:nvPr/>
              </p:nvSpPr>
              <p:spPr>
                <a:xfrm>
                  <a:off x="6188802" y="3595323"/>
                  <a:ext cx="196874" cy="503867"/>
                </a:xfrm>
                <a:custGeom>
                  <a:avLst/>
                  <a:gdLst>
                    <a:gd name="connsiteX0" fmla="*/ 45193 w 196874"/>
                    <a:gd name="connsiteY0" fmla="*/ 0 h 503867"/>
                    <a:gd name="connsiteX1" fmla="*/ 12472 w 196874"/>
                    <a:gd name="connsiteY1" fmla="*/ 151028 h 503867"/>
                    <a:gd name="connsiteX2" fmla="*/ 0 w 196874"/>
                    <a:gd name="connsiteY2" fmla="*/ 503867 h 503867"/>
                    <a:gd name="connsiteX3" fmla="*/ 111911 w 196874"/>
                    <a:gd name="connsiteY3" fmla="*/ 338210 h 503867"/>
                    <a:gd name="connsiteX4" fmla="*/ 196874 w 196874"/>
                    <a:gd name="connsiteY4" fmla="*/ 128682 h 503867"/>
                    <a:gd name="connsiteX5" fmla="*/ 45193 w 196874"/>
                    <a:gd name="connsiteY5" fmla="*/ 0 h 50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874" h="503867">
                      <a:moveTo>
                        <a:pt x="45193" y="0"/>
                      </a:moveTo>
                      <a:cubicBezTo>
                        <a:pt x="45193" y="0"/>
                        <a:pt x="27572" y="16786"/>
                        <a:pt x="12472" y="151028"/>
                      </a:cubicBezTo>
                      <a:cubicBezTo>
                        <a:pt x="-911" y="269942"/>
                        <a:pt x="3494" y="421760"/>
                        <a:pt x="0" y="503867"/>
                      </a:cubicBezTo>
                      <a:cubicBezTo>
                        <a:pt x="43431" y="460938"/>
                        <a:pt x="83201" y="388690"/>
                        <a:pt x="111911" y="338210"/>
                      </a:cubicBezTo>
                      <a:cubicBezTo>
                        <a:pt x="145559" y="279103"/>
                        <a:pt x="178189" y="211002"/>
                        <a:pt x="196874" y="128682"/>
                      </a:cubicBezTo>
                      <a:cubicBezTo>
                        <a:pt x="149904" y="57376"/>
                        <a:pt x="87424" y="820"/>
                        <a:pt x="45193" y="0"/>
                      </a:cubicBezTo>
                      <a:close/>
                    </a:path>
                  </a:pathLst>
                </a:custGeom>
                <a:solidFill>
                  <a:srgbClr val="81CF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31" name="Graphic 3200">
                <a:extLst>
                  <a:ext uri="{FF2B5EF4-FFF2-40B4-BE49-F238E27FC236}">
                    <a16:creationId xmlns:a16="http://schemas.microsoft.com/office/drawing/2014/main" id="{10E1C440-EBC8-F88C-3048-0B52B40B78AF}"/>
                  </a:ext>
                </a:extLst>
              </p:cNvPr>
              <p:cNvGrpSpPr/>
              <p:nvPr/>
            </p:nvGrpSpPr>
            <p:grpSpPr>
              <a:xfrm>
                <a:off x="5750381" y="3788384"/>
                <a:ext cx="511413" cy="345104"/>
                <a:chOff x="5750381" y="3788384"/>
                <a:chExt cx="511413" cy="345104"/>
              </a:xfrm>
            </p:grpSpPr>
            <p:grpSp>
              <p:nvGrpSpPr>
                <p:cNvPr id="1032" name="Graphic 3200">
                  <a:extLst>
                    <a:ext uri="{FF2B5EF4-FFF2-40B4-BE49-F238E27FC236}">
                      <a16:creationId xmlns:a16="http://schemas.microsoft.com/office/drawing/2014/main" id="{229AC2BF-1D4A-DA6A-08F2-7EE87B7EFD5E}"/>
                    </a:ext>
                  </a:extLst>
                </p:cNvPr>
                <p:cNvGrpSpPr/>
                <p:nvPr/>
              </p:nvGrpSpPr>
              <p:grpSpPr>
                <a:xfrm>
                  <a:off x="5750381" y="3788384"/>
                  <a:ext cx="446588" cy="345104"/>
                  <a:chOff x="5750381" y="3788384"/>
                  <a:chExt cx="446588" cy="345104"/>
                </a:xfrm>
              </p:grpSpPr>
              <p:sp>
                <p:nvSpPr>
                  <p:cNvPr id="1034" name="Freeform: Shape 1033">
                    <a:extLst>
                      <a:ext uri="{FF2B5EF4-FFF2-40B4-BE49-F238E27FC236}">
                        <a16:creationId xmlns:a16="http://schemas.microsoft.com/office/drawing/2014/main" id="{DC9123B4-CDB7-2F3B-544F-1D40DBADADEA}"/>
                      </a:ext>
                    </a:extLst>
                  </p:cNvPr>
                  <p:cNvSpPr/>
                  <p:nvPr/>
                </p:nvSpPr>
                <p:spPr>
                  <a:xfrm>
                    <a:off x="5750381" y="3792893"/>
                    <a:ext cx="435163" cy="332711"/>
                  </a:xfrm>
                  <a:custGeom>
                    <a:avLst/>
                    <a:gdLst>
                      <a:gd name="connsiteX0" fmla="*/ 319704 w 435163"/>
                      <a:gd name="connsiteY0" fmla="*/ 324709 h 332711"/>
                      <a:gd name="connsiteX1" fmla="*/ 137580 w 435163"/>
                      <a:gd name="connsiteY1" fmla="*/ 191789 h 332711"/>
                      <a:gd name="connsiteX2" fmla="*/ 589 w 435163"/>
                      <a:gd name="connsiteY2" fmla="*/ 23534 h 332711"/>
                      <a:gd name="connsiteX3" fmla="*/ 103279 w 435163"/>
                      <a:gd name="connsiteY3" fmla="*/ 19448 h 332711"/>
                      <a:gd name="connsiteX4" fmla="*/ 288547 w 435163"/>
                      <a:gd name="connsiteY4" fmla="*/ 117778 h 332711"/>
                      <a:gd name="connsiteX5" fmla="*/ 435018 w 435163"/>
                      <a:gd name="connsiteY5" fmla="*/ 244790 h 332711"/>
                      <a:gd name="connsiteX6" fmla="*/ 319734 w 435163"/>
                      <a:gd name="connsiteY6" fmla="*/ 324724 h 33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63" h="332711">
                        <a:moveTo>
                          <a:pt x="319704" y="324709"/>
                        </a:moveTo>
                        <a:cubicBezTo>
                          <a:pt x="319704" y="324709"/>
                          <a:pt x="226614" y="262700"/>
                          <a:pt x="137580" y="191789"/>
                        </a:cubicBezTo>
                        <a:cubicBezTo>
                          <a:pt x="58375" y="128716"/>
                          <a:pt x="-6916" y="58625"/>
                          <a:pt x="589" y="23534"/>
                        </a:cubicBezTo>
                        <a:cubicBezTo>
                          <a:pt x="8093" y="-11557"/>
                          <a:pt x="58329" y="-2670"/>
                          <a:pt x="103279" y="19448"/>
                        </a:cubicBezTo>
                        <a:cubicBezTo>
                          <a:pt x="168494" y="51531"/>
                          <a:pt x="238417" y="88141"/>
                          <a:pt x="288547" y="117778"/>
                        </a:cubicBezTo>
                        <a:cubicBezTo>
                          <a:pt x="358623" y="159219"/>
                          <a:pt x="432633" y="194234"/>
                          <a:pt x="435018" y="244790"/>
                        </a:cubicBezTo>
                        <a:cubicBezTo>
                          <a:pt x="438102" y="310111"/>
                          <a:pt x="391997" y="350807"/>
                          <a:pt x="319734" y="324724"/>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5" name="Freeform: Shape 1034">
                    <a:extLst>
                      <a:ext uri="{FF2B5EF4-FFF2-40B4-BE49-F238E27FC236}">
                        <a16:creationId xmlns:a16="http://schemas.microsoft.com/office/drawing/2014/main" id="{3B256030-904D-C97A-C102-E2B54E3AECF1}"/>
                      </a:ext>
                    </a:extLst>
                  </p:cNvPr>
                  <p:cNvSpPr/>
                  <p:nvPr/>
                </p:nvSpPr>
                <p:spPr>
                  <a:xfrm>
                    <a:off x="5772237" y="3788384"/>
                    <a:ext cx="424732" cy="345104"/>
                  </a:xfrm>
                  <a:custGeom>
                    <a:avLst/>
                    <a:gdLst>
                      <a:gd name="connsiteX0" fmla="*/ 419588 w 424732"/>
                      <a:gd name="connsiteY0" fmla="*/ 297681 h 345104"/>
                      <a:gd name="connsiteX1" fmla="*/ 393976 w 424732"/>
                      <a:gd name="connsiteY1" fmla="*/ 191785 h 345104"/>
                      <a:gd name="connsiteX2" fmla="*/ 69666 w 424732"/>
                      <a:gd name="connsiteY2" fmla="*/ 0 h 345104"/>
                      <a:gd name="connsiteX3" fmla="*/ 0 w 424732"/>
                      <a:gd name="connsiteY3" fmla="*/ 101065 h 345104"/>
                      <a:gd name="connsiteX4" fmla="*/ 304715 w 424732"/>
                      <a:gd name="connsiteY4" fmla="*/ 338028 h 345104"/>
                      <a:gd name="connsiteX5" fmla="*/ 419603 w 424732"/>
                      <a:gd name="connsiteY5" fmla="*/ 297681 h 34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732" h="345104">
                        <a:moveTo>
                          <a:pt x="419588" y="297681"/>
                        </a:moveTo>
                        <a:cubicBezTo>
                          <a:pt x="419588" y="297681"/>
                          <a:pt x="441782" y="229535"/>
                          <a:pt x="393976" y="191785"/>
                        </a:cubicBezTo>
                        <a:cubicBezTo>
                          <a:pt x="346170" y="154036"/>
                          <a:pt x="194413" y="52925"/>
                          <a:pt x="69666" y="0"/>
                        </a:cubicBezTo>
                        <a:cubicBezTo>
                          <a:pt x="69666" y="0"/>
                          <a:pt x="21267" y="51649"/>
                          <a:pt x="0" y="101065"/>
                        </a:cubicBezTo>
                        <a:cubicBezTo>
                          <a:pt x="0" y="101065"/>
                          <a:pt x="230826" y="306006"/>
                          <a:pt x="304715" y="338028"/>
                        </a:cubicBezTo>
                        <a:cubicBezTo>
                          <a:pt x="314695" y="342418"/>
                          <a:pt x="393369" y="364734"/>
                          <a:pt x="419603" y="297681"/>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33" name="Freeform: Shape 1032">
                  <a:extLst>
                    <a:ext uri="{FF2B5EF4-FFF2-40B4-BE49-F238E27FC236}">
                      <a16:creationId xmlns:a16="http://schemas.microsoft.com/office/drawing/2014/main" id="{B71352E3-5E14-78CE-84A5-56A3268D87B1}"/>
                    </a:ext>
                  </a:extLst>
                </p:cNvPr>
                <p:cNvSpPr/>
                <p:nvPr/>
              </p:nvSpPr>
              <p:spPr>
                <a:xfrm>
                  <a:off x="5772222" y="3788384"/>
                  <a:ext cx="489572" cy="321819"/>
                </a:xfrm>
                <a:custGeom>
                  <a:avLst/>
                  <a:gdLst>
                    <a:gd name="connsiteX0" fmla="*/ 298274 w 489572"/>
                    <a:gd name="connsiteY0" fmla="*/ 125264 h 321819"/>
                    <a:gd name="connsiteX1" fmla="*/ 69666 w 489572"/>
                    <a:gd name="connsiteY1" fmla="*/ 0 h 321819"/>
                    <a:gd name="connsiteX2" fmla="*/ 0 w 489572"/>
                    <a:gd name="connsiteY2" fmla="*/ 101065 h 321819"/>
                    <a:gd name="connsiteX3" fmla="*/ 192028 w 489572"/>
                    <a:gd name="connsiteY3" fmla="*/ 261694 h 321819"/>
                    <a:gd name="connsiteX4" fmla="*/ 199806 w 489572"/>
                    <a:gd name="connsiteY4" fmla="*/ 260160 h 321819"/>
                    <a:gd name="connsiteX5" fmla="*/ 363792 w 489572"/>
                    <a:gd name="connsiteY5" fmla="*/ 294096 h 321819"/>
                    <a:gd name="connsiteX6" fmla="*/ 404959 w 489572"/>
                    <a:gd name="connsiteY6" fmla="*/ 321819 h 321819"/>
                    <a:gd name="connsiteX7" fmla="*/ 406220 w 489572"/>
                    <a:gd name="connsiteY7" fmla="*/ 320407 h 321819"/>
                    <a:gd name="connsiteX8" fmla="*/ 474549 w 489572"/>
                    <a:gd name="connsiteY8" fmla="*/ 236264 h 321819"/>
                    <a:gd name="connsiteX9" fmla="*/ 489573 w 489572"/>
                    <a:gd name="connsiteY9" fmla="*/ 119325 h 321819"/>
                    <a:gd name="connsiteX10" fmla="*/ 325420 w 489572"/>
                    <a:gd name="connsiteY10" fmla="*/ 54702 h 321819"/>
                    <a:gd name="connsiteX11" fmla="*/ 298304 w 489572"/>
                    <a:gd name="connsiteY11" fmla="*/ 125249 h 32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9572" h="321819">
                      <a:moveTo>
                        <a:pt x="298274" y="125264"/>
                      </a:moveTo>
                      <a:cubicBezTo>
                        <a:pt x="231813" y="82456"/>
                        <a:pt x="145711" y="32281"/>
                        <a:pt x="69666" y="0"/>
                      </a:cubicBezTo>
                      <a:cubicBezTo>
                        <a:pt x="69666" y="0"/>
                        <a:pt x="21267" y="51649"/>
                        <a:pt x="0" y="101065"/>
                      </a:cubicBezTo>
                      <a:cubicBezTo>
                        <a:pt x="0" y="101065"/>
                        <a:pt x="101946" y="191573"/>
                        <a:pt x="192028" y="261694"/>
                      </a:cubicBezTo>
                      <a:cubicBezTo>
                        <a:pt x="194671" y="261147"/>
                        <a:pt x="197269" y="260631"/>
                        <a:pt x="199806" y="260160"/>
                      </a:cubicBezTo>
                      <a:cubicBezTo>
                        <a:pt x="256802" y="249495"/>
                        <a:pt x="315698" y="261709"/>
                        <a:pt x="363792" y="294096"/>
                      </a:cubicBezTo>
                      <a:lnTo>
                        <a:pt x="404959" y="321819"/>
                      </a:lnTo>
                      <a:cubicBezTo>
                        <a:pt x="405385" y="321349"/>
                        <a:pt x="405795" y="320893"/>
                        <a:pt x="406220" y="320407"/>
                      </a:cubicBezTo>
                      <a:cubicBezTo>
                        <a:pt x="430328" y="299580"/>
                        <a:pt x="453509" y="268727"/>
                        <a:pt x="474549" y="236264"/>
                      </a:cubicBezTo>
                      <a:lnTo>
                        <a:pt x="489573" y="119325"/>
                      </a:lnTo>
                      <a:lnTo>
                        <a:pt x="325420" y="54702"/>
                      </a:lnTo>
                      <a:cubicBezTo>
                        <a:pt x="314406" y="82077"/>
                        <a:pt x="305505" y="105364"/>
                        <a:pt x="298304" y="125249"/>
                      </a:cubicBezTo>
                      <a:close/>
                    </a:path>
                  </a:pathLst>
                </a:custGeom>
                <a:solidFill>
                  <a:srgbClr val="81CF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63" name="Graphic 3200">
              <a:extLst>
                <a:ext uri="{FF2B5EF4-FFF2-40B4-BE49-F238E27FC236}">
                  <a16:creationId xmlns:a16="http://schemas.microsoft.com/office/drawing/2014/main" id="{C96B07BD-A928-B6AB-5750-1D7344796267}"/>
                </a:ext>
              </a:extLst>
            </p:cNvPr>
            <p:cNvGrpSpPr/>
            <p:nvPr/>
          </p:nvGrpSpPr>
          <p:grpSpPr>
            <a:xfrm>
              <a:off x="5434249" y="2968499"/>
              <a:ext cx="1378601" cy="2566620"/>
              <a:chOff x="5528632" y="3257273"/>
              <a:chExt cx="1285858" cy="2393954"/>
            </a:xfrm>
          </p:grpSpPr>
          <p:grpSp>
            <p:nvGrpSpPr>
              <p:cNvPr id="1940" name="Graphic 3200">
                <a:extLst>
                  <a:ext uri="{FF2B5EF4-FFF2-40B4-BE49-F238E27FC236}">
                    <a16:creationId xmlns:a16="http://schemas.microsoft.com/office/drawing/2014/main" id="{84725782-BDA0-F8C6-A6FE-937668C93812}"/>
                  </a:ext>
                </a:extLst>
              </p:cNvPr>
              <p:cNvGrpSpPr/>
              <p:nvPr/>
            </p:nvGrpSpPr>
            <p:grpSpPr>
              <a:xfrm>
                <a:off x="5528632" y="4059756"/>
                <a:ext cx="1276515" cy="1591471"/>
                <a:chOff x="5528632" y="4059756"/>
                <a:chExt cx="1276515" cy="1591471"/>
              </a:xfrm>
            </p:grpSpPr>
            <p:grpSp>
              <p:nvGrpSpPr>
                <p:cNvPr id="1960" name="Graphic 3200">
                  <a:extLst>
                    <a:ext uri="{FF2B5EF4-FFF2-40B4-BE49-F238E27FC236}">
                      <a16:creationId xmlns:a16="http://schemas.microsoft.com/office/drawing/2014/main" id="{888389F6-DA39-79F7-2FD3-1579913407DC}"/>
                    </a:ext>
                  </a:extLst>
                </p:cNvPr>
                <p:cNvGrpSpPr/>
                <p:nvPr/>
              </p:nvGrpSpPr>
              <p:grpSpPr>
                <a:xfrm>
                  <a:off x="5528632" y="4273698"/>
                  <a:ext cx="963484" cy="1196455"/>
                  <a:chOff x="5528632" y="4273698"/>
                  <a:chExt cx="963484" cy="1196455"/>
                </a:xfrm>
              </p:grpSpPr>
              <p:grpSp>
                <p:nvGrpSpPr>
                  <p:cNvPr id="1977" name="Graphic 3200">
                    <a:extLst>
                      <a:ext uri="{FF2B5EF4-FFF2-40B4-BE49-F238E27FC236}">
                        <a16:creationId xmlns:a16="http://schemas.microsoft.com/office/drawing/2014/main" id="{164F4CD6-C84C-9963-1792-CE091B26688C}"/>
                      </a:ext>
                    </a:extLst>
                  </p:cNvPr>
                  <p:cNvGrpSpPr/>
                  <p:nvPr/>
                </p:nvGrpSpPr>
                <p:grpSpPr>
                  <a:xfrm>
                    <a:off x="5528632" y="5207518"/>
                    <a:ext cx="412637" cy="262635"/>
                    <a:chOff x="5528632" y="5207518"/>
                    <a:chExt cx="412637" cy="262635"/>
                  </a:xfrm>
                </p:grpSpPr>
                <p:sp>
                  <p:nvSpPr>
                    <p:cNvPr id="1025" name="Freeform: Shape 1024">
                      <a:extLst>
                        <a:ext uri="{FF2B5EF4-FFF2-40B4-BE49-F238E27FC236}">
                          <a16:creationId xmlns:a16="http://schemas.microsoft.com/office/drawing/2014/main" id="{889DB84E-5C72-6696-6188-CE7135F62824}"/>
                        </a:ext>
                      </a:extLst>
                    </p:cNvPr>
                    <p:cNvSpPr/>
                    <p:nvPr/>
                  </p:nvSpPr>
                  <p:spPr>
                    <a:xfrm>
                      <a:off x="5542661" y="5207518"/>
                      <a:ext cx="394695" cy="233744"/>
                    </a:xfrm>
                    <a:custGeom>
                      <a:avLst/>
                      <a:gdLst>
                        <a:gd name="connsiteX0" fmla="*/ 291722 w 394695"/>
                        <a:gd name="connsiteY0" fmla="*/ 12700 h 233744"/>
                        <a:gd name="connsiteX1" fmla="*/ 368710 w 394695"/>
                        <a:gd name="connsiteY1" fmla="*/ 32585 h 233744"/>
                        <a:gd name="connsiteX2" fmla="*/ 373024 w 394695"/>
                        <a:gd name="connsiteY2" fmla="*/ 54551 h 233744"/>
                        <a:gd name="connsiteX3" fmla="*/ 391830 w 394695"/>
                        <a:gd name="connsiteY3" fmla="*/ 144466 h 233744"/>
                        <a:gd name="connsiteX4" fmla="*/ 337204 w 394695"/>
                        <a:gd name="connsiteY4" fmla="*/ 222760 h 233744"/>
                        <a:gd name="connsiteX5" fmla="*/ 121842 w 394695"/>
                        <a:gd name="connsiteY5" fmla="*/ 232528 h 233744"/>
                        <a:gd name="connsiteX6" fmla="*/ 72 w 394695"/>
                        <a:gd name="connsiteY6" fmla="*/ 197391 h 233744"/>
                        <a:gd name="connsiteX7" fmla="*/ 104996 w 394695"/>
                        <a:gd name="connsiteY7" fmla="*/ 130096 h 233744"/>
                        <a:gd name="connsiteX8" fmla="*/ 247334 w 394695"/>
                        <a:gd name="connsiteY8" fmla="*/ 69712 h 233744"/>
                        <a:gd name="connsiteX9" fmla="*/ 291722 w 394695"/>
                        <a:gd name="connsiteY9" fmla="*/ 12700 h 23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695" h="233744">
                          <a:moveTo>
                            <a:pt x="291722" y="12700"/>
                          </a:moveTo>
                          <a:cubicBezTo>
                            <a:pt x="316894" y="-10891"/>
                            <a:pt x="357651" y="-106"/>
                            <a:pt x="368710" y="32585"/>
                          </a:cubicBezTo>
                          <a:cubicBezTo>
                            <a:pt x="370821" y="38844"/>
                            <a:pt x="372401" y="46120"/>
                            <a:pt x="373024" y="54551"/>
                          </a:cubicBezTo>
                          <a:cubicBezTo>
                            <a:pt x="376245" y="97481"/>
                            <a:pt x="381972" y="105805"/>
                            <a:pt x="391830" y="144466"/>
                          </a:cubicBezTo>
                          <a:cubicBezTo>
                            <a:pt x="401689" y="183127"/>
                            <a:pt x="386726" y="215255"/>
                            <a:pt x="337204" y="222760"/>
                          </a:cubicBezTo>
                          <a:cubicBezTo>
                            <a:pt x="287682" y="230264"/>
                            <a:pt x="192799" y="227104"/>
                            <a:pt x="121842" y="232528"/>
                          </a:cubicBezTo>
                          <a:cubicBezTo>
                            <a:pt x="50871" y="237966"/>
                            <a:pt x="2305" y="224978"/>
                            <a:pt x="72" y="197391"/>
                          </a:cubicBezTo>
                          <a:cubicBezTo>
                            <a:pt x="-2161" y="169820"/>
                            <a:pt x="47938" y="147064"/>
                            <a:pt x="104996" y="130096"/>
                          </a:cubicBezTo>
                          <a:cubicBezTo>
                            <a:pt x="162053" y="113112"/>
                            <a:pt x="222619" y="91131"/>
                            <a:pt x="247334" y="69712"/>
                          </a:cubicBezTo>
                          <a:cubicBezTo>
                            <a:pt x="268951" y="50981"/>
                            <a:pt x="274405" y="28924"/>
                            <a:pt x="291722" y="1270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26" name="Graphic 3200">
                      <a:extLst>
                        <a:ext uri="{FF2B5EF4-FFF2-40B4-BE49-F238E27FC236}">
                          <a16:creationId xmlns:a16="http://schemas.microsoft.com/office/drawing/2014/main" id="{E3974B98-5093-F916-B190-10257BB44296}"/>
                        </a:ext>
                      </a:extLst>
                    </p:cNvPr>
                    <p:cNvGrpSpPr/>
                    <p:nvPr/>
                  </p:nvGrpSpPr>
                  <p:grpSpPr>
                    <a:xfrm>
                      <a:off x="5528632" y="5293317"/>
                      <a:ext cx="412637" cy="176836"/>
                      <a:chOff x="5528632" y="5293317"/>
                      <a:chExt cx="412637" cy="176836"/>
                    </a:xfrm>
                  </p:grpSpPr>
                  <p:sp>
                    <p:nvSpPr>
                      <p:cNvPr id="1027" name="Freeform: Shape 1026">
                        <a:extLst>
                          <a:ext uri="{FF2B5EF4-FFF2-40B4-BE49-F238E27FC236}">
                            <a16:creationId xmlns:a16="http://schemas.microsoft.com/office/drawing/2014/main" id="{FB407E9F-50A0-84E1-F655-3675CC46B6E8}"/>
                          </a:ext>
                        </a:extLst>
                      </p:cNvPr>
                      <p:cNvSpPr/>
                      <p:nvPr/>
                    </p:nvSpPr>
                    <p:spPr>
                      <a:xfrm>
                        <a:off x="5530595" y="5415391"/>
                        <a:ext cx="407904" cy="54762"/>
                      </a:xfrm>
                      <a:custGeom>
                        <a:avLst/>
                        <a:gdLst>
                          <a:gd name="connsiteX0" fmla="*/ 0 w 407904"/>
                          <a:gd name="connsiteY0" fmla="*/ 15 h 54762"/>
                          <a:gd name="connsiteX1" fmla="*/ 4983 w 407904"/>
                          <a:gd name="connsiteY1" fmla="*/ 33511 h 54762"/>
                          <a:gd name="connsiteX2" fmla="*/ 154826 w 407904"/>
                          <a:gd name="connsiteY2" fmla="*/ 53275 h 54762"/>
                          <a:gd name="connsiteX3" fmla="*/ 384999 w 407904"/>
                          <a:gd name="connsiteY3" fmla="*/ 50084 h 54762"/>
                          <a:gd name="connsiteX4" fmla="*/ 394007 w 407904"/>
                          <a:gd name="connsiteY4" fmla="*/ 50084 h 54762"/>
                          <a:gd name="connsiteX5" fmla="*/ 407845 w 407904"/>
                          <a:gd name="connsiteY5" fmla="*/ 34924 h 54762"/>
                          <a:gd name="connsiteX6" fmla="*/ 406038 w 407904"/>
                          <a:gd name="connsiteY6" fmla="*/ 15008 h 54762"/>
                          <a:gd name="connsiteX7" fmla="*/ 0 w 407904"/>
                          <a:gd name="connsiteY7" fmla="*/ 0 h 5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04" h="54762">
                            <a:moveTo>
                              <a:pt x="0" y="15"/>
                            </a:moveTo>
                            <a:cubicBezTo>
                              <a:pt x="0" y="15"/>
                              <a:pt x="2446" y="30321"/>
                              <a:pt x="4983" y="33511"/>
                            </a:cubicBezTo>
                            <a:cubicBezTo>
                              <a:pt x="7535" y="36701"/>
                              <a:pt x="38782" y="60931"/>
                              <a:pt x="154826" y="53275"/>
                            </a:cubicBezTo>
                            <a:cubicBezTo>
                              <a:pt x="270869" y="45618"/>
                              <a:pt x="353751" y="48808"/>
                              <a:pt x="384999" y="50084"/>
                            </a:cubicBezTo>
                            <a:lnTo>
                              <a:pt x="394007" y="50084"/>
                            </a:lnTo>
                            <a:cubicBezTo>
                              <a:pt x="402179" y="50084"/>
                              <a:pt x="408590" y="43066"/>
                              <a:pt x="407845" y="34924"/>
                            </a:cubicBezTo>
                            <a:lnTo>
                              <a:pt x="406038" y="15008"/>
                            </a:lnTo>
                            <a:lnTo>
                              <a:pt x="0" y="0"/>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8" name="Freeform: Shape 1027">
                        <a:extLst>
                          <a:ext uri="{FF2B5EF4-FFF2-40B4-BE49-F238E27FC236}">
                            <a16:creationId xmlns:a16="http://schemas.microsoft.com/office/drawing/2014/main" id="{02657BB8-70E9-84BD-C74A-506B5308EC74}"/>
                          </a:ext>
                        </a:extLst>
                      </p:cNvPr>
                      <p:cNvSpPr/>
                      <p:nvPr/>
                    </p:nvSpPr>
                    <p:spPr>
                      <a:xfrm>
                        <a:off x="5528632" y="5293317"/>
                        <a:ext cx="412637" cy="153948"/>
                      </a:xfrm>
                      <a:custGeom>
                        <a:avLst/>
                        <a:gdLst>
                          <a:gd name="connsiteX0" fmla="*/ 223735 w 412637"/>
                          <a:gd name="connsiteY0" fmla="*/ 15 h 153948"/>
                          <a:gd name="connsiteX1" fmla="*/ 270281 w 412637"/>
                          <a:gd name="connsiteY1" fmla="*/ 38904 h 153948"/>
                          <a:gd name="connsiteX2" fmla="*/ 351886 w 412637"/>
                          <a:gd name="connsiteY2" fmla="*/ 31248 h 153948"/>
                          <a:gd name="connsiteX3" fmla="*/ 393783 w 412637"/>
                          <a:gd name="connsiteY3" fmla="*/ 13034 h 153948"/>
                          <a:gd name="connsiteX4" fmla="*/ 412452 w 412637"/>
                          <a:gd name="connsiteY4" fmla="*/ 99470 h 153948"/>
                          <a:gd name="connsiteX5" fmla="*/ 407986 w 412637"/>
                          <a:gd name="connsiteY5" fmla="*/ 137083 h 153948"/>
                          <a:gd name="connsiteX6" fmla="*/ 262609 w 412637"/>
                          <a:gd name="connsiteY6" fmla="*/ 149190 h 153948"/>
                          <a:gd name="connsiteX7" fmla="*/ 8845 w 412637"/>
                          <a:gd name="connsiteY7" fmla="*/ 133255 h 153948"/>
                          <a:gd name="connsiteX8" fmla="*/ 56028 w 412637"/>
                          <a:gd name="connsiteY8" fmla="*/ 61842 h 153948"/>
                          <a:gd name="connsiteX9" fmla="*/ 223720 w 412637"/>
                          <a:gd name="connsiteY9" fmla="*/ 0 h 15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637" h="153948">
                            <a:moveTo>
                              <a:pt x="223735" y="15"/>
                            </a:moveTo>
                            <a:cubicBezTo>
                              <a:pt x="223735" y="15"/>
                              <a:pt x="245413" y="-1261"/>
                              <a:pt x="270281" y="38904"/>
                            </a:cubicBezTo>
                            <a:cubicBezTo>
                              <a:pt x="270281" y="38904"/>
                              <a:pt x="310445" y="49112"/>
                              <a:pt x="351886" y="31248"/>
                            </a:cubicBezTo>
                            <a:cubicBezTo>
                              <a:pt x="373898" y="21769"/>
                              <a:pt x="387433" y="11667"/>
                              <a:pt x="393783" y="13034"/>
                            </a:cubicBezTo>
                            <a:cubicBezTo>
                              <a:pt x="398796" y="14112"/>
                              <a:pt x="410751" y="68891"/>
                              <a:pt x="412452" y="99470"/>
                            </a:cubicBezTo>
                            <a:cubicBezTo>
                              <a:pt x="413728" y="122424"/>
                              <a:pt x="407986" y="137083"/>
                              <a:pt x="407986" y="137083"/>
                            </a:cubicBezTo>
                            <a:cubicBezTo>
                              <a:pt x="407986" y="137083"/>
                              <a:pt x="353785" y="146015"/>
                              <a:pt x="262609" y="149190"/>
                            </a:cubicBezTo>
                            <a:cubicBezTo>
                              <a:pt x="171433" y="152380"/>
                              <a:pt x="36265" y="163849"/>
                              <a:pt x="8845" y="133255"/>
                            </a:cubicBezTo>
                            <a:cubicBezTo>
                              <a:pt x="-18575" y="102645"/>
                              <a:pt x="23580" y="73798"/>
                              <a:pt x="56028" y="61842"/>
                            </a:cubicBezTo>
                            <a:cubicBezTo>
                              <a:pt x="116594" y="39527"/>
                              <a:pt x="223720" y="0"/>
                              <a:pt x="223720" y="0"/>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9" name="Freeform: Shape 1028">
                        <a:extLst>
                          <a:ext uri="{FF2B5EF4-FFF2-40B4-BE49-F238E27FC236}">
                            <a16:creationId xmlns:a16="http://schemas.microsoft.com/office/drawing/2014/main" id="{31556B5E-3A60-FCD3-1BCC-990AF6218FC6}"/>
                          </a:ext>
                        </a:extLst>
                      </p:cNvPr>
                      <p:cNvSpPr/>
                      <p:nvPr/>
                    </p:nvSpPr>
                    <p:spPr>
                      <a:xfrm>
                        <a:off x="5620556" y="5293328"/>
                        <a:ext cx="178356" cy="70377"/>
                      </a:xfrm>
                      <a:custGeom>
                        <a:avLst/>
                        <a:gdLst>
                          <a:gd name="connsiteX0" fmla="*/ 131812 w 178356"/>
                          <a:gd name="connsiteY0" fmla="*/ 5 h 70377"/>
                          <a:gd name="connsiteX1" fmla="*/ 0 w 178356"/>
                          <a:gd name="connsiteY1" fmla="*/ 48631 h 70377"/>
                          <a:gd name="connsiteX2" fmla="*/ 54657 w 178356"/>
                          <a:gd name="connsiteY2" fmla="*/ 68865 h 70377"/>
                          <a:gd name="connsiteX3" fmla="*/ 178357 w 178356"/>
                          <a:gd name="connsiteY3" fmla="*/ 38893 h 70377"/>
                          <a:gd name="connsiteX4" fmla="*/ 131812 w 178356"/>
                          <a:gd name="connsiteY4" fmla="*/ 5 h 7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56" h="70377">
                            <a:moveTo>
                              <a:pt x="131812" y="5"/>
                            </a:moveTo>
                            <a:cubicBezTo>
                              <a:pt x="131812" y="5"/>
                              <a:pt x="59412" y="26725"/>
                              <a:pt x="0" y="48631"/>
                            </a:cubicBezTo>
                            <a:cubicBezTo>
                              <a:pt x="18958" y="67468"/>
                              <a:pt x="27116" y="73559"/>
                              <a:pt x="54657" y="68865"/>
                            </a:cubicBezTo>
                            <a:cubicBezTo>
                              <a:pt x="84629" y="63761"/>
                              <a:pt x="178357" y="38893"/>
                              <a:pt x="178357" y="38893"/>
                            </a:cubicBezTo>
                            <a:cubicBezTo>
                              <a:pt x="153489" y="-1271"/>
                              <a:pt x="131812" y="5"/>
                              <a:pt x="131812" y="5"/>
                            </a:cubicBezTo>
                            <a:close/>
                          </a:path>
                        </a:pathLst>
                      </a:custGeom>
                      <a:solidFill>
                        <a:srgbClr val="6EC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978" name="Graphic 3200">
                    <a:extLst>
                      <a:ext uri="{FF2B5EF4-FFF2-40B4-BE49-F238E27FC236}">
                        <a16:creationId xmlns:a16="http://schemas.microsoft.com/office/drawing/2014/main" id="{51BF0822-78D6-3B86-10F1-8C8AFF05DD20}"/>
                      </a:ext>
                    </a:extLst>
                  </p:cNvPr>
                  <p:cNvGrpSpPr/>
                  <p:nvPr/>
                </p:nvGrpSpPr>
                <p:grpSpPr>
                  <a:xfrm>
                    <a:off x="5704071" y="4273698"/>
                    <a:ext cx="788045" cy="413878"/>
                    <a:chOff x="5704071" y="4273698"/>
                    <a:chExt cx="788045" cy="413878"/>
                  </a:xfrm>
                </p:grpSpPr>
                <p:sp>
                  <p:nvSpPr>
                    <p:cNvPr id="1982" name="Freeform: Shape 1981">
                      <a:extLst>
                        <a:ext uri="{FF2B5EF4-FFF2-40B4-BE49-F238E27FC236}">
                          <a16:creationId xmlns:a16="http://schemas.microsoft.com/office/drawing/2014/main" id="{C23CF543-59E3-D075-DCF6-7CEBDD634C5D}"/>
                        </a:ext>
                      </a:extLst>
                    </p:cNvPr>
                    <p:cNvSpPr/>
                    <p:nvPr/>
                  </p:nvSpPr>
                  <p:spPr>
                    <a:xfrm>
                      <a:off x="5708318" y="4280990"/>
                      <a:ext cx="776358" cy="405567"/>
                    </a:xfrm>
                    <a:custGeom>
                      <a:avLst/>
                      <a:gdLst>
                        <a:gd name="connsiteX0" fmla="*/ 775340 w 776358"/>
                        <a:gd name="connsiteY0" fmla="*/ 119603 h 405567"/>
                        <a:gd name="connsiteX1" fmla="*/ 587702 w 776358"/>
                        <a:gd name="connsiteY1" fmla="*/ 367944 h 405567"/>
                        <a:gd name="connsiteX2" fmla="*/ 81480 w 776358"/>
                        <a:gd name="connsiteY2" fmla="*/ 361245 h 405567"/>
                        <a:gd name="connsiteX3" fmla="*/ 127448 w 776358"/>
                        <a:gd name="connsiteY3" fmla="*/ 124814 h 405567"/>
                        <a:gd name="connsiteX4" fmla="*/ 436856 w 776358"/>
                        <a:gd name="connsiteY4" fmla="*/ 34975 h 405567"/>
                        <a:gd name="connsiteX5" fmla="*/ 775325 w 776358"/>
                        <a:gd name="connsiteY5" fmla="*/ 119588 h 40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358" h="405567">
                          <a:moveTo>
                            <a:pt x="775340" y="119603"/>
                          </a:moveTo>
                          <a:cubicBezTo>
                            <a:pt x="775340" y="119603"/>
                            <a:pt x="801575" y="309627"/>
                            <a:pt x="587702" y="367944"/>
                          </a:cubicBezTo>
                          <a:cubicBezTo>
                            <a:pt x="331933" y="437686"/>
                            <a:pt x="179340" y="395440"/>
                            <a:pt x="81480" y="361245"/>
                          </a:cubicBezTo>
                          <a:cubicBezTo>
                            <a:pt x="-16380" y="327066"/>
                            <a:pt x="-53187" y="181689"/>
                            <a:pt x="127448" y="124814"/>
                          </a:cubicBezTo>
                          <a:cubicBezTo>
                            <a:pt x="285646" y="75018"/>
                            <a:pt x="322028" y="65508"/>
                            <a:pt x="436856" y="34975"/>
                          </a:cubicBezTo>
                          <a:cubicBezTo>
                            <a:pt x="582172" y="-3656"/>
                            <a:pt x="751080" y="-45537"/>
                            <a:pt x="775325" y="11958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83" name="Freeform: Shape 1982">
                      <a:extLst>
                        <a:ext uri="{FF2B5EF4-FFF2-40B4-BE49-F238E27FC236}">
                          <a16:creationId xmlns:a16="http://schemas.microsoft.com/office/drawing/2014/main" id="{E8453DA8-17AC-CEB0-1F5F-2888E14B1919}"/>
                        </a:ext>
                      </a:extLst>
                    </p:cNvPr>
                    <p:cNvSpPr/>
                    <p:nvPr/>
                  </p:nvSpPr>
                  <p:spPr>
                    <a:xfrm>
                      <a:off x="5704071" y="4273698"/>
                      <a:ext cx="788045" cy="413878"/>
                    </a:xfrm>
                    <a:custGeom>
                      <a:avLst/>
                      <a:gdLst>
                        <a:gd name="connsiteX0" fmla="*/ 187 w 788045"/>
                        <a:gd name="connsiteY0" fmla="*/ 262201 h 413878"/>
                        <a:gd name="connsiteX1" fmla="*/ 75260 w 788045"/>
                        <a:gd name="connsiteY1" fmla="*/ 149348 h 413878"/>
                        <a:gd name="connsiteX2" fmla="*/ 402822 w 788045"/>
                        <a:gd name="connsiteY2" fmla="*/ 46050 h 413878"/>
                        <a:gd name="connsiteX3" fmla="*/ 713658 w 788045"/>
                        <a:gd name="connsiteY3" fmla="*/ 11612 h 413878"/>
                        <a:gd name="connsiteX4" fmla="*/ 773905 w 788045"/>
                        <a:gd name="connsiteY4" fmla="*/ 224892 h 413878"/>
                        <a:gd name="connsiteX5" fmla="*/ 451114 w 788045"/>
                        <a:gd name="connsiteY5" fmla="*/ 408520 h 413878"/>
                        <a:gd name="connsiteX6" fmla="*/ 57077 w 788045"/>
                        <a:gd name="connsiteY6" fmla="*/ 359271 h 413878"/>
                        <a:gd name="connsiteX7" fmla="*/ 172 w 788045"/>
                        <a:gd name="connsiteY7" fmla="*/ 262201 h 4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045" h="413878">
                          <a:moveTo>
                            <a:pt x="187" y="262201"/>
                          </a:moveTo>
                          <a:cubicBezTo>
                            <a:pt x="187" y="262201"/>
                            <a:pt x="-7470" y="196682"/>
                            <a:pt x="75260" y="149348"/>
                          </a:cubicBezTo>
                          <a:cubicBezTo>
                            <a:pt x="157990" y="102013"/>
                            <a:pt x="301924" y="74745"/>
                            <a:pt x="402822" y="46050"/>
                          </a:cubicBezTo>
                          <a:cubicBezTo>
                            <a:pt x="503720" y="17354"/>
                            <a:pt x="661052" y="-18983"/>
                            <a:pt x="713658" y="11612"/>
                          </a:cubicBezTo>
                          <a:cubicBezTo>
                            <a:pt x="766264" y="42221"/>
                            <a:pt x="812171" y="127336"/>
                            <a:pt x="773905" y="224892"/>
                          </a:cubicBezTo>
                          <a:cubicBezTo>
                            <a:pt x="735654" y="322448"/>
                            <a:pt x="646226" y="393693"/>
                            <a:pt x="451114" y="408520"/>
                          </a:cubicBezTo>
                          <a:cubicBezTo>
                            <a:pt x="256002" y="423346"/>
                            <a:pt x="144592" y="407563"/>
                            <a:pt x="57077" y="359271"/>
                          </a:cubicBezTo>
                          <a:cubicBezTo>
                            <a:pt x="38422" y="349700"/>
                            <a:pt x="2557" y="314321"/>
                            <a:pt x="172" y="262201"/>
                          </a:cubicBezTo>
                          <a:close/>
                        </a:path>
                      </a:pathLst>
                    </a:custGeom>
                    <a:solidFill>
                      <a:srgbClr val="17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4" name="Freeform: Shape 1023">
                      <a:extLst>
                        <a:ext uri="{FF2B5EF4-FFF2-40B4-BE49-F238E27FC236}">
                          <a16:creationId xmlns:a16="http://schemas.microsoft.com/office/drawing/2014/main" id="{532B78B8-317A-53CF-76FE-2D11E6B41666}"/>
                        </a:ext>
                      </a:extLst>
                    </p:cNvPr>
                    <p:cNvSpPr/>
                    <p:nvPr/>
                  </p:nvSpPr>
                  <p:spPr>
                    <a:xfrm>
                      <a:off x="5935980" y="4524065"/>
                      <a:ext cx="66186" cy="163226"/>
                    </a:xfrm>
                    <a:custGeom>
                      <a:avLst/>
                      <a:gdLst>
                        <a:gd name="connsiteX0" fmla="*/ 21951 w 66186"/>
                        <a:gd name="connsiteY0" fmla="*/ 0 h 163226"/>
                        <a:gd name="connsiteX1" fmla="*/ 0 w 66186"/>
                        <a:gd name="connsiteY1" fmla="*/ 159292 h 163226"/>
                        <a:gd name="connsiteX2" fmla="*/ 66187 w 66186"/>
                        <a:gd name="connsiteY2" fmla="*/ 163226 h 163226"/>
                        <a:gd name="connsiteX3" fmla="*/ 21951 w 66186"/>
                        <a:gd name="connsiteY3" fmla="*/ 0 h 163226"/>
                      </a:gdLst>
                      <a:ahLst/>
                      <a:cxnLst>
                        <a:cxn ang="0">
                          <a:pos x="connsiteX0" y="connsiteY0"/>
                        </a:cxn>
                        <a:cxn ang="0">
                          <a:pos x="connsiteX1" y="connsiteY1"/>
                        </a:cxn>
                        <a:cxn ang="0">
                          <a:pos x="connsiteX2" y="connsiteY2"/>
                        </a:cxn>
                        <a:cxn ang="0">
                          <a:pos x="connsiteX3" y="connsiteY3"/>
                        </a:cxn>
                      </a:cxnLst>
                      <a:rect l="l" t="t" r="r" b="b"/>
                      <a:pathLst>
                        <a:path w="66186" h="163226">
                          <a:moveTo>
                            <a:pt x="21951" y="0"/>
                          </a:moveTo>
                          <a:lnTo>
                            <a:pt x="0" y="159292"/>
                          </a:lnTo>
                          <a:cubicBezTo>
                            <a:pt x="20599" y="161373"/>
                            <a:pt x="42580" y="162680"/>
                            <a:pt x="66187" y="163226"/>
                          </a:cubicBezTo>
                          <a:cubicBezTo>
                            <a:pt x="56146" y="34210"/>
                            <a:pt x="21951" y="0"/>
                            <a:pt x="21951" y="0"/>
                          </a:cubicBezTo>
                          <a:close/>
                        </a:path>
                      </a:pathLst>
                    </a:custGeom>
                    <a:solidFill>
                      <a:srgbClr val="121D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79" name="Graphic 3200">
                    <a:extLst>
                      <a:ext uri="{FF2B5EF4-FFF2-40B4-BE49-F238E27FC236}">
                        <a16:creationId xmlns:a16="http://schemas.microsoft.com/office/drawing/2014/main" id="{1D468D2F-F96F-05DB-AACB-54D44B4B85B7}"/>
                      </a:ext>
                    </a:extLst>
                  </p:cNvPr>
                  <p:cNvGrpSpPr/>
                  <p:nvPr/>
                </p:nvGrpSpPr>
                <p:grpSpPr>
                  <a:xfrm>
                    <a:off x="5701045" y="4439155"/>
                    <a:ext cx="274152" cy="885039"/>
                    <a:chOff x="5701045" y="4439155"/>
                    <a:chExt cx="274152" cy="885039"/>
                  </a:xfrm>
                </p:grpSpPr>
                <p:sp>
                  <p:nvSpPr>
                    <p:cNvPr id="1980" name="Freeform: Shape 1979">
                      <a:extLst>
                        <a:ext uri="{FF2B5EF4-FFF2-40B4-BE49-F238E27FC236}">
                          <a16:creationId xmlns:a16="http://schemas.microsoft.com/office/drawing/2014/main" id="{0CAE1298-5EB9-839F-F8BD-22FCE84D740F}"/>
                        </a:ext>
                      </a:extLst>
                    </p:cNvPr>
                    <p:cNvSpPr/>
                    <p:nvPr/>
                  </p:nvSpPr>
                  <p:spPr>
                    <a:xfrm>
                      <a:off x="5705672" y="4465447"/>
                      <a:ext cx="264529" cy="858747"/>
                    </a:xfrm>
                    <a:custGeom>
                      <a:avLst/>
                      <a:gdLst>
                        <a:gd name="connsiteX0" fmla="*/ 233741 w 264529"/>
                        <a:gd name="connsiteY0" fmla="*/ 62096 h 858747"/>
                        <a:gd name="connsiteX1" fmla="*/ 262786 w 264529"/>
                        <a:gd name="connsiteY1" fmla="*/ 285403 h 858747"/>
                        <a:gd name="connsiteX2" fmla="*/ 233300 w 264529"/>
                        <a:gd name="connsiteY2" fmla="*/ 679895 h 858747"/>
                        <a:gd name="connsiteX3" fmla="*/ 149766 w 264529"/>
                        <a:gd name="connsiteY3" fmla="*/ 858404 h 858747"/>
                        <a:gd name="connsiteX4" fmla="*/ 67735 w 264529"/>
                        <a:gd name="connsiteY4" fmla="*/ 626545 h 858747"/>
                        <a:gd name="connsiteX5" fmla="*/ 2171 w 264529"/>
                        <a:gd name="connsiteY5" fmla="*/ 76057 h 858747"/>
                        <a:gd name="connsiteX6" fmla="*/ 233741 w 264529"/>
                        <a:gd name="connsiteY6" fmla="*/ 62096 h 8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529" h="858747">
                          <a:moveTo>
                            <a:pt x="233741" y="62096"/>
                          </a:moveTo>
                          <a:cubicBezTo>
                            <a:pt x="233741" y="62096"/>
                            <a:pt x="258183" y="120672"/>
                            <a:pt x="262786" y="285403"/>
                          </a:cubicBezTo>
                          <a:cubicBezTo>
                            <a:pt x="267374" y="450133"/>
                            <a:pt x="264624" y="544484"/>
                            <a:pt x="233300" y="679895"/>
                          </a:cubicBezTo>
                          <a:cubicBezTo>
                            <a:pt x="201977" y="815307"/>
                            <a:pt x="212261" y="851826"/>
                            <a:pt x="149766" y="858404"/>
                          </a:cubicBezTo>
                          <a:cubicBezTo>
                            <a:pt x="85508" y="865164"/>
                            <a:pt x="94714" y="771633"/>
                            <a:pt x="67735" y="626545"/>
                          </a:cubicBezTo>
                          <a:cubicBezTo>
                            <a:pt x="30244" y="424901"/>
                            <a:pt x="-9845" y="168357"/>
                            <a:pt x="2171" y="76057"/>
                          </a:cubicBezTo>
                          <a:cubicBezTo>
                            <a:pt x="13382" y="-10030"/>
                            <a:pt x="191313" y="-34062"/>
                            <a:pt x="233741" y="62096"/>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81" name="Freeform: Shape 1980">
                      <a:extLst>
                        <a:ext uri="{FF2B5EF4-FFF2-40B4-BE49-F238E27FC236}">
                          <a16:creationId xmlns:a16="http://schemas.microsoft.com/office/drawing/2014/main" id="{3DAA2A84-C888-807F-A983-0D305908D49B}"/>
                        </a:ext>
                      </a:extLst>
                    </p:cNvPr>
                    <p:cNvSpPr/>
                    <p:nvPr/>
                  </p:nvSpPr>
                  <p:spPr>
                    <a:xfrm>
                      <a:off x="5701045" y="4439155"/>
                      <a:ext cx="274152" cy="787952"/>
                    </a:xfrm>
                    <a:custGeom>
                      <a:avLst/>
                      <a:gdLst>
                        <a:gd name="connsiteX0" fmla="*/ 8757 w 274152"/>
                        <a:gd name="connsiteY0" fmla="*/ 72484 h 787952"/>
                        <a:gd name="connsiteX1" fmla="*/ 2058 w 274152"/>
                        <a:gd name="connsiteY1" fmla="*/ 202077 h 787952"/>
                        <a:gd name="connsiteX2" fmla="*/ 72346 w 274152"/>
                        <a:gd name="connsiteY2" fmla="*/ 774486 h 787952"/>
                        <a:gd name="connsiteX3" fmla="*/ 235891 w 274152"/>
                        <a:gd name="connsiteY3" fmla="*/ 775443 h 787952"/>
                        <a:gd name="connsiteX4" fmla="*/ 274142 w 274152"/>
                        <a:gd name="connsiteY4" fmla="*/ 463649 h 787952"/>
                        <a:gd name="connsiteX5" fmla="*/ 258845 w 274152"/>
                        <a:gd name="connsiteY5" fmla="*/ 95437 h 787952"/>
                        <a:gd name="connsiteX6" fmla="*/ 15897 w 274152"/>
                        <a:gd name="connsiteY6" fmla="*/ 56913 h 787952"/>
                        <a:gd name="connsiteX7" fmla="*/ 8742 w 274152"/>
                        <a:gd name="connsiteY7" fmla="*/ 72484 h 78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152" h="787952">
                          <a:moveTo>
                            <a:pt x="8757" y="72484"/>
                          </a:moveTo>
                          <a:cubicBezTo>
                            <a:pt x="8757" y="72484"/>
                            <a:pt x="-5112" y="105964"/>
                            <a:pt x="2058" y="202077"/>
                          </a:cubicBezTo>
                          <a:cubicBezTo>
                            <a:pt x="9228" y="298190"/>
                            <a:pt x="59920" y="665460"/>
                            <a:pt x="72346" y="774486"/>
                          </a:cubicBezTo>
                          <a:cubicBezTo>
                            <a:pt x="72346" y="774486"/>
                            <a:pt x="161289" y="804138"/>
                            <a:pt x="235891" y="775443"/>
                          </a:cubicBezTo>
                          <a:cubicBezTo>
                            <a:pt x="235891" y="775443"/>
                            <a:pt x="274142" y="604241"/>
                            <a:pt x="274142" y="463649"/>
                          </a:cubicBezTo>
                          <a:cubicBezTo>
                            <a:pt x="274142" y="323057"/>
                            <a:pt x="275099" y="187251"/>
                            <a:pt x="258845" y="95437"/>
                          </a:cubicBezTo>
                          <a:cubicBezTo>
                            <a:pt x="243229" y="7284"/>
                            <a:pt x="83177" y="-47327"/>
                            <a:pt x="15897" y="56913"/>
                          </a:cubicBezTo>
                          <a:cubicBezTo>
                            <a:pt x="13102" y="61257"/>
                            <a:pt x="10975" y="66726"/>
                            <a:pt x="8742" y="72484"/>
                          </a:cubicBezTo>
                          <a:close/>
                        </a:path>
                      </a:pathLst>
                    </a:custGeom>
                    <a:solidFill>
                      <a:srgbClr val="17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961" name="Freeform: Shape 1960">
                  <a:extLst>
                    <a:ext uri="{FF2B5EF4-FFF2-40B4-BE49-F238E27FC236}">
                      <a16:creationId xmlns:a16="http://schemas.microsoft.com/office/drawing/2014/main" id="{20E0D0E6-A24D-FB18-F187-D6C57FF689FF}"/>
                    </a:ext>
                  </a:extLst>
                </p:cNvPr>
                <p:cNvSpPr/>
                <p:nvPr/>
              </p:nvSpPr>
              <p:spPr>
                <a:xfrm>
                  <a:off x="6278388" y="4059756"/>
                  <a:ext cx="522603" cy="678869"/>
                </a:xfrm>
                <a:custGeom>
                  <a:avLst/>
                  <a:gdLst>
                    <a:gd name="connsiteX0" fmla="*/ 235256 w 522603"/>
                    <a:gd name="connsiteY0" fmla="*/ 1882 h 678869"/>
                    <a:gd name="connsiteX1" fmla="*/ 465368 w 522603"/>
                    <a:gd name="connsiteY1" fmla="*/ 129440 h 678869"/>
                    <a:gd name="connsiteX2" fmla="*/ 518931 w 522603"/>
                    <a:gd name="connsiteY2" fmla="*/ 368545 h 678869"/>
                    <a:gd name="connsiteX3" fmla="*/ 399288 w 522603"/>
                    <a:gd name="connsiteY3" fmla="*/ 639019 h 678869"/>
                    <a:gd name="connsiteX4" fmla="*/ 39795 w 522603"/>
                    <a:gd name="connsiteY4" fmla="*/ 523705 h 678869"/>
                    <a:gd name="connsiteX5" fmla="*/ 71 w 522603"/>
                    <a:gd name="connsiteY5" fmla="*/ 188427 h 678869"/>
                    <a:gd name="connsiteX6" fmla="*/ 235272 w 522603"/>
                    <a:gd name="connsiteY6" fmla="*/ 1867 h 67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603" h="678869">
                      <a:moveTo>
                        <a:pt x="235256" y="1882"/>
                      </a:moveTo>
                      <a:cubicBezTo>
                        <a:pt x="235256" y="1882"/>
                        <a:pt x="446957" y="-25598"/>
                        <a:pt x="465368" y="129440"/>
                      </a:cubicBezTo>
                      <a:cubicBezTo>
                        <a:pt x="470032" y="176107"/>
                        <a:pt x="508298" y="283537"/>
                        <a:pt x="518931" y="368545"/>
                      </a:cubicBezTo>
                      <a:cubicBezTo>
                        <a:pt x="532315" y="475656"/>
                        <a:pt x="512749" y="562792"/>
                        <a:pt x="399288" y="639019"/>
                      </a:cubicBezTo>
                      <a:cubicBezTo>
                        <a:pt x="285827" y="715247"/>
                        <a:pt x="78638" y="684926"/>
                        <a:pt x="39795" y="523705"/>
                      </a:cubicBezTo>
                      <a:cubicBezTo>
                        <a:pt x="557" y="360889"/>
                        <a:pt x="5342" y="323595"/>
                        <a:pt x="71" y="188427"/>
                      </a:cubicBezTo>
                      <a:cubicBezTo>
                        <a:pt x="-3271" y="102750"/>
                        <a:pt x="112483" y="-10574"/>
                        <a:pt x="235272" y="186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62" name="Graphic 3200">
                  <a:extLst>
                    <a:ext uri="{FF2B5EF4-FFF2-40B4-BE49-F238E27FC236}">
                      <a16:creationId xmlns:a16="http://schemas.microsoft.com/office/drawing/2014/main" id="{5F494385-02B8-3C2C-C653-9906B26B4CF7}"/>
                    </a:ext>
                  </a:extLst>
                </p:cNvPr>
                <p:cNvGrpSpPr/>
                <p:nvPr/>
              </p:nvGrpSpPr>
              <p:grpSpPr>
                <a:xfrm>
                  <a:off x="5753604" y="4337640"/>
                  <a:ext cx="1051543" cy="1313587"/>
                  <a:chOff x="5753604" y="4337640"/>
                  <a:chExt cx="1051543" cy="1313587"/>
                </a:xfrm>
              </p:grpSpPr>
              <p:grpSp>
                <p:nvGrpSpPr>
                  <p:cNvPr id="1963" name="Graphic 3200">
                    <a:extLst>
                      <a:ext uri="{FF2B5EF4-FFF2-40B4-BE49-F238E27FC236}">
                        <a16:creationId xmlns:a16="http://schemas.microsoft.com/office/drawing/2014/main" id="{D2D36E9F-86B8-702B-4DC5-D1DE5839E0D9}"/>
                      </a:ext>
                    </a:extLst>
                  </p:cNvPr>
                  <p:cNvGrpSpPr/>
                  <p:nvPr/>
                </p:nvGrpSpPr>
                <p:grpSpPr>
                  <a:xfrm>
                    <a:off x="5937886" y="4337640"/>
                    <a:ext cx="867261" cy="449888"/>
                    <a:chOff x="5937886" y="4337640"/>
                    <a:chExt cx="867261" cy="449888"/>
                  </a:xfrm>
                </p:grpSpPr>
                <p:sp>
                  <p:nvSpPr>
                    <p:cNvPr id="1973" name="Freeform: Shape 1972">
                      <a:extLst>
                        <a:ext uri="{FF2B5EF4-FFF2-40B4-BE49-F238E27FC236}">
                          <a16:creationId xmlns:a16="http://schemas.microsoft.com/office/drawing/2014/main" id="{3C296F97-36C6-5CB5-5B4A-E1E8848F6FF6}"/>
                        </a:ext>
                      </a:extLst>
                    </p:cNvPr>
                    <p:cNvSpPr/>
                    <p:nvPr/>
                  </p:nvSpPr>
                  <p:spPr>
                    <a:xfrm>
                      <a:off x="5955164" y="4343004"/>
                      <a:ext cx="840933" cy="439270"/>
                    </a:xfrm>
                    <a:custGeom>
                      <a:avLst/>
                      <a:gdLst>
                        <a:gd name="connsiteX0" fmla="*/ 839832 w 840933"/>
                        <a:gd name="connsiteY0" fmla="*/ 129519 h 439270"/>
                        <a:gd name="connsiteX1" fmla="*/ 636592 w 840933"/>
                        <a:gd name="connsiteY1" fmla="*/ 398519 h 439270"/>
                        <a:gd name="connsiteX2" fmla="*/ 88261 w 840933"/>
                        <a:gd name="connsiteY2" fmla="*/ 391273 h 439270"/>
                        <a:gd name="connsiteX3" fmla="*/ 138057 w 840933"/>
                        <a:gd name="connsiteY3" fmla="*/ 135185 h 439270"/>
                        <a:gd name="connsiteX4" fmla="*/ 473199 w 840933"/>
                        <a:gd name="connsiteY4" fmla="*/ 37887 h 439270"/>
                        <a:gd name="connsiteX5" fmla="*/ 839832 w 840933"/>
                        <a:gd name="connsiteY5" fmla="*/ 129549 h 43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0933" h="439270">
                          <a:moveTo>
                            <a:pt x="839832" y="129519"/>
                          </a:moveTo>
                          <a:cubicBezTo>
                            <a:pt x="839832" y="129519"/>
                            <a:pt x="868239" y="335340"/>
                            <a:pt x="636592" y="398519"/>
                          </a:cubicBezTo>
                          <a:cubicBezTo>
                            <a:pt x="359556" y="474063"/>
                            <a:pt x="194248" y="428293"/>
                            <a:pt x="88261" y="391273"/>
                          </a:cubicBezTo>
                          <a:cubicBezTo>
                            <a:pt x="-17741" y="354238"/>
                            <a:pt x="-57617" y="196769"/>
                            <a:pt x="138057" y="135185"/>
                          </a:cubicBezTo>
                          <a:cubicBezTo>
                            <a:pt x="309411" y="81242"/>
                            <a:pt x="348831" y="70942"/>
                            <a:pt x="473199" y="37887"/>
                          </a:cubicBezTo>
                          <a:cubicBezTo>
                            <a:pt x="630607" y="-3964"/>
                            <a:pt x="813566" y="-49324"/>
                            <a:pt x="839832" y="129549"/>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74" name="Graphic 3200">
                      <a:extLst>
                        <a:ext uri="{FF2B5EF4-FFF2-40B4-BE49-F238E27FC236}">
                          <a16:creationId xmlns:a16="http://schemas.microsoft.com/office/drawing/2014/main" id="{C77D70FA-9161-648B-71B5-BA621776D483}"/>
                        </a:ext>
                      </a:extLst>
                    </p:cNvPr>
                    <p:cNvGrpSpPr/>
                    <p:nvPr/>
                  </p:nvGrpSpPr>
                  <p:grpSpPr>
                    <a:xfrm>
                      <a:off x="5937886" y="4337640"/>
                      <a:ext cx="867261" cy="449888"/>
                      <a:chOff x="5937886" y="4337640"/>
                      <a:chExt cx="867261" cy="449888"/>
                    </a:xfrm>
                  </p:grpSpPr>
                  <p:sp>
                    <p:nvSpPr>
                      <p:cNvPr id="1975" name="Freeform: Shape 1974">
                        <a:extLst>
                          <a:ext uri="{FF2B5EF4-FFF2-40B4-BE49-F238E27FC236}">
                            <a16:creationId xmlns:a16="http://schemas.microsoft.com/office/drawing/2014/main" id="{A9EBFBCC-14B1-0DA1-9EFB-7A48C4FBBA19}"/>
                          </a:ext>
                        </a:extLst>
                      </p:cNvPr>
                      <p:cNvSpPr/>
                      <p:nvPr/>
                    </p:nvSpPr>
                    <p:spPr>
                      <a:xfrm>
                        <a:off x="5937886" y="4337640"/>
                        <a:ext cx="867261" cy="449888"/>
                      </a:xfrm>
                      <a:custGeom>
                        <a:avLst/>
                        <a:gdLst>
                          <a:gd name="connsiteX0" fmla="*/ 24 w 867261"/>
                          <a:gd name="connsiteY0" fmla="*/ 331741 h 449888"/>
                          <a:gd name="connsiteX1" fmla="*/ 33140 w 867261"/>
                          <a:gd name="connsiteY1" fmla="*/ 208604 h 449888"/>
                          <a:gd name="connsiteX2" fmla="*/ 266928 w 867261"/>
                          <a:gd name="connsiteY2" fmla="*/ 101007 h 449888"/>
                          <a:gd name="connsiteX3" fmla="*/ 695327 w 867261"/>
                          <a:gd name="connsiteY3" fmla="*/ 48 h 449888"/>
                          <a:gd name="connsiteX4" fmla="*/ 864022 w 867261"/>
                          <a:gd name="connsiteY4" fmla="*/ 133545 h 449888"/>
                          <a:gd name="connsiteX5" fmla="*/ 713920 w 867261"/>
                          <a:gd name="connsiteY5" fmla="*/ 388586 h 449888"/>
                          <a:gd name="connsiteX6" fmla="*/ 163311 w 867261"/>
                          <a:gd name="connsiteY6" fmla="*/ 419803 h 449888"/>
                          <a:gd name="connsiteX7" fmla="*/ 24 w 867261"/>
                          <a:gd name="connsiteY7" fmla="*/ 331726 h 44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261" h="449888">
                            <a:moveTo>
                              <a:pt x="24" y="331741"/>
                            </a:moveTo>
                            <a:cubicBezTo>
                              <a:pt x="24" y="331741"/>
                              <a:pt x="-2073" y="247128"/>
                              <a:pt x="33140" y="208604"/>
                            </a:cubicBezTo>
                            <a:cubicBezTo>
                              <a:pt x="68337" y="170080"/>
                              <a:pt x="108198" y="143511"/>
                              <a:pt x="266928" y="101007"/>
                            </a:cubicBezTo>
                            <a:cubicBezTo>
                              <a:pt x="425673" y="58502"/>
                              <a:pt x="597026" y="-1942"/>
                              <a:pt x="695327" y="48"/>
                            </a:cubicBezTo>
                            <a:cubicBezTo>
                              <a:pt x="793627" y="2038"/>
                              <a:pt x="842116" y="14661"/>
                              <a:pt x="864022" y="133545"/>
                            </a:cubicBezTo>
                            <a:cubicBezTo>
                              <a:pt x="885942" y="252429"/>
                              <a:pt x="792290" y="356715"/>
                              <a:pt x="713920" y="388586"/>
                            </a:cubicBezTo>
                            <a:cubicBezTo>
                              <a:pt x="635550" y="420472"/>
                              <a:pt x="393787" y="489545"/>
                              <a:pt x="163311" y="419803"/>
                            </a:cubicBezTo>
                            <a:cubicBezTo>
                              <a:pt x="138732" y="413833"/>
                              <a:pt x="7999" y="415413"/>
                              <a:pt x="24" y="331726"/>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6" name="Freeform: Shape 1975">
                        <a:extLst>
                          <a:ext uri="{FF2B5EF4-FFF2-40B4-BE49-F238E27FC236}">
                            <a16:creationId xmlns:a16="http://schemas.microsoft.com/office/drawing/2014/main" id="{C954F543-D57D-2187-7F3A-0077EC13A140}"/>
                          </a:ext>
                        </a:extLst>
                      </p:cNvPr>
                      <p:cNvSpPr/>
                      <p:nvPr/>
                    </p:nvSpPr>
                    <p:spPr>
                      <a:xfrm>
                        <a:off x="6205315" y="4633743"/>
                        <a:ext cx="73265" cy="152987"/>
                      </a:xfrm>
                      <a:custGeom>
                        <a:avLst/>
                        <a:gdLst>
                          <a:gd name="connsiteX0" fmla="*/ 15616 w 73265"/>
                          <a:gd name="connsiteY0" fmla="*/ 0 h 152987"/>
                          <a:gd name="connsiteX1" fmla="*/ 0 w 73265"/>
                          <a:gd name="connsiteY1" fmla="*/ 146349 h 152987"/>
                          <a:gd name="connsiteX2" fmla="*/ 73266 w 73265"/>
                          <a:gd name="connsiteY2" fmla="*/ 152988 h 152987"/>
                          <a:gd name="connsiteX3" fmla="*/ 15616 w 73265"/>
                          <a:gd name="connsiteY3" fmla="*/ 15 h 152987"/>
                        </a:gdLst>
                        <a:ahLst/>
                        <a:cxnLst>
                          <a:cxn ang="0">
                            <a:pos x="connsiteX0" y="connsiteY0"/>
                          </a:cxn>
                          <a:cxn ang="0">
                            <a:pos x="connsiteX1" y="connsiteY1"/>
                          </a:cxn>
                          <a:cxn ang="0">
                            <a:pos x="connsiteX2" y="connsiteY2"/>
                          </a:cxn>
                          <a:cxn ang="0">
                            <a:pos x="connsiteX3" y="connsiteY3"/>
                          </a:cxn>
                        </a:cxnLst>
                        <a:rect l="l" t="t" r="r" b="b"/>
                        <a:pathLst>
                          <a:path w="73265" h="152987">
                            <a:moveTo>
                              <a:pt x="15616" y="0"/>
                            </a:moveTo>
                            <a:lnTo>
                              <a:pt x="0" y="146349"/>
                            </a:lnTo>
                            <a:cubicBezTo>
                              <a:pt x="24670" y="149783"/>
                              <a:pt x="49158" y="151924"/>
                              <a:pt x="73266" y="152988"/>
                            </a:cubicBezTo>
                            <a:cubicBezTo>
                              <a:pt x="59943" y="57528"/>
                              <a:pt x="15616" y="15"/>
                              <a:pt x="15616" y="15"/>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964" name="Graphic 3200">
                    <a:extLst>
                      <a:ext uri="{FF2B5EF4-FFF2-40B4-BE49-F238E27FC236}">
                        <a16:creationId xmlns:a16="http://schemas.microsoft.com/office/drawing/2014/main" id="{99BBCB6B-4FB5-CC1C-608B-3CDA282FC59A}"/>
                      </a:ext>
                    </a:extLst>
                  </p:cNvPr>
                  <p:cNvGrpSpPr/>
                  <p:nvPr/>
                </p:nvGrpSpPr>
                <p:grpSpPr>
                  <a:xfrm>
                    <a:off x="5937925" y="4562591"/>
                    <a:ext cx="303312" cy="959094"/>
                    <a:chOff x="5937925" y="4562591"/>
                    <a:chExt cx="303312" cy="959094"/>
                  </a:xfrm>
                </p:grpSpPr>
                <p:sp>
                  <p:nvSpPr>
                    <p:cNvPr id="1971" name="Freeform: Shape 1970">
                      <a:extLst>
                        <a:ext uri="{FF2B5EF4-FFF2-40B4-BE49-F238E27FC236}">
                          <a16:creationId xmlns:a16="http://schemas.microsoft.com/office/drawing/2014/main" id="{46F53BA4-2CDA-A379-2FD3-2A762EEDF9F6}"/>
                        </a:ext>
                      </a:extLst>
                    </p:cNvPr>
                    <p:cNvSpPr/>
                    <p:nvPr/>
                  </p:nvSpPr>
                  <p:spPr>
                    <a:xfrm>
                      <a:off x="5947170" y="4571309"/>
                      <a:ext cx="283940" cy="950376"/>
                    </a:xfrm>
                    <a:custGeom>
                      <a:avLst/>
                      <a:gdLst>
                        <a:gd name="connsiteX0" fmla="*/ 250899 w 283940"/>
                        <a:gd name="connsiteY0" fmla="*/ 66642 h 950376"/>
                        <a:gd name="connsiteX1" fmla="*/ 282070 w 283940"/>
                        <a:gd name="connsiteY1" fmla="*/ 306339 h 950376"/>
                        <a:gd name="connsiteX2" fmla="*/ 250413 w 283940"/>
                        <a:gd name="connsiteY2" fmla="*/ 729786 h 950376"/>
                        <a:gd name="connsiteX3" fmla="*/ 162609 w 283940"/>
                        <a:gd name="connsiteY3" fmla="*/ 950084 h 950376"/>
                        <a:gd name="connsiteX4" fmla="*/ 72709 w 283940"/>
                        <a:gd name="connsiteY4" fmla="*/ 672516 h 950376"/>
                        <a:gd name="connsiteX5" fmla="*/ 2330 w 283940"/>
                        <a:gd name="connsiteY5" fmla="*/ 81635 h 950376"/>
                        <a:gd name="connsiteX6" fmla="*/ 250899 w 283940"/>
                        <a:gd name="connsiteY6" fmla="*/ 66642 h 95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940" h="950376">
                          <a:moveTo>
                            <a:pt x="250899" y="66642"/>
                          </a:moveTo>
                          <a:cubicBezTo>
                            <a:pt x="250899" y="66642"/>
                            <a:pt x="277133" y="129517"/>
                            <a:pt x="282070" y="306339"/>
                          </a:cubicBezTo>
                          <a:cubicBezTo>
                            <a:pt x="286992" y="483161"/>
                            <a:pt x="284045" y="584439"/>
                            <a:pt x="250413" y="729786"/>
                          </a:cubicBezTo>
                          <a:cubicBezTo>
                            <a:pt x="216795" y="875132"/>
                            <a:pt x="229677" y="943036"/>
                            <a:pt x="162609" y="950084"/>
                          </a:cubicBezTo>
                          <a:cubicBezTo>
                            <a:pt x="93627" y="957346"/>
                            <a:pt x="101663" y="828238"/>
                            <a:pt x="72709" y="672516"/>
                          </a:cubicBezTo>
                          <a:cubicBezTo>
                            <a:pt x="32469" y="456076"/>
                            <a:pt x="-10567" y="180695"/>
                            <a:pt x="2330" y="81635"/>
                          </a:cubicBezTo>
                          <a:cubicBezTo>
                            <a:pt x="14361" y="-10756"/>
                            <a:pt x="205356" y="-36565"/>
                            <a:pt x="250899" y="6664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2" name="Freeform: Shape 1971">
                      <a:extLst>
                        <a:ext uri="{FF2B5EF4-FFF2-40B4-BE49-F238E27FC236}">
                          <a16:creationId xmlns:a16="http://schemas.microsoft.com/office/drawing/2014/main" id="{8044B934-28F2-F3E2-A6F8-4A3D66C24218}"/>
                        </a:ext>
                      </a:extLst>
                    </p:cNvPr>
                    <p:cNvSpPr/>
                    <p:nvPr/>
                  </p:nvSpPr>
                  <p:spPr>
                    <a:xfrm>
                      <a:off x="5937925" y="4562591"/>
                      <a:ext cx="303312" cy="820662"/>
                    </a:xfrm>
                    <a:custGeom>
                      <a:avLst/>
                      <a:gdLst>
                        <a:gd name="connsiteX0" fmla="*/ 52954 w 303312"/>
                        <a:gd name="connsiteY0" fmla="*/ 14824 h 820662"/>
                        <a:gd name="connsiteX1" fmla="*/ 637 w 303312"/>
                        <a:gd name="connsiteY1" fmla="*/ 137734 h 820662"/>
                        <a:gd name="connsiteX2" fmla="*/ 82577 w 303312"/>
                        <a:gd name="connsiteY2" fmla="*/ 804599 h 820662"/>
                        <a:gd name="connsiteX3" fmla="*/ 261268 w 303312"/>
                        <a:gd name="connsiteY3" fmla="*/ 809536 h 820662"/>
                        <a:gd name="connsiteX4" fmla="*/ 302739 w 303312"/>
                        <a:gd name="connsiteY4" fmla="*/ 417626 h 820662"/>
                        <a:gd name="connsiteX5" fmla="*/ 139846 w 303312"/>
                        <a:gd name="connsiteY5" fmla="*/ 13 h 820662"/>
                        <a:gd name="connsiteX6" fmla="*/ 52970 w 303312"/>
                        <a:gd name="connsiteY6" fmla="*/ 14824 h 82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312" h="820662">
                          <a:moveTo>
                            <a:pt x="52954" y="14824"/>
                          </a:moveTo>
                          <a:cubicBezTo>
                            <a:pt x="52954" y="14824"/>
                            <a:pt x="-6776" y="36046"/>
                            <a:pt x="637" y="137734"/>
                          </a:cubicBezTo>
                          <a:cubicBezTo>
                            <a:pt x="7746" y="235366"/>
                            <a:pt x="61841" y="689088"/>
                            <a:pt x="82577" y="804599"/>
                          </a:cubicBezTo>
                          <a:cubicBezTo>
                            <a:pt x="82577" y="804599"/>
                            <a:pt x="159580" y="837184"/>
                            <a:pt x="261268" y="809536"/>
                          </a:cubicBezTo>
                          <a:cubicBezTo>
                            <a:pt x="261268" y="809536"/>
                            <a:pt x="300764" y="608166"/>
                            <a:pt x="302739" y="417626"/>
                          </a:cubicBezTo>
                          <a:cubicBezTo>
                            <a:pt x="304713" y="227086"/>
                            <a:pt x="310638" y="-1962"/>
                            <a:pt x="139846" y="13"/>
                          </a:cubicBezTo>
                          <a:cubicBezTo>
                            <a:pt x="105287" y="1988"/>
                            <a:pt x="83580" y="3962"/>
                            <a:pt x="52970" y="14824"/>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65" name="Graphic 3200">
                    <a:extLst>
                      <a:ext uri="{FF2B5EF4-FFF2-40B4-BE49-F238E27FC236}">
                        <a16:creationId xmlns:a16="http://schemas.microsoft.com/office/drawing/2014/main" id="{B643FA10-6273-16B5-AF6B-3BAD2EB4F9E9}"/>
                      </a:ext>
                    </a:extLst>
                  </p:cNvPr>
                  <p:cNvGrpSpPr/>
                  <p:nvPr/>
                </p:nvGrpSpPr>
                <p:grpSpPr>
                  <a:xfrm>
                    <a:off x="5753604" y="5389622"/>
                    <a:ext cx="446268" cy="261605"/>
                    <a:chOff x="5753604" y="5389622"/>
                    <a:chExt cx="446268" cy="261605"/>
                  </a:xfrm>
                </p:grpSpPr>
                <p:sp>
                  <p:nvSpPr>
                    <p:cNvPr id="1966" name="Freeform: Shape 1965">
                      <a:extLst>
                        <a:ext uri="{FF2B5EF4-FFF2-40B4-BE49-F238E27FC236}">
                          <a16:creationId xmlns:a16="http://schemas.microsoft.com/office/drawing/2014/main" id="{B7F3F98F-4347-5B0B-CB05-2673CA23287D}"/>
                        </a:ext>
                      </a:extLst>
                    </p:cNvPr>
                    <p:cNvSpPr/>
                    <p:nvPr/>
                  </p:nvSpPr>
                  <p:spPr>
                    <a:xfrm>
                      <a:off x="5772206" y="5389622"/>
                      <a:ext cx="423648" cy="229066"/>
                    </a:xfrm>
                    <a:custGeom>
                      <a:avLst/>
                      <a:gdLst>
                        <a:gd name="connsiteX0" fmla="*/ 300720 w 423648"/>
                        <a:gd name="connsiteY0" fmla="*/ 16579 h 229066"/>
                        <a:gd name="connsiteX1" fmla="*/ 400387 w 423648"/>
                        <a:gd name="connsiteY1" fmla="*/ 36737 h 229066"/>
                        <a:gd name="connsiteX2" fmla="*/ 420576 w 423648"/>
                        <a:gd name="connsiteY2" fmla="*/ 133245 h 229066"/>
                        <a:gd name="connsiteX3" fmla="*/ 361954 w 423648"/>
                        <a:gd name="connsiteY3" fmla="*/ 217281 h 229066"/>
                        <a:gd name="connsiteX4" fmla="*/ 130779 w 423648"/>
                        <a:gd name="connsiteY4" fmla="*/ 227763 h 229066"/>
                        <a:gd name="connsiteX5" fmla="*/ 76 w 423648"/>
                        <a:gd name="connsiteY5" fmla="*/ 190059 h 229066"/>
                        <a:gd name="connsiteX6" fmla="*/ 112686 w 423648"/>
                        <a:gd name="connsiteY6" fmla="*/ 117826 h 229066"/>
                        <a:gd name="connsiteX7" fmla="*/ 265477 w 423648"/>
                        <a:gd name="connsiteY7" fmla="*/ 53007 h 229066"/>
                        <a:gd name="connsiteX8" fmla="*/ 300735 w 423648"/>
                        <a:gd name="connsiteY8" fmla="*/ 16564 h 2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648" h="229066">
                          <a:moveTo>
                            <a:pt x="300720" y="16579"/>
                          </a:moveTo>
                          <a:cubicBezTo>
                            <a:pt x="344029" y="-18649"/>
                            <a:pt x="397714" y="9075"/>
                            <a:pt x="400387" y="36737"/>
                          </a:cubicBezTo>
                          <a:cubicBezTo>
                            <a:pt x="404823" y="82735"/>
                            <a:pt x="409988" y="91744"/>
                            <a:pt x="420576" y="133245"/>
                          </a:cubicBezTo>
                          <a:cubicBezTo>
                            <a:pt x="431149" y="174747"/>
                            <a:pt x="415107" y="209230"/>
                            <a:pt x="361954" y="217281"/>
                          </a:cubicBezTo>
                          <a:cubicBezTo>
                            <a:pt x="308801" y="225332"/>
                            <a:pt x="206961" y="221945"/>
                            <a:pt x="130779" y="227763"/>
                          </a:cubicBezTo>
                          <a:cubicBezTo>
                            <a:pt x="54612" y="233596"/>
                            <a:pt x="2462" y="219651"/>
                            <a:pt x="76" y="190059"/>
                          </a:cubicBezTo>
                          <a:cubicBezTo>
                            <a:pt x="-2309" y="160467"/>
                            <a:pt x="51452" y="136040"/>
                            <a:pt x="112686" y="117826"/>
                          </a:cubicBezTo>
                          <a:cubicBezTo>
                            <a:pt x="173921" y="99597"/>
                            <a:pt x="238938" y="75991"/>
                            <a:pt x="265477" y="53007"/>
                          </a:cubicBezTo>
                          <a:cubicBezTo>
                            <a:pt x="288673" y="32909"/>
                            <a:pt x="280971" y="32636"/>
                            <a:pt x="300735" y="1656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67" name="Graphic 3200">
                      <a:extLst>
                        <a:ext uri="{FF2B5EF4-FFF2-40B4-BE49-F238E27FC236}">
                          <a16:creationId xmlns:a16="http://schemas.microsoft.com/office/drawing/2014/main" id="{0584373D-526B-2043-B3C7-2BDEB2A8F5EE}"/>
                        </a:ext>
                      </a:extLst>
                    </p:cNvPr>
                    <p:cNvGrpSpPr/>
                    <p:nvPr/>
                  </p:nvGrpSpPr>
                  <p:grpSpPr>
                    <a:xfrm>
                      <a:off x="5753604" y="5458157"/>
                      <a:ext cx="446268" cy="193070"/>
                      <a:chOff x="5753604" y="5458157"/>
                      <a:chExt cx="446268" cy="193070"/>
                    </a:xfrm>
                  </p:grpSpPr>
                  <p:sp>
                    <p:nvSpPr>
                      <p:cNvPr id="1968" name="Freeform: Shape 1967">
                        <a:extLst>
                          <a:ext uri="{FF2B5EF4-FFF2-40B4-BE49-F238E27FC236}">
                            <a16:creationId xmlns:a16="http://schemas.microsoft.com/office/drawing/2014/main" id="{602A15AE-33D2-226A-7020-017CFD5817E8}"/>
                          </a:ext>
                        </a:extLst>
                      </p:cNvPr>
                      <p:cNvSpPr/>
                      <p:nvPr/>
                    </p:nvSpPr>
                    <p:spPr>
                      <a:xfrm>
                        <a:off x="5754008" y="5584360"/>
                        <a:ext cx="443613" cy="66867"/>
                      </a:xfrm>
                      <a:custGeom>
                        <a:avLst/>
                        <a:gdLst>
                          <a:gd name="connsiteX0" fmla="*/ 0 w 443613"/>
                          <a:gd name="connsiteY0" fmla="*/ 0 h 66867"/>
                          <a:gd name="connsiteX1" fmla="*/ 2233 w 443613"/>
                          <a:gd name="connsiteY1" fmla="*/ 33952 h 66867"/>
                          <a:gd name="connsiteX2" fmla="*/ 119385 w 443613"/>
                          <a:gd name="connsiteY2" fmla="*/ 66855 h 66867"/>
                          <a:gd name="connsiteX3" fmla="*/ 337891 w 443613"/>
                          <a:gd name="connsiteY3" fmla="*/ 58956 h 66867"/>
                          <a:gd name="connsiteX4" fmla="*/ 437270 w 443613"/>
                          <a:gd name="connsiteY4" fmla="*/ 56981 h 66867"/>
                          <a:gd name="connsiteX5" fmla="*/ 442542 w 443613"/>
                          <a:gd name="connsiteY5" fmla="*/ 17485 h 66867"/>
                          <a:gd name="connsiteX6" fmla="*/ 0 w 443613"/>
                          <a:gd name="connsiteY6" fmla="*/ 0 h 6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613" h="66867">
                            <a:moveTo>
                              <a:pt x="0" y="0"/>
                            </a:moveTo>
                            <a:cubicBezTo>
                              <a:pt x="0" y="0"/>
                              <a:pt x="1580" y="26706"/>
                              <a:pt x="2233" y="33952"/>
                            </a:cubicBezTo>
                            <a:cubicBezTo>
                              <a:pt x="2886" y="41198"/>
                              <a:pt x="37111" y="67524"/>
                              <a:pt x="119385" y="66855"/>
                            </a:cubicBezTo>
                            <a:cubicBezTo>
                              <a:pt x="201659" y="66202"/>
                              <a:pt x="290511" y="59609"/>
                              <a:pt x="337891" y="58956"/>
                            </a:cubicBezTo>
                            <a:cubicBezTo>
                              <a:pt x="385287" y="58303"/>
                              <a:pt x="429629" y="61052"/>
                              <a:pt x="437270" y="56981"/>
                            </a:cubicBezTo>
                            <a:cubicBezTo>
                              <a:pt x="447145" y="51710"/>
                              <a:pt x="442542" y="17485"/>
                              <a:pt x="442542" y="17485"/>
                            </a:cubicBezTo>
                            <a:lnTo>
                              <a:pt x="0" y="0"/>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9" name="Freeform: Shape 1968">
                        <a:extLst>
                          <a:ext uri="{FF2B5EF4-FFF2-40B4-BE49-F238E27FC236}">
                            <a16:creationId xmlns:a16="http://schemas.microsoft.com/office/drawing/2014/main" id="{887966B0-56AB-3738-B668-39B5008B0455}"/>
                          </a:ext>
                        </a:extLst>
                      </p:cNvPr>
                      <p:cNvSpPr/>
                      <p:nvPr/>
                    </p:nvSpPr>
                    <p:spPr>
                      <a:xfrm>
                        <a:off x="5753604" y="5458157"/>
                        <a:ext cx="446268" cy="168000"/>
                      </a:xfrm>
                      <a:custGeom>
                        <a:avLst/>
                        <a:gdLst>
                          <a:gd name="connsiteX0" fmla="*/ 424185 w 446268"/>
                          <a:gd name="connsiteY0" fmla="*/ 1212 h 168000"/>
                          <a:gd name="connsiteX1" fmla="*/ 422727 w 446268"/>
                          <a:gd name="connsiteY1" fmla="*/ 57 h 168000"/>
                          <a:gd name="connsiteX2" fmla="*/ 403465 w 446268"/>
                          <a:gd name="connsiteY2" fmla="*/ 6149 h 168000"/>
                          <a:gd name="connsiteX3" fmla="*/ 310663 w 446268"/>
                          <a:gd name="connsiteY3" fmla="*/ 37078 h 168000"/>
                          <a:gd name="connsiteX4" fmla="*/ 248791 w 446268"/>
                          <a:gd name="connsiteY4" fmla="*/ 224 h 168000"/>
                          <a:gd name="connsiteX5" fmla="*/ 141512 w 446268"/>
                          <a:gd name="connsiteY5" fmla="*/ 41027 h 168000"/>
                          <a:gd name="connsiteX6" fmla="*/ 9 w 446268"/>
                          <a:gd name="connsiteY6" fmla="*/ 120673 h 168000"/>
                          <a:gd name="connsiteX7" fmla="*/ 102685 w 446268"/>
                          <a:gd name="connsiteY7" fmla="*/ 167400 h 168000"/>
                          <a:gd name="connsiteX8" fmla="*/ 341607 w 446268"/>
                          <a:gd name="connsiteY8" fmla="*/ 158848 h 168000"/>
                          <a:gd name="connsiteX9" fmla="*/ 442961 w 446268"/>
                          <a:gd name="connsiteY9" fmla="*/ 143702 h 168000"/>
                          <a:gd name="connsiteX10" fmla="*/ 441639 w 446268"/>
                          <a:gd name="connsiteY10" fmla="*/ 63403 h 168000"/>
                          <a:gd name="connsiteX11" fmla="*/ 424200 w 446268"/>
                          <a:gd name="connsiteY11" fmla="*/ 1212 h 1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268" h="168000">
                            <a:moveTo>
                              <a:pt x="424185" y="1212"/>
                            </a:moveTo>
                            <a:cubicBezTo>
                              <a:pt x="423972" y="574"/>
                              <a:pt x="423395" y="118"/>
                              <a:pt x="422727" y="57"/>
                            </a:cubicBezTo>
                            <a:cubicBezTo>
                              <a:pt x="420114" y="-171"/>
                              <a:pt x="413187" y="-4"/>
                              <a:pt x="403465" y="6149"/>
                            </a:cubicBezTo>
                            <a:cubicBezTo>
                              <a:pt x="390963" y="14048"/>
                              <a:pt x="360019" y="35103"/>
                              <a:pt x="310663" y="37078"/>
                            </a:cubicBezTo>
                            <a:cubicBezTo>
                              <a:pt x="310663" y="37078"/>
                              <a:pt x="278413" y="224"/>
                              <a:pt x="248791" y="224"/>
                            </a:cubicBezTo>
                            <a:cubicBezTo>
                              <a:pt x="240892" y="2199"/>
                              <a:pt x="210616" y="21947"/>
                              <a:pt x="141512" y="41027"/>
                            </a:cubicBezTo>
                            <a:cubicBezTo>
                              <a:pt x="72409" y="60107"/>
                              <a:pt x="662" y="90382"/>
                              <a:pt x="9" y="120673"/>
                            </a:cubicBezTo>
                            <a:cubicBezTo>
                              <a:pt x="-644" y="150949"/>
                              <a:pt x="33581" y="164772"/>
                              <a:pt x="102685" y="167400"/>
                            </a:cubicBezTo>
                            <a:cubicBezTo>
                              <a:pt x="171788" y="170028"/>
                              <a:pt x="248138" y="163451"/>
                              <a:pt x="341607" y="158848"/>
                            </a:cubicBezTo>
                            <a:cubicBezTo>
                              <a:pt x="435061" y="154245"/>
                              <a:pt x="439680" y="153577"/>
                              <a:pt x="442961" y="143702"/>
                            </a:cubicBezTo>
                            <a:cubicBezTo>
                              <a:pt x="446257" y="133828"/>
                              <a:pt x="448885" y="95000"/>
                              <a:pt x="441639" y="63403"/>
                            </a:cubicBezTo>
                            <a:cubicBezTo>
                              <a:pt x="434576" y="32566"/>
                              <a:pt x="428681" y="14701"/>
                              <a:pt x="424200" y="1212"/>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0" name="Freeform: Shape 1969">
                        <a:extLst>
                          <a:ext uri="{FF2B5EF4-FFF2-40B4-BE49-F238E27FC236}">
                            <a16:creationId xmlns:a16="http://schemas.microsoft.com/office/drawing/2014/main" id="{01A5CE01-604D-BF5D-6A3B-94DC9681DA62}"/>
                          </a:ext>
                        </a:extLst>
                      </p:cNvPr>
                      <p:cNvSpPr/>
                      <p:nvPr/>
                    </p:nvSpPr>
                    <p:spPr>
                      <a:xfrm>
                        <a:off x="5842829" y="5458382"/>
                        <a:ext cx="221437" cy="77417"/>
                      </a:xfrm>
                      <a:custGeom>
                        <a:avLst/>
                        <a:gdLst>
                          <a:gd name="connsiteX0" fmla="*/ 159565 w 221437"/>
                          <a:gd name="connsiteY0" fmla="*/ 0 h 77417"/>
                          <a:gd name="connsiteX1" fmla="*/ 52287 w 221437"/>
                          <a:gd name="connsiteY1" fmla="*/ 40803 h 77417"/>
                          <a:gd name="connsiteX2" fmla="*/ 0 w 221437"/>
                          <a:gd name="connsiteY2" fmla="*/ 57452 h 77417"/>
                          <a:gd name="connsiteX3" fmla="*/ 98361 w 221437"/>
                          <a:gd name="connsiteY3" fmla="*/ 65822 h 77417"/>
                          <a:gd name="connsiteX4" fmla="*/ 221438 w 221437"/>
                          <a:gd name="connsiteY4" fmla="*/ 36868 h 77417"/>
                          <a:gd name="connsiteX5" fmla="*/ 159565 w 221437"/>
                          <a:gd name="connsiteY5" fmla="*/ 15 h 7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437" h="77417">
                            <a:moveTo>
                              <a:pt x="159565" y="0"/>
                            </a:moveTo>
                            <a:cubicBezTo>
                              <a:pt x="151666" y="1975"/>
                              <a:pt x="121390" y="21723"/>
                              <a:pt x="52287" y="40803"/>
                            </a:cubicBezTo>
                            <a:cubicBezTo>
                              <a:pt x="34620" y="45679"/>
                              <a:pt x="16786" y="51300"/>
                              <a:pt x="0" y="57452"/>
                            </a:cubicBezTo>
                            <a:cubicBezTo>
                              <a:pt x="33800" y="88654"/>
                              <a:pt x="51953" y="76623"/>
                              <a:pt x="98361" y="65822"/>
                            </a:cubicBezTo>
                            <a:cubicBezTo>
                              <a:pt x="146410" y="54626"/>
                              <a:pt x="221438" y="36868"/>
                              <a:pt x="221438" y="36868"/>
                            </a:cubicBezTo>
                            <a:cubicBezTo>
                              <a:pt x="221438" y="36868"/>
                              <a:pt x="189188" y="15"/>
                              <a:pt x="159565" y="15"/>
                            </a:cubicBezTo>
                            <a:close/>
                          </a:path>
                        </a:pathLst>
                      </a:custGeom>
                      <a:solidFill>
                        <a:srgbClr val="6EC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1941" name="Graphic 3200">
                <a:extLst>
                  <a:ext uri="{FF2B5EF4-FFF2-40B4-BE49-F238E27FC236}">
                    <a16:creationId xmlns:a16="http://schemas.microsoft.com/office/drawing/2014/main" id="{32ADD533-B37D-7DC3-1700-63B5B6664B0F}"/>
                  </a:ext>
                </a:extLst>
              </p:cNvPr>
              <p:cNvGrpSpPr/>
              <p:nvPr/>
            </p:nvGrpSpPr>
            <p:grpSpPr>
              <a:xfrm>
                <a:off x="5716395" y="3257273"/>
                <a:ext cx="1098095" cy="1541046"/>
                <a:chOff x="5716395" y="3257273"/>
                <a:chExt cx="1098095" cy="1541046"/>
              </a:xfrm>
            </p:grpSpPr>
            <p:grpSp>
              <p:nvGrpSpPr>
                <p:cNvPr id="1942" name="Graphic 3200">
                  <a:extLst>
                    <a:ext uri="{FF2B5EF4-FFF2-40B4-BE49-F238E27FC236}">
                      <a16:creationId xmlns:a16="http://schemas.microsoft.com/office/drawing/2014/main" id="{788E7B22-3FB0-1860-9888-468B3E0A7612}"/>
                    </a:ext>
                  </a:extLst>
                </p:cNvPr>
                <p:cNvGrpSpPr/>
                <p:nvPr/>
              </p:nvGrpSpPr>
              <p:grpSpPr>
                <a:xfrm>
                  <a:off x="6219189" y="3257273"/>
                  <a:ext cx="559513" cy="1137916"/>
                  <a:chOff x="6219189" y="3257273"/>
                  <a:chExt cx="559513" cy="1137916"/>
                </a:xfrm>
              </p:grpSpPr>
              <p:grpSp>
                <p:nvGrpSpPr>
                  <p:cNvPr id="1954" name="Graphic 3200">
                    <a:extLst>
                      <a:ext uri="{FF2B5EF4-FFF2-40B4-BE49-F238E27FC236}">
                        <a16:creationId xmlns:a16="http://schemas.microsoft.com/office/drawing/2014/main" id="{1E571BBB-0EDB-E36E-A4D7-570CB1249841}"/>
                      </a:ext>
                    </a:extLst>
                  </p:cNvPr>
                  <p:cNvGrpSpPr/>
                  <p:nvPr/>
                </p:nvGrpSpPr>
                <p:grpSpPr>
                  <a:xfrm>
                    <a:off x="6224168" y="3257273"/>
                    <a:ext cx="554534" cy="1137916"/>
                    <a:chOff x="6224168" y="3257273"/>
                    <a:chExt cx="554534" cy="1137916"/>
                  </a:xfrm>
                </p:grpSpPr>
                <p:sp>
                  <p:nvSpPr>
                    <p:cNvPr id="1956" name="Freeform: Shape 1955">
                      <a:extLst>
                        <a:ext uri="{FF2B5EF4-FFF2-40B4-BE49-F238E27FC236}">
                          <a16:creationId xmlns:a16="http://schemas.microsoft.com/office/drawing/2014/main" id="{204CAAD2-1720-FF00-4BF6-6D13AFF66954}"/>
                        </a:ext>
                      </a:extLst>
                    </p:cNvPr>
                    <p:cNvSpPr/>
                    <p:nvPr/>
                  </p:nvSpPr>
                  <p:spPr>
                    <a:xfrm>
                      <a:off x="6224168" y="3450270"/>
                      <a:ext cx="554534" cy="944919"/>
                    </a:xfrm>
                    <a:custGeom>
                      <a:avLst/>
                      <a:gdLst>
                        <a:gd name="connsiteX0" fmla="*/ 263500 w 554534"/>
                        <a:gd name="connsiteY0" fmla="*/ 3717 h 944919"/>
                        <a:gd name="connsiteX1" fmla="*/ 475110 w 554534"/>
                        <a:gd name="connsiteY1" fmla="*/ 48059 h 944919"/>
                        <a:gd name="connsiteX2" fmla="*/ 536800 w 554534"/>
                        <a:gd name="connsiteY2" fmla="*/ 415300 h 944919"/>
                        <a:gd name="connsiteX3" fmla="*/ 519604 w 554534"/>
                        <a:gd name="connsiteY3" fmla="*/ 744684 h 944919"/>
                        <a:gd name="connsiteX4" fmla="*/ 280499 w 554534"/>
                        <a:gd name="connsiteY4" fmla="*/ 944566 h 944919"/>
                        <a:gd name="connsiteX5" fmla="*/ 54291 w 554534"/>
                        <a:gd name="connsiteY5" fmla="*/ 797928 h 944919"/>
                        <a:gd name="connsiteX6" fmla="*/ 12683 w 554534"/>
                        <a:gd name="connsiteY6" fmla="*/ 381560 h 944919"/>
                        <a:gd name="connsiteX7" fmla="*/ 84825 w 554534"/>
                        <a:gd name="connsiteY7" fmla="*/ 51584 h 944919"/>
                        <a:gd name="connsiteX8" fmla="*/ 263500 w 554534"/>
                        <a:gd name="connsiteY8" fmla="*/ 3702 h 94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534" h="944919">
                          <a:moveTo>
                            <a:pt x="263500" y="3717"/>
                          </a:moveTo>
                          <a:cubicBezTo>
                            <a:pt x="263500" y="3717"/>
                            <a:pt x="374698" y="-19039"/>
                            <a:pt x="475110" y="48059"/>
                          </a:cubicBezTo>
                          <a:cubicBezTo>
                            <a:pt x="575507" y="115157"/>
                            <a:pt x="561181" y="261811"/>
                            <a:pt x="536800" y="415300"/>
                          </a:cubicBezTo>
                          <a:cubicBezTo>
                            <a:pt x="519087" y="526785"/>
                            <a:pt x="511948" y="616518"/>
                            <a:pt x="519604" y="744684"/>
                          </a:cubicBezTo>
                          <a:cubicBezTo>
                            <a:pt x="525452" y="842665"/>
                            <a:pt x="458658" y="938003"/>
                            <a:pt x="280499" y="944566"/>
                          </a:cubicBezTo>
                          <a:cubicBezTo>
                            <a:pt x="102340" y="951144"/>
                            <a:pt x="63679" y="864616"/>
                            <a:pt x="54291" y="797928"/>
                          </a:cubicBezTo>
                          <a:cubicBezTo>
                            <a:pt x="42351" y="713117"/>
                            <a:pt x="32720" y="482945"/>
                            <a:pt x="12683" y="381560"/>
                          </a:cubicBezTo>
                          <a:cubicBezTo>
                            <a:pt x="-7354" y="280192"/>
                            <a:pt x="-16149" y="94452"/>
                            <a:pt x="84825" y="51584"/>
                          </a:cubicBezTo>
                          <a:cubicBezTo>
                            <a:pt x="185799" y="8715"/>
                            <a:pt x="209694" y="9611"/>
                            <a:pt x="263500" y="370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57" name="Graphic 3200">
                      <a:extLst>
                        <a:ext uri="{FF2B5EF4-FFF2-40B4-BE49-F238E27FC236}">
                          <a16:creationId xmlns:a16="http://schemas.microsoft.com/office/drawing/2014/main" id="{ABC840C6-A8E2-4C06-4281-984E4E0D3A29}"/>
                        </a:ext>
                      </a:extLst>
                    </p:cNvPr>
                    <p:cNvGrpSpPr/>
                    <p:nvPr/>
                  </p:nvGrpSpPr>
                  <p:grpSpPr>
                    <a:xfrm>
                      <a:off x="6391492" y="3257273"/>
                      <a:ext cx="176961" cy="277884"/>
                      <a:chOff x="6391492" y="3257273"/>
                      <a:chExt cx="176961" cy="277884"/>
                    </a:xfrm>
                  </p:grpSpPr>
                  <p:sp>
                    <p:nvSpPr>
                      <p:cNvPr id="1958" name="Freeform: Shape 1957">
                        <a:extLst>
                          <a:ext uri="{FF2B5EF4-FFF2-40B4-BE49-F238E27FC236}">
                            <a16:creationId xmlns:a16="http://schemas.microsoft.com/office/drawing/2014/main" id="{511A7158-A762-C289-F49E-3A81DAB487DC}"/>
                          </a:ext>
                        </a:extLst>
                      </p:cNvPr>
                      <p:cNvSpPr/>
                      <p:nvPr/>
                    </p:nvSpPr>
                    <p:spPr>
                      <a:xfrm>
                        <a:off x="6391492" y="3257273"/>
                        <a:ext cx="176961" cy="277884"/>
                      </a:xfrm>
                      <a:custGeom>
                        <a:avLst/>
                        <a:gdLst>
                          <a:gd name="connsiteX0" fmla="*/ 19523 w 176961"/>
                          <a:gd name="connsiteY0" fmla="*/ 97927 h 277884"/>
                          <a:gd name="connsiteX1" fmla="*/ 3830 w 176961"/>
                          <a:gd name="connsiteY1" fmla="*/ 219956 h 277884"/>
                          <a:gd name="connsiteX2" fmla="*/ 126937 w 176961"/>
                          <a:gd name="connsiteY2" fmla="*/ 268278 h 277884"/>
                          <a:gd name="connsiteX3" fmla="*/ 169183 w 176961"/>
                          <a:gd name="connsiteY3" fmla="*/ 175249 h 277884"/>
                          <a:gd name="connsiteX4" fmla="*/ 158322 w 176961"/>
                          <a:gd name="connsiteY4" fmla="*/ 49590 h 277884"/>
                          <a:gd name="connsiteX5" fmla="*/ 19523 w 176961"/>
                          <a:gd name="connsiteY5" fmla="*/ 97912 h 2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961" h="277884">
                            <a:moveTo>
                              <a:pt x="19523" y="97927"/>
                            </a:moveTo>
                            <a:cubicBezTo>
                              <a:pt x="19523" y="97927"/>
                              <a:pt x="27969" y="171634"/>
                              <a:pt x="3830" y="219956"/>
                            </a:cubicBezTo>
                            <a:cubicBezTo>
                              <a:pt x="-20308" y="268278"/>
                              <a:pt x="75516" y="292735"/>
                              <a:pt x="126937" y="268278"/>
                            </a:cubicBezTo>
                            <a:cubicBezTo>
                              <a:pt x="175214" y="245325"/>
                              <a:pt x="186805" y="218255"/>
                              <a:pt x="169183" y="175249"/>
                            </a:cubicBezTo>
                            <a:cubicBezTo>
                              <a:pt x="149876" y="128127"/>
                              <a:pt x="151076" y="126927"/>
                              <a:pt x="158322" y="49590"/>
                            </a:cubicBezTo>
                            <a:cubicBezTo>
                              <a:pt x="165568" y="-27732"/>
                              <a:pt x="-985" y="-16855"/>
                              <a:pt x="19523" y="9791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9" name="Freeform: Shape 1958">
                        <a:extLst>
                          <a:ext uri="{FF2B5EF4-FFF2-40B4-BE49-F238E27FC236}">
                            <a16:creationId xmlns:a16="http://schemas.microsoft.com/office/drawing/2014/main" id="{989B86B7-E17E-2F13-D9D1-974D3D3347A4}"/>
                          </a:ext>
                        </a:extLst>
                      </p:cNvPr>
                      <p:cNvSpPr/>
                      <p:nvPr/>
                    </p:nvSpPr>
                    <p:spPr>
                      <a:xfrm>
                        <a:off x="6406245" y="3257293"/>
                        <a:ext cx="139634" cy="188596"/>
                      </a:xfrm>
                      <a:custGeom>
                        <a:avLst/>
                        <a:gdLst>
                          <a:gd name="connsiteX0" fmla="*/ 120023 w 139634"/>
                          <a:gd name="connsiteY0" fmla="*/ 77673 h 188596"/>
                          <a:gd name="connsiteX1" fmla="*/ 139635 w 139634"/>
                          <a:gd name="connsiteY1" fmla="*/ 26327 h 188596"/>
                          <a:gd name="connsiteX2" fmla="*/ 4770 w 139634"/>
                          <a:gd name="connsiteY2" fmla="*/ 97907 h 188596"/>
                          <a:gd name="connsiteX3" fmla="*/ 0 w 139634"/>
                          <a:gd name="connsiteY3" fmla="*/ 188597 h 188596"/>
                          <a:gd name="connsiteX4" fmla="*/ 120023 w 139634"/>
                          <a:gd name="connsiteY4" fmla="*/ 77673 h 1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34" h="188596">
                            <a:moveTo>
                              <a:pt x="120023" y="77673"/>
                            </a:moveTo>
                            <a:cubicBezTo>
                              <a:pt x="128530" y="61221"/>
                              <a:pt x="135047" y="43903"/>
                              <a:pt x="139635" y="26327"/>
                            </a:cubicBezTo>
                            <a:cubicBezTo>
                              <a:pt x="114752" y="-23818"/>
                              <a:pt x="-13368" y="-3599"/>
                              <a:pt x="4770" y="97907"/>
                            </a:cubicBezTo>
                            <a:cubicBezTo>
                              <a:pt x="4770" y="97907"/>
                              <a:pt x="10163" y="145014"/>
                              <a:pt x="0" y="188597"/>
                            </a:cubicBezTo>
                            <a:cubicBezTo>
                              <a:pt x="48504" y="164170"/>
                              <a:pt x="95217" y="125676"/>
                              <a:pt x="120023" y="77673"/>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955" name="Freeform: Shape 1954">
                    <a:extLst>
                      <a:ext uri="{FF2B5EF4-FFF2-40B4-BE49-F238E27FC236}">
                        <a16:creationId xmlns:a16="http://schemas.microsoft.com/office/drawing/2014/main" id="{0348F9F9-E911-7E0B-0916-F05C55A97A2A}"/>
                      </a:ext>
                    </a:extLst>
                  </p:cNvPr>
                  <p:cNvSpPr/>
                  <p:nvPr/>
                </p:nvSpPr>
                <p:spPr>
                  <a:xfrm>
                    <a:off x="6219189" y="3445601"/>
                    <a:ext cx="559081" cy="847022"/>
                  </a:xfrm>
                  <a:custGeom>
                    <a:avLst/>
                    <a:gdLst>
                      <a:gd name="connsiteX0" fmla="*/ 166989 w 559081"/>
                      <a:gd name="connsiteY0" fmla="*/ 24868 h 847022"/>
                      <a:gd name="connsiteX1" fmla="*/ 188028 w 559081"/>
                      <a:gd name="connsiteY1" fmla="*/ 87029 h 847022"/>
                      <a:gd name="connsiteX2" fmla="*/ 351088 w 559081"/>
                      <a:gd name="connsiteY2" fmla="*/ 0 h 847022"/>
                      <a:gd name="connsiteX3" fmla="*/ 515666 w 559081"/>
                      <a:gd name="connsiteY3" fmla="*/ 85084 h 847022"/>
                      <a:gd name="connsiteX4" fmla="*/ 556772 w 559081"/>
                      <a:gd name="connsiteY4" fmla="*/ 288962 h 847022"/>
                      <a:gd name="connsiteX5" fmla="*/ 531844 w 559081"/>
                      <a:gd name="connsiteY5" fmla="*/ 581979 h 847022"/>
                      <a:gd name="connsiteX6" fmla="*/ 554797 w 559081"/>
                      <a:gd name="connsiteY6" fmla="*/ 827768 h 847022"/>
                      <a:gd name="connsiteX7" fmla="*/ 29739 w 559081"/>
                      <a:gd name="connsiteY7" fmla="*/ 815342 h 847022"/>
                      <a:gd name="connsiteX8" fmla="*/ 20169 w 559081"/>
                      <a:gd name="connsiteY8" fmla="*/ 573366 h 847022"/>
                      <a:gd name="connsiteX9" fmla="*/ 42165 w 559081"/>
                      <a:gd name="connsiteY9" fmla="*/ 90386 h 847022"/>
                      <a:gd name="connsiteX10" fmla="*/ 166973 w 559081"/>
                      <a:gd name="connsiteY10" fmla="*/ 24868 h 84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9081" h="847022">
                        <a:moveTo>
                          <a:pt x="166989" y="24868"/>
                        </a:moveTo>
                        <a:cubicBezTo>
                          <a:pt x="166989" y="24868"/>
                          <a:pt x="138779" y="82730"/>
                          <a:pt x="188028" y="87029"/>
                        </a:cubicBezTo>
                        <a:cubicBezTo>
                          <a:pt x="237277" y="91328"/>
                          <a:pt x="311880" y="63604"/>
                          <a:pt x="351088" y="0"/>
                        </a:cubicBezTo>
                        <a:cubicBezTo>
                          <a:pt x="351088" y="0"/>
                          <a:pt x="461146" y="20994"/>
                          <a:pt x="515666" y="85084"/>
                        </a:cubicBezTo>
                        <a:cubicBezTo>
                          <a:pt x="570186" y="149160"/>
                          <a:pt x="558686" y="242097"/>
                          <a:pt x="556772" y="288962"/>
                        </a:cubicBezTo>
                        <a:cubicBezTo>
                          <a:pt x="554858" y="335826"/>
                          <a:pt x="532801" y="499720"/>
                          <a:pt x="531844" y="581979"/>
                        </a:cubicBezTo>
                        <a:cubicBezTo>
                          <a:pt x="530887" y="664222"/>
                          <a:pt x="554797" y="827768"/>
                          <a:pt x="554797" y="827768"/>
                        </a:cubicBezTo>
                        <a:cubicBezTo>
                          <a:pt x="554797" y="827768"/>
                          <a:pt x="266915" y="878460"/>
                          <a:pt x="29739" y="815342"/>
                        </a:cubicBezTo>
                        <a:cubicBezTo>
                          <a:pt x="29739" y="815342"/>
                          <a:pt x="30696" y="691004"/>
                          <a:pt x="20169" y="573366"/>
                        </a:cubicBezTo>
                        <a:cubicBezTo>
                          <a:pt x="9641" y="455727"/>
                          <a:pt x="-29566" y="175501"/>
                          <a:pt x="42165" y="90386"/>
                        </a:cubicBezTo>
                        <a:cubicBezTo>
                          <a:pt x="46950" y="82730"/>
                          <a:pt x="89029" y="42565"/>
                          <a:pt x="166973" y="24868"/>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43" name="Graphic 3200">
                  <a:extLst>
                    <a:ext uri="{FF2B5EF4-FFF2-40B4-BE49-F238E27FC236}">
                      <a16:creationId xmlns:a16="http://schemas.microsoft.com/office/drawing/2014/main" id="{1CC29EA3-539C-2504-F230-0A417252C214}"/>
                    </a:ext>
                  </a:extLst>
                </p:cNvPr>
                <p:cNvGrpSpPr/>
                <p:nvPr/>
              </p:nvGrpSpPr>
              <p:grpSpPr>
                <a:xfrm>
                  <a:off x="5716395" y="3408909"/>
                  <a:ext cx="1098095" cy="1389410"/>
                  <a:chOff x="5716395" y="3408909"/>
                  <a:chExt cx="1098095" cy="1389410"/>
                </a:xfrm>
              </p:grpSpPr>
              <p:grpSp>
                <p:nvGrpSpPr>
                  <p:cNvPr id="1944" name="Graphic 3200">
                    <a:extLst>
                      <a:ext uri="{FF2B5EF4-FFF2-40B4-BE49-F238E27FC236}">
                        <a16:creationId xmlns:a16="http://schemas.microsoft.com/office/drawing/2014/main" id="{A08C7BCC-A20A-B4D0-517A-2ECF23C1E36D}"/>
                      </a:ext>
                    </a:extLst>
                  </p:cNvPr>
                  <p:cNvGrpSpPr/>
                  <p:nvPr/>
                </p:nvGrpSpPr>
                <p:grpSpPr>
                  <a:xfrm>
                    <a:off x="5716395" y="3439312"/>
                    <a:ext cx="1098095" cy="1359007"/>
                    <a:chOff x="5716395" y="3439312"/>
                    <a:chExt cx="1098095" cy="1359007"/>
                  </a:xfrm>
                </p:grpSpPr>
                <p:sp>
                  <p:nvSpPr>
                    <p:cNvPr id="1948" name="Freeform: Shape 1947">
                      <a:extLst>
                        <a:ext uri="{FF2B5EF4-FFF2-40B4-BE49-F238E27FC236}">
                          <a16:creationId xmlns:a16="http://schemas.microsoft.com/office/drawing/2014/main" id="{F42F0386-EDE8-1D10-934E-9ACC01874B24}"/>
                        </a:ext>
                      </a:extLst>
                    </p:cNvPr>
                    <p:cNvSpPr/>
                    <p:nvPr/>
                  </p:nvSpPr>
                  <p:spPr>
                    <a:xfrm>
                      <a:off x="5716395" y="3439312"/>
                      <a:ext cx="1098095" cy="1359007"/>
                    </a:xfrm>
                    <a:custGeom>
                      <a:avLst/>
                      <a:gdLst>
                        <a:gd name="connsiteX0" fmla="*/ 846863 w 1098095"/>
                        <a:gd name="connsiteY0" fmla="*/ 15 h 1359007"/>
                        <a:gd name="connsiteX1" fmla="*/ 808460 w 1098095"/>
                        <a:gd name="connsiteY1" fmla="*/ 64622 h 1359007"/>
                        <a:gd name="connsiteX2" fmla="*/ 636788 w 1098095"/>
                        <a:gd name="connsiteY2" fmla="*/ 326681 h 1359007"/>
                        <a:gd name="connsiteX3" fmla="*/ 682877 w 1098095"/>
                        <a:gd name="connsiteY3" fmla="*/ 29091 h 1359007"/>
                        <a:gd name="connsiteX4" fmla="*/ 585746 w 1098095"/>
                        <a:gd name="connsiteY4" fmla="*/ 62420 h 1359007"/>
                        <a:gd name="connsiteX5" fmla="*/ 504156 w 1098095"/>
                        <a:gd name="connsiteY5" fmla="*/ 205047 h 1359007"/>
                        <a:gd name="connsiteX6" fmla="*/ 500024 w 1098095"/>
                        <a:gd name="connsiteY6" fmla="*/ 435235 h 1359007"/>
                        <a:gd name="connsiteX7" fmla="*/ 521063 w 1098095"/>
                        <a:gd name="connsiteY7" fmla="*/ 670512 h 1359007"/>
                        <a:gd name="connsiteX8" fmla="*/ 522977 w 1098095"/>
                        <a:gd name="connsiteY8" fmla="*/ 754669 h 1359007"/>
                        <a:gd name="connsiteX9" fmla="*/ 519149 w 1098095"/>
                        <a:gd name="connsiteY9" fmla="*/ 813959 h 1359007"/>
                        <a:gd name="connsiteX10" fmla="*/ 336479 w 1098095"/>
                        <a:gd name="connsiteY10" fmla="*/ 878035 h 1359007"/>
                        <a:gd name="connsiteX11" fmla="*/ 0 w 1098095"/>
                        <a:gd name="connsiteY11" fmla="*/ 1043494 h 1359007"/>
                        <a:gd name="connsiteX12" fmla="*/ 225327 w 1098095"/>
                        <a:gd name="connsiteY12" fmla="*/ 1075228 h 1359007"/>
                        <a:gd name="connsiteX13" fmla="*/ 284192 w 1098095"/>
                        <a:gd name="connsiteY13" fmla="*/ 1051469 h 1359007"/>
                        <a:gd name="connsiteX14" fmla="*/ 374729 w 1098095"/>
                        <a:gd name="connsiteY14" fmla="*/ 1034896 h 1359007"/>
                        <a:gd name="connsiteX15" fmla="*/ 312416 w 1098095"/>
                        <a:gd name="connsiteY15" fmla="*/ 1084327 h 1359007"/>
                        <a:gd name="connsiteX16" fmla="*/ 439002 w 1098095"/>
                        <a:gd name="connsiteY16" fmla="*/ 1135642 h 1359007"/>
                        <a:gd name="connsiteX17" fmla="*/ 539809 w 1098095"/>
                        <a:gd name="connsiteY17" fmla="*/ 1346097 h 1359007"/>
                        <a:gd name="connsiteX18" fmla="*/ 579396 w 1098095"/>
                        <a:gd name="connsiteY18" fmla="*/ 1347479 h 1359007"/>
                        <a:gd name="connsiteX19" fmla="*/ 1038481 w 1098095"/>
                        <a:gd name="connsiteY19" fmla="*/ 1225208 h 1359007"/>
                        <a:gd name="connsiteX20" fmla="*/ 1087259 w 1098095"/>
                        <a:gd name="connsiteY20" fmla="*/ 946895 h 1359007"/>
                        <a:gd name="connsiteX21" fmla="*/ 1055388 w 1098095"/>
                        <a:gd name="connsiteY21" fmla="*/ 452127 h 1359007"/>
                        <a:gd name="connsiteX22" fmla="*/ 1005957 w 1098095"/>
                        <a:gd name="connsiteY22" fmla="*/ 67007 h 1359007"/>
                        <a:gd name="connsiteX23" fmla="*/ 846863 w 1098095"/>
                        <a:gd name="connsiteY23" fmla="*/ 0 h 135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98095" h="1359007">
                          <a:moveTo>
                            <a:pt x="846863" y="15"/>
                          </a:moveTo>
                          <a:cubicBezTo>
                            <a:pt x="846863" y="15"/>
                            <a:pt x="829971" y="36899"/>
                            <a:pt x="808460" y="64622"/>
                          </a:cubicBezTo>
                          <a:cubicBezTo>
                            <a:pt x="786935" y="92361"/>
                            <a:pt x="682209" y="195173"/>
                            <a:pt x="636788" y="326681"/>
                          </a:cubicBezTo>
                          <a:cubicBezTo>
                            <a:pt x="636788" y="326681"/>
                            <a:pt x="625501" y="88381"/>
                            <a:pt x="682877" y="29091"/>
                          </a:cubicBezTo>
                          <a:cubicBezTo>
                            <a:pt x="682877" y="29091"/>
                            <a:pt x="630225" y="36595"/>
                            <a:pt x="585746" y="62420"/>
                          </a:cubicBezTo>
                          <a:cubicBezTo>
                            <a:pt x="541267" y="88244"/>
                            <a:pt x="516111" y="124718"/>
                            <a:pt x="504156" y="205047"/>
                          </a:cubicBezTo>
                          <a:cubicBezTo>
                            <a:pt x="492201" y="285392"/>
                            <a:pt x="499067" y="371630"/>
                            <a:pt x="500024" y="435235"/>
                          </a:cubicBezTo>
                          <a:cubicBezTo>
                            <a:pt x="500981" y="498839"/>
                            <a:pt x="520107" y="603565"/>
                            <a:pt x="521063" y="670512"/>
                          </a:cubicBezTo>
                          <a:cubicBezTo>
                            <a:pt x="522020" y="737458"/>
                            <a:pt x="522977" y="754669"/>
                            <a:pt x="522977" y="754669"/>
                          </a:cubicBezTo>
                          <a:cubicBezTo>
                            <a:pt x="522977" y="754669"/>
                            <a:pt x="510551" y="761368"/>
                            <a:pt x="519149" y="813959"/>
                          </a:cubicBezTo>
                          <a:cubicBezTo>
                            <a:pt x="519149" y="813959"/>
                            <a:pt x="493325" y="833085"/>
                            <a:pt x="336479" y="878035"/>
                          </a:cubicBezTo>
                          <a:cubicBezTo>
                            <a:pt x="179632" y="922985"/>
                            <a:pt x="28437" y="960567"/>
                            <a:pt x="0" y="1043494"/>
                          </a:cubicBezTo>
                          <a:cubicBezTo>
                            <a:pt x="0" y="1043494"/>
                            <a:pt x="70941" y="977900"/>
                            <a:pt x="225327" y="1075228"/>
                          </a:cubicBezTo>
                          <a:cubicBezTo>
                            <a:pt x="225327" y="1075228"/>
                            <a:pt x="237814" y="1063561"/>
                            <a:pt x="284192" y="1051469"/>
                          </a:cubicBezTo>
                          <a:cubicBezTo>
                            <a:pt x="330570" y="1039362"/>
                            <a:pt x="374729" y="1034896"/>
                            <a:pt x="374729" y="1034896"/>
                          </a:cubicBezTo>
                          <a:cubicBezTo>
                            <a:pt x="374729" y="1034896"/>
                            <a:pt x="337618" y="1052973"/>
                            <a:pt x="312416" y="1084327"/>
                          </a:cubicBezTo>
                          <a:cubicBezTo>
                            <a:pt x="312416" y="1084327"/>
                            <a:pt x="337922" y="1075532"/>
                            <a:pt x="439002" y="1135642"/>
                          </a:cubicBezTo>
                          <a:cubicBezTo>
                            <a:pt x="549941" y="1201631"/>
                            <a:pt x="539809" y="1346097"/>
                            <a:pt x="539809" y="1346097"/>
                          </a:cubicBezTo>
                          <a:cubicBezTo>
                            <a:pt x="539809" y="1346097"/>
                            <a:pt x="575493" y="1374200"/>
                            <a:pt x="579396" y="1347479"/>
                          </a:cubicBezTo>
                          <a:cubicBezTo>
                            <a:pt x="579396" y="1347479"/>
                            <a:pt x="930413" y="1365800"/>
                            <a:pt x="1038481" y="1225208"/>
                          </a:cubicBezTo>
                          <a:cubicBezTo>
                            <a:pt x="1058563" y="1200340"/>
                            <a:pt x="1123595" y="1134351"/>
                            <a:pt x="1087259" y="946895"/>
                          </a:cubicBezTo>
                          <a:cubicBezTo>
                            <a:pt x="1050922" y="759439"/>
                            <a:pt x="1046669" y="575067"/>
                            <a:pt x="1055388" y="452127"/>
                          </a:cubicBezTo>
                          <a:cubicBezTo>
                            <a:pt x="1065460" y="310335"/>
                            <a:pt x="1094824" y="141701"/>
                            <a:pt x="1005957" y="67007"/>
                          </a:cubicBezTo>
                          <a:cubicBezTo>
                            <a:pt x="922756" y="11530"/>
                            <a:pt x="846863" y="0"/>
                            <a:pt x="846863" y="0"/>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49" name="Graphic 3200">
                      <a:extLst>
                        <a:ext uri="{FF2B5EF4-FFF2-40B4-BE49-F238E27FC236}">
                          <a16:creationId xmlns:a16="http://schemas.microsoft.com/office/drawing/2014/main" id="{97EA767D-9440-DA88-832E-29AF97C8D9D3}"/>
                        </a:ext>
                      </a:extLst>
                    </p:cNvPr>
                    <p:cNvGrpSpPr/>
                    <p:nvPr/>
                  </p:nvGrpSpPr>
                  <p:grpSpPr>
                    <a:xfrm>
                      <a:off x="6091079" y="3439328"/>
                      <a:ext cx="646298" cy="1034880"/>
                      <a:chOff x="6091079" y="3439328"/>
                      <a:chExt cx="646298" cy="1034880"/>
                    </a:xfrm>
                  </p:grpSpPr>
                  <p:sp>
                    <p:nvSpPr>
                      <p:cNvPr id="1950" name="Freeform: Shape 1949">
                        <a:extLst>
                          <a:ext uri="{FF2B5EF4-FFF2-40B4-BE49-F238E27FC236}">
                            <a16:creationId xmlns:a16="http://schemas.microsoft.com/office/drawing/2014/main" id="{59FFAC24-597D-E55C-47B3-5B5D391B0923}"/>
                          </a:ext>
                        </a:extLst>
                      </p:cNvPr>
                      <p:cNvSpPr/>
                      <p:nvPr/>
                    </p:nvSpPr>
                    <p:spPr>
                      <a:xfrm>
                        <a:off x="6216404" y="3560078"/>
                        <a:ext cx="520973" cy="682288"/>
                      </a:xfrm>
                      <a:custGeom>
                        <a:avLst/>
                        <a:gdLst>
                          <a:gd name="connsiteX0" fmla="*/ 335765 w 520973"/>
                          <a:gd name="connsiteY0" fmla="*/ 32738 h 682288"/>
                          <a:gd name="connsiteX1" fmla="*/ 242386 w 520973"/>
                          <a:gd name="connsiteY1" fmla="*/ 187442 h 682288"/>
                          <a:gd name="connsiteX2" fmla="*/ 160158 w 520973"/>
                          <a:gd name="connsiteY2" fmla="*/ 385350 h 682288"/>
                          <a:gd name="connsiteX3" fmla="*/ 0 w 520973"/>
                          <a:gd name="connsiteY3" fmla="*/ 314560 h 682288"/>
                          <a:gd name="connsiteX4" fmla="*/ 21040 w 520973"/>
                          <a:gd name="connsiteY4" fmla="*/ 549746 h 682288"/>
                          <a:gd name="connsiteX5" fmla="*/ 21511 w 520973"/>
                          <a:gd name="connsiteY5" fmla="*/ 578912 h 682288"/>
                          <a:gd name="connsiteX6" fmla="*/ 256317 w 520973"/>
                          <a:gd name="connsiteY6" fmla="*/ 682210 h 682288"/>
                          <a:gd name="connsiteX7" fmla="*/ 519727 w 520973"/>
                          <a:gd name="connsiteY7" fmla="*/ 133074 h 682288"/>
                          <a:gd name="connsiteX8" fmla="*/ 335750 w 520973"/>
                          <a:gd name="connsiteY8" fmla="*/ 32723 h 68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0973" h="682288">
                            <a:moveTo>
                              <a:pt x="335765" y="32738"/>
                            </a:moveTo>
                            <a:cubicBezTo>
                              <a:pt x="335765" y="32738"/>
                              <a:pt x="291164" y="75941"/>
                              <a:pt x="242386" y="187442"/>
                            </a:cubicBezTo>
                            <a:cubicBezTo>
                              <a:pt x="193608" y="298944"/>
                              <a:pt x="160158" y="385350"/>
                              <a:pt x="160158" y="385350"/>
                            </a:cubicBezTo>
                            <a:lnTo>
                              <a:pt x="0" y="314560"/>
                            </a:lnTo>
                            <a:cubicBezTo>
                              <a:pt x="972" y="378164"/>
                              <a:pt x="20083" y="482830"/>
                              <a:pt x="21040" y="549746"/>
                            </a:cubicBezTo>
                            <a:cubicBezTo>
                              <a:pt x="21192" y="560774"/>
                              <a:pt x="21359" y="570436"/>
                              <a:pt x="21511" y="578912"/>
                            </a:cubicBezTo>
                            <a:cubicBezTo>
                              <a:pt x="86755" y="617816"/>
                              <a:pt x="195629" y="677547"/>
                              <a:pt x="256317" y="682210"/>
                            </a:cubicBezTo>
                            <a:cubicBezTo>
                              <a:pt x="346915" y="689183"/>
                              <a:pt x="507194" y="225055"/>
                              <a:pt x="519727" y="133074"/>
                            </a:cubicBezTo>
                            <a:cubicBezTo>
                              <a:pt x="532274" y="45271"/>
                              <a:pt x="448648" y="-52301"/>
                              <a:pt x="335750" y="32723"/>
                            </a:cubicBezTo>
                            <a:close/>
                          </a:path>
                        </a:pathLst>
                      </a:custGeom>
                      <a:solidFill>
                        <a:srgbClr val="81CF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1" name="Freeform: Shape 1950">
                        <a:extLst>
                          <a:ext uri="{FF2B5EF4-FFF2-40B4-BE49-F238E27FC236}">
                            <a16:creationId xmlns:a16="http://schemas.microsoft.com/office/drawing/2014/main" id="{37C7CF51-38AE-63ED-D1F6-8C881EBE8C8A}"/>
                          </a:ext>
                        </a:extLst>
                      </p:cNvPr>
                      <p:cNvSpPr/>
                      <p:nvPr/>
                    </p:nvSpPr>
                    <p:spPr>
                      <a:xfrm>
                        <a:off x="6091079" y="3765993"/>
                        <a:ext cx="262088" cy="708215"/>
                      </a:xfrm>
                      <a:custGeom>
                        <a:avLst/>
                        <a:gdLst>
                          <a:gd name="connsiteX0" fmla="*/ 262089 w 262088"/>
                          <a:gd name="connsiteY0" fmla="*/ 15 h 708215"/>
                          <a:gd name="connsiteX1" fmla="*/ 257866 w 262088"/>
                          <a:gd name="connsiteY1" fmla="*/ 26751 h 708215"/>
                          <a:gd name="connsiteX2" fmla="*/ 257456 w 262088"/>
                          <a:gd name="connsiteY2" fmla="*/ 30108 h 708215"/>
                          <a:gd name="connsiteX3" fmla="*/ 257106 w 262088"/>
                          <a:gd name="connsiteY3" fmla="*/ 33481 h 708215"/>
                          <a:gd name="connsiteX4" fmla="*/ 256407 w 262088"/>
                          <a:gd name="connsiteY4" fmla="*/ 40210 h 708215"/>
                          <a:gd name="connsiteX5" fmla="*/ 255283 w 262088"/>
                          <a:gd name="connsiteY5" fmla="*/ 53700 h 708215"/>
                          <a:gd name="connsiteX6" fmla="*/ 253050 w 262088"/>
                          <a:gd name="connsiteY6" fmla="*/ 107779 h 708215"/>
                          <a:gd name="connsiteX7" fmla="*/ 252974 w 262088"/>
                          <a:gd name="connsiteY7" fmla="*/ 134850 h 708215"/>
                          <a:gd name="connsiteX8" fmla="*/ 253111 w 262088"/>
                          <a:gd name="connsiteY8" fmla="*/ 148385 h 708215"/>
                          <a:gd name="connsiteX9" fmla="*/ 253415 w 262088"/>
                          <a:gd name="connsiteY9" fmla="*/ 161920 h 708215"/>
                          <a:gd name="connsiteX10" fmla="*/ 255071 w 262088"/>
                          <a:gd name="connsiteY10" fmla="*/ 216075 h 708215"/>
                          <a:gd name="connsiteX11" fmla="*/ 260403 w 262088"/>
                          <a:gd name="connsiteY11" fmla="*/ 432774 h 708215"/>
                          <a:gd name="connsiteX12" fmla="*/ 260570 w 262088"/>
                          <a:gd name="connsiteY12" fmla="*/ 446324 h 708215"/>
                          <a:gd name="connsiteX13" fmla="*/ 260661 w 262088"/>
                          <a:gd name="connsiteY13" fmla="*/ 459874 h 708215"/>
                          <a:gd name="connsiteX14" fmla="*/ 260752 w 262088"/>
                          <a:gd name="connsiteY14" fmla="*/ 473425 h 708215"/>
                          <a:gd name="connsiteX15" fmla="*/ 260752 w 262088"/>
                          <a:gd name="connsiteY15" fmla="*/ 486975 h 708215"/>
                          <a:gd name="connsiteX16" fmla="*/ 259886 w 262088"/>
                          <a:gd name="connsiteY16" fmla="*/ 541237 h 708215"/>
                          <a:gd name="connsiteX17" fmla="*/ 259081 w 262088"/>
                          <a:gd name="connsiteY17" fmla="*/ 554848 h 708215"/>
                          <a:gd name="connsiteX18" fmla="*/ 258474 w 262088"/>
                          <a:gd name="connsiteY18" fmla="*/ 561669 h 708215"/>
                          <a:gd name="connsiteX19" fmla="*/ 257334 w 262088"/>
                          <a:gd name="connsiteY19" fmla="*/ 568520 h 708215"/>
                          <a:gd name="connsiteX20" fmla="*/ 252959 w 262088"/>
                          <a:gd name="connsiteY20" fmla="*/ 581842 h 708215"/>
                          <a:gd name="connsiteX21" fmla="*/ 245151 w 262088"/>
                          <a:gd name="connsiteY21" fmla="*/ 593524 h 708215"/>
                          <a:gd name="connsiteX22" fmla="*/ 242781 w 262088"/>
                          <a:gd name="connsiteY22" fmla="*/ 596106 h 708215"/>
                          <a:gd name="connsiteX23" fmla="*/ 240260 w 262088"/>
                          <a:gd name="connsiteY23" fmla="*/ 598522 h 708215"/>
                          <a:gd name="connsiteX24" fmla="*/ 238983 w 262088"/>
                          <a:gd name="connsiteY24" fmla="*/ 599707 h 708215"/>
                          <a:gd name="connsiteX25" fmla="*/ 237662 w 262088"/>
                          <a:gd name="connsiteY25" fmla="*/ 600816 h 708215"/>
                          <a:gd name="connsiteX26" fmla="*/ 235004 w 262088"/>
                          <a:gd name="connsiteY26" fmla="*/ 603033 h 708215"/>
                          <a:gd name="connsiteX27" fmla="*/ 223717 w 262088"/>
                          <a:gd name="connsiteY27" fmla="*/ 610872 h 708215"/>
                          <a:gd name="connsiteX28" fmla="*/ 199806 w 262088"/>
                          <a:gd name="connsiteY28" fmla="*/ 623997 h 708215"/>
                          <a:gd name="connsiteX29" fmla="*/ 150345 w 262088"/>
                          <a:gd name="connsiteY29" fmla="*/ 646343 h 708215"/>
                          <a:gd name="connsiteX30" fmla="*/ 100336 w 262088"/>
                          <a:gd name="connsiteY30" fmla="*/ 667245 h 708215"/>
                          <a:gd name="connsiteX31" fmla="*/ 0 w 262088"/>
                          <a:gd name="connsiteY31" fmla="*/ 708215 h 708215"/>
                          <a:gd name="connsiteX32" fmla="*/ 24822 w 262088"/>
                          <a:gd name="connsiteY32" fmla="*/ 697339 h 708215"/>
                          <a:gd name="connsiteX33" fmla="*/ 49690 w 262088"/>
                          <a:gd name="connsiteY33" fmla="*/ 686583 h 708215"/>
                          <a:gd name="connsiteX34" fmla="*/ 99455 w 262088"/>
                          <a:gd name="connsiteY34" fmla="*/ 665134 h 708215"/>
                          <a:gd name="connsiteX35" fmla="*/ 149175 w 262088"/>
                          <a:gd name="connsiteY35" fmla="*/ 643639 h 708215"/>
                          <a:gd name="connsiteX36" fmla="*/ 198196 w 262088"/>
                          <a:gd name="connsiteY36" fmla="*/ 620792 h 708215"/>
                          <a:gd name="connsiteX37" fmla="*/ 221620 w 262088"/>
                          <a:gd name="connsiteY37" fmla="*/ 607576 h 708215"/>
                          <a:gd name="connsiteX38" fmla="*/ 232512 w 262088"/>
                          <a:gd name="connsiteY38" fmla="*/ 599889 h 708215"/>
                          <a:gd name="connsiteX39" fmla="*/ 235049 w 262088"/>
                          <a:gd name="connsiteY39" fmla="*/ 597762 h 708215"/>
                          <a:gd name="connsiteX40" fmla="*/ 236310 w 262088"/>
                          <a:gd name="connsiteY40" fmla="*/ 596699 h 708215"/>
                          <a:gd name="connsiteX41" fmla="*/ 237510 w 262088"/>
                          <a:gd name="connsiteY41" fmla="*/ 595560 h 708215"/>
                          <a:gd name="connsiteX42" fmla="*/ 239880 w 262088"/>
                          <a:gd name="connsiteY42" fmla="*/ 593266 h 708215"/>
                          <a:gd name="connsiteX43" fmla="*/ 242082 w 262088"/>
                          <a:gd name="connsiteY43" fmla="*/ 590835 h 708215"/>
                          <a:gd name="connsiteX44" fmla="*/ 249222 w 262088"/>
                          <a:gd name="connsiteY44" fmla="*/ 580035 h 708215"/>
                          <a:gd name="connsiteX45" fmla="*/ 253202 w 262088"/>
                          <a:gd name="connsiteY45" fmla="*/ 567654 h 708215"/>
                          <a:gd name="connsiteX46" fmla="*/ 254250 w 262088"/>
                          <a:gd name="connsiteY46" fmla="*/ 561137 h 708215"/>
                          <a:gd name="connsiteX47" fmla="*/ 254797 w 262088"/>
                          <a:gd name="connsiteY47" fmla="*/ 554468 h 708215"/>
                          <a:gd name="connsiteX48" fmla="*/ 255511 w 262088"/>
                          <a:gd name="connsiteY48" fmla="*/ 541039 h 708215"/>
                          <a:gd name="connsiteX49" fmla="*/ 256241 w 262088"/>
                          <a:gd name="connsiteY49" fmla="*/ 486960 h 708215"/>
                          <a:gd name="connsiteX50" fmla="*/ 256210 w 262088"/>
                          <a:gd name="connsiteY50" fmla="*/ 473425 h 708215"/>
                          <a:gd name="connsiteX51" fmla="*/ 256088 w 262088"/>
                          <a:gd name="connsiteY51" fmla="*/ 459890 h 708215"/>
                          <a:gd name="connsiteX52" fmla="*/ 255967 w 262088"/>
                          <a:gd name="connsiteY52" fmla="*/ 446354 h 708215"/>
                          <a:gd name="connsiteX53" fmla="*/ 255785 w 262088"/>
                          <a:gd name="connsiteY53" fmla="*/ 432819 h 708215"/>
                          <a:gd name="connsiteX54" fmla="*/ 253855 w 262088"/>
                          <a:gd name="connsiteY54" fmla="*/ 324493 h 708215"/>
                          <a:gd name="connsiteX55" fmla="*/ 251546 w 262088"/>
                          <a:gd name="connsiteY55" fmla="*/ 216151 h 708215"/>
                          <a:gd name="connsiteX56" fmla="*/ 250529 w 262088"/>
                          <a:gd name="connsiteY56" fmla="*/ 161965 h 708215"/>
                          <a:gd name="connsiteX57" fmla="*/ 250377 w 262088"/>
                          <a:gd name="connsiteY57" fmla="*/ 148400 h 708215"/>
                          <a:gd name="connsiteX58" fmla="*/ 250392 w 262088"/>
                          <a:gd name="connsiteY58" fmla="*/ 134835 h 708215"/>
                          <a:gd name="connsiteX59" fmla="*/ 250802 w 262088"/>
                          <a:gd name="connsiteY59" fmla="*/ 107719 h 708215"/>
                          <a:gd name="connsiteX60" fmla="*/ 254068 w 262088"/>
                          <a:gd name="connsiteY60" fmla="*/ 53578 h 708215"/>
                          <a:gd name="connsiteX61" fmla="*/ 255451 w 262088"/>
                          <a:gd name="connsiteY61" fmla="*/ 40089 h 708215"/>
                          <a:gd name="connsiteX62" fmla="*/ 256271 w 262088"/>
                          <a:gd name="connsiteY62" fmla="*/ 33359 h 708215"/>
                          <a:gd name="connsiteX63" fmla="*/ 257167 w 262088"/>
                          <a:gd name="connsiteY63" fmla="*/ 26645 h 708215"/>
                          <a:gd name="connsiteX64" fmla="*/ 262089 w 262088"/>
                          <a:gd name="connsiteY64" fmla="*/ 0 h 7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62088" h="708215">
                            <a:moveTo>
                              <a:pt x="262089" y="15"/>
                            </a:moveTo>
                            <a:cubicBezTo>
                              <a:pt x="260160" y="8841"/>
                              <a:pt x="258929" y="17788"/>
                              <a:pt x="257866" y="26751"/>
                            </a:cubicBezTo>
                            <a:lnTo>
                              <a:pt x="257456" y="30108"/>
                            </a:lnTo>
                            <a:lnTo>
                              <a:pt x="257106" y="33481"/>
                            </a:lnTo>
                            <a:lnTo>
                              <a:pt x="256407" y="40210"/>
                            </a:lnTo>
                            <a:cubicBezTo>
                              <a:pt x="256043" y="44707"/>
                              <a:pt x="255572" y="49188"/>
                              <a:pt x="255283" y="53700"/>
                            </a:cubicBezTo>
                            <a:cubicBezTo>
                              <a:pt x="253977" y="71701"/>
                              <a:pt x="253324" y="89748"/>
                              <a:pt x="253050" y="107779"/>
                            </a:cubicBezTo>
                            <a:cubicBezTo>
                              <a:pt x="253020" y="116803"/>
                              <a:pt x="252838" y="125826"/>
                              <a:pt x="252974" y="134850"/>
                            </a:cubicBezTo>
                            <a:cubicBezTo>
                              <a:pt x="253020" y="139361"/>
                              <a:pt x="253005" y="143873"/>
                              <a:pt x="253111" y="148385"/>
                            </a:cubicBezTo>
                            <a:lnTo>
                              <a:pt x="253415" y="161920"/>
                            </a:lnTo>
                            <a:cubicBezTo>
                              <a:pt x="253886" y="179967"/>
                              <a:pt x="254509" y="198029"/>
                              <a:pt x="255071" y="216075"/>
                            </a:cubicBezTo>
                            <a:cubicBezTo>
                              <a:pt x="257365" y="288293"/>
                              <a:pt x="259370" y="360511"/>
                              <a:pt x="260403" y="432774"/>
                            </a:cubicBezTo>
                            <a:lnTo>
                              <a:pt x="260570" y="446324"/>
                            </a:lnTo>
                            <a:lnTo>
                              <a:pt x="260661" y="459874"/>
                            </a:lnTo>
                            <a:lnTo>
                              <a:pt x="260752" y="473425"/>
                            </a:lnTo>
                            <a:lnTo>
                              <a:pt x="260752" y="486975"/>
                            </a:lnTo>
                            <a:cubicBezTo>
                              <a:pt x="260752" y="505052"/>
                              <a:pt x="260631" y="523129"/>
                              <a:pt x="259886" y="541237"/>
                            </a:cubicBezTo>
                            <a:cubicBezTo>
                              <a:pt x="259643" y="545764"/>
                              <a:pt x="259567" y="550291"/>
                              <a:pt x="259081" y="554848"/>
                            </a:cubicBezTo>
                            <a:lnTo>
                              <a:pt x="258474" y="561669"/>
                            </a:lnTo>
                            <a:cubicBezTo>
                              <a:pt x="258139" y="563947"/>
                              <a:pt x="257850" y="566241"/>
                              <a:pt x="257334" y="568520"/>
                            </a:cubicBezTo>
                            <a:cubicBezTo>
                              <a:pt x="256377" y="573062"/>
                              <a:pt x="255025" y="577604"/>
                              <a:pt x="252959" y="581842"/>
                            </a:cubicBezTo>
                            <a:cubicBezTo>
                              <a:pt x="250893" y="586081"/>
                              <a:pt x="248204" y="590000"/>
                              <a:pt x="245151" y="593524"/>
                            </a:cubicBezTo>
                            <a:lnTo>
                              <a:pt x="242781" y="596106"/>
                            </a:lnTo>
                            <a:cubicBezTo>
                              <a:pt x="241961" y="596927"/>
                              <a:pt x="241110" y="597717"/>
                              <a:pt x="240260" y="598522"/>
                            </a:cubicBezTo>
                            <a:cubicBezTo>
                              <a:pt x="239834" y="598917"/>
                              <a:pt x="239424" y="599327"/>
                              <a:pt x="238983" y="599707"/>
                            </a:cubicBezTo>
                            <a:lnTo>
                              <a:pt x="237662" y="600816"/>
                            </a:lnTo>
                            <a:cubicBezTo>
                              <a:pt x="236781" y="601560"/>
                              <a:pt x="235900" y="602304"/>
                              <a:pt x="235004" y="603033"/>
                            </a:cubicBezTo>
                            <a:cubicBezTo>
                              <a:pt x="231342" y="605829"/>
                              <a:pt x="227606" y="608487"/>
                              <a:pt x="223717" y="610872"/>
                            </a:cubicBezTo>
                            <a:cubicBezTo>
                              <a:pt x="215969" y="615703"/>
                              <a:pt x="207918" y="619941"/>
                              <a:pt x="199806" y="623997"/>
                            </a:cubicBezTo>
                            <a:cubicBezTo>
                              <a:pt x="183537" y="632003"/>
                              <a:pt x="166964" y="639249"/>
                              <a:pt x="150345" y="646343"/>
                            </a:cubicBezTo>
                            <a:cubicBezTo>
                              <a:pt x="133726" y="653437"/>
                              <a:pt x="117031" y="660364"/>
                              <a:pt x="100336" y="667245"/>
                            </a:cubicBezTo>
                            <a:lnTo>
                              <a:pt x="0" y="708215"/>
                            </a:lnTo>
                            <a:lnTo>
                              <a:pt x="24822" y="697339"/>
                            </a:lnTo>
                            <a:lnTo>
                              <a:pt x="49690" y="686583"/>
                            </a:lnTo>
                            <a:lnTo>
                              <a:pt x="99455" y="665134"/>
                            </a:lnTo>
                            <a:cubicBezTo>
                              <a:pt x="116059" y="658009"/>
                              <a:pt x="132662" y="650915"/>
                              <a:pt x="149175" y="643639"/>
                            </a:cubicBezTo>
                            <a:cubicBezTo>
                              <a:pt x="165687" y="636347"/>
                              <a:pt x="182139" y="628934"/>
                              <a:pt x="198196" y="620792"/>
                            </a:cubicBezTo>
                            <a:cubicBezTo>
                              <a:pt x="206201" y="616690"/>
                              <a:pt x="214101" y="612391"/>
                              <a:pt x="221620" y="607576"/>
                            </a:cubicBezTo>
                            <a:cubicBezTo>
                              <a:pt x="225403" y="605190"/>
                              <a:pt x="229018" y="602608"/>
                              <a:pt x="232512" y="599889"/>
                            </a:cubicBezTo>
                            <a:lnTo>
                              <a:pt x="235049" y="597762"/>
                            </a:lnTo>
                            <a:lnTo>
                              <a:pt x="236310" y="596699"/>
                            </a:lnTo>
                            <a:cubicBezTo>
                              <a:pt x="236720" y="596334"/>
                              <a:pt x="237100" y="595939"/>
                              <a:pt x="237510" y="595560"/>
                            </a:cubicBezTo>
                            <a:cubicBezTo>
                              <a:pt x="238300" y="594800"/>
                              <a:pt x="239105" y="594041"/>
                              <a:pt x="239880" y="593266"/>
                            </a:cubicBezTo>
                            <a:lnTo>
                              <a:pt x="242082" y="590835"/>
                            </a:lnTo>
                            <a:cubicBezTo>
                              <a:pt x="244908" y="587524"/>
                              <a:pt x="247354" y="583923"/>
                              <a:pt x="249222" y="580035"/>
                            </a:cubicBezTo>
                            <a:cubicBezTo>
                              <a:pt x="251106" y="576146"/>
                              <a:pt x="252321" y="571938"/>
                              <a:pt x="253202" y="567654"/>
                            </a:cubicBezTo>
                            <a:cubicBezTo>
                              <a:pt x="253673" y="565512"/>
                              <a:pt x="253931" y="563325"/>
                              <a:pt x="254250" y="561137"/>
                            </a:cubicBezTo>
                            <a:lnTo>
                              <a:pt x="254797" y="554468"/>
                            </a:lnTo>
                            <a:cubicBezTo>
                              <a:pt x="255238" y="550048"/>
                              <a:pt x="255299" y="545521"/>
                              <a:pt x="255511" y="541039"/>
                            </a:cubicBezTo>
                            <a:cubicBezTo>
                              <a:pt x="256149" y="523053"/>
                              <a:pt x="256286" y="505006"/>
                              <a:pt x="256241" y="486960"/>
                            </a:cubicBezTo>
                            <a:lnTo>
                              <a:pt x="256210" y="473425"/>
                            </a:lnTo>
                            <a:lnTo>
                              <a:pt x="256088" y="459890"/>
                            </a:lnTo>
                            <a:lnTo>
                              <a:pt x="255967" y="446354"/>
                            </a:lnTo>
                            <a:lnTo>
                              <a:pt x="255785" y="432819"/>
                            </a:lnTo>
                            <a:cubicBezTo>
                              <a:pt x="255359" y="396711"/>
                              <a:pt x="254615" y="360602"/>
                              <a:pt x="253855" y="324493"/>
                            </a:cubicBezTo>
                            <a:lnTo>
                              <a:pt x="251546" y="216151"/>
                            </a:lnTo>
                            <a:cubicBezTo>
                              <a:pt x="251197" y="198089"/>
                              <a:pt x="250787" y="180043"/>
                              <a:pt x="250529" y="161965"/>
                            </a:cubicBezTo>
                            <a:lnTo>
                              <a:pt x="250377" y="148400"/>
                            </a:lnTo>
                            <a:cubicBezTo>
                              <a:pt x="250316" y="143888"/>
                              <a:pt x="250392" y="139361"/>
                              <a:pt x="250392" y="134835"/>
                            </a:cubicBezTo>
                            <a:cubicBezTo>
                              <a:pt x="250377" y="125796"/>
                              <a:pt x="250620" y="116757"/>
                              <a:pt x="250802" y="107719"/>
                            </a:cubicBezTo>
                            <a:cubicBezTo>
                              <a:pt x="251410" y="89642"/>
                              <a:pt x="252412" y="71595"/>
                              <a:pt x="254068" y="53578"/>
                            </a:cubicBezTo>
                            <a:cubicBezTo>
                              <a:pt x="254433" y="49067"/>
                              <a:pt x="254995" y="44585"/>
                              <a:pt x="255451" y="40089"/>
                            </a:cubicBezTo>
                            <a:lnTo>
                              <a:pt x="256271" y="33359"/>
                            </a:lnTo>
                            <a:cubicBezTo>
                              <a:pt x="256544" y="31111"/>
                              <a:pt x="256833" y="28878"/>
                              <a:pt x="257167" y="26645"/>
                            </a:cubicBezTo>
                            <a:cubicBezTo>
                              <a:pt x="258474" y="17697"/>
                              <a:pt x="259917" y="8765"/>
                              <a:pt x="262089" y="0"/>
                            </a:cubicBezTo>
                            <a:close/>
                          </a:path>
                        </a:pathLst>
                      </a:custGeom>
                      <a:solidFill>
                        <a:srgbClr val="6EC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2" name="Freeform: Shape 1951">
                        <a:extLst>
                          <a:ext uri="{FF2B5EF4-FFF2-40B4-BE49-F238E27FC236}">
                            <a16:creationId xmlns:a16="http://schemas.microsoft.com/office/drawing/2014/main" id="{647931AB-F983-60D7-A851-26FE0DE13AEF}"/>
                          </a:ext>
                        </a:extLst>
                      </p:cNvPr>
                      <p:cNvSpPr/>
                      <p:nvPr/>
                    </p:nvSpPr>
                    <p:spPr>
                      <a:xfrm>
                        <a:off x="6300834" y="3439328"/>
                        <a:ext cx="333604" cy="443194"/>
                      </a:xfrm>
                      <a:custGeom>
                        <a:avLst/>
                        <a:gdLst>
                          <a:gd name="connsiteX0" fmla="*/ 208725 w 333604"/>
                          <a:gd name="connsiteY0" fmla="*/ 203893 h 443194"/>
                          <a:gd name="connsiteX1" fmla="*/ 201554 w 333604"/>
                          <a:gd name="connsiteY1" fmla="*/ 172326 h 443194"/>
                          <a:gd name="connsiteX2" fmla="*/ 333579 w 333604"/>
                          <a:gd name="connsiteY2" fmla="*/ 21267 h 443194"/>
                          <a:gd name="connsiteX3" fmla="*/ 333077 w 333604"/>
                          <a:gd name="connsiteY3" fmla="*/ 20310 h 443194"/>
                          <a:gd name="connsiteX4" fmla="*/ 262425 w 333604"/>
                          <a:gd name="connsiteY4" fmla="*/ 0 h 443194"/>
                          <a:gd name="connsiteX5" fmla="*/ 224022 w 333604"/>
                          <a:gd name="connsiteY5" fmla="*/ 64607 h 443194"/>
                          <a:gd name="connsiteX6" fmla="*/ 52349 w 333604"/>
                          <a:gd name="connsiteY6" fmla="*/ 326665 h 443194"/>
                          <a:gd name="connsiteX7" fmla="*/ 98439 w 333604"/>
                          <a:gd name="connsiteY7" fmla="*/ 29075 h 443194"/>
                          <a:gd name="connsiteX8" fmla="*/ 33315 w 333604"/>
                          <a:gd name="connsiteY8" fmla="*/ 47137 h 443194"/>
                          <a:gd name="connsiteX9" fmla="*/ 29427 w 333604"/>
                          <a:gd name="connsiteY9" fmla="*/ 140759 h 443194"/>
                          <a:gd name="connsiteX10" fmla="*/ 731 w 333604"/>
                          <a:gd name="connsiteY10" fmla="*/ 182367 h 443194"/>
                          <a:gd name="connsiteX11" fmla="*/ 41518 w 333604"/>
                          <a:gd name="connsiteY11" fmla="*/ 443195 h 443194"/>
                          <a:gd name="connsiteX12" fmla="*/ 208740 w 333604"/>
                          <a:gd name="connsiteY12" fmla="*/ 203893 h 44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604" h="443194">
                            <a:moveTo>
                              <a:pt x="208725" y="203893"/>
                            </a:moveTo>
                            <a:cubicBezTo>
                              <a:pt x="208725" y="203893"/>
                              <a:pt x="208725" y="186681"/>
                              <a:pt x="201554" y="172326"/>
                            </a:cubicBezTo>
                            <a:cubicBezTo>
                              <a:pt x="201554" y="172326"/>
                              <a:pt x="322991" y="63726"/>
                              <a:pt x="333579" y="21267"/>
                            </a:cubicBezTo>
                            <a:cubicBezTo>
                              <a:pt x="333685" y="20872"/>
                              <a:pt x="333457" y="20462"/>
                              <a:pt x="333077" y="20310"/>
                            </a:cubicBezTo>
                            <a:cubicBezTo>
                              <a:pt x="286411" y="2172"/>
                              <a:pt x="262425" y="0"/>
                              <a:pt x="262425" y="0"/>
                            </a:cubicBezTo>
                            <a:cubicBezTo>
                              <a:pt x="262425" y="0"/>
                              <a:pt x="245532" y="36884"/>
                              <a:pt x="224022" y="64607"/>
                            </a:cubicBezTo>
                            <a:cubicBezTo>
                              <a:pt x="202496" y="92346"/>
                              <a:pt x="97770" y="195158"/>
                              <a:pt x="52349" y="326665"/>
                            </a:cubicBezTo>
                            <a:cubicBezTo>
                              <a:pt x="52349" y="326665"/>
                              <a:pt x="41063" y="88366"/>
                              <a:pt x="98439" y="29075"/>
                            </a:cubicBezTo>
                            <a:cubicBezTo>
                              <a:pt x="98439" y="29075"/>
                              <a:pt x="68498" y="30382"/>
                              <a:pt x="33315" y="47137"/>
                            </a:cubicBezTo>
                            <a:cubicBezTo>
                              <a:pt x="29351" y="69757"/>
                              <a:pt x="24991" y="106154"/>
                              <a:pt x="29427" y="140759"/>
                            </a:cubicBezTo>
                            <a:cubicBezTo>
                              <a:pt x="29427" y="140759"/>
                              <a:pt x="7901" y="162269"/>
                              <a:pt x="731" y="182367"/>
                            </a:cubicBezTo>
                            <a:cubicBezTo>
                              <a:pt x="-6439" y="202449"/>
                              <a:pt x="41518" y="443195"/>
                              <a:pt x="41518" y="443195"/>
                            </a:cubicBezTo>
                            <a:cubicBezTo>
                              <a:pt x="41518" y="443195"/>
                              <a:pt x="72462" y="331557"/>
                              <a:pt x="208740" y="203893"/>
                            </a:cubicBezTo>
                            <a:close/>
                          </a:path>
                        </a:pathLst>
                      </a:custGeom>
                      <a:solidFill>
                        <a:srgbClr val="6EC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3" name="Freeform: Shape 1952">
                        <a:extLst>
                          <a:ext uri="{FF2B5EF4-FFF2-40B4-BE49-F238E27FC236}">
                            <a16:creationId xmlns:a16="http://schemas.microsoft.com/office/drawing/2014/main" id="{CB04698F-2A9A-132C-AB74-25C0F1E107E5}"/>
                          </a:ext>
                        </a:extLst>
                      </p:cNvPr>
                      <p:cNvSpPr/>
                      <p:nvPr/>
                    </p:nvSpPr>
                    <p:spPr>
                      <a:xfrm>
                        <a:off x="6229256" y="3848236"/>
                        <a:ext cx="99120" cy="55917"/>
                      </a:xfrm>
                      <a:custGeom>
                        <a:avLst/>
                        <a:gdLst>
                          <a:gd name="connsiteX0" fmla="*/ 0 w 99120"/>
                          <a:gd name="connsiteY0" fmla="*/ 0 h 55917"/>
                          <a:gd name="connsiteX1" fmla="*/ 99121 w 99120"/>
                          <a:gd name="connsiteY1" fmla="*/ 32372 h 55917"/>
                          <a:gd name="connsiteX2" fmla="*/ 99121 w 99120"/>
                          <a:gd name="connsiteY2" fmla="*/ 55918 h 55917"/>
                          <a:gd name="connsiteX3" fmla="*/ 926 w 99120"/>
                          <a:gd name="connsiteY3" fmla="*/ 20766 h 55917"/>
                          <a:gd name="connsiteX4" fmla="*/ 0 w 99120"/>
                          <a:gd name="connsiteY4" fmla="*/ 15 h 55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20" h="55917">
                            <a:moveTo>
                              <a:pt x="0" y="0"/>
                            </a:moveTo>
                            <a:cubicBezTo>
                              <a:pt x="0" y="0"/>
                              <a:pt x="35774" y="16102"/>
                              <a:pt x="99121" y="32372"/>
                            </a:cubicBezTo>
                            <a:lnTo>
                              <a:pt x="99121" y="55918"/>
                            </a:lnTo>
                            <a:cubicBezTo>
                              <a:pt x="99121" y="55918"/>
                              <a:pt x="37643" y="38889"/>
                              <a:pt x="926" y="20766"/>
                            </a:cubicBezTo>
                            <a:lnTo>
                              <a:pt x="0" y="15"/>
                            </a:lnTo>
                            <a:close/>
                          </a:path>
                        </a:pathLst>
                      </a:custGeom>
                      <a:solidFill>
                        <a:srgbClr val="6EC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945" name="Graphic 3200">
                    <a:extLst>
                      <a:ext uri="{FF2B5EF4-FFF2-40B4-BE49-F238E27FC236}">
                        <a16:creationId xmlns:a16="http://schemas.microsoft.com/office/drawing/2014/main" id="{B5F9A25B-24FC-778B-86D5-D282FAE5E1C0}"/>
                      </a:ext>
                    </a:extLst>
                  </p:cNvPr>
                  <p:cNvGrpSpPr/>
                  <p:nvPr/>
                </p:nvGrpSpPr>
                <p:grpSpPr>
                  <a:xfrm>
                    <a:off x="6261977" y="3408909"/>
                    <a:ext cx="344594" cy="592770"/>
                    <a:chOff x="6261977" y="3408909"/>
                    <a:chExt cx="344594" cy="592770"/>
                  </a:xfrm>
                  <a:solidFill>
                    <a:srgbClr val="212851"/>
                  </a:solidFill>
                </p:grpSpPr>
                <p:sp>
                  <p:nvSpPr>
                    <p:cNvPr id="1946" name="Freeform: Shape 1945">
                      <a:extLst>
                        <a:ext uri="{FF2B5EF4-FFF2-40B4-BE49-F238E27FC236}">
                          <a16:creationId xmlns:a16="http://schemas.microsoft.com/office/drawing/2014/main" id="{B1CAB460-03BF-79A8-A854-8BD38F76673A}"/>
                        </a:ext>
                      </a:extLst>
                    </p:cNvPr>
                    <p:cNvSpPr/>
                    <p:nvPr/>
                  </p:nvSpPr>
                  <p:spPr>
                    <a:xfrm>
                      <a:off x="6311426" y="3408909"/>
                      <a:ext cx="295145" cy="307592"/>
                    </a:xfrm>
                    <a:custGeom>
                      <a:avLst/>
                      <a:gdLst>
                        <a:gd name="connsiteX0" fmla="*/ 291481 w 295145"/>
                        <a:gd name="connsiteY0" fmla="*/ 38272 h 307592"/>
                        <a:gd name="connsiteX1" fmla="*/ 244115 w 295145"/>
                        <a:gd name="connsiteY1" fmla="*/ 113 h 307592"/>
                        <a:gd name="connsiteX2" fmla="*/ 240166 w 295145"/>
                        <a:gd name="connsiteY2" fmla="*/ 341 h 307592"/>
                        <a:gd name="connsiteX3" fmla="*/ 244723 w 295145"/>
                        <a:gd name="connsiteY3" fmla="*/ 12448 h 307592"/>
                        <a:gd name="connsiteX4" fmla="*/ 280148 w 295145"/>
                        <a:gd name="connsiteY4" fmla="*/ 42435 h 307592"/>
                        <a:gd name="connsiteX5" fmla="*/ 229745 w 295145"/>
                        <a:gd name="connsiteY5" fmla="*/ 165739 h 307592"/>
                        <a:gd name="connsiteX6" fmla="*/ 83228 w 295145"/>
                        <a:gd name="connsiteY6" fmla="*/ 282983 h 307592"/>
                        <a:gd name="connsiteX7" fmla="*/ 26870 w 295145"/>
                        <a:gd name="connsiteY7" fmla="*/ 290973 h 307592"/>
                        <a:gd name="connsiteX8" fmla="*/ 15522 w 295145"/>
                        <a:gd name="connsiteY8" fmla="*/ 208988 h 307592"/>
                        <a:gd name="connsiteX9" fmla="*/ 15811 w 295145"/>
                        <a:gd name="connsiteY9" fmla="*/ 207119 h 307592"/>
                        <a:gd name="connsiteX10" fmla="*/ 75952 w 295145"/>
                        <a:gd name="connsiteY10" fmla="*/ 35675 h 307592"/>
                        <a:gd name="connsiteX11" fmla="*/ 81056 w 295145"/>
                        <a:gd name="connsiteY11" fmla="*/ 28930 h 307592"/>
                        <a:gd name="connsiteX12" fmla="*/ 62675 w 295145"/>
                        <a:gd name="connsiteY12" fmla="*/ 33472 h 307592"/>
                        <a:gd name="connsiteX13" fmla="*/ 3856 w 295145"/>
                        <a:gd name="connsiteY13" fmla="*/ 205281 h 307592"/>
                        <a:gd name="connsiteX14" fmla="*/ 3567 w 295145"/>
                        <a:gd name="connsiteY14" fmla="*/ 207089 h 307592"/>
                        <a:gd name="connsiteX15" fmla="*/ 19791 w 295145"/>
                        <a:gd name="connsiteY15" fmla="*/ 300756 h 307592"/>
                        <a:gd name="connsiteX16" fmla="*/ 42745 w 295145"/>
                        <a:gd name="connsiteY16" fmla="*/ 307592 h 307592"/>
                        <a:gd name="connsiteX17" fmla="*/ 88773 w 295145"/>
                        <a:gd name="connsiteY17" fmla="*/ 293677 h 307592"/>
                        <a:gd name="connsiteX18" fmla="*/ 238890 w 295145"/>
                        <a:gd name="connsiteY18" fmla="*/ 173578 h 307592"/>
                        <a:gd name="connsiteX19" fmla="*/ 291465 w 295145"/>
                        <a:gd name="connsiteY19" fmla="*/ 38242 h 30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5145" h="307592">
                          <a:moveTo>
                            <a:pt x="291481" y="38272"/>
                          </a:moveTo>
                          <a:cubicBezTo>
                            <a:pt x="279328" y="5202"/>
                            <a:pt x="245574" y="310"/>
                            <a:pt x="244115" y="113"/>
                          </a:cubicBezTo>
                          <a:cubicBezTo>
                            <a:pt x="242961" y="-39"/>
                            <a:pt x="241153" y="-100"/>
                            <a:pt x="240166" y="341"/>
                          </a:cubicBezTo>
                          <a:cubicBezTo>
                            <a:pt x="241472" y="4062"/>
                            <a:pt x="242976" y="8042"/>
                            <a:pt x="244723" y="12448"/>
                          </a:cubicBezTo>
                          <a:cubicBezTo>
                            <a:pt x="252334" y="14286"/>
                            <a:pt x="272279" y="21016"/>
                            <a:pt x="280148" y="42435"/>
                          </a:cubicBezTo>
                          <a:cubicBezTo>
                            <a:pt x="290706" y="71146"/>
                            <a:pt x="272340" y="116080"/>
                            <a:pt x="229745" y="165739"/>
                          </a:cubicBezTo>
                          <a:cubicBezTo>
                            <a:pt x="190446" y="211555"/>
                            <a:pt x="134316" y="256475"/>
                            <a:pt x="83228" y="282983"/>
                          </a:cubicBezTo>
                          <a:cubicBezTo>
                            <a:pt x="57222" y="296487"/>
                            <a:pt x="38263" y="299176"/>
                            <a:pt x="26870" y="290973"/>
                          </a:cubicBezTo>
                          <a:cubicBezTo>
                            <a:pt x="16935" y="283818"/>
                            <a:pt x="6909" y="263797"/>
                            <a:pt x="15522" y="208988"/>
                          </a:cubicBezTo>
                          <a:lnTo>
                            <a:pt x="15811" y="207119"/>
                          </a:lnTo>
                          <a:cubicBezTo>
                            <a:pt x="21918" y="167152"/>
                            <a:pt x="50097" y="69277"/>
                            <a:pt x="75952" y="35675"/>
                          </a:cubicBezTo>
                          <a:cubicBezTo>
                            <a:pt x="76651" y="34778"/>
                            <a:pt x="78717" y="32120"/>
                            <a:pt x="81056" y="28930"/>
                          </a:cubicBezTo>
                          <a:cubicBezTo>
                            <a:pt x="75663" y="31163"/>
                            <a:pt x="69420" y="32743"/>
                            <a:pt x="62675" y="33472"/>
                          </a:cubicBezTo>
                          <a:cubicBezTo>
                            <a:pt x="36395" y="72756"/>
                            <a:pt x="10008" y="165056"/>
                            <a:pt x="3856" y="205281"/>
                          </a:cubicBezTo>
                          <a:lnTo>
                            <a:pt x="3567" y="207089"/>
                          </a:lnTo>
                          <a:cubicBezTo>
                            <a:pt x="711" y="225303"/>
                            <a:pt x="-8008" y="280750"/>
                            <a:pt x="19791" y="300756"/>
                          </a:cubicBezTo>
                          <a:cubicBezTo>
                            <a:pt x="26126" y="305313"/>
                            <a:pt x="33797" y="307592"/>
                            <a:pt x="42745" y="307592"/>
                          </a:cubicBezTo>
                          <a:cubicBezTo>
                            <a:pt x="55520" y="307592"/>
                            <a:pt x="70909" y="302944"/>
                            <a:pt x="88773" y="293677"/>
                          </a:cubicBezTo>
                          <a:cubicBezTo>
                            <a:pt x="141926" y="266090"/>
                            <a:pt x="198041" y="221201"/>
                            <a:pt x="238890" y="173578"/>
                          </a:cubicBezTo>
                          <a:cubicBezTo>
                            <a:pt x="285085" y="119726"/>
                            <a:pt x="303739" y="71662"/>
                            <a:pt x="291465" y="38242"/>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47" name="Freeform: Shape 1946">
                      <a:extLst>
                        <a:ext uri="{FF2B5EF4-FFF2-40B4-BE49-F238E27FC236}">
                          <a16:creationId xmlns:a16="http://schemas.microsoft.com/office/drawing/2014/main" id="{1876489E-C844-50C3-429A-1C57E728E7F3}"/>
                        </a:ext>
                      </a:extLst>
                    </p:cNvPr>
                    <p:cNvSpPr/>
                    <p:nvPr/>
                  </p:nvSpPr>
                  <p:spPr>
                    <a:xfrm>
                      <a:off x="6261977" y="3707037"/>
                      <a:ext cx="84051" cy="294642"/>
                    </a:xfrm>
                    <a:custGeom>
                      <a:avLst/>
                      <a:gdLst>
                        <a:gd name="connsiteX0" fmla="*/ 58181 w 84051"/>
                        <a:gd name="connsiteY0" fmla="*/ 98118 h 294642"/>
                        <a:gd name="connsiteX1" fmla="*/ 84051 w 84051"/>
                        <a:gd name="connsiteY1" fmla="*/ 4876 h 294642"/>
                        <a:gd name="connsiteX2" fmla="*/ 77261 w 84051"/>
                        <a:gd name="connsiteY2" fmla="*/ 0 h 294642"/>
                        <a:gd name="connsiteX3" fmla="*/ 49841 w 84051"/>
                        <a:gd name="connsiteY3" fmla="*/ 97556 h 294642"/>
                        <a:gd name="connsiteX4" fmla="*/ 50100 w 84051"/>
                        <a:gd name="connsiteY4" fmla="*/ 163226 h 294642"/>
                        <a:gd name="connsiteX5" fmla="*/ 36246 w 84051"/>
                        <a:gd name="connsiteY5" fmla="*/ 275214 h 294642"/>
                        <a:gd name="connsiteX6" fmla="*/ 22513 w 84051"/>
                        <a:gd name="connsiteY6" fmla="*/ 285969 h 294642"/>
                        <a:gd name="connsiteX7" fmla="*/ 17774 w 84051"/>
                        <a:gd name="connsiteY7" fmla="*/ 180696 h 294642"/>
                        <a:gd name="connsiteX8" fmla="*/ 14659 w 84051"/>
                        <a:gd name="connsiteY8" fmla="*/ 138268 h 294642"/>
                        <a:gd name="connsiteX9" fmla="*/ 0 w 84051"/>
                        <a:gd name="connsiteY9" fmla="*/ 153702 h 294642"/>
                        <a:gd name="connsiteX10" fmla="*/ 7915 w 84051"/>
                        <a:gd name="connsiteY10" fmla="*/ 156391 h 294642"/>
                        <a:gd name="connsiteX11" fmla="*/ 12350 w 84051"/>
                        <a:gd name="connsiteY11" fmla="*/ 146957 h 294642"/>
                        <a:gd name="connsiteX12" fmla="*/ 9738 w 84051"/>
                        <a:gd name="connsiteY12" fmla="*/ 178357 h 294642"/>
                        <a:gd name="connsiteX13" fmla="*/ 9677 w 84051"/>
                        <a:gd name="connsiteY13" fmla="*/ 178600 h 294642"/>
                        <a:gd name="connsiteX14" fmla="*/ 2765 w 84051"/>
                        <a:gd name="connsiteY14" fmla="*/ 253202 h 294642"/>
                        <a:gd name="connsiteX15" fmla="*/ 19232 w 84051"/>
                        <a:gd name="connsiteY15" fmla="*/ 293640 h 294642"/>
                        <a:gd name="connsiteX16" fmla="*/ 24047 w 84051"/>
                        <a:gd name="connsiteY16" fmla="*/ 294643 h 294642"/>
                        <a:gd name="connsiteX17" fmla="*/ 43279 w 84051"/>
                        <a:gd name="connsiteY17" fmla="*/ 279710 h 294642"/>
                        <a:gd name="connsiteX18" fmla="*/ 58455 w 84051"/>
                        <a:gd name="connsiteY18" fmla="*/ 162877 h 294642"/>
                        <a:gd name="connsiteX19" fmla="*/ 58181 w 84051"/>
                        <a:gd name="connsiteY19" fmla="*/ 98088 h 29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051" h="294642">
                          <a:moveTo>
                            <a:pt x="58181" y="98118"/>
                          </a:moveTo>
                          <a:cubicBezTo>
                            <a:pt x="62374" y="35866"/>
                            <a:pt x="83824" y="5180"/>
                            <a:pt x="84051" y="4876"/>
                          </a:cubicBezTo>
                          <a:lnTo>
                            <a:pt x="77261" y="0"/>
                          </a:lnTo>
                          <a:cubicBezTo>
                            <a:pt x="76319" y="1307"/>
                            <a:pt x="54217" y="32691"/>
                            <a:pt x="49841" y="97556"/>
                          </a:cubicBezTo>
                          <a:cubicBezTo>
                            <a:pt x="48398" y="119006"/>
                            <a:pt x="49264" y="141488"/>
                            <a:pt x="50100" y="163226"/>
                          </a:cubicBezTo>
                          <a:cubicBezTo>
                            <a:pt x="51786" y="207083"/>
                            <a:pt x="53396" y="248493"/>
                            <a:pt x="36246" y="275214"/>
                          </a:cubicBezTo>
                          <a:cubicBezTo>
                            <a:pt x="30929" y="283508"/>
                            <a:pt x="25931" y="287427"/>
                            <a:pt x="22513" y="285969"/>
                          </a:cubicBezTo>
                          <a:cubicBezTo>
                            <a:pt x="11545" y="281290"/>
                            <a:pt x="4725" y="235034"/>
                            <a:pt x="17774" y="180696"/>
                          </a:cubicBezTo>
                          <a:cubicBezTo>
                            <a:pt x="24351" y="159110"/>
                            <a:pt x="23014" y="140881"/>
                            <a:pt x="14659" y="138268"/>
                          </a:cubicBezTo>
                          <a:cubicBezTo>
                            <a:pt x="10649" y="137022"/>
                            <a:pt x="4877" y="138708"/>
                            <a:pt x="0" y="153702"/>
                          </a:cubicBezTo>
                          <a:cubicBezTo>
                            <a:pt x="2507" y="154567"/>
                            <a:pt x="5135" y="155464"/>
                            <a:pt x="7915" y="156391"/>
                          </a:cubicBezTo>
                          <a:cubicBezTo>
                            <a:pt x="9677" y="150937"/>
                            <a:pt x="11348" y="148157"/>
                            <a:pt x="12350" y="146957"/>
                          </a:cubicBezTo>
                          <a:cubicBezTo>
                            <a:pt x="13900" y="150405"/>
                            <a:pt x="14887" y="161525"/>
                            <a:pt x="9738" y="178357"/>
                          </a:cubicBezTo>
                          <a:lnTo>
                            <a:pt x="9677" y="178600"/>
                          </a:lnTo>
                          <a:cubicBezTo>
                            <a:pt x="3433" y="204561"/>
                            <a:pt x="972" y="231054"/>
                            <a:pt x="2765" y="253202"/>
                          </a:cubicBezTo>
                          <a:cubicBezTo>
                            <a:pt x="3813" y="266130"/>
                            <a:pt x="7337" y="288567"/>
                            <a:pt x="19232" y="293640"/>
                          </a:cubicBezTo>
                          <a:cubicBezTo>
                            <a:pt x="20629" y="294233"/>
                            <a:pt x="22255" y="294643"/>
                            <a:pt x="24047" y="294643"/>
                          </a:cubicBezTo>
                          <a:cubicBezTo>
                            <a:pt x="29182" y="294643"/>
                            <a:pt x="35820" y="291331"/>
                            <a:pt x="43279" y="279710"/>
                          </a:cubicBezTo>
                          <a:cubicBezTo>
                            <a:pt x="61843" y="250772"/>
                            <a:pt x="60202" y="208085"/>
                            <a:pt x="58455" y="162877"/>
                          </a:cubicBezTo>
                          <a:cubicBezTo>
                            <a:pt x="57619" y="141351"/>
                            <a:pt x="56769" y="119097"/>
                            <a:pt x="58181" y="98088"/>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sp>
          <p:nvSpPr>
            <p:cNvPr id="1864" name="Freeform: Shape 1863">
              <a:extLst>
                <a:ext uri="{FF2B5EF4-FFF2-40B4-BE49-F238E27FC236}">
                  <a16:creationId xmlns:a16="http://schemas.microsoft.com/office/drawing/2014/main" id="{88FDE5B9-DD56-9695-753C-4659EA8D7DAC}"/>
                </a:ext>
              </a:extLst>
            </p:cNvPr>
            <p:cNvSpPr/>
            <p:nvPr/>
          </p:nvSpPr>
          <p:spPr>
            <a:xfrm>
              <a:off x="6230266" y="2708154"/>
              <a:ext cx="342282" cy="453346"/>
            </a:xfrm>
            <a:custGeom>
              <a:avLst/>
              <a:gdLst>
                <a:gd name="connsiteX0" fmla="*/ 318973 w 319255"/>
                <a:gd name="connsiteY0" fmla="*/ 158680 h 422848"/>
                <a:gd name="connsiteX1" fmla="*/ 111100 w 319255"/>
                <a:gd name="connsiteY1" fmla="*/ 5617 h 422848"/>
                <a:gd name="connsiteX2" fmla="*/ 19286 w 319255"/>
                <a:gd name="connsiteY2" fmla="*/ 76452 h 422848"/>
                <a:gd name="connsiteX3" fmla="*/ 8106 w 319255"/>
                <a:gd name="connsiteY3" fmla="*/ 308296 h 422848"/>
                <a:gd name="connsiteX4" fmla="*/ 109444 w 319255"/>
                <a:gd name="connsiteY4" fmla="*/ 421635 h 422848"/>
                <a:gd name="connsiteX5" fmla="*/ 316420 w 319255"/>
                <a:gd name="connsiteY5" fmla="*/ 211484 h 422848"/>
                <a:gd name="connsiteX6" fmla="*/ 318973 w 319255"/>
                <a:gd name="connsiteY6" fmla="*/ 158680 h 42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255" h="422848">
                  <a:moveTo>
                    <a:pt x="318973" y="158680"/>
                  </a:moveTo>
                  <a:cubicBezTo>
                    <a:pt x="314187" y="53271"/>
                    <a:pt x="213061" y="-21575"/>
                    <a:pt x="111100" y="5617"/>
                  </a:cubicBezTo>
                  <a:cubicBezTo>
                    <a:pt x="73806" y="15567"/>
                    <a:pt x="35966" y="35832"/>
                    <a:pt x="19286" y="76452"/>
                  </a:cubicBezTo>
                  <a:cubicBezTo>
                    <a:pt x="-9774" y="150842"/>
                    <a:pt x="647" y="251694"/>
                    <a:pt x="8106" y="308296"/>
                  </a:cubicBezTo>
                  <a:cubicBezTo>
                    <a:pt x="8106" y="308296"/>
                    <a:pt x="17828" y="436598"/>
                    <a:pt x="109444" y="421635"/>
                  </a:cubicBezTo>
                  <a:cubicBezTo>
                    <a:pt x="201061" y="406672"/>
                    <a:pt x="303083" y="306837"/>
                    <a:pt x="316420" y="211484"/>
                  </a:cubicBezTo>
                  <a:cubicBezTo>
                    <a:pt x="318897" y="193847"/>
                    <a:pt x="319762" y="176059"/>
                    <a:pt x="318973" y="15868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65" name="Freeform: Shape 1864">
              <a:extLst>
                <a:ext uri="{FF2B5EF4-FFF2-40B4-BE49-F238E27FC236}">
                  <a16:creationId xmlns:a16="http://schemas.microsoft.com/office/drawing/2014/main" id="{4E49B976-70F9-C639-E099-AE90E97D8A4F}"/>
                </a:ext>
              </a:extLst>
            </p:cNvPr>
            <p:cNvSpPr/>
            <p:nvPr/>
          </p:nvSpPr>
          <p:spPr>
            <a:xfrm>
              <a:off x="6210470" y="2677126"/>
              <a:ext cx="398685" cy="429318"/>
            </a:xfrm>
            <a:custGeom>
              <a:avLst/>
              <a:gdLst>
                <a:gd name="connsiteX0" fmla="*/ 175850 w 371864"/>
                <a:gd name="connsiteY0" fmla="*/ 115159 h 400436"/>
                <a:gd name="connsiteX1" fmla="*/ 140804 w 371864"/>
                <a:gd name="connsiteY1" fmla="*/ 176364 h 400436"/>
                <a:gd name="connsiteX2" fmla="*/ 144268 w 371864"/>
                <a:gd name="connsiteY2" fmla="*/ 223061 h 400436"/>
                <a:gd name="connsiteX3" fmla="*/ 166538 w 371864"/>
                <a:gd name="connsiteY3" fmla="*/ 208006 h 400436"/>
                <a:gd name="connsiteX4" fmla="*/ 172052 w 371864"/>
                <a:gd name="connsiteY4" fmla="*/ 239603 h 400436"/>
                <a:gd name="connsiteX5" fmla="*/ 191284 w 371864"/>
                <a:gd name="connsiteY5" fmla="*/ 297101 h 400436"/>
                <a:gd name="connsiteX6" fmla="*/ 255268 w 371864"/>
                <a:gd name="connsiteY6" fmla="*/ 370078 h 400436"/>
                <a:gd name="connsiteX7" fmla="*/ 287260 w 371864"/>
                <a:gd name="connsiteY7" fmla="*/ 398227 h 400436"/>
                <a:gd name="connsiteX8" fmla="*/ 301828 w 371864"/>
                <a:gd name="connsiteY8" fmla="*/ 392530 h 400436"/>
                <a:gd name="connsiteX9" fmla="*/ 322139 w 371864"/>
                <a:gd name="connsiteY9" fmla="*/ 334000 h 400436"/>
                <a:gd name="connsiteX10" fmla="*/ 295448 w 371864"/>
                <a:gd name="connsiteY10" fmla="*/ 41468 h 400436"/>
                <a:gd name="connsiteX11" fmla="*/ 121451 w 371864"/>
                <a:gd name="connsiteY11" fmla="*/ 9188 h 400436"/>
                <a:gd name="connsiteX12" fmla="*/ 0 w 371864"/>
                <a:gd name="connsiteY12" fmla="*/ 79096 h 400436"/>
                <a:gd name="connsiteX13" fmla="*/ 34043 w 371864"/>
                <a:gd name="connsiteY13" fmla="*/ 92115 h 400436"/>
                <a:gd name="connsiteX14" fmla="*/ 11256 w 371864"/>
                <a:gd name="connsiteY14" fmla="*/ 103204 h 400436"/>
                <a:gd name="connsiteX15" fmla="*/ 104544 w 371864"/>
                <a:gd name="connsiteY15" fmla="*/ 105726 h 400436"/>
                <a:gd name="connsiteX16" fmla="*/ 78659 w 371864"/>
                <a:gd name="connsiteY16" fmla="*/ 123955 h 400436"/>
                <a:gd name="connsiteX17" fmla="*/ 146729 w 371864"/>
                <a:gd name="connsiteY17" fmla="*/ 121297 h 400436"/>
                <a:gd name="connsiteX18" fmla="*/ 175835 w 371864"/>
                <a:gd name="connsiteY18" fmla="*/ 115175 h 40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1864" h="400436">
                  <a:moveTo>
                    <a:pt x="175850" y="115159"/>
                  </a:moveTo>
                  <a:cubicBezTo>
                    <a:pt x="175850" y="115159"/>
                    <a:pt x="136171" y="151375"/>
                    <a:pt x="140804" y="176364"/>
                  </a:cubicBezTo>
                  <a:cubicBezTo>
                    <a:pt x="145453" y="201353"/>
                    <a:pt x="150010" y="215556"/>
                    <a:pt x="144268" y="223061"/>
                  </a:cubicBezTo>
                  <a:cubicBezTo>
                    <a:pt x="144268" y="223061"/>
                    <a:pt x="159626" y="216999"/>
                    <a:pt x="166538" y="208006"/>
                  </a:cubicBezTo>
                  <a:cubicBezTo>
                    <a:pt x="166538" y="208006"/>
                    <a:pt x="167313" y="224063"/>
                    <a:pt x="172052" y="239603"/>
                  </a:cubicBezTo>
                  <a:cubicBezTo>
                    <a:pt x="176792" y="255144"/>
                    <a:pt x="193942" y="279996"/>
                    <a:pt x="191284" y="297101"/>
                  </a:cubicBezTo>
                  <a:cubicBezTo>
                    <a:pt x="188625" y="314206"/>
                    <a:pt x="237738" y="349494"/>
                    <a:pt x="255268" y="370078"/>
                  </a:cubicBezTo>
                  <a:cubicBezTo>
                    <a:pt x="265203" y="381745"/>
                    <a:pt x="278024" y="391755"/>
                    <a:pt x="287260" y="398227"/>
                  </a:cubicBezTo>
                  <a:cubicBezTo>
                    <a:pt x="293656" y="402708"/>
                    <a:pt x="300188" y="400156"/>
                    <a:pt x="301828" y="392530"/>
                  </a:cubicBezTo>
                  <a:cubicBezTo>
                    <a:pt x="305018" y="377689"/>
                    <a:pt x="311414" y="353414"/>
                    <a:pt x="322139" y="334000"/>
                  </a:cubicBezTo>
                  <a:cubicBezTo>
                    <a:pt x="339957" y="301749"/>
                    <a:pt x="438683" y="106106"/>
                    <a:pt x="295448" y="41468"/>
                  </a:cubicBezTo>
                  <a:cubicBezTo>
                    <a:pt x="275108" y="18287"/>
                    <a:pt x="224689" y="-16819"/>
                    <a:pt x="121451" y="9188"/>
                  </a:cubicBezTo>
                  <a:cubicBezTo>
                    <a:pt x="18837" y="35043"/>
                    <a:pt x="56753" y="70255"/>
                    <a:pt x="0" y="79096"/>
                  </a:cubicBezTo>
                  <a:cubicBezTo>
                    <a:pt x="0" y="79096"/>
                    <a:pt x="10846" y="89791"/>
                    <a:pt x="34043" y="92115"/>
                  </a:cubicBezTo>
                  <a:cubicBezTo>
                    <a:pt x="34043" y="92115"/>
                    <a:pt x="23166" y="101624"/>
                    <a:pt x="11256" y="103204"/>
                  </a:cubicBezTo>
                  <a:cubicBezTo>
                    <a:pt x="11256" y="103204"/>
                    <a:pt x="55796" y="124274"/>
                    <a:pt x="104544" y="105726"/>
                  </a:cubicBezTo>
                  <a:cubicBezTo>
                    <a:pt x="104544" y="105726"/>
                    <a:pt x="94199" y="119215"/>
                    <a:pt x="78659" y="123955"/>
                  </a:cubicBezTo>
                  <a:cubicBezTo>
                    <a:pt x="78659" y="123955"/>
                    <a:pt x="95338" y="140194"/>
                    <a:pt x="146729" y="121297"/>
                  </a:cubicBezTo>
                  <a:cubicBezTo>
                    <a:pt x="153656" y="118744"/>
                    <a:pt x="162254" y="114278"/>
                    <a:pt x="175835" y="115175"/>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866" name="Graphic 3200">
              <a:extLst>
                <a:ext uri="{FF2B5EF4-FFF2-40B4-BE49-F238E27FC236}">
                  <a16:creationId xmlns:a16="http://schemas.microsoft.com/office/drawing/2014/main" id="{5141F3D4-ABFC-4F31-A1DB-35B71905734C}"/>
                </a:ext>
              </a:extLst>
            </p:cNvPr>
            <p:cNvGrpSpPr/>
            <p:nvPr/>
          </p:nvGrpSpPr>
          <p:grpSpPr>
            <a:xfrm>
              <a:off x="6395443" y="2926171"/>
              <a:ext cx="76865" cy="104535"/>
              <a:chOff x="6425163" y="3217792"/>
              <a:chExt cx="71694" cy="97503"/>
            </a:xfrm>
          </p:grpSpPr>
          <p:sp>
            <p:nvSpPr>
              <p:cNvPr id="2365" name="Freeform: Shape 2364">
                <a:extLst>
                  <a:ext uri="{FF2B5EF4-FFF2-40B4-BE49-F238E27FC236}">
                    <a16:creationId xmlns:a16="http://schemas.microsoft.com/office/drawing/2014/main" id="{2D3464EA-095C-6E69-4F0F-7C8D69DE5647}"/>
                  </a:ext>
                </a:extLst>
              </p:cNvPr>
              <p:cNvSpPr/>
              <p:nvPr/>
            </p:nvSpPr>
            <p:spPr>
              <a:xfrm>
                <a:off x="6425163" y="3217792"/>
                <a:ext cx="71694" cy="97503"/>
              </a:xfrm>
              <a:custGeom>
                <a:avLst/>
                <a:gdLst>
                  <a:gd name="connsiteX0" fmla="*/ 3458 w 71694"/>
                  <a:gd name="connsiteY0" fmla="*/ 49726 h 97503"/>
                  <a:gd name="connsiteX1" fmla="*/ 54803 w 71694"/>
                  <a:gd name="connsiteY1" fmla="*/ 1708 h 97503"/>
                  <a:gd name="connsiteX2" fmla="*/ 46418 w 71694"/>
                  <a:gd name="connsiteY2" fmla="*/ 89086 h 97503"/>
                  <a:gd name="connsiteX3" fmla="*/ 3458 w 71694"/>
                  <a:gd name="connsiteY3" fmla="*/ 49726 h 97503"/>
                </a:gdLst>
                <a:ahLst/>
                <a:cxnLst>
                  <a:cxn ang="0">
                    <a:pos x="connsiteX0" y="connsiteY0"/>
                  </a:cxn>
                  <a:cxn ang="0">
                    <a:pos x="connsiteX1" y="connsiteY1"/>
                  </a:cxn>
                  <a:cxn ang="0">
                    <a:pos x="connsiteX2" y="connsiteY2"/>
                  </a:cxn>
                  <a:cxn ang="0">
                    <a:pos x="connsiteX3" y="connsiteY3"/>
                  </a:cxn>
                </a:cxnLst>
                <a:rect l="l" t="t" r="r" b="b"/>
                <a:pathLst>
                  <a:path w="71694" h="97503">
                    <a:moveTo>
                      <a:pt x="3458" y="49726"/>
                    </a:moveTo>
                    <a:cubicBezTo>
                      <a:pt x="3458" y="49726"/>
                      <a:pt x="22280" y="-10825"/>
                      <a:pt x="54803" y="1708"/>
                    </a:cubicBezTo>
                    <a:cubicBezTo>
                      <a:pt x="87327" y="14240"/>
                      <a:pt x="66333" y="68821"/>
                      <a:pt x="46418" y="89086"/>
                    </a:cubicBezTo>
                    <a:cubicBezTo>
                      <a:pt x="29602" y="106191"/>
                      <a:pt x="-12234" y="99203"/>
                      <a:pt x="3458" y="49726"/>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66" name="Graphic 3200">
                <a:extLst>
                  <a:ext uri="{FF2B5EF4-FFF2-40B4-BE49-F238E27FC236}">
                    <a16:creationId xmlns:a16="http://schemas.microsoft.com/office/drawing/2014/main" id="{B902B2B3-AE8C-1FE1-486C-8D5356061B64}"/>
                  </a:ext>
                </a:extLst>
              </p:cNvPr>
              <p:cNvGrpSpPr/>
              <p:nvPr/>
            </p:nvGrpSpPr>
            <p:grpSpPr>
              <a:xfrm>
                <a:off x="6443751" y="3245290"/>
                <a:ext cx="30096" cy="40904"/>
                <a:chOff x="6443751" y="3245290"/>
                <a:chExt cx="30096" cy="40904"/>
              </a:xfrm>
              <a:solidFill>
                <a:srgbClr val="E57E73"/>
              </a:solidFill>
            </p:grpSpPr>
            <p:sp>
              <p:nvSpPr>
                <p:cNvPr id="2367" name="Freeform: Shape 2366">
                  <a:extLst>
                    <a:ext uri="{FF2B5EF4-FFF2-40B4-BE49-F238E27FC236}">
                      <a16:creationId xmlns:a16="http://schemas.microsoft.com/office/drawing/2014/main" id="{72F326BE-1962-DA17-1E53-A81B7100FF98}"/>
                    </a:ext>
                  </a:extLst>
                </p:cNvPr>
                <p:cNvSpPr/>
                <p:nvPr/>
              </p:nvSpPr>
              <p:spPr>
                <a:xfrm>
                  <a:off x="6443751" y="3245290"/>
                  <a:ext cx="30096" cy="40904"/>
                </a:xfrm>
                <a:custGeom>
                  <a:avLst/>
                  <a:gdLst>
                    <a:gd name="connsiteX0" fmla="*/ 5135 w 30096"/>
                    <a:gd name="connsiteY0" fmla="*/ 40792 h 40904"/>
                    <a:gd name="connsiteX1" fmla="*/ 4573 w 30096"/>
                    <a:gd name="connsiteY1" fmla="*/ 40883 h 40904"/>
                    <a:gd name="connsiteX2" fmla="*/ 167 w 30096"/>
                    <a:gd name="connsiteY2" fmla="*/ 37298 h 40904"/>
                    <a:gd name="connsiteX3" fmla="*/ 7763 w 30096"/>
                    <a:gd name="connsiteY3" fmla="*/ 8222 h 40904"/>
                    <a:gd name="connsiteX4" fmla="*/ 25718 w 30096"/>
                    <a:gd name="connsiteY4" fmla="*/ 4 h 40904"/>
                    <a:gd name="connsiteX5" fmla="*/ 30063 w 30096"/>
                    <a:gd name="connsiteY5" fmla="*/ 3498 h 40904"/>
                    <a:gd name="connsiteX6" fmla="*/ 26235 w 30096"/>
                    <a:gd name="connsiteY6" fmla="*/ 8025 h 40904"/>
                    <a:gd name="connsiteX7" fmla="*/ 13824 w 30096"/>
                    <a:gd name="connsiteY7" fmla="*/ 13494 h 40904"/>
                    <a:gd name="connsiteX8" fmla="*/ 8142 w 30096"/>
                    <a:gd name="connsiteY8" fmla="*/ 36477 h 40904"/>
                    <a:gd name="connsiteX9" fmla="*/ 5119 w 30096"/>
                    <a:gd name="connsiteY9" fmla="*/ 40792 h 4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96" h="40904">
                      <a:moveTo>
                        <a:pt x="5135" y="40792"/>
                      </a:moveTo>
                      <a:cubicBezTo>
                        <a:pt x="4953" y="40837"/>
                        <a:pt x="4770" y="40868"/>
                        <a:pt x="4573" y="40883"/>
                      </a:cubicBezTo>
                      <a:cubicBezTo>
                        <a:pt x="2370" y="41111"/>
                        <a:pt x="395" y="39516"/>
                        <a:pt x="167" y="37298"/>
                      </a:cubicBezTo>
                      <a:cubicBezTo>
                        <a:pt x="92" y="36553"/>
                        <a:pt x="-1610" y="19053"/>
                        <a:pt x="7763" y="8222"/>
                      </a:cubicBezTo>
                      <a:cubicBezTo>
                        <a:pt x="12183" y="3118"/>
                        <a:pt x="18214" y="338"/>
                        <a:pt x="25718" y="4"/>
                      </a:cubicBezTo>
                      <a:cubicBezTo>
                        <a:pt x="27830" y="-87"/>
                        <a:pt x="29789" y="1386"/>
                        <a:pt x="30063" y="3498"/>
                      </a:cubicBezTo>
                      <a:cubicBezTo>
                        <a:pt x="30367" y="5868"/>
                        <a:pt x="28559" y="7934"/>
                        <a:pt x="26235" y="8025"/>
                      </a:cubicBezTo>
                      <a:cubicBezTo>
                        <a:pt x="20888" y="8238"/>
                        <a:pt x="16817" y="10030"/>
                        <a:pt x="13824" y="13494"/>
                      </a:cubicBezTo>
                      <a:cubicBezTo>
                        <a:pt x="7915" y="20329"/>
                        <a:pt x="7717" y="32406"/>
                        <a:pt x="8142" y="36477"/>
                      </a:cubicBezTo>
                      <a:cubicBezTo>
                        <a:pt x="8355" y="38498"/>
                        <a:pt x="7034" y="40321"/>
                        <a:pt x="5119" y="40792"/>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39" name="Freeform: Shape 1938">
                  <a:extLst>
                    <a:ext uri="{FF2B5EF4-FFF2-40B4-BE49-F238E27FC236}">
                      <a16:creationId xmlns:a16="http://schemas.microsoft.com/office/drawing/2014/main" id="{B486DFEA-1DFD-5B48-982C-29A054DF931C}"/>
                    </a:ext>
                  </a:extLst>
                </p:cNvPr>
                <p:cNvSpPr/>
                <p:nvPr/>
              </p:nvSpPr>
              <p:spPr>
                <a:xfrm>
                  <a:off x="6444691" y="3261962"/>
                  <a:ext cx="28834" cy="14243"/>
                </a:xfrm>
                <a:custGeom>
                  <a:avLst/>
                  <a:gdLst>
                    <a:gd name="connsiteX0" fmla="*/ 4985 w 28834"/>
                    <a:gd name="connsiteY0" fmla="*/ 14124 h 14243"/>
                    <a:gd name="connsiteX1" fmla="*/ 1020 w 28834"/>
                    <a:gd name="connsiteY1" fmla="*/ 12909 h 14243"/>
                    <a:gd name="connsiteX2" fmla="*/ 1339 w 28834"/>
                    <a:gd name="connsiteY2" fmla="*/ 7243 h 14243"/>
                    <a:gd name="connsiteX3" fmla="*/ 25599 w 28834"/>
                    <a:gd name="connsiteY3" fmla="*/ 498 h 14243"/>
                    <a:gd name="connsiteX4" fmla="*/ 28759 w 28834"/>
                    <a:gd name="connsiteY4" fmla="*/ 5223 h 14243"/>
                    <a:gd name="connsiteX5" fmla="*/ 24034 w 28834"/>
                    <a:gd name="connsiteY5" fmla="*/ 8382 h 14243"/>
                    <a:gd name="connsiteX6" fmla="*/ 6717 w 28834"/>
                    <a:gd name="connsiteY6" fmla="*/ 13243 h 14243"/>
                    <a:gd name="connsiteX7" fmla="*/ 5000 w 28834"/>
                    <a:gd name="connsiteY7" fmla="*/ 14155 h 1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34" h="14243">
                      <a:moveTo>
                        <a:pt x="4985" y="14124"/>
                      </a:moveTo>
                      <a:cubicBezTo>
                        <a:pt x="3587" y="14474"/>
                        <a:pt x="2053" y="14048"/>
                        <a:pt x="1020" y="12909"/>
                      </a:cubicBezTo>
                      <a:cubicBezTo>
                        <a:pt x="-453" y="11253"/>
                        <a:pt x="-317" y="8716"/>
                        <a:pt x="1339" y="7243"/>
                      </a:cubicBezTo>
                      <a:cubicBezTo>
                        <a:pt x="1780" y="6863"/>
                        <a:pt x="12094" y="-2191"/>
                        <a:pt x="25599" y="498"/>
                      </a:cubicBezTo>
                      <a:cubicBezTo>
                        <a:pt x="27771" y="939"/>
                        <a:pt x="29184" y="3050"/>
                        <a:pt x="28759" y="5223"/>
                      </a:cubicBezTo>
                      <a:cubicBezTo>
                        <a:pt x="28318" y="7395"/>
                        <a:pt x="26207" y="8808"/>
                        <a:pt x="24034" y="8382"/>
                      </a:cubicBezTo>
                      <a:cubicBezTo>
                        <a:pt x="14418" y="6468"/>
                        <a:pt x="6777" y="13167"/>
                        <a:pt x="6717" y="13243"/>
                      </a:cubicBezTo>
                      <a:cubicBezTo>
                        <a:pt x="6215" y="13699"/>
                        <a:pt x="5623" y="14003"/>
                        <a:pt x="5000" y="14155"/>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67" name="Graphic 3200">
              <a:extLst>
                <a:ext uri="{FF2B5EF4-FFF2-40B4-BE49-F238E27FC236}">
                  <a16:creationId xmlns:a16="http://schemas.microsoft.com/office/drawing/2014/main" id="{4337287A-856E-C08E-5B0A-23B2B0CF69A7}"/>
                </a:ext>
              </a:extLst>
            </p:cNvPr>
            <p:cNvGrpSpPr/>
            <p:nvPr/>
          </p:nvGrpSpPr>
          <p:grpSpPr>
            <a:xfrm>
              <a:off x="5518160" y="3253104"/>
              <a:ext cx="1223943" cy="730709"/>
              <a:chOff x="5606898" y="3522731"/>
              <a:chExt cx="1141604" cy="681552"/>
            </a:xfrm>
          </p:grpSpPr>
          <p:grpSp>
            <p:nvGrpSpPr>
              <p:cNvPr id="1868" name="Graphic 3200">
                <a:extLst>
                  <a:ext uri="{FF2B5EF4-FFF2-40B4-BE49-F238E27FC236}">
                    <a16:creationId xmlns:a16="http://schemas.microsoft.com/office/drawing/2014/main" id="{C92618CF-5446-2AB1-BB01-65BA0FB43D62}"/>
                  </a:ext>
                </a:extLst>
              </p:cNvPr>
              <p:cNvGrpSpPr/>
              <p:nvPr/>
            </p:nvGrpSpPr>
            <p:grpSpPr>
              <a:xfrm>
                <a:off x="6373919" y="3522731"/>
                <a:ext cx="374583" cy="681001"/>
                <a:chOff x="6373919" y="3522731"/>
                <a:chExt cx="374583" cy="681001"/>
              </a:xfrm>
            </p:grpSpPr>
            <p:sp>
              <p:nvSpPr>
                <p:cNvPr id="2363" name="Freeform: Shape 2362">
                  <a:extLst>
                    <a:ext uri="{FF2B5EF4-FFF2-40B4-BE49-F238E27FC236}">
                      <a16:creationId xmlns:a16="http://schemas.microsoft.com/office/drawing/2014/main" id="{3B5CAA27-6155-97AA-79C2-B719D7007DDF}"/>
                    </a:ext>
                  </a:extLst>
                </p:cNvPr>
                <p:cNvSpPr/>
                <p:nvPr/>
              </p:nvSpPr>
              <p:spPr>
                <a:xfrm>
                  <a:off x="6383847" y="3527473"/>
                  <a:ext cx="361086" cy="671488"/>
                </a:xfrm>
                <a:custGeom>
                  <a:avLst/>
                  <a:gdLst>
                    <a:gd name="connsiteX0" fmla="*/ 358102 w 361086"/>
                    <a:gd name="connsiteY0" fmla="*/ 84955 h 671488"/>
                    <a:gd name="connsiteX1" fmla="*/ 357737 w 361086"/>
                    <a:gd name="connsiteY1" fmla="*/ 140842 h 671488"/>
                    <a:gd name="connsiteX2" fmla="*/ 259832 w 361086"/>
                    <a:gd name="connsiteY2" fmla="*/ 393589 h 671488"/>
                    <a:gd name="connsiteX3" fmla="*/ 46065 w 361086"/>
                    <a:gd name="connsiteY3" fmla="*/ 666008 h 671488"/>
                    <a:gd name="connsiteX4" fmla="*/ 40217 w 361086"/>
                    <a:gd name="connsiteY4" fmla="*/ 379735 h 671488"/>
                    <a:gd name="connsiteX5" fmla="*/ 213013 w 361086"/>
                    <a:gd name="connsiteY5" fmla="*/ 14728 h 671488"/>
                    <a:gd name="connsiteX6" fmla="*/ 358102 w 361086"/>
                    <a:gd name="connsiteY6" fmla="*/ 84955 h 67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086" h="671488">
                      <a:moveTo>
                        <a:pt x="358102" y="84955"/>
                      </a:moveTo>
                      <a:cubicBezTo>
                        <a:pt x="362294" y="103351"/>
                        <a:pt x="361975" y="122462"/>
                        <a:pt x="357737" y="140842"/>
                      </a:cubicBezTo>
                      <a:cubicBezTo>
                        <a:pt x="349777" y="175402"/>
                        <a:pt x="326307" y="255792"/>
                        <a:pt x="259832" y="393589"/>
                      </a:cubicBezTo>
                      <a:cubicBezTo>
                        <a:pt x="166970" y="586073"/>
                        <a:pt x="136679" y="698212"/>
                        <a:pt x="46065" y="666008"/>
                      </a:cubicBezTo>
                      <a:cubicBezTo>
                        <a:pt x="-40979" y="635079"/>
                        <a:pt x="17992" y="471275"/>
                        <a:pt x="40217" y="379735"/>
                      </a:cubicBezTo>
                      <a:cubicBezTo>
                        <a:pt x="62441" y="288194"/>
                        <a:pt x="139945" y="58690"/>
                        <a:pt x="213013" y="14728"/>
                      </a:cubicBezTo>
                      <a:cubicBezTo>
                        <a:pt x="276192" y="-23280"/>
                        <a:pt x="342501" y="16596"/>
                        <a:pt x="358102" y="84955"/>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64" name="Freeform: Shape 2363">
                  <a:extLst>
                    <a:ext uri="{FF2B5EF4-FFF2-40B4-BE49-F238E27FC236}">
                      <a16:creationId xmlns:a16="http://schemas.microsoft.com/office/drawing/2014/main" id="{AE512E7F-C579-8B5E-0C67-9935523B3F52}"/>
                    </a:ext>
                  </a:extLst>
                </p:cNvPr>
                <p:cNvSpPr/>
                <p:nvPr/>
              </p:nvSpPr>
              <p:spPr>
                <a:xfrm>
                  <a:off x="6373919" y="3522731"/>
                  <a:ext cx="374583" cy="681001"/>
                </a:xfrm>
                <a:custGeom>
                  <a:avLst/>
                  <a:gdLst>
                    <a:gd name="connsiteX0" fmla="*/ 299975 w 374583"/>
                    <a:gd name="connsiteY0" fmla="*/ 4233 h 681001"/>
                    <a:gd name="connsiteX1" fmla="*/ 187182 w 374583"/>
                    <a:gd name="connsiteY1" fmla="*/ 49654 h 681001"/>
                    <a:gd name="connsiteX2" fmla="*/ 67675 w 374583"/>
                    <a:gd name="connsiteY2" fmla="*/ 307429 h 681001"/>
                    <a:gd name="connsiteX3" fmla="*/ 56267 w 374583"/>
                    <a:gd name="connsiteY3" fmla="*/ 676537 h 681001"/>
                    <a:gd name="connsiteX4" fmla="*/ 169910 w 374583"/>
                    <a:gd name="connsiteY4" fmla="*/ 614710 h 681001"/>
                    <a:gd name="connsiteX5" fmla="*/ 342418 w 374583"/>
                    <a:gd name="connsiteY5" fmla="*/ 240953 h 681001"/>
                    <a:gd name="connsiteX6" fmla="*/ 299975 w 374583"/>
                    <a:gd name="connsiteY6" fmla="*/ 4233 h 6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583" h="681001">
                      <a:moveTo>
                        <a:pt x="299975" y="4233"/>
                      </a:moveTo>
                      <a:cubicBezTo>
                        <a:pt x="299975" y="4233"/>
                        <a:pt x="236370" y="-20513"/>
                        <a:pt x="187182" y="49654"/>
                      </a:cubicBezTo>
                      <a:cubicBezTo>
                        <a:pt x="138009" y="119821"/>
                        <a:pt x="106518" y="198419"/>
                        <a:pt x="67675" y="307429"/>
                      </a:cubicBezTo>
                      <a:cubicBezTo>
                        <a:pt x="28832" y="416454"/>
                        <a:pt x="-56647" y="640915"/>
                        <a:pt x="56267" y="676537"/>
                      </a:cubicBezTo>
                      <a:cubicBezTo>
                        <a:pt x="78597" y="682978"/>
                        <a:pt x="123745" y="693901"/>
                        <a:pt x="169910" y="614710"/>
                      </a:cubicBezTo>
                      <a:cubicBezTo>
                        <a:pt x="216075" y="535520"/>
                        <a:pt x="308557" y="329364"/>
                        <a:pt x="342418" y="240953"/>
                      </a:cubicBezTo>
                      <a:cubicBezTo>
                        <a:pt x="376278" y="152542"/>
                        <a:pt x="408286" y="46024"/>
                        <a:pt x="299975" y="4233"/>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69" name="Graphic 3200">
                <a:extLst>
                  <a:ext uri="{FF2B5EF4-FFF2-40B4-BE49-F238E27FC236}">
                    <a16:creationId xmlns:a16="http://schemas.microsoft.com/office/drawing/2014/main" id="{68FEC5B2-E85D-4ED6-E200-6B2050014560}"/>
                  </a:ext>
                </a:extLst>
              </p:cNvPr>
              <p:cNvGrpSpPr/>
              <p:nvPr/>
            </p:nvGrpSpPr>
            <p:grpSpPr>
              <a:xfrm>
                <a:off x="5606898" y="3609265"/>
                <a:ext cx="945950" cy="595018"/>
                <a:chOff x="5606898" y="3609265"/>
                <a:chExt cx="945950" cy="595018"/>
              </a:xfrm>
            </p:grpSpPr>
            <p:grpSp>
              <p:nvGrpSpPr>
                <p:cNvPr id="1870" name="Graphic 3200">
                  <a:extLst>
                    <a:ext uri="{FF2B5EF4-FFF2-40B4-BE49-F238E27FC236}">
                      <a16:creationId xmlns:a16="http://schemas.microsoft.com/office/drawing/2014/main" id="{5C10EB41-C3EA-BD11-BC04-3580241AF825}"/>
                    </a:ext>
                  </a:extLst>
                </p:cNvPr>
                <p:cNvGrpSpPr/>
                <p:nvPr/>
              </p:nvGrpSpPr>
              <p:grpSpPr>
                <a:xfrm>
                  <a:off x="5606898" y="3609265"/>
                  <a:ext cx="514457" cy="424220"/>
                  <a:chOff x="5606898" y="3609265"/>
                  <a:chExt cx="514457" cy="424220"/>
                </a:xfrm>
              </p:grpSpPr>
              <p:grpSp>
                <p:nvGrpSpPr>
                  <p:cNvPr id="972" name="Graphic 3200">
                    <a:extLst>
                      <a:ext uri="{FF2B5EF4-FFF2-40B4-BE49-F238E27FC236}">
                        <a16:creationId xmlns:a16="http://schemas.microsoft.com/office/drawing/2014/main" id="{5B66AED8-952A-625E-2994-EA02EBB06A88}"/>
                      </a:ext>
                    </a:extLst>
                  </p:cNvPr>
                  <p:cNvGrpSpPr/>
                  <p:nvPr/>
                </p:nvGrpSpPr>
                <p:grpSpPr>
                  <a:xfrm>
                    <a:off x="5606898" y="3609265"/>
                    <a:ext cx="514457" cy="424220"/>
                    <a:chOff x="5606898" y="3609265"/>
                    <a:chExt cx="514457" cy="424220"/>
                  </a:xfrm>
                </p:grpSpPr>
                <p:sp>
                  <p:nvSpPr>
                    <p:cNvPr id="978" name="Freeform: Shape 977">
                      <a:extLst>
                        <a:ext uri="{FF2B5EF4-FFF2-40B4-BE49-F238E27FC236}">
                          <a16:creationId xmlns:a16="http://schemas.microsoft.com/office/drawing/2014/main" id="{A9D10A9D-3B6F-4765-F822-6F2265A38BC2}"/>
                        </a:ext>
                      </a:extLst>
                    </p:cNvPr>
                    <p:cNvSpPr/>
                    <p:nvPr/>
                  </p:nvSpPr>
                  <p:spPr>
                    <a:xfrm>
                      <a:off x="5825197" y="3613922"/>
                      <a:ext cx="118327" cy="192018"/>
                    </a:xfrm>
                    <a:custGeom>
                      <a:avLst/>
                      <a:gdLst>
                        <a:gd name="connsiteX0" fmla="*/ 4416 w 118327"/>
                        <a:gd name="connsiteY0" fmla="*/ 190839 h 192018"/>
                        <a:gd name="connsiteX1" fmla="*/ 1180 w 118327"/>
                        <a:gd name="connsiteY1" fmla="*/ 178777 h 192018"/>
                        <a:gd name="connsiteX2" fmla="*/ 101850 w 118327"/>
                        <a:gd name="connsiteY2" fmla="*/ 4416 h 192018"/>
                        <a:gd name="connsiteX3" fmla="*/ 113912 w 118327"/>
                        <a:gd name="connsiteY3" fmla="*/ 1180 h 192018"/>
                        <a:gd name="connsiteX4" fmla="*/ 117147 w 118327"/>
                        <a:gd name="connsiteY4" fmla="*/ 13242 h 192018"/>
                        <a:gd name="connsiteX5" fmla="*/ 16477 w 118327"/>
                        <a:gd name="connsiteY5" fmla="*/ 187603 h 192018"/>
                        <a:gd name="connsiteX6" fmla="*/ 4416 w 118327"/>
                        <a:gd name="connsiteY6" fmla="*/ 190839 h 19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27" h="192018">
                          <a:moveTo>
                            <a:pt x="4416" y="190839"/>
                          </a:moveTo>
                          <a:cubicBezTo>
                            <a:pt x="193" y="188408"/>
                            <a:pt x="-1250" y="183000"/>
                            <a:pt x="1180" y="178777"/>
                          </a:cubicBezTo>
                          <a:lnTo>
                            <a:pt x="101850" y="4416"/>
                          </a:lnTo>
                          <a:cubicBezTo>
                            <a:pt x="104281" y="193"/>
                            <a:pt x="109689" y="-1251"/>
                            <a:pt x="113912" y="1180"/>
                          </a:cubicBezTo>
                          <a:cubicBezTo>
                            <a:pt x="118135" y="3611"/>
                            <a:pt x="119578" y="9018"/>
                            <a:pt x="117147" y="13242"/>
                          </a:cubicBezTo>
                          <a:lnTo>
                            <a:pt x="16477" y="187603"/>
                          </a:lnTo>
                          <a:cubicBezTo>
                            <a:pt x="14047" y="191826"/>
                            <a:pt x="8639" y="193269"/>
                            <a:pt x="4416" y="190839"/>
                          </a:cubicBezTo>
                          <a:close/>
                        </a:path>
                      </a:pathLst>
                    </a:custGeom>
                    <a:solidFill>
                      <a:srgbClr val="2E3B7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9" name="Freeform: Shape 978">
                      <a:extLst>
                        <a:ext uri="{FF2B5EF4-FFF2-40B4-BE49-F238E27FC236}">
                          <a16:creationId xmlns:a16="http://schemas.microsoft.com/office/drawing/2014/main" id="{F10CD1BE-A872-E069-0182-CFFD2C060A89}"/>
                        </a:ext>
                      </a:extLst>
                    </p:cNvPr>
                    <p:cNvSpPr/>
                    <p:nvPr/>
                  </p:nvSpPr>
                  <p:spPr>
                    <a:xfrm>
                      <a:off x="5606898" y="3614476"/>
                      <a:ext cx="514457" cy="412508"/>
                    </a:xfrm>
                    <a:custGeom>
                      <a:avLst/>
                      <a:gdLst>
                        <a:gd name="connsiteX0" fmla="*/ 204243 w 514457"/>
                        <a:gd name="connsiteY0" fmla="*/ 1264 h 412508"/>
                        <a:gd name="connsiteX1" fmla="*/ 7308 w 514457"/>
                        <a:gd name="connsiteY1" fmla="*/ 68712 h 412508"/>
                        <a:gd name="connsiteX2" fmla="*/ 1050 w 514457"/>
                        <a:gd name="connsiteY2" fmla="*/ 83735 h 412508"/>
                        <a:gd name="connsiteX3" fmla="*/ 276081 w 514457"/>
                        <a:gd name="connsiteY3" fmla="*/ 404157 h 412508"/>
                        <a:gd name="connsiteX4" fmla="*/ 296604 w 514457"/>
                        <a:gd name="connsiteY4" fmla="*/ 412360 h 412508"/>
                        <a:gd name="connsiteX5" fmla="*/ 508107 w 514457"/>
                        <a:gd name="connsiteY5" fmla="*/ 388511 h 412508"/>
                        <a:gd name="connsiteX6" fmla="*/ 512968 w 514457"/>
                        <a:gd name="connsiteY6" fmla="*/ 377057 h 412508"/>
                        <a:gd name="connsiteX7" fmla="*/ 230341 w 514457"/>
                        <a:gd name="connsiteY7" fmla="*/ 9133 h 412508"/>
                        <a:gd name="connsiteX8" fmla="*/ 204243 w 514457"/>
                        <a:gd name="connsiteY8" fmla="*/ 1264 h 41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457" h="412508">
                          <a:moveTo>
                            <a:pt x="204243" y="1264"/>
                          </a:moveTo>
                          <a:lnTo>
                            <a:pt x="7308" y="68712"/>
                          </a:lnTo>
                          <a:cubicBezTo>
                            <a:pt x="2569" y="70337"/>
                            <a:pt x="-2156" y="78631"/>
                            <a:pt x="1050" y="83735"/>
                          </a:cubicBezTo>
                          <a:lnTo>
                            <a:pt x="276081" y="404157"/>
                          </a:lnTo>
                          <a:cubicBezTo>
                            <a:pt x="281109" y="410158"/>
                            <a:pt x="288826" y="413242"/>
                            <a:pt x="296604" y="412360"/>
                          </a:cubicBezTo>
                          <a:lnTo>
                            <a:pt x="508107" y="388511"/>
                          </a:lnTo>
                          <a:cubicBezTo>
                            <a:pt x="513636" y="387888"/>
                            <a:pt x="516356" y="381462"/>
                            <a:pt x="512968" y="377057"/>
                          </a:cubicBezTo>
                          <a:lnTo>
                            <a:pt x="230341" y="9133"/>
                          </a:lnTo>
                          <a:cubicBezTo>
                            <a:pt x="224234" y="1173"/>
                            <a:pt x="213722" y="-1987"/>
                            <a:pt x="204243" y="1264"/>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0" name="Freeform: Shape 979">
                      <a:extLst>
                        <a:ext uri="{FF2B5EF4-FFF2-40B4-BE49-F238E27FC236}">
                          <a16:creationId xmlns:a16="http://schemas.microsoft.com/office/drawing/2014/main" id="{81C3951A-7CDC-A08C-7FCA-3C087CF57322}"/>
                        </a:ext>
                      </a:extLst>
                    </p:cNvPr>
                    <p:cNvSpPr/>
                    <p:nvPr/>
                  </p:nvSpPr>
                  <p:spPr>
                    <a:xfrm>
                      <a:off x="5645091" y="3609265"/>
                      <a:ext cx="143856" cy="84571"/>
                    </a:xfrm>
                    <a:custGeom>
                      <a:avLst/>
                      <a:gdLst>
                        <a:gd name="connsiteX0" fmla="*/ 26172 w 143856"/>
                        <a:gd name="connsiteY0" fmla="*/ 84571 h 84571"/>
                        <a:gd name="connsiteX1" fmla="*/ 2748 w 143856"/>
                        <a:gd name="connsiteY1" fmla="*/ 54721 h 84571"/>
                        <a:gd name="connsiteX2" fmla="*/ 8216 w 143856"/>
                        <a:gd name="connsiteY2" fmla="*/ 34775 h 84571"/>
                        <a:gd name="connsiteX3" fmla="*/ 100729 w 143856"/>
                        <a:gd name="connsiteY3" fmla="*/ 869 h 84571"/>
                        <a:gd name="connsiteX4" fmla="*/ 115677 w 143856"/>
                        <a:gd name="connsiteY4" fmla="*/ 5138 h 84571"/>
                        <a:gd name="connsiteX5" fmla="*/ 143856 w 143856"/>
                        <a:gd name="connsiteY5" fmla="*/ 42340 h 84571"/>
                        <a:gd name="connsiteX6" fmla="*/ 26157 w 143856"/>
                        <a:gd name="connsiteY6" fmla="*/ 84571 h 8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56" h="84571">
                          <a:moveTo>
                            <a:pt x="26172" y="84571"/>
                          </a:moveTo>
                          <a:lnTo>
                            <a:pt x="2748" y="54721"/>
                          </a:lnTo>
                          <a:cubicBezTo>
                            <a:pt x="-2584" y="47915"/>
                            <a:pt x="165" y="37889"/>
                            <a:pt x="8216" y="34775"/>
                          </a:cubicBezTo>
                          <a:lnTo>
                            <a:pt x="100729" y="869"/>
                          </a:lnTo>
                          <a:cubicBezTo>
                            <a:pt x="106107" y="-1212"/>
                            <a:pt x="112213" y="535"/>
                            <a:pt x="115677" y="5138"/>
                          </a:cubicBezTo>
                          <a:lnTo>
                            <a:pt x="143856" y="42340"/>
                          </a:lnTo>
                          <a:lnTo>
                            <a:pt x="26157" y="84571"/>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62" name="Freeform: Shape 2361">
                      <a:extLst>
                        <a:ext uri="{FF2B5EF4-FFF2-40B4-BE49-F238E27FC236}">
                          <a16:creationId xmlns:a16="http://schemas.microsoft.com/office/drawing/2014/main" id="{7A316E37-B1EF-09AE-7C8B-FAB4BA84EA2A}"/>
                        </a:ext>
                      </a:extLst>
                    </p:cNvPr>
                    <p:cNvSpPr/>
                    <p:nvPr/>
                  </p:nvSpPr>
                  <p:spPr>
                    <a:xfrm>
                      <a:off x="5607051" y="3620977"/>
                      <a:ext cx="511979" cy="412508"/>
                    </a:xfrm>
                    <a:custGeom>
                      <a:avLst/>
                      <a:gdLst>
                        <a:gd name="connsiteX0" fmla="*/ 201766 w 511979"/>
                        <a:gd name="connsiteY0" fmla="*/ 1264 h 412508"/>
                        <a:gd name="connsiteX1" fmla="*/ 4830 w 511979"/>
                        <a:gd name="connsiteY1" fmla="*/ 68712 h 412508"/>
                        <a:gd name="connsiteX2" fmla="*/ 1671 w 511979"/>
                        <a:gd name="connsiteY2" fmla="*/ 80059 h 412508"/>
                        <a:gd name="connsiteX3" fmla="*/ 273603 w 511979"/>
                        <a:gd name="connsiteY3" fmla="*/ 404157 h 412508"/>
                        <a:gd name="connsiteX4" fmla="*/ 294126 w 511979"/>
                        <a:gd name="connsiteY4" fmla="*/ 412360 h 412508"/>
                        <a:gd name="connsiteX5" fmla="*/ 505629 w 511979"/>
                        <a:gd name="connsiteY5" fmla="*/ 388511 h 412508"/>
                        <a:gd name="connsiteX6" fmla="*/ 510490 w 511979"/>
                        <a:gd name="connsiteY6" fmla="*/ 377057 h 412508"/>
                        <a:gd name="connsiteX7" fmla="*/ 227863 w 511979"/>
                        <a:gd name="connsiteY7" fmla="*/ 9133 h 412508"/>
                        <a:gd name="connsiteX8" fmla="*/ 201766 w 511979"/>
                        <a:gd name="connsiteY8" fmla="*/ 1264 h 41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979" h="412508">
                          <a:moveTo>
                            <a:pt x="201766" y="1264"/>
                          </a:moveTo>
                          <a:lnTo>
                            <a:pt x="4830" y="68712"/>
                          </a:lnTo>
                          <a:cubicBezTo>
                            <a:pt x="91" y="70337"/>
                            <a:pt x="-1550" y="76216"/>
                            <a:pt x="1671" y="80059"/>
                          </a:cubicBezTo>
                          <a:lnTo>
                            <a:pt x="273603" y="404157"/>
                          </a:lnTo>
                          <a:cubicBezTo>
                            <a:pt x="278631" y="410158"/>
                            <a:pt x="286348" y="413241"/>
                            <a:pt x="294126" y="412360"/>
                          </a:cubicBezTo>
                          <a:lnTo>
                            <a:pt x="505629" y="388511"/>
                          </a:lnTo>
                          <a:cubicBezTo>
                            <a:pt x="511159" y="387888"/>
                            <a:pt x="513878" y="381462"/>
                            <a:pt x="510490" y="377057"/>
                          </a:cubicBezTo>
                          <a:lnTo>
                            <a:pt x="227863" y="9133"/>
                          </a:lnTo>
                          <a:cubicBezTo>
                            <a:pt x="221757" y="1173"/>
                            <a:pt x="211245" y="-1987"/>
                            <a:pt x="201766" y="1264"/>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73" name="Graphic 3200">
                    <a:extLst>
                      <a:ext uri="{FF2B5EF4-FFF2-40B4-BE49-F238E27FC236}">
                        <a16:creationId xmlns:a16="http://schemas.microsoft.com/office/drawing/2014/main" id="{B5FE90CE-6E74-183C-AC1E-209869DD1C3D}"/>
                      </a:ext>
                    </a:extLst>
                  </p:cNvPr>
                  <p:cNvGrpSpPr/>
                  <p:nvPr/>
                </p:nvGrpSpPr>
                <p:grpSpPr>
                  <a:xfrm>
                    <a:off x="5743816" y="3726329"/>
                    <a:ext cx="364526" cy="237174"/>
                    <a:chOff x="5743816" y="3726329"/>
                    <a:chExt cx="364526" cy="237174"/>
                  </a:xfrm>
                </p:grpSpPr>
                <p:sp>
                  <p:nvSpPr>
                    <p:cNvPr id="974" name="Freeform: Shape 973">
                      <a:extLst>
                        <a:ext uri="{FF2B5EF4-FFF2-40B4-BE49-F238E27FC236}">
                          <a16:creationId xmlns:a16="http://schemas.microsoft.com/office/drawing/2014/main" id="{F97882A4-8280-42D8-7469-CCA581E5CF27}"/>
                        </a:ext>
                      </a:extLst>
                    </p:cNvPr>
                    <p:cNvSpPr/>
                    <p:nvPr/>
                  </p:nvSpPr>
                  <p:spPr>
                    <a:xfrm>
                      <a:off x="5743816" y="3726329"/>
                      <a:ext cx="364526" cy="237174"/>
                    </a:xfrm>
                    <a:custGeom>
                      <a:avLst/>
                      <a:gdLst>
                        <a:gd name="connsiteX0" fmla="*/ 340519 w 364526"/>
                        <a:gd name="connsiteY0" fmla="*/ 151681 h 237174"/>
                        <a:gd name="connsiteX1" fmla="*/ 272737 w 364526"/>
                        <a:gd name="connsiteY1" fmla="*/ 89019 h 237174"/>
                        <a:gd name="connsiteX2" fmla="*/ 214267 w 364526"/>
                        <a:gd name="connsiteY2" fmla="*/ 15009 h 237174"/>
                        <a:gd name="connsiteX3" fmla="*/ 172340 w 364526"/>
                        <a:gd name="connsiteY3" fmla="*/ 0 h 237174"/>
                        <a:gd name="connsiteX4" fmla="*/ 198499 w 364526"/>
                        <a:gd name="connsiteY4" fmla="*/ 34043 h 237174"/>
                        <a:gd name="connsiteX5" fmla="*/ 199699 w 364526"/>
                        <a:gd name="connsiteY5" fmla="*/ 78993 h 237174"/>
                        <a:gd name="connsiteX6" fmla="*/ 75589 w 364526"/>
                        <a:gd name="connsiteY6" fmla="*/ 74162 h 237174"/>
                        <a:gd name="connsiteX7" fmla="*/ 151 w 364526"/>
                        <a:gd name="connsiteY7" fmla="*/ 79099 h 237174"/>
                        <a:gd name="connsiteX8" fmla="*/ 18198 w 364526"/>
                        <a:gd name="connsiteY8" fmla="*/ 98316 h 237174"/>
                        <a:gd name="connsiteX9" fmla="*/ 2536 w 364526"/>
                        <a:gd name="connsiteY9" fmla="*/ 110590 h 237174"/>
                        <a:gd name="connsiteX10" fmla="*/ 40878 w 364526"/>
                        <a:gd name="connsiteY10" fmla="*/ 135655 h 237174"/>
                        <a:gd name="connsiteX11" fmla="*/ 32326 w 364526"/>
                        <a:gd name="connsiteY11" fmla="*/ 145392 h 237174"/>
                        <a:gd name="connsiteX12" fmla="*/ 68632 w 364526"/>
                        <a:gd name="connsiteY12" fmla="*/ 168513 h 237174"/>
                        <a:gd name="connsiteX13" fmla="*/ 167494 w 364526"/>
                        <a:gd name="connsiteY13" fmla="*/ 194702 h 237174"/>
                        <a:gd name="connsiteX14" fmla="*/ 278889 w 364526"/>
                        <a:gd name="connsiteY14" fmla="*/ 229793 h 237174"/>
                        <a:gd name="connsiteX15" fmla="*/ 338650 w 364526"/>
                        <a:gd name="connsiteY15" fmla="*/ 232527 h 237174"/>
                        <a:gd name="connsiteX16" fmla="*/ 340549 w 364526"/>
                        <a:gd name="connsiteY16" fmla="*/ 151681 h 23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4526" h="237174">
                          <a:moveTo>
                            <a:pt x="340519" y="151681"/>
                          </a:moveTo>
                          <a:cubicBezTo>
                            <a:pt x="313008" y="130763"/>
                            <a:pt x="289735" y="121694"/>
                            <a:pt x="272737" y="89019"/>
                          </a:cubicBezTo>
                          <a:cubicBezTo>
                            <a:pt x="255738" y="56343"/>
                            <a:pt x="242978" y="31157"/>
                            <a:pt x="214267" y="15009"/>
                          </a:cubicBezTo>
                          <a:cubicBezTo>
                            <a:pt x="192590" y="2825"/>
                            <a:pt x="182746" y="1428"/>
                            <a:pt x="172340" y="0"/>
                          </a:cubicBezTo>
                          <a:lnTo>
                            <a:pt x="198499" y="34043"/>
                          </a:lnTo>
                          <a:cubicBezTo>
                            <a:pt x="202084" y="39101"/>
                            <a:pt x="214525" y="66399"/>
                            <a:pt x="199699" y="78993"/>
                          </a:cubicBezTo>
                          <a:cubicBezTo>
                            <a:pt x="185435" y="91100"/>
                            <a:pt x="126296" y="81454"/>
                            <a:pt x="75589" y="74162"/>
                          </a:cubicBezTo>
                          <a:cubicBezTo>
                            <a:pt x="24882" y="66870"/>
                            <a:pt x="1792" y="69088"/>
                            <a:pt x="151" y="79099"/>
                          </a:cubicBezTo>
                          <a:cubicBezTo>
                            <a:pt x="-1930" y="91753"/>
                            <a:pt x="18198" y="98316"/>
                            <a:pt x="18198" y="98316"/>
                          </a:cubicBezTo>
                          <a:cubicBezTo>
                            <a:pt x="18198" y="98316"/>
                            <a:pt x="-1353" y="95931"/>
                            <a:pt x="2536" y="110590"/>
                          </a:cubicBezTo>
                          <a:cubicBezTo>
                            <a:pt x="6425" y="125234"/>
                            <a:pt x="40878" y="135655"/>
                            <a:pt x="40878" y="135655"/>
                          </a:cubicBezTo>
                          <a:cubicBezTo>
                            <a:pt x="40878" y="135655"/>
                            <a:pt x="30472" y="132693"/>
                            <a:pt x="32326" y="145392"/>
                          </a:cubicBezTo>
                          <a:cubicBezTo>
                            <a:pt x="34179" y="158092"/>
                            <a:pt x="68632" y="168513"/>
                            <a:pt x="68632" y="168513"/>
                          </a:cubicBezTo>
                          <a:cubicBezTo>
                            <a:pt x="65062" y="188489"/>
                            <a:pt x="103981" y="194094"/>
                            <a:pt x="167494" y="194702"/>
                          </a:cubicBezTo>
                          <a:cubicBezTo>
                            <a:pt x="208889" y="195097"/>
                            <a:pt x="245530" y="214967"/>
                            <a:pt x="278889" y="229793"/>
                          </a:cubicBezTo>
                          <a:cubicBezTo>
                            <a:pt x="312233" y="244619"/>
                            <a:pt x="338650" y="232527"/>
                            <a:pt x="338650" y="232527"/>
                          </a:cubicBezTo>
                          <a:cubicBezTo>
                            <a:pt x="377417" y="221362"/>
                            <a:pt x="368045" y="172599"/>
                            <a:pt x="340549" y="151681"/>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5" name="Freeform: Shape 974">
                      <a:extLst>
                        <a:ext uri="{FF2B5EF4-FFF2-40B4-BE49-F238E27FC236}">
                          <a16:creationId xmlns:a16="http://schemas.microsoft.com/office/drawing/2014/main" id="{0EF9E63F-9EF9-41C5-9EB9-BEB56C7867B3}"/>
                        </a:ext>
                      </a:extLst>
                    </p:cNvPr>
                    <p:cNvSpPr/>
                    <p:nvPr/>
                  </p:nvSpPr>
                  <p:spPr>
                    <a:xfrm>
                      <a:off x="5761750" y="3824372"/>
                      <a:ext cx="114762" cy="11498"/>
                    </a:xfrm>
                    <a:custGeom>
                      <a:avLst/>
                      <a:gdLst>
                        <a:gd name="connsiteX0" fmla="*/ 279 w 114762"/>
                        <a:gd name="connsiteY0" fmla="*/ 0 h 11498"/>
                        <a:gd name="connsiteX1" fmla="*/ 28898 w 114762"/>
                        <a:gd name="connsiteY1" fmla="*/ 2020 h 11498"/>
                        <a:gd name="connsiteX2" fmla="*/ 57503 w 114762"/>
                        <a:gd name="connsiteY2" fmla="*/ 3995 h 11498"/>
                        <a:gd name="connsiteX3" fmla="*/ 71813 w 114762"/>
                        <a:gd name="connsiteY3" fmla="*/ 4724 h 11498"/>
                        <a:gd name="connsiteX4" fmla="*/ 86077 w 114762"/>
                        <a:gd name="connsiteY4" fmla="*/ 5788 h 11498"/>
                        <a:gd name="connsiteX5" fmla="*/ 100296 w 114762"/>
                        <a:gd name="connsiteY5" fmla="*/ 7489 h 11498"/>
                        <a:gd name="connsiteX6" fmla="*/ 107405 w 114762"/>
                        <a:gd name="connsiteY6" fmla="*/ 8461 h 11498"/>
                        <a:gd name="connsiteX7" fmla="*/ 114529 w 114762"/>
                        <a:gd name="connsiteY7" fmla="*/ 9601 h 11498"/>
                        <a:gd name="connsiteX8" fmla="*/ 114757 w 114762"/>
                        <a:gd name="connsiteY8" fmla="*/ 9935 h 11498"/>
                        <a:gd name="connsiteX9" fmla="*/ 114529 w 114762"/>
                        <a:gd name="connsiteY9" fmla="*/ 10163 h 11498"/>
                        <a:gd name="connsiteX10" fmla="*/ 107329 w 114762"/>
                        <a:gd name="connsiteY10" fmla="*/ 11013 h 11498"/>
                        <a:gd name="connsiteX11" fmla="*/ 100113 w 114762"/>
                        <a:gd name="connsiteY11" fmla="*/ 11408 h 11498"/>
                        <a:gd name="connsiteX12" fmla="*/ 85697 w 114762"/>
                        <a:gd name="connsiteY12" fmla="*/ 11348 h 11498"/>
                        <a:gd name="connsiteX13" fmla="*/ 71372 w 114762"/>
                        <a:gd name="connsiteY13" fmla="*/ 10223 h 11498"/>
                        <a:gd name="connsiteX14" fmla="*/ 57108 w 114762"/>
                        <a:gd name="connsiteY14" fmla="*/ 8446 h 11498"/>
                        <a:gd name="connsiteX15" fmla="*/ 42859 w 114762"/>
                        <a:gd name="connsiteY15" fmla="*/ 6714 h 11498"/>
                        <a:gd name="connsiteX16" fmla="*/ 28625 w 114762"/>
                        <a:gd name="connsiteY16" fmla="*/ 4800 h 11498"/>
                        <a:gd name="connsiteX17" fmla="*/ 233 w 114762"/>
                        <a:gd name="connsiteY17" fmla="*/ 562 h 11498"/>
                        <a:gd name="connsiteX18" fmla="*/ 5 w 114762"/>
                        <a:gd name="connsiteY18" fmla="*/ 243 h 11498"/>
                        <a:gd name="connsiteX19" fmla="*/ 294 w 114762"/>
                        <a:gd name="connsiteY19" fmla="*/ 15 h 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762" h="11498">
                          <a:moveTo>
                            <a:pt x="279" y="0"/>
                          </a:moveTo>
                          <a:lnTo>
                            <a:pt x="28898" y="2020"/>
                          </a:lnTo>
                          <a:lnTo>
                            <a:pt x="57503" y="3995"/>
                          </a:lnTo>
                          <a:cubicBezTo>
                            <a:pt x="62273" y="4314"/>
                            <a:pt x="67043" y="4512"/>
                            <a:pt x="71813" y="4724"/>
                          </a:cubicBezTo>
                          <a:cubicBezTo>
                            <a:pt x="76582" y="4922"/>
                            <a:pt x="81337" y="5317"/>
                            <a:pt x="86077" y="5788"/>
                          </a:cubicBezTo>
                          <a:cubicBezTo>
                            <a:pt x="90816" y="6289"/>
                            <a:pt x="95556" y="6836"/>
                            <a:pt x="100296" y="7489"/>
                          </a:cubicBezTo>
                          <a:cubicBezTo>
                            <a:pt x="102665" y="7763"/>
                            <a:pt x="105035" y="8112"/>
                            <a:pt x="107405" y="8461"/>
                          </a:cubicBezTo>
                          <a:cubicBezTo>
                            <a:pt x="109775" y="8811"/>
                            <a:pt x="112144" y="9130"/>
                            <a:pt x="114529" y="9601"/>
                          </a:cubicBezTo>
                          <a:cubicBezTo>
                            <a:pt x="114697" y="9631"/>
                            <a:pt x="114787" y="9783"/>
                            <a:pt x="114757" y="9935"/>
                          </a:cubicBezTo>
                          <a:cubicBezTo>
                            <a:pt x="114727" y="10056"/>
                            <a:pt x="114636" y="10147"/>
                            <a:pt x="114529" y="10163"/>
                          </a:cubicBezTo>
                          <a:cubicBezTo>
                            <a:pt x="112129" y="10542"/>
                            <a:pt x="109729" y="10786"/>
                            <a:pt x="107329" y="11013"/>
                          </a:cubicBezTo>
                          <a:cubicBezTo>
                            <a:pt x="104929" y="11180"/>
                            <a:pt x="102513" y="11317"/>
                            <a:pt x="100113" y="11408"/>
                          </a:cubicBezTo>
                          <a:cubicBezTo>
                            <a:pt x="95313" y="11530"/>
                            <a:pt x="90497" y="11545"/>
                            <a:pt x="85697" y="11348"/>
                          </a:cubicBezTo>
                          <a:cubicBezTo>
                            <a:pt x="80897" y="11196"/>
                            <a:pt x="76127" y="10786"/>
                            <a:pt x="71372" y="10223"/>
                          </a:cubicBezTo>
                          <a:lnTo>
                            <a:pt x="57108" y="8446"/>
                          </a:lnTo>
                          <a:lnTo>
                            <a:pt x="42859" y="6714"/>
                          </a:lnTo>
                          <a:lnTo>
                            <a:pt x="28625" y="4800"/>
                          </a:lnTo>
                          <a:cubicBezTo>
                            <a:pt x="19146" y="3433"/>
                            <a:pt x="9682" y="2096"/>
                            <a:pt x="233" y="562"/>
                          </a:cubicBezTo>
                          <a:cubicBezTo>
                            <a:pt x="81" y="532"/>
                            <a:pt x="-25" y="395"/>
                            <a:pt x="5" y="243"/>
                          </a:cubicBezTo>
                          <a:cubicBezTo>
                            <a:pt x="36" y="106"/>
                            <a:pt x="157" y="0"/>
                            <a:pt x="294" y="15"/>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6" name="Freeform: Shape 975">
                      <a:extLst>
                        <a:ext uri="{FF2B5EF4-FFF2-40B4-BE49-F238E27FC236}">
                          <a16:creationId xmlns:a16="http://schemas.microsoft.com/office/drawing/2014/main" id="{EC6D0504-AC94-A76E-9ADD-7E59F8C9E0CB}"/>
                        </a:ext>
                      </a:extLst>
                    </p:cNvPr>
                    <p:cNvSpPr/>
                    <p:nvPr/>
                  </p:nvSpPr>
                  <p:spPr>
                    <a:xfrm>
                      <a:off x="5784415" y="3861711"/>
                      <a:ext cx="94999" cy="8251"/>
                    </a:xfrm>
                    <a:custGeom>
                      <a:avLst/>
                      <a:gdLst>
                        <a:gd name="connsiteX0" fmla="*/ 279 w 94999"/>
                        <a:gd name="connsiteY0" fmla="*/ 0 h 8251"/>
                        <a:gd name="connsiteX1" fmla="*/ 23946 w 94999"/>
                        <a:gd name="connsiteY1" fmla="*/ 1078 h 8251"/>
                        <a:gd name="connsiteX2" fmla="*/ 35765 w 94999"/>
                        <a:gd name="connsiteY2" fmla="*/ 1565 h 8251"/>
                        <a:gd name="connsiteX3" fmla="*/ 47583 w 94999"/>
                        <a:gd name="connsiteY3" fmla="*/ 2020 h 8251"/>
                        <a:gd name="connsiteX4" fmla="*/ 59402 w 94999"/>
                        <a:gd name="connsiteY4" fmla="*/ 2187 h 8251"/>
                        <a:gd name="connsiteX5" fmla="*/ 71190 w 94999"/>
                        <a:gd name="connsiteY5" fmla="*/ 2674 h 8251"/>
                        <a:gd name="connsiteX6" fmla="*/ 77069 w 94999"/>
                        <a:gd name="connsiteY6" fmla="*/ 3175 h 8251"/>
                        <a:gd name="connsiteX7" fmla="*/ 82948 w 94999"/>
                        <a:gd name="connsiteY7" fmla="*/ 3783 h 8251"/>
                        <a:gd name="connsiteX8" fmla="*/ 88842 w 94999"/>
                        <a:gd name="connsiteY8" fmla="*/ 4481 h 8251"/>
                        <a:gd name="connsiteX9" fmla="*/ 94766 w 94999"/>
                        <a:gd name="connsiteY9" fmla="*/ 5362 h 8251"/>
                        <a:gd name="connsiteX10" fmla="*/ 94994 w 94999"/>
                        <a:gd name="connsiteY10" fmla="*/ 5697 h 8251"/>
                        <a:gd name="connsiteX11" fmla="*/ 94781 w 94999"/>
                        <a:gd name="connsiteY11" fmla="*/ 5924 h 8251"/>
                        <a:gd name="connsiteX12" fmla="*/ 88857 w 94999"/>
                        <a:gd name="connsiteY12" fmla="*/ 7033 h 8251"/>
                        <a:gd name="connsiteX13" fmla="*/ 82902 w 94999"/>
                        <a:gd name="connsiteY13" fmla="*/ 7702 h 8251"/>
                        <a:gd name="connsiteX14" fmla="*/ 76947 w 94999"/>
                        <a:gd name="connsiteY14" fmla="*/ 8097 h 8251"/>
                        <a:gd name="connsiteX15" fmla="*/ 70992 w 94999"/>
                        <a:gd name="connsiteY15" fmla="*/ 8249 h 8251"/>
                        <a:gd name="connsiteX16" fmla="*/ 59113 w 94999"/>
                        <a:gd name="connsiteY16" fmla="*/ 7702 h 8251"/>
                        <a:gd name="connsiteX17" fmla="*/ 47294 w 94999"/>
                        <a:gd name="connsiteY17" fmla="*/ 6471 h 8251"/>
                        <a:gd name="connsiteX18" fmla="*/ 35491 w 94999"/>
                        <a:gd name="connsiteY18" fmla="*/ 5271 h 8251"/>
                        <a:gd name="connsiteX19" fmla="*/ 23718 w 94999"/>
                        <a:gd name="connsiteY19" fmla="*/ 3874 h 8251"/>
                        <a:gd name="connsiteX20" fmla="*/ 233 w 94999"/>
                        <a:gd name="connsiteY20" fmla="*/ 577 h 8251"/>
                        <a:gd name="connsiteX21" fmla="*/ 5 w 94999"/>
                        <a:gd name="connsiteY21" fmla="*/ 258 h 8251"/>
                        <a:gd name="connsiteX22" fmla="*/ 294 w 94999"/>
                        <a:gd name="connsiteY22" fmla="*/ 30 h 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4999" h="8251">
                          <a:moveTo>
                            <a:pt x="279" y="0"/>
                          </a:moveTo>
                          <a:cubicBezTo>
                            <a:pt x="8178" y="365"/>
                            <a:pt x="16047" y="790"/>
                            <a:pt x="23946" y="1078"/>
                          </a:cubicBezTo>
                          <a:lnTo>
                            <a:pt x="35765" y="1565"/>
                          </a:lnTo>
                          <a:lnTo>
                            <a:pt x="47583" y="2020"/>
                          </a:lnTo>
                          <a:cubicBezTo>
                            <a:pt x="51517" y="2172"/>
                            <a:pt x="55467" y="2157"/>
                            <a:pt x="59402" y="2187"/>
                          </a:cubicBezTo>
                          <a:cubicBezTo>
                            <a:pt x="63336" y="2203"/>
                            <a:pt x="67271" y="2385"/>
                            <a:pt x="71190" y="2674"/>
                          </a:cubicBezTo>
                          <a:lnTo>
                            <a:pt x="77069" y="3175"/>
                          </a:lnTo>
                          <a:lnTo>
                            <a:pt x="82948" y="3783"/>
                          </a:lnTo>
                          <a:cubicBezTo>
                            <a:pt x="84907" y="3965"/>
                            <a:pt x="86867" y="4254"/>
                            <a:pt x="88842" y="4481"/>
                          </a:cubicBezTo>
                          <a:cubicBezTo>
                            <a:pt x="90801" y="4740"/>
                            <a:pt x="92776" y="4983"/>
                            <a:pt x="94766" y="5362"/>
                          </a:cubicBezTo>
                          <a:cubicBezTo>
                            <a:pt x="94933" y="5393"/>
                            <a:pt x="95024" y="5545"/>
                            <a:pt x="94994" y="5697"/>
                          </a:cubicBezTo>
                          <a:cubicBezTo>
                            <a:pt x="94979" y="5803"/>
                            <a:pt x="94888" y="5894"/>
                            <a:pt x="94781" y="5924"/>
                          </a:cubicBezTo>
                          <a:cubicBezTo>
                            <a:pt x="92822" y="6380"/>
                            <a:pt x="90847" y="6699"/>
                            <a:pt x="88857" y="7033"/>
                          </a:cubicBezTo>
                          <a:cubicBezTo>
                            <a:pt x="86882" y="7307"/>
                            <a:pt x="84892" y="7519"/>
                            <a:pt x="82902" y="7702"/>
                          </a:cubicBezTo>
                          <a:cubicBezTo>
                            <a:pt x="80912" y="7930"/>
                            <a:pt x="78937" y="7960"/>
                            <a:pt x="76947" y="8097"/>
                          </a:cubicBezTo>
                          <a:cubicBezTo>
                            <a:pt x="74957" y="8203"/>
                            <a:pt x="72967" y="8249"/>
                            <a:pt x="70992" y="8249"/>
                          </a:cubicBezTo>
                          <a:cubicBezTo>
                            <a:pt x="67027" y="8279"/>
                            <a:pt x="63063" y="8081"/>
                            <a:pt x="59113" y="7702"/>
                          </a:cubicBezTo>
                          <a:lnTo>
                            <a:pt x="47294" y="6471"/>
                          </a:lnTo>
                          <a:lnTo>
                            <a:pt x="35491" y="5271"/>
                          </a:lnTo>
                          <a:lnTo>
                            <a:pt x="23718" y="3874"/>
                          </a:lnTo>
                          <a:cubicBezTo>
                            <a:pt x="15880" y="2825"/>
                            <a:pt x="8041" y="1823"/>
                            <a:pt x="233" y="577"/>
                          </a:cubicBezTo>
                          <a:cubicBezTo>
                            <a:pt x="81" y="547"/>
                            <a:pt x="-25" y="410"/>
                            <a:pt x="5" y="258"/>
                          </a:cubicBezTo>
                          <a:cubicBezTo>
                            <a:pt x="20" y="121"/>
                            <a:pt x="157" y="15"/>
                            <a:pt x="294" y="30"/>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7" name="Freeform: Shape 976">
                      <a:extLst>
                        <a:ext uri="{FF2B5EF4-FFF2-40B4-BE49-F238E27FC236}">
                          <a16:creationId xmlns:a16="http://schemas.microsoft.com/office/drawing/2014/main" id="{168493C9-0236-09EE-994C-0B39403F597F}"/>
                        </a:ext>
                      </a:extLst>
                    </p:cNvPr>
                    <p:cNvSpPr/>
                    <p:nvPr/>
                  </p:nvSpPr>
                  <p:spPr>
                    <a:xfrm>
                      <a:off x="5812154" y="3894552"/>
                      <a:ext cx="79793" cy="6194"/>
                    </a:xfrm>
                    <a:custGeom>
                      <a:avLst/>
                      <a:gdLst>
                        <a:gd name="connsiteX0" fmla="*/ 294 w 79793"/>
                        <a:gd name="connsiteY0" fmla="*/ 17 h 6194"/>
                        <a:gd name="connsiteX1" fmla="*/ 20148 w 79793"/>
                        <a:gd name="connsiteY1" fmla="*/ 427 h 6194"/>
                        <a:gd name="connsiteX2" fmla="*/ 30068 w 79793"/>
                        <a:gd name="connsiteY2" fmla="*/ 548 h 6194"/>
                        <a:gd name="connsiteX3" fmla="*/ 39973 w 79793"/>
                        <a:gd name="connsiteY3" fmla="*/ 640 h 6194"/>
                        <a:gd name="connsiteX4" fmla="*/ 49877 w 79793"/>
                        <a:gd name="connsiteY4" fmla="*/ 427 h 6194"/>
                        <a:gd name="connsiteX5" fmla="*/ 59751 w 79793"/>
                        <a:gd name="connsiteY5" fmla="*/ 579 h 6194"/>
                        <a:gd name="connsiteX6" fmla="*/ 69625 w 79793"/>
                        <a:gd name="connsiteY6" fmla="*/ 1369 h 6194"/>
                        <a:gd name="connsiteX7" fmla="*/ 79560 w 79793"/>
                        <a:gd name="connsiteY7" fmla="*/ 2781 h 6194"/>
                        <a:gd name="connsiteX8" fmla="*/ 79788 w 79793"/>
                        <a:gd name="connsiteY8" fmla="*/ 3116 h 6194"/>
                        <a:gd name="connsiteX9" fmla="*/ 79590 w 79793"/>
                        <a:gd name="connsiteY9" fmla="*/ 3328 h 6194"/>
                        <a:gd name="connsiteX10" fmla="*/ 69686 w 79793"/>
                        <a:gd name="connsiteY10" fmla="*/ 5273 h 6194"/>
                        <a:gd name="connsiteX11" fmla="*/ 59706 w 79793"/>
                        <a:gd name="connsiteY11" fmla="*/ 6139 h 6194"/>
                        <a:gd name="connsiteX12" fmla="*/ 49725 w 79793"/>
                        <a:gd name="connsiteY12" fmla="*/ 5926 h 6194"/>
                        <a:gd name="connsiteX13" fmla="*/ 39790 w 79793"/>
                        <a:gd name="connsiteY13" fmla="*/ 5075 h 6194"/>
                        <a:gd name="connsiteX14" fmla="*/ 29870 w 79793"/>
                        <a:gd name="connsiteY14" fmla="*/ 4225 h 6194"/>
                        <a:gd name="connsiteX15" fmla="*/ 19966 w 79793"/>
                        <a:gd name="connsiteY15" fmla="*/ 3176 h 6194"/>
                        <a:gd name="connsiteX16" fmla="*/ 233 w 79793"/>
                        <a:gd name="connsiteY16" fmla="*/ 548 h 6194"/>
                        <a:gd name="connsiteX17" fmla="*/ 5 w 79793"/>
                        <a:gd name="connsiteY17" fmla="*/ 229 h 6194"/>
                        <a:gd name="connsiteX18" fmla="*/ 294 w 79793"/>
                        <a:gd name="connsiteY18" fmla="*/ 1 h 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793" h="6194">
                          <a:moveTo>
                            <a:pt x="294" y="17"/>
                          </a:moveTo>
                          <a:cubicBezTo>
                            <a:pt x="6917" y="169"/>
                            <a:pt x="13540" y="366"/>
                            <a:pt x="20148" y="427"/>
                          </a:cubicBezTo>
                          <a:cubicBezTo>
                            <a:pt x="23460" y="487"/>
                            <a:pt x="26756" y="533"/>
                            <a:pt x="30068" y="548"/>
                          </a:cubicBezTo>
                          <a:cubicBezTo>
                            <a:pt x="33364" y="609"/>
                            <a:pt x="36676" y="624"/>
                            <a:pt x="39973" y="640"/>
                          </a:cubicBezTo>
                          <a:cubicBezTo>
                            <a:pt x="43269" y="640"/>
                            <a:pt x="46580" y="548"/>
                            <a:pt x="49877" y="427"/>
                          </a:cubicBezTo>
                          <a:cubicBezTo>
                            <a:pt x="53173" y="351"/>
                            <a:pt x="56470" y="366"/>
                            <a:pt x="59751" y="579"/>
                          </a:cubicBezTo>
                          <a:cubicBezTo>
                            <a:pt x="63032" y="746"/>
                            <a:pt x="66329" y="1035"/>
                            <a:pt x="69625" y="1369"/>
                          </a:cubicBezTo>
                          <a:cubicBezTo>
                            <a:pt x="72922" y="1733"/>
                            <a:pt x="76218" y="2098"/>
                            <a:pt x="79560" y="2781"/>
                          </a:cubicBezTo>
                          <a:cubicBezTo>
                            <a:pt x="79727" y="2812"/>
                            <a:pt x="79818" y="2964"/>
                            <a:pt x="79788" y="3116"/>
                          </a:cubicBezTo>
                          <a:cubicBezTo>
                            <a:pt x="79773" y="3222"/>
                            <a:pt x="79681" y="3298"/>
                            <a:pt x="79590" y="3328"/>
                          </a:cubicBezTo>
                          <a:cubicBezTo>
                            <a:pt x="76309" y="4225"/>
                            <a:pt x="72998" y="4862"/>
                            <a:pt x="69686" y="5273"/>
                          </a:cubicBezTo>
                          <a:cubicBezTo>
                            <a:pt x="66359" y="5744"/>
                            <a:pt x="63032" y="5972"/>
                            <a:pt x="59706" y="6139"/>
                          </a:cubicBezTo>
                          <a:cubicBezTo>
                            <a:pt x="56378" y="6245"/>
                            <a:pt x="53052" y="6214"/>
                            <a:pt x="49725" y="5926"/>
                          </a:cubicBezTo>
                          <a:cubicBezTo>
                            <a:pt x="46414" y="5668"/>
                            <a:pt x="43102" y="5318"/>
                            <a:pt x="39790" y="5075"/>
                          </a:cubicBezTo>
                          <a:cubicBezTo>
                            <a:pt x="36479" y="4802"/>
                            <a:pt x="33167" y="4544"/>
                            <a:pt x="29870" y="4225"/>
                          </a:cubicBezTo>
                          <a:cubicBezTo>
                            <a:pt x="26559" y="3905"/>
                            <a:pt x="23263" y="3541"/>
                            <a:pt x="19966" y="3176"/>
                          </a:cubicBezTo>
                          <a:cubicBezTo>
                            <a:pt x="13373" y="2371"/>
                            <a:pt x="6795" y="1581"/>
                            <a:pt x="233" y="548"/>
                          </a:cubicBezTo>
                          <a:cubicBezTo>
                            <a:pt x="81" y="518"/>
                            <a:pt x="-25" y="381"/>
                            <a:pt x="5" y="229"/>
                          </a:cubicBezTo>
                          <a:cubicBezTo>
                            <a:pt x="20" y="92"/>
                            <a:pt x="157" y="-14"/>
                            <a:pt x="294" y="1"/>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871" name="Graphic 3200">
                  <a:extLst>
                    <a:ext uri="{FF2B5EF4-FFF2-40B4-BE49-F238E27FC236}">
                      <a16:creationId xmlns:a16="http://schemas.microsoft.com/office/drawing/2014/main" id="{C2EB3CC0-FB5F-CE0C-C15D-3B08158B95D0}"/>
                    </a:ext>
                  </a:extLst>
                </p:cNvPr>
                <p:cNvGrpSpPr/>
                <p:nvPr/>
              </p:nvGrpSpPr>
              <p:grpSpPr>
                <a:xfrm>
                  <a:off x="5970650" y="3859463"/>
                  <a:ext cx="582198" cy="344820"/>
                  <a:chOff x="5970650" y="3859463"/>
                  <a:chExt cx="582198" cy="344820"/>
                </a:xfrm>
              </p:grpSpPr>
              <p:sp>
                <p:nvSpPr>
                  <p:cNvPr id="1872" name="Freeform: Shape 1871">
                    <a:extLst>
                      <a:ext uri="{FF2B5EF4-FFF2-40B4-BE49-F238E27FC236}">
                        <a16:creationId xmlns:a16="http://schemas.microsoft.com/office/drawing/2014/main" id="{7342E758-8E1B-E992-03E1-46CE9BF9AF51}"/>
                      </a:ext>
                    </a:extLst>
                  </p:cNvPr>
                  <p:cNvSpPr/>
                  <p:nvPr/>
                </p:nvSpPr>
                <p:spPr>
                  <a:xfrm>
                    <a:off x="5970650" y="3861437"/>
                    <a:ext cx="569491" cy="339188"/>
                  </a:xfrm>
                  <a:custGeom>
                    <a:avLst/>
                    <a:gdLst>
                      <a:gd name="connsiteX0" fmla="*/ 469684 w 569491"/>
                      <a:gd name="connsiteY0" fmla="*/ 337679 h 339188"/>
                      <a:gd name="connsiteX1" fmla="*/ 247805 w 569491"/>
                      <a:gd name="connsiteY1" fmla="*/ 231145 h 339188"/>
                      <a:gd name="connsiteX2" fmla="*/ 20033 w 569491"/>
                      <a:gd name="connsiteY2" fmla="*/ 73950 h 339188"/>
                      <a:gd name="connsiteX3" fmla="*/ 88711 w 569491"/>
                      <a:gd name="connsiteY3" fmla="*/ 6639 h 339188"/>
                      <a:gd name="connsiteX4" fmla="*/ 334819 w 569491"/>
                      <a:gd name="connsiteY4" fmla="*/ 88533 h 339188"/>
                      <a:gd name="connsiteX5" fmla="*/ 556940 w 569491"/>
                      <a:gd name="connsiteY5" fmla="*/ 192484 h 339188"/>
                      <a:gd name="connsiteX6" fmla="*/ 469684 w 569491"/>
                      <a:gd name="connsiteY6" fmla="*/ 337694 h 33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491" h="339188">
                        <a:moveTo>
                          <a:pt x="469684" y="337679"/>
                        </a:moveTo>
                        <a:cubicBezTo>
                          <a:pt x="469684" y="337679"/>
                          <a:pt x="382063" y="312082"/>
                          <a:pt x="247805" y="231145"/>
                        </a:cubicBezTo>
                        <a:cubicBezTo>
                          <a:pt x="113548" y="150223"/>
                          <a:pt x="82103" y="124323"/>
                          <a:pt x="20033" y="73950"/>
                        </a:cubicBezTo>
                        <a:cubicBezTo>
                          <a:pt x="-26300" y="36352"/>
                          <a:pt x="12346" y="-19247"/>
                          <a:pt x="88711" y="6639"/>
                        </a:cubicBezTo>
                        <a:cubicBezTo>
                          <a:pt x="165075" y="32524"/>
                          <a:pt x="234938" y="48641"/>
                          <a:pt x="334819" y="88533"/>
                        </a:cubicBezTo>
                        <a:cubicBezTo>
                          <a:pt x="434699" y="128424"/>
                          <a:pt x="528989" y="155692"/>
                          <a:pt x="556940" y="192484"/>
                        </a:cubicBezTo>
                        <a:cubicBezTo>
                          <a:pt x="596467" y="244513"/>
                          <a:pt x="535825" y="353174"/>
                          <a:pt x="469684" y="33769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73" name="Freeform: Shape 1872">
                    <a:extLst>
                      <a:ext uri="{FF2B5EF4-FFF2-40B4-BE49-F238E27FC236}">
                        <a16:creationId xmlns:a16="http://schemas.microsoft.com/office/drawing/2014/main" id="{7F331F74-92BD-FD18-AEF4-CD4527AEABA8}"/>
                      </a:ext>
                    </a:extLst>
                  </p:cNvPr>
                  <p:cNvSpPr/>
                  <p:nvPr/>
                </p:nvSpPr>
                <p:spPr>
                  <a:xfrm>
                    <a:off x="6011919" y="3859463"/>
                    <a:ext cx="540928" cy="344820"/>
                  </a:xfrm>
                  <a:custGeom>
                    <a:avLst/>
                    <a:gdLst>
                      <a:gd name="connsiteX0" fmla="*/ 534781 w 540928"/>
                      <a:gd name="connsiteY0" fmla="*/ 205184 h 344820"/>
                      <a:gd name="connsiteX1" fmla="*/ 460117 w 540928"/>
                      <a:gd name="connsiteY1" fmla="*/ 147595 h 344820"/>
                      <a:gd name="connsiteX2" fmla="*/ 60840 w 540928"/>
                      <a:gd name="connsiteY2" fmla="*/ 0 h 344820"/>
                      <a:gd name="connsiteX3" fmla="*/ 0 w 540928"/>
                      <a:gd name="connsiteY3" fmla="*/ 116210 h 344820"/>
                      <a:gd name="connsiteX4" fmla="*/ 433382 w 540928"/>
                      <a:gd name="connsiteY4" fmla="*/ 344514 h 344820"/>
                      <a:gd name="connsiteX5" fmla="*/ 517767 w 540928"/>
                      <a:gd name="connsiteY5" fmla="*/ 300628 h 344820"/>
                      <a:gd name="connsiteX6" fmla="*/ 534766 w 540928"/>
                      <a:gd name="connsiteY6" fmla="*/ 205184 h 34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928" h="344820">
                        <a:moveTo>
                          <a:pt x="534781" y="205184"/>
                        </a:moveTo>
                        <a:cubicBezTo>
                          <a:pt x="534781" y="205184"/>
                          <a:pt x="526517" y="178569"/>
                          <a:pt x="460117" y="147595"/>
                        </a:cubicBezTo>
                        <a:cubicBezTo>
                          <a:pt x="398245" y="118732"/>
                          <a:pt x="60840" y="0"/>
                          <a:pt x="60840" y="0"/>
                        </a:cubicBezTo>
                        <a:cubicBezTo>
                          <a:pt x="60840" y="0"/>
                          <a:pt x="38357" y="30260"/>
                          <a:pt x="0" y="116210"/>
                        </a:cubicBezTo>
                        <a:cubicBezTo>
                          <a:pt x="0" y="116210"/>
                          <a:pt x="349832" y="335187"/>
                          <a:pt x="433382" y="344514"/>
                        </a:cubicBezTo>
                        <a:cubicBezTo>
                          <a:pt x="443088" y="344834"/>
                          <a:pt x="481613" y="350074"/>
                          <a:pt x="517767" y="300628"/>
                        </a:cubicBezTo>
                        <a:cubicBezTo>
                          <a:pt x="556716" y="247384"/>
                          <a:pt x="534766" y="205184"/>
                          <a:pt x="534766" y="205184"/>
                        </a:cubicBezTo>
                        <a:close/>
                      </a:path>
                    </a:pathLst>
                  </a:custGeom>
                  <a:solidFill>
                    <a:srgbClr val="81D9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sp>
        <p:nvSpPr>
          <p:cNvPr id="6" name="TextBox 5">
            <a:extLst>
              <a:ext uri="{FF2B5EF4-FFF2-40B4-BE49-F238E27FC236}">
                <a16:creationId xmlns:a16="http://schemas.microsoft.com/office/drawing/2014/main" id="{DB34FA77-A0E4-BE5E-F2AA-88B3C504852B}"/>
              </a:ext>
            </a:extLst>
          </p:cNvPr>
          <p:cNvSpPr txBox="1"/>
          <p:nvPr>
            <p:custDataLst>
              <p:tags r:id="rId7"/>
            </p:custDataLst>
          </p:nvPr>
        </p:nvSpPr>
        <p:spPr>
          <a:xfrm>
            <a:off x="7580946" y="1958770"/>
            <a:ext cx="4230840" cy="2462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91E1"/>
                </a:solidFill>
                <a:effectLst/>
                <a:uLnTx/>
                <a:uFillTx/>
                <a:latin typeface="Calibri"/>
                <a:ea typeface="ヒラギノ明朝 ProN W3" pitchFamily="1" charset="-128"/>
                <a:cs typeface="+mn-cs"/>
                <a:sym typeface="Times New Roman" pitchFamily="18" charset="0"/>
              </a:rPr>
              <a:t>Questions</a:t>
            </a:r>
            <a:endParaRPr kumimoji="0" lang="en-US" sz="2000" b="1" i="0" u="none" strike="noStrike" kern="1200" cap="none" spc="0" normalizeH="0" baseline="0" noProof="0" dirty="0">
              <a:ln>
                <a:noFill/>
              </a:ln>
              <a:solidFill>
                <a:srgbClr val="0091E1"/>
              </a:solidFill>
              <a:effectLst/>
              <a:uLnTx/>
              <a:uFillTx/>
              <a:latin typeface="Calibri"/>
              <a:ea typeface="ヒラギノ明朝 ProN W3" pitchFamily="1" charset="-128"/>
              <a:cs typeface="+mn-cs"/>
              <a:sym typeface="Times New Roman" pitchFamily="18" charset="0"/>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What specific phrases or nonverbal communication skills did you see in the demo that you thought worked well?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What questions do you have about the communication approach?</a:t>
            </a: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id="{8FB54FD9-B2B0-E81E-DF85-223164215438}"/>
              </a:ext>
            </a:extLst>
          </p:cNvPr>
          <p:cNvGrpSpPr/>
          <p:nvPr>
            <p:custDataLst>
              <p:tags r:id="rId8"/>
            </p:custDataLst>
          </p:nvPr>
        </p:nvGrpSpPr>
        <p:grpSpPr>
          <a:xfrm>
            <a:off x="278574" y="5597728"/>
            <a:ext cx="11604816" cy="338554"/>
            <a:chOff x="278574" y="5597728"/>
            <a:chExt cx="11604816" cy="338554"/>
          </a:xfrm>
        </p:grpSpPr>
        <p:sp>
          <p:nvSpPr>
            <p:cNvPr id="8" name="TextBox 7">
              <a:extLst>
                <a:ext uri="{FF2B5EF4-FFF2-40B4-BE49-F238E27FC236}">
                  <a16:creationId xmlns:a16="http://schemas.microsoft.com/office/drawing/2014/main" id="{D8FA0384-B7BB-D124-D3EB-3E92128D8D4D}"/>
                </a:ext>
              </a:extLst>
            </p:cNvPr>
            <p:cNvSpPr txBox="1"/>
            <p:nvPr/>
          </p:nvSpPr>
          <p:spPr>
            <a:xfrm>
              <a:off x="548640" y="5597728"/>
              <a:ext cx="11334750" cy="338554"/>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1E1"/>
                  </a:solidFill>
                  <a:effectLst/>
                  <a:uLnTx/>
                  <a:uFillTx/>
                  <a:latin typeface="Calibri"/>
                  <a:ea typeface="+mn-ea"/>
                  <a:cs typeface="+mn-cs"/>
                </a:rPr>
                <a:t>Share one specific new communication skill you will commit to using in your next patient/family meeting.</a:t>
              </a:r>
            </a:p>
          </p:txBody>
        </p:sp>
        <p:sp>
          <p:nvSpPr>
            <p:cNvPr id="9" name="Isosceles Triangle 8">
              <a:extLst>
                <a:ext uri="{FF2B5EF4-FFF2-40B4-BE49-F238E27FC236}">
                  <a16:creationId xmlns:a16="http://schemas.microsoft.com/office/drawing/2014/main" id="{E80E2E4F-993A-3FBC-E090-05FDC54A92F3}"/>
                </a:ext>
              </a:extLst>
            </p:cNvPr>
            <p:cNvSpPr/>
            <p:nvPr/>
          </p:nvSpPr>
          <p:spPr>
            <a:xfrm rot="5400000">
              <a:off x="209772" y="5671280"/>
              <a:ext cx="329056" cy="19145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0" name="Slide Number Placeholder 9">
            <a:extLst>
              <a:ext uri="{FF2B5EF4-FFF2-40B4-BE49-F238E27FC236}">
                <a16:creationId xmlns:a16="http://schemas.microsoft.com/office/drawing/2014/main" id="{6B10AE3B-EB37-6123-5748-061DCD55E3B7}"/>
              </a:ext>
            </a:extLst>
          </p:cNvPr>
          <p:cNvSpPr>
            <a:spLocks noGrp="1"/>
          </p:cNvSpPr>
          <p:nvPr>
            <p:ph type="sldNum" sz="quarter" idx="4"/>
            <p:custDataLst>
              <p:tags r:id="rId9"/>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553039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89AF3-2FAE-CA5A-C569-36C5363CE9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7" name="think-cell data - do not delete" hidden="1">
                        <a:extLst>
                          <a:ext uri="{FF2B5EF4-FFF2-40B4-BE49-F238E27FC236}">
                            <a16:creationId xmlns:a16="http://schemas.microsoft.com/office/drawing/2014/main" id="{C3489AF3-2FAE-CA5A-C569-36C5363CE96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A391574A-6504-B9BC-390C-99CEC7EF8CBD}"/>
              </a:ext>
            </a:extLst>
          </p:cNvPr>
          <p:cNvSpPr/>
          <p:nvPr>
            <p:custDataLst>
              <p:tags r:id="rId3"/>
            </p:custDataLst>
          </p:nvPr>
        </p:nvSpPr>
        <p:spPr bwMode="auto">
          <a:xfrm>
            <a:off x="268225" y="1205647"/>
            <a:ext cx="11657075" cy="4832092"/>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2" name="Title 1">
            <a:extLst>
              <a:ext uri="{FF2B5EF4-FFF2-40B4-BE49-F238E27FC236}">
                <a16:creationId xmlns:a16="http://schemas.microsoft.com/office/drawing/2014/main" id="{58C22D0D-B0BD-96EB-2F7A-4CB8EC9AE9AD}"/>
              </a:ext>
            </a:extLst>
          </p:cNvPr>
          <p:cNvSpPr>
            <a:spLocks noGrp="1"/>
          </p:cNvSpPr>
          <p:nvPr>
            <p:ph type="title"/>
            <p:custDataLst>
              <p:tags r:id="rId4"/>
            </p:custDataLst>
          </p:nvPr>
        </p:nvSpPr>
        <p:spPr>
          <a:xfrm>
            <a:off x="266700" y="235313"/>
            <a:ext cx="11658600" cy="877824"/>
          </a:xfrm>
        </p:spPr>
        <p:txBody>
          <a:bodyPr vert="horz">
            <a:normAutofit/>
          </a:bodyPr>
          <a:lstStyle/>
          <a:p>
            <a:r>
              <a:rPr lang="en-US" dirty="0"/>
              <a:t>Document the Surrogate Decision Maker</a:t>
            </a:r>
          </a:p>
        </p:txBody>
      </p:sp>
      <p:pic>
        <p:nvPicPr>
          <p:cNvPr id="15" name="Picture 14">
            <a:extLst>
              <a:ext uri="{FF2B5EF4-FFF2-40B4-BE49-F238E27FC236}">
                <a16:creationId xmlns:a16="http://schemas.microsoft.com/office/drawing/2014/main" id="{C9252AC0-D233-42FE-5403-5D565F263E69}"/>
              </a:ext>
            </a:extLst>
          </p:cNvPr>
          <p:cNvPicPr>
            <a:picLocks noChangeAspect="1"/>
          </p:cNvPicPr>
          <p:nvPr>
            <p:custDataLst>
              <p:tags r:id="rId5"/>
            </p:custDataLst>
          </p:nvPr>
        </p:nvPicPr>
        <p:blipFill>
          <a:blip r:embed="rId13"/>
          <a:stretch>
            <a:fillRect/>
          </a:stretch>
        </p:blipFill>
        <p:spPr>
          <a:xfrm>
            <a:off x="426188" y="963827"/>
            <a:ext cx="1371600" cy="5101094"/>
          </a:xfrm>
          <a:prstGeom prst="rect">
            <a:avLst/>
          </a:prstGeom>
          <a:ln>
            <a:solidFill>
              <a:schemeClr val="bg2">
                <a:lumMod val="40000"/>
                <a:lumOff val="60000"/>
              </a:schemeClr>
            </a:solidFill>
          </a:ln>
          <a:effectLst/>
        </p:spPr>
      </p:pic>
      <p:sp>
        <p:nvSpPr>
          <p:cNvPr id="24" name="TextBox 23">
            <a:extLst>
              <a:ext uri="{FF2B5EF4-FFF2-40B4-BE49-F238E27FC236}">
                <a16:creationId xmlns:a16="http://schemas.microsoft.com/office/drawing/2014/main" id="{9ED60154-27A7-0603-2852-C743B1535A68}"/>
              </a:ext>
            </a:extLst>
          </p:cNvPr>
          <p:cNvSpPr txBox="1"/>
          <p:nvPr>
            <p:custDataLst>
              <p:tags r:id="rId6"/>
            </p:custDataLst>
          </p:nvPr>
        </p:nvSpPr>
        <p:spPr>
          <a:xfrm>
            <a:off x="2014826" y="1237006"/>
            <a:ext cx="9750986"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1464B9"/>
                </a:solidFill>
                <a:effectLst/>
                <a:uLnTx/>
                <a:uFillTx/>
                <a:latin typeface="Calibri"/>
                <a:ea typeface="Calibri" panose="020F0502020204030204"/>
                <a:cs typeface="Calibri"/>
              </a:rPr>
              <a:t>Use the “Advance Care Planning” tab</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a:ea typeface="Calibri" panose="020F0502020204030204"/>
                <a:cs typeface="Calibri"/>
              </a:rPr>
              <a:t>Patient Relationships</a:t>
            </a:r>
            <a:r>
              <a:rPr kumimoji="0" lang="en-US" sz="2200" b="0" i="0" u="none" strike="noStrike" kern="1200" cap="none" spc="0" normalizeH="0" baseline="0" noProof="0" dirty="0">
                <a:ln>
                  <a:noFill/>
                </a:ln>
                <a:solidFill>
                  <a:prstClr val="black"/>
                </a:solidFill>
                <a:effectLst/>
                <a:uLnTx/>
                <a:uFillTx/>
                <a:latin typeface="Calibri"/>
                <a:ea typeface="Calibri" panose="020F0502020204030204"/>
                <a:cs typeface="Calibri"/>
              </a:rPr>
              <a:t>: Add name, contact, and relationship (if not already completed), and designate the appropriate type of decision-maker (Durable Power of Attorney for Healthcare, Guardian, Next-of-Kin Decision Maker,  Verbally Designated Decision Maker, or Patient Advocate for Mental Health care).</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Calibri"/>
              <a:ea typeface="Calibri" panose="020F0502020204030204"/>
              <a:cs typeface="Calibri"/>
            </a:endParaRPr>
          </a:p>
        </p:txBody>
      </p:sp>
      <p:sp>
        <p:nvSpPr>
          <p:cNvPr id="21" name="Rectangle 20">
            <a:extLst>
              <a:ext uri="{FF2B5EF4-FFF2-40B4-BE49-F238E27FC236}">
                <a16:creationId xmlns:a16="http://schemas.microsoft.com/office/drawing/2014/main" id="{A9113973-7D44-6F9A-C0B8-A3D92724E0EE}"/>
              </a:ext>
            </a:extLst>
          </p:cNvPr>
          <p:cNvSpPr/>
          <p:nvPr>
            <p:custDataLst>
              <p:tags r:id="rId7"/>
            </p:custDataLst>
          </p:nvPr>
        </p:nvSpPr>
        <p:spPr>
          <a:xfrm>
            <a:off x="426188" y="3016025"/>
            <a:ext cx="1136798" cy="202019"/>
          </a:xfrm>
          <a:prstGeom prst="rect">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Slide Number Placeholder 8">
            <a:extLst>
              <a:ext uri="{FF2B5EF4-FFF2-40B4-BE49-F238E27FC236}">
                <a16:creationId xmlns:a16="http://schemas.microsoft.com/office/drawing/2014/main" id="{D2C9AB17-F710-9436-7729-C87BF1D6A354}"/>
              </a:ext>
            </a:extLst>
          </p:cNvPr>
          <p:cNvSpPr>
            <a:spLocks noGrp="1"/>
          </p:cNvSpPr>
          <p:nvPr>
            <p:ph type="sldNum" sz="quarter" idx="4"/>
            <p:custDataLst>
              <p:tags r:id="rId8"/>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1" name="Footer Placeholder 10">
            <a:extLst>
              <a:ext uri="{FF2B5EF4-FFF2-40B4-BE49-F238E27FC236}">
                <a16:creationId xmlns:a16="http://schemas.microsoft.com/office/drawing/2014/main" id="{47C0BE54-7EE6-4FEB-461C-35832AE75853}"/>
              </a:ext>
            </a:extLst>
          </p:cNvPr>
          <p:cNvSpPr>
            <a:spLocks noGrp="1"/>
          </p:cNvSpPr>
          <p:nvPr>
            <p:ph type="ftr" sz="quarter" idx="3"/>
            <p:custDataLst>
              <p:tags r:id="rId9"/>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2843(pptx)-E2 7-23-24</a:t>
            </a:r>
          </a:p>
        </p:txBody>
      </p:sp>
      <p:pic>
        <p:nvPicPr>
          <p:cNvPr id="3" name="Picture 4">
            <a:extLst>
              <a:ext uri="{FF2B5EF4-FFF2-40B4-BE49-F238E27FC236}">
                <a16:creationId xmlns:a16="http://schemas.microsoft.com/office/drawing/2014/main" id="{DB15C407-7BCE-76B7-BF4B-A9D3F6D074A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23329" y="3218044"/>
            <a:ext cx="7569850" cy="258588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920381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489AF3-2FAE-CA5A-C569-36C5363CE9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7" name="think-cell data - do not delete" hidden="1">
                        <a:extLst>
                          <a:ext uri="{FF2B5EF4-FFF2-40B4-BE49-F238E27FC236}">
                            <a16:creationId xmlns:a16="http://schemas.microsoft.com/office/drawing/2014/main" id="{C3489AF3-2FAE-CA5A-C569-36C5363CE96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A391574A-6504-B9BC-390C-99CEC7EF8CBD}"/>
              </a:ext>
            </a:extLst>
          </p:cNvPr>
          <p:cNvSpPr/>
          <p:nvPr>
            <p:custDataLst>
              <p:tags r:id="rId3"/>
            </p:custDataLst>
          </p:nvPr>
        </p:nvSpPr>
        <p:spPr bwMode="auto">
          <a:xfrm>
            <a:off x="268225" y="1205647"/>
            <a:ext cx="11657075" cy="4832092"/>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2" name="Title 1">
            <a:extLst>
              <a:ext uri="{FF2B5EF4-FFF2-40B4-BE49-F238E27FC236}">
                <a16:creationId xmlns:a16="http://schemas.microsoft.com/office/drawing/2014/main" id="{58C22D0D-B0BD-96EB-2F7A-4CB8EC9AE9AD}"/>
              </a:ext>
            </a:extLst>
          </p:cNvPr>
          <p:cNvSpPr>
            <a:spLocks noGrp="1"/>
          </p:cNvSpPr>
          <p:nvPr>
            <p:ph type="title"/>
            <p:custDataLst>
              <p:tags r:id="rId4"/>
            </p:custDataLst>
          </p:nvPr>
        </p:nvSpPr>
        <p:spPr>
          <a:xfrm>
            <a:off x="266700" y="235313"/>
            <a:ext cx="11658600" cy="877824"/>
          </a:xfrm>
        </p:spPr>
        <p:txBody>
          <a:bodyPr vert="horz">
            <a:normAutofit/>
          </a:bodyPr>
          <a:lstStyle/>
          <a:p>
            <a:r>
              <a:rPr lang="en-US" dirty="0"/>
              <a:t>Find the ACP Discussion Note and Verbal Designation Note</a:t>
            </a:r>
            <a:endParaRPr lang="en-US" sz="2000" i="1" dirty="0"/>
          </a:p>
        </p:txBody>
      </p:sp>
      <p:pic>
        <p:nvPicPr>
          <p:cNvPr id="15" name="Picture 14">
            <a:extLst>
              <a:ext uri="{FF2B5EF4-FFF2-40B4-BE49-F238E27FC236}">
                <a16:creationId xmlns:a16="http://schemas.microsoft.com/office/drawing/2014/main" id="{C9252AC0-D233-42FE-5403-5D565F263E69}"/>
              </a:ext>
            </a:extLst>
          </p:cNvPr>
          <p:cNvPicPr>
            <a:picLocks noChangeAspect="1"/>
          </p:cNvPicPr>
          <p:nvPr>
            <p:custDataLst>
              <p:tags r:id="rId5"/>
            </p:custDataLst>
          </p:nvPr>
        </p:nvPicPr>
        <p:blipFill>
          <a:blip r:embed="rId14"/>
          <a:stretch>
            <a:fillRect/>
          </a:stretch>
        </p:blipFill>
        <p:spPr>
          <a:xfrm>
            <a:off x="426188" y="963827"/>
            <a:ext cx="1371600" cy="5101094"/>
          </a:xfrm>
          <a:prstGeom prst="rect">
            <a:avLst/>
          </a:prstGeom>
          <a:ln>
            <a:solidFill>
              <a:schemeClr val="bg2">
                <a:lumMod val="40000"/>
                <a:lumOff val="60000"/>
              </a:schemeClr>
            </a:solidFill>
          </a:ln>
          <a:effectLst/>
        </p:spPr>
      </p:pic>
      <p:sp>
        <p:nvSpPr>
          <p:cNvPr id="24" name="TextBox 23">
            <a:extLst>
              <a:ext uri="{FF2B5EF4-FFF2-40B4-BE49-F238E27FC236}">
                <a16:creationId xmlns:a16="http://schemas.microsoft.com/office/drawing/2014/main" id="{9ED60154-27A7-0603-2852-C743B1535A68}"/>
              </a:ext>
            </a:extLst>
          </p:cNvPr>
          <p:cNvSpPr txBox="1"/>
          <p:nvPr>
            <p:custDataLst>
              <p:tags r:id="rId6"/>
            </p:custDataLst>
          </p:nvPr>
        </p:nvSpPr>
        <p:spPr>
          <a:xfrm>
            <a:off x="2014826" y="1237006"/>
            <a:ext cx="9750986" cy="34009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1464B9"/>
                </a:solidFill>
                <a:effectLst/>
                <a:uLnTx/>
                <a:uFillTx/>
                <a:latin typeface="Calibri"/>
                <a:ea typeface="Calibri" panose="020F0502020204030204"/>
                <a:cs typeface="Calibri"/>
              </a:rPr>
              <a:t>Use the “Advance Care Planning” tab</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a:ea typeface="Calibri" panose="020F0502020204030204"/>
                <a:cs typeface="Calibri"/>
              </a:rPr>
              <a:t>ACP Discussion Note</a:t>
            </a:r>
            <a:r>
              <a:rPr kumimoji="0" lang="en-US" sz="2200" b="0" i="0" u="none" strike="noStrike" kern="1200" cap="none" spc="0" normalizeH="0" baseline="0" noProof="0" dirty="0">
                <a:ln>
                  <a:noFill/>
                </a:ln>
                <a:solidFill>
                  <a:prstClr val="black"/>
                </a:solidFill>
                <a:effectLst/>
                <a:uLnTx/>
                <a:uFillTx/>
                <a:latin typeface="Calibri"/>
                <a:ea typeface="Calibri" panose="020F0502020204030204"/>
                <a:cs typeface="Calibri"/>
              </a:rPr>
              <a:t>: This section is for discussions of serious illness and treatment decisions, concerns about the future, and change in code status.</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a:ea typeface="Calibri" panose="020F0502020204030204"/>
                <a:cs typeface="Calibri"/>
              </a:rPr>
              <a:t>VD Maker</a:t>
            </a:r>
            <a:r>
              <a:rPr kumimoji="0" lang="en-US" sz="2200" b="0" i="0" u="none" strike="noStrike" kern="1200" cap="none" spc="0" normalizeH="0" baseline="0" noProof="0" dirty="0">
                <a:ln>
                  <a:noFill/>
                </a:ln>
                <a:solidFill>
                  <a:prstClr val="black"/>
                </a:solidFill>
                <a:effectLst/>
                <a:uLnTx/>
                <a:uFillTx/>
                <a:latin typeface="Calibri"/>
                <a:ea typeface="Calibri" panose="020F0502020204030204"/>
                <a:cs typeface="Calibri"/>
              </a:rPr>
              <a:t>: Document the verbally designated surrogate.</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400" b="1" i="0" u="none" strike="noStrike" kern="1200" cap="none" spc="0" normalizeH="0" baseline="0" noProof="0" dirty="0">
                <a:ln>
                  <a:noFill/>
                </a:ln>
                <a:solidFill>
                  <a:srgbClr val="1464B9"/>
                </a:solidFill>
                <a:effectLst/>
                <a:uLnTx/>
                <a:uFillTx/>
                <a:latin typeface="Calibri"/>
                <a:ea typeface="+mn-ea"/>
                <a:cs typeface="Calibri"/>
              </a:rPr>
              <a:t>Documentation Tip Sheet</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Calibri"/>
                <a:cs typeface="Calibri"/>
                <a:hlinkClick r:id="rId15"/>
              </a:rPr>
              <a:t>VerbalAuthorizationOfDecisionMaker.pdf (hfhs.org)</a:t>
            </a:r>
            <a:r>
              <a:rPr kumimoji="0" lang="en-US" sz="2200" b="0" i="0" u="none" strike="noStrike" kern="1200" cap="none" spc="0" normalizeH="0" baseline="0" noProof="0" dirty="0">
                <a:ln>
                  <a:noFill/>
                </a:ln>
                <a:solidFill>
                  <a:prstClr val="black"/>
                </a:solidFill>
                <a:effectLst/>
                <a:uLnTx/>
                <a:uFillTx/>
                <a:latin typeface="Calibri"/>
                <a:ea typeface="Calibri"/>
                <a:cs typeface="Calibri"/>
              </a:rPr>
              <a:t>.</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a:ea typeface="+mn-ea"/>
                <a:cs typeface="Calibri"/>
              </a:rPr>
              <a:t>This tip sheet walks you through where to find the VD note and how to document it in Epic.</a:t>
            </a:r>
            <a:endParaRPr kumimoji="0" lang="en-US" sz="2200" b="0" i="0" u="none" strike="noStrike" kern="1200" cap="none" spc="0" normalizeH="0" baseline="0" noProof="0" dirty="0">
              <a:ln>
                <a:noFill/>
              </a:ln>
              <a:solidFill>
                <a:prstClr val="black"/>
              </a:solidFill>
              <a:effectLst/>
              <a:uLnTx/>
              <a:uFillTx/>
              <a:latin typeface="Calibri"/>
              <a:ea typeface="Calibri" panose="020F0502020204030204"/>
              <a:cs typeface="Calibri"/>
            </a:endParaRPr>
          </a:p>
        </p:txBody>
      </p:sp>
      <p:sp>
        <p:nvSpPr>
          <p:cNvPr id="17" name="Rectangle 16">
            <a:extLst>
              <a:ext uri="{FF2B5EF4-FFF2-40B4-BE49-F238E27FC236}">
                <a16:creationId xmlns:a16="http://schemas.microsoft.com/office/drawing/2014/main" id="{FFD29813-0EE7-DE13-3343-0F5CDC91B1A5}"/>
              </a:ext>
            </a:extLst>
          </p:cNvPr>
          <p:cNvSpPr/>
          <p:nvPr>
            <p:custDataLst>
              <p:tags r:id="rId7"/>
            </p:custDataLst>
          </p:nvPr>
        </p:nvSpPr>
        <p:spPr>
          <a:xfrm>
            <a:off x="426188" y="4088507"/>
            <a:ext cx="1136798" cy="202019"/>
          </a:xfrm>
          <a:prstGeom prst="rect">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163D0F86-1C1E-0488-2238-F79B17717492}"/>
              </a:ext>
            </a:extLst>
          </p:cNvPr>
          <p:cNvSpPr/>
          <p:nvPr>
            <p:custDataLst>
              <p:tags r:id="rId8"/>
            </p:custDataLst>
          </p:nvPr>
        </p:nvSpPr>
        <p:spPr>
          <a:xfrm>
            <a:off x="426188" y="5160989"/>
            <a:ext cx="1136798" cy="202019"/>
          </a:xfrm>
          <a:prstGeom prst="rect">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Slide Number Placeholder 8">
            <a:extLst>
              <a:ext uri="{FF2B5EF4-FFF2-40B4-BE49-F238E27FC236}">
                <a16:creationId xmlns:a16="http://schemas.microsoft.com/office/drawing/2014/main" id="{D2C9AB17-F710-9436-7729-C87BF1D6A354}"/>
              </a:ext>
            </a:extLst>
          </p:cNvPr>
          <p:cNvSpPr>
            <a:spLocks noGrp="1"/>
          </p:cNvSpPr>
          <p:nvPr>
            <p:ph type="sldNum" sz="quarter" idx="4"/>
            <p:custDataLst>
              <p:tags r:id="rId9"/>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1" name="Footer Placeholder 10">
            <a:extLst>
              <a:ext uri="{FF2B5EF4-FFF2-40B4-BE49-F238E27FC236}">
                <a16:creationId xmlns:a16="http://schemas.microsoft.com/office/drawing/2014/main" id="{47C0BE54-7EE6-4FEB-461C-35832AE75853}"/>
              </a:ext>
            </a:extLst>
          </p:cNvPr>
          <p:cNvSpPr>
            <a:spLocks noGrp="1"/>
          </p:cNvSpPr>
          <p:nvPr>
            <p:ph type="ftr" sz="quarter" idx="3"/>
            <p:custDataLst>
              <p:tags r:id="rId10"/>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2843(pptx)-E2 7-23-24</a:t>
            </a:r>
          </a:p>
        </p:txBody>
      </p:sp>
    </p:spTree>
    <p:custDataLst>
      <p:tags r:id="rId1"/>
    </p:custDataLst>
    <p:extLst>
      <p:ext uri="{BB962C8B-B14F-4D97-AF65-F5344CB8AC3E}">
        <p14:creationId xmlns:p14="http://schemas.microsoft.com/office/powerpoint/2010/main" val="2684305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486AF2-CB49-9833-793A-E87240B810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5" name="think-cell data - do not delete" hidden="1">
                        <a:extLst>
                          <a:ext uri="{FF2B5EF4-FFF2-40B4-BE49-F238E27FC236}">
                            <a16:creationId xmlns:a16="http://schemas.microsoft.com/office/drawing/2014/main" id="{BE486AF2-CB49-9833-793A-E87240B8105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FD1347-8CC0-1905-4496-B4FA281BD917}"/>
              </a:ext>
            </a:extLst>
          </p:cNvPr>
          <p:cNvSpPr>
            <a:spLocks noGrp="1"/>
          </p:cNvSpPr>
          <p:nvPr>
            <p:ph type="title"/>
            <p:custDataLst>
              <p:tags r:id="rId3"/>
            </p:custDataLst>
          </p:nvPr>
        </p:nvSpPr>
        <p:spPr>
          <a:xfrm>
            <a:off x="266700" y="235313"/>
            <a:ext cx="11658600" cy="877824"/>
          </a:xfrm>
        </p:spPr>
        <p:txBody>
          <a:bodyPr vert="horz"/>
          <a:lstStyle/>
          <a:p>
            <a:r>
              <a:rPr lang="en-US" dirty="0"/>
              <a:t>Document within the ACP Discussion Note</a:t>
            </a:r>
          </a:p>
        </p:txBody>
      </p:sp>
      <p:sp>
        <p:nvSpPr>
          <p:cNvPr id="6" name="Slide Number Placeholder 5">
            <a:extLst>
              <a:ext uri="{FF2B5EF4-FFF2-40B4-BE49-F238E27FC236}">
                <a16:creationId xmlns:a16="http://schemas.microsoft.com/office/drawing/2014/main" id="{D98E8644-20B6-2B0D-2C7B-7799BCE032E9}"/>
              </a:ext>
            </a:extLst>
          </p:cNvPr>
          <p:cNvSpPr>
            <a:spLocks noGrp="1"/>
          </p:cNvSpPr>
          <p:nvPr>
            <p:ph type="sldNum" sz="quarter" idx="4"/>
            <p:custDataLst>
              <p:tags r:id="rId4"/>
            </p:custDataLst>
          </p:nvPr>
        </p:nvSpPr>
        <p:spPr>
          <a:xfrm>
            <a:off x="11441161" y="6192967"/>
            <a:ext cx="598439" cy="43643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4" name="Footer Placeholder 3">
            <a:extLst>
              <a:ext uri="{FF2B5EF4-FFF2-40B4-BE49-F238E27FC236}">
                <a16:creationId xmlns:a16="http://schemas.microsoft.com/office/drawing/2014/main" id="{53BFAA01-4FDA-28E0-DDA3-DC9B686E0CD8}"/>
              </a:ext>
            </a:extLst>
          </p:cNvPr>
          <p:cNvSpPr>
            <a:spLocks noGrp="1"/>
          </p:cNvSpPr>
          <p:nvPr>
            <p:ph type="ftr" sz="quarter" idx="3"/>
            <p:custDataLst>
              <p:tags r:id="rId5"/>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pic>
        <p:nvPicPr>
          <p:cNvPr id="12" name="Picture 11">
            <a:extLst>
              <a:ext uri="{FF2B5EF4-FFF2-40B4-BE49-F238E27FC236}">
                <a16:creationId xmlns:a16="http://schemas.microsoft.com/office/drawing/2014/main" id="{35C25290-5CA5-A1A4-82B4-946680E51F80}"/>
              </a:ext>
            </a:extLst>
          </p:cNvPr>
          <p:cNvPicPr>
            <a:picLocks noChangeAspect="1"/>
          </p:cNvPicPr>
          <p:nvPr>
            <p:custDataLst>
              <p:tags r:id="rId6"/>
            </p:custDataLst>
          </p:nvPr>
        </p:nvPicPr>
        <p:blipFill rotWithShape="1">
          <a:blip r:embed="rId12"/>
          <a:srcRect l="237" t="7184" r="61109" b="30582"/>
          <a:stretch/>
        </p:blipFill>
        <p:spPr>
          <a:xfrm>
            <a:off x="357138" y="1177081"/>
            <a:ext cx="5312692" cy="4572000"/>
          </a:xfrm>
          <a:prstGeom prst="rect">
            <a:avLst/>
          </a:prstGeom>
          <a:ln>
            <a:solidFill>
              <a:schemeClr val="bg2">
                <a:lumMod val="40000"/>
                <a:lumOff val="60000"/>
              </a:schemeClr>
            </a:solidFill>
          </a:ln>
          <a:effectLst/>
        </p:spPr>
      </p:pic>
      <p:pic>
        <p:nvPicPr>
          <p:cNvPr id="13" name="Picture 12">
            <a:extLst>
              <a:ext uri="{FF2B5EF4-FFF2-40B4-BE49-F238E27FC236}">
                <a16:creationId xmlns:a16="http://schemas.microsoft.com/office/drawing/2014/main" id="{54A03CC4-CCA2-EF14-EA9D-4C36F78D52B2}"/>
              </a:ext>
            </a:extLst>
          </p:cNvPr>
          <p:cNvPicPr>
            <a:picLocks noChangeAspect="1"/>
          </p:cNvPicPr>
          <p:nvPr>
            <p:custDataLst>
              <p:tags r:id="rId7"/>
            </p:custDataLst>
          </p:nvPr>
        </p:nvPicPr>
        <p:blipFill rotWithShape="1">
          <a:blip r:embed="rId13"/>
          <a:srcRect t="16913" r="4800"/>
          <a:stretch/>
        </p:blipFill>
        <p:spPr>
          <a:xfrm>
            <a:off x="6063110" y="1177081"/>
            <a:ext cx="5779699" cy="4572000"/>
          </a:xfrm>
          <a:prstGeom prst="rect">
            <a:avLst/>
          </a:prstGeom>
          <a:ln>
            <a:solidFill>
              <a:schemeClr val="bg2">
                <a:lumMod val="40000"/>
                <a:lumOff val="60000"/>
              </a:schemeClr>
            </a:solidFill>
          </a:ln>
          <a:effectLst/>
        </p:spPr>
      </p:pic>
      <p:sp>
        <p:nvSpPr>
          <p:cNvPr id="3" name="TextBox 2">
            <a:extLst>
              <a:ext uri="{FF2B5EF4-FFF2-40B4-BE49-F238E27FC236}">
                <a16:creationId xmlns:a16="http://schemas.microsoft.com/office/drawing/2014/main" id="{3E7BA666-827E-180D-02CE-265701691684}"/>
              </a:ext>
            </a:extLst>
          </p:cNvPr>
          <p:cNvSpPr txBox="1"/>
          <p:nvPr>
            <p:custDataLst>
              <p:tags r:id="rId8"/>
            </p:custDataLst>
          </p:nvPr>
        </p:nvSpPr>
        <p:spPr>
          <a:xfrm>
            <a:off x="-1157161" y="2577459"/>
            <a:ext cx="111815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PC 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6/24/24, screenshots, no source available</a:t>
            </a:r>
          </a:p>
        </p:txBody>
      </p:sp>
    </p:spTree>
    <p:custDataLst>
      <p:tags r:id="rId1"/>
    </p:custDataLst>
    <p:extLst>
      <p:ext uri="{BB962C8B-B14F-4D97-AF65-F5344CB8AC3E}">
        <p14:creationId xmlns:p14="http://schemas.microsoft.com/office/powerpoint/2010/main" val="2020529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193891C-842C-5AF5-583F-CDA8454DDCC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7" name="think-cell data - do not delete" hidden="1">
                        <a:extLst>
                          <a:ext uri="{FF2B5EF4-FFF2-40B4-BE49-F238E27FC236}">
                            <a16:creationId xmlns:a16="http://schemas.microsoft.com/office/drawing/2014/main" id="{2193891C-842C-5AF5-583F-CDA8454DDCC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9B47AC7-9CD3-BF6E-3913-101BC81D2898}"/>
              </a:ext>
            </a:extLst>
          </p:cNvPr>
          <p:cNvPicPr>
            <a:picLocks noChangeAspect="1"/>
          </p:cNvPicPr>
          <p:nvPr>
            <p:custDataLst>
              <p:tags r:id="rId3"/>
            </p:custDataLst>
          </p:nvPr>
        </p:nvPicPr>
        <p:blipFill>
          <a:blip r:embed="rId12"/>
          <a:stretch>
            <a:fillRect/>
          </a:stretch>
        </p:blipFill>
        <p:spPr>
          <a:xfrm>
            <a:off x="723888" y="1179812"/>
            <a:ext cx="4892064" cy="4572000"/>
          </a:xfrm>
          <a:prstGeom prst="rect">
            <a:avLst/>
          </a:prstGeom>
          <a:ln>
            <a:solidFill>
              <a:schemeClr val="bg2">
                <a:lumMod val="40000"/>
                <a:lumOff val="60000"/>
              </a:schemeClr>
            </a:solidFill>
          </a:ln>
          <a:effectLst/>
        </p:spPr>
      </p:pic>
      <p:sp>
        <p:nvSpPr>
          <p:cNvPr id="8" name="Title 1">
            <a:extLst>
              <a:ext uri="{FF2B5EF4-FFF2-40B4-BE49-F238E27FC236}">
                <a16:creationId xmlns:a16="http://schemas.microsoft.com/office/drawing/2014/main" id="{A3B5AA44-E263-B6FE-5D8A-834EA4E34542}"/>
              </a:ext>
            </a:extLst>
          </p:cNvPr>
          <p:cNvSpPr>
            <a:spLocks noGrp="1"/>
          </p:cNvSpPr>
          <p:nvPr>
            <p:ph type="title"/>
            <p:custDataLst>
              <p:tags r:id="rId4"/>
            </p:custDataLst>
          </p:nvPr>
        </p:nvSpPr>
        <p:spPr>
          <a:xfrm>
            <a:off x="266700" y="235313"/>
            <a:ext cx="11658600" cy="877824"/>
          </a:xfrm>
        </p:spPr>
        <p:txBody>
          <a:bodyPr vert="horz"/>
          <a:lstStyle/>
          <a:p>
            <a:r>
              <a:rPr lang="en-US" dirty="0"/>
              <a:t>Document within the ACP Discussion Note </a:t>
            </a:r>
            <a:r>
              <a:rPr lang="en-US" sz="1800" i="1" dirty="0"/>
              <a:t>(continued)</a:t>
            </a:r>
          </a:p>
        </p:txBody>
      </p:sp>
      <p:sp>
        <p:nvSpPr>
          <p:cNvPr id="9" name="Slide Number Placeholder 8">
            <a:extLst>
              <a:ext uri="{FF2B5EF4-FFF2-40B4-BE49-F238E27FC236}">
                <a16:creationId xmlns:a16="http://schemas.microsoft.com/office/drawing/2014/main" id="{7C5E306B-7EA9-E734-3482-2748B86FB344}"/>
              </a:ext>
            </a:extLst>
          </p:cNvPr>
          <p:cNvSpPr>
            <a:spLocks noGrp="1"/>
          </p:cNvSpPr>
          <p:nvPr>
            <p:ph type="sldNum" sz="quarter" idx="4"/>
            <p:custDataLst>
              <p:tags r:id="rId5"/>
            </p:custDataLst>
          </p:nvPr>
        </p:nvSpPr>
        <p:spPr>
          <a:xfrm>
            <a:off x="11441161" y="6192967"/>
            <a:ext cx="598439" cy="43643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2">
            <a:extLst>
              <a:ext uri="{FF2B5EF4-FFF2-40B4-BE49-F238E27FC236}">
                <a16:creationId xmlns:a16="http://schemas.microsoft.com/office/drawing/2014/main" id="{FD395FB5-145C-3AF3-3026-4278328321F8}"/>
              </a:ext>
            </a:extLst>
          </p:cNvPr>
          <p:cNvSpPr>
            <a:spLocks noGrp="1"/>
          </p:cNvSpPr>
          <p:nvPr>
            <p:ph type="ftr" sz="quarter" idx="3"/>
            <p:custDataLst>
              <p:tags r:id="rId6"/>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grpSp>
        <p:nvGrpSpPr>
          <p:cNvPr id="2" name="Group 1">
            <a:extLst>
              <a:ext uri="{FF2B5EF4-FFF2-40B4-BE49-F238E27FC236}">
                <a16:creationId xmlns:a16="http://schemas.microsoft.com/office/drawing/2014/main" id="{E9016CBA-D90D-670A-F0C1-C18FCC34816F}"/>
              </a:ext>
            </a:extLst>
          </p:cNvPr>
          <p:cNvGrpSpPr/>
          <p:nvPr>
            <p:custDataLst>
              <p:tags r:id="rId7"/>
            </p:custDataLst>
          </p:nvPr>
        </p:nvGrpSpPr>
        <p:grpSpPr>
          <a:xfrm>
            <a:off x="6527153" y="1179812"/>
            <a:ext cx="4973146" cy="4572000"/>
            <a:chOff x="6527153" y="1179812"/>
            <a:chExt cx="4973146" cy="4572000"/>
          </a:xfrm>
        </p:grpSpPr>
        <p:pic>
          <p:nvPicPr>
            <p:cNvPr id="15" name="Picture 14">
              <a:extLst>
                <a:ext uri="{FF2B5EF4-FFF2-40B4-BE49-F238E27FC236}">
                  <a16:creationId xmlns:a16="http://schemas.microsoft.com/office/drawing/2014/main" id="{43B524CD-4874-3A42-BE61-D03565E83A32}"/>
                </a:ext>
              </a:extLst>
            </p:cNvPr>
            <p:cNvPicPr>
              <a:picLocks noChangeAspect="1"/>
            </p:cNvPicPr>
            <p:nvPr/>
          </p:nvPicPr>
          <p:blipFill>
            <a:blip r:embed="rId13"/>
            <a:stretch>
              <a:fillRect/>
            </a:stretch>
          </p:blipFill>
          <p:spPr>
            <a:xfrm>
              <a:off x="6527153" y="1179812"/>
              <a:ext cx="4973145" cy="3177837"/>
            </a:xfrm>
            <a:prstGeom prst="rect">
              <a:avLst/>
            </a:prstGeom>
            <a:ln>
              <a:solidFill>
                <a:schemeClr val="bg2">
                  <a:lumMod val="40000"/>
                  <a:lumOff val="60000"/>
                </a:schemeClr>
              </a:solidFill>
            </a:ln>
            <a:effectLst/>
          </p:spPr>
        </p:pic>
        <p:pic>
          <p:nvPicPr>
            <p:cNvPr id="16" name="Picture 15">
              <a:extLst>
                <a:ext uri="{FF2B5EF4-FFF2-40B4-BE49-F238E27FC236}">
                  <a16:creationId xmlns:a16="http://schemas.microsoft.com/office/drawing/2014/main" id="{10E332F5-E2C6-45A0-1CDE-36B738D8AB2C}"/>
                </a:ext>
              </a:extLst>
            </p:cNvPr>
            <p:cNvPicPr>
              <a:picLocks noChangeAspect="1"/>
            </p:cNvPicPr>
            <p:nvPr/>
          </p:nvPicPr>
          <p:blipFill>
            <a:blip r:embed="rId14"/>
            <a:stretch>
              <a:fillRect/>
            </a:stretch>
          </p:blipFill>
          <p:spPr>
            <a:xfrm>
              <a:off x="6527154" y="4357649"/>
              <a:ext cx="4973145" cy="1394163"/>
            </a:xfrm>
            <a:prstGeom prst="rect">
              <a:avLst/>
            </a:prstGeom>
            <a:ln>
              <a:solidFill>
                <a:schemeClr val="bg2">
                  <a:lumMod val="40000"/>
                  <a:lumOff val="60000"/>
                </a:schemeClr>
              </a:solidFill>
            </a:ln>
            <a:effectLst/>
          </p:spPr>
        </p:pic>
      </p:grpSp>
      <p:sp>
        <p:nvSpPr>
          <p:cNvPr id="5" name="TextBox 4">
            <a:extLst>
              <a:ext uri="{FF2B5EF4-FFF2-40B4-BE49-F238E27FC236}">
                <a16:creationId xmlns:a16="http://schemas.microsoft.com/office/drawing/2014/main" id="{030E2325-B541-919E-CD4A-AB28B5B6715A}"/>
              </a:ext>
            </a:extLst>
          </p:cNvPr>
          <p:cNvSpPr txBox="1"/>
          <p:nvPr>
            <p:custDataLst>
              <p:tags r:id="rId8"/>
            </p:custDataLst>
          </p:nvPr>
        </p:nvSpPr>
        <p:spPr>
          <a:xfrm>
            <a:off x="-1157161" y="2577459"/>
            <a:ext cx="111815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PC 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6/24/24, screenshots, no source available</a:t>
            </a:r>
          </a:p>
        </p:txBody>
      </p:sp>
    </p:spTree>
    <p:custDataLst>
      <p:tags r:id="rId1"/>
    </p:custDataLst>
    <p:extLst>
      <p:ext uri="{BB962C8B-B14F-4D97-AF65-F5344CB8AC3E}">
        <p14:creationId xmlns:p14="http://schemas.microsoft.com/office/powerpoint/2010/main" val="1758368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9B87A-8D42-2E9A-6AFD-9F006FAA561B}"/>
              </a:ext>
            </a:extLst>
          </p:cNvPr>
          <p:cNvSpPr>
            <a:spLocks noGrp="1"/>
          </p:cNvSpPr>
          <p:nvPr>
            <p:ph type="title"/>
          </p:nvPr>
        </p:nvSpPr>
        <p:spPr/>
        <p:txBody>
          <a:bodyPr/>
          <a:lstStyle/>
          <a:p>
            <a:r>
              <a:rPr lang="en-US" dirty="0"/>
              <a:t>Adding the ACP Column in your Patient List  </a:t>
            </a:r>
          </a:p>
        </p:txBody>
      </p:sp>
      <p:sp>
        <p:nvSpPr>
          <p:cNvPr id="3" name="Slide Number Placeholder 2">
            <a:extLst>
              <a:ext uri="{FF2B5EF4-FFF2-40B4-BE49-F238E27FC236}">
                <a16:creationId xmlns:a16="http://schemas.microsoft.com/office/drawing/2014/main" id="{C1F3A2EF-D175-6C41-FF8D-D16863BDBBA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US" sz="1600" b="0" i="0" u="none" strike="noStrike" kern="1200" cap="none" spc="0" normalizeH="0" baseline="0" noProof="0">
                <a:ln>
                  <a:noFill/>
                </a:ln>
                <a:solidFill>
                  <a:srgbClr val="000064"/>
                </a:solidFill>
                <a:effectLst/>
                <a:uLnTx/>
                <a:uFillTx/>
                <a:latin typeface="Calibri"/>
                <a:ea typeface="+mn-ea"/>
                <a:cs typeface="+mn-cs"/>
              </a:rPr>
              <a:t>   </a:t>
            </a:r>
            <a:endParaRPr kumimoji="0" lang="en-US" sz="1600" b="0" i="0" u="none" strike="noStrike" kern="1200" cap="none" spc="0" normalizeH="0" baseline="0" noProof="0" dirty="0">
              <a:ln>
                <a:noFill/>
              </a:ln>
              <a:solidFill>
                <a:srgbClr val="000064"/>
              </a:solidFill>
              <a:effectLst/>
              <a:uLnTx/>
              <a:uFillTx/>
              <a:latin typeface="Calibri"/>
              <a:ea typeface="+mn-ea"/>
              <a:cs typeface="+mn-cs"/>
            </a:endParaRPr>
          </a:p>
        </p:txBody>
      </p:sp>
      <p:sp>
        <p:nvSpPr>
          <p:cNvPr id="4" name="Footer Placeholder 3">
            <a:extLst>
              <a:ext uri="{FF2B5EF4-FFF2-40B4-BE49-F238E27FC236}">
                <a16:creationId xmlns:a16="http://schemas.microsoft.com/office/drawing/2014/main" id="{5AE54037-868E-5EC1-3263-82EFF7FCC1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pic>
        <p:nvPicPr>
          <p:cNvPr id="6" name="Picture 5">
            <a:extLst>
              <a:ext uri="{FF2B5EF4-FFF2-40B4-BE49-F238E27FC236}">
                <a16:creationId xmlns:a16="http://schemas.microsoft.com/office/drawing/2014/main" id="{08B6F98F-785A-5D4E-BC9F-5032AE299284}"/>
              </a:ext>
            </a:extLst>
          </p:cNvPr>
          <p:cNvPicPr>
            <a:picLocks noChangeAspect="1"/>
          </p:cNvPicPr>
          <p:nvPr/>
        </p:nvPicPr>
        <p:blipFill>
          <a:blip r:embed="rId2"/>
          <a:stretch>
            <a:fillRect/>
          </a:stretch>
        </p:blipFill>
        <p:spPr>
          <a:xfrm>
            <a:off x="922244" y="1014796"/>
            <a:ext cx="3350568" cy="3237628"/>
          </a:xfrm>
          <a:prstGeom prst="rect">
            <a:avLst/>
          </a:prstGeom>
        </p:spPr>
      </p:pic>
      <p:pic>
        <p:nvPicPr>
          <p:cNvPr id="8" name="Picture 7">
            <a:extLst>
              <a:ext uri="{FF2B5EF4-FFF2-40B4-BE49-F238E27FC236}">
                <a16:creationId xmlns:a16="http://schemas.microsoft.com/office/drawing/2014/main" id="{E43102B4-8F6D-3D12-D9B8-28FB0852CAF9}"/>
              </a:ext>
            </a:extLst>
          </p:cNvPr>
          <p:cNvPicPr>
            <a:picLocks noChangeAspect="1"/>
          </p:cNvPicPr>
          <p:nvPr/>
        </p:nvPicPr>
        <p:blipFill>
          <a:blip r:embed="rId3"/>
          <a:stretch>
            <a:fillRect/>
          </a:stretch>
        </p:blipFill>
        <p:spPr>
          <a:xfrm>
            <a:off x="5652851" y="1014796"/>
            <a:ext cx="5841603" cy="4039656"/>
          </a:xfrm>
          <a:prstGeom prst="rect">
            <a:avLst/>
          </a:prstGeom>
        </p:spPr>
      </p:pic>
      <p:pic>
        <p:nvPicPr>
          <p:cNvPr id="10" name="Picture 9">
            <a:extLst>
              <a:ext uri="{FF2B5EF4-FFF2-40B4-BE49-F238E27FC236}">
                <a16:creationId xmlns:a16="http://schemas.microsoft.com/office/drawing/2014/main" id="{719404CA-E5FA-01EA-F3D3-B3B01024C9F7}"/>
              </a:ext>
            </a:extLst>
          </p:cNvPr>
          <p:cNvPicPr>
            <a:picLocks noChangeAspect="1"/>
          </p:cNvPicPr>
          <p:nvPr/>
        </p:nvPicPr>
        <p:blipFill>
          <a:blip r:embed="rId4"/>
          <a:stretch>
            <a:fillRect/>
          </a:stretch>
        </p:blipFill>
        <p:spPr>
          <a:xfrm>
            <a:off x="2026604" y="5219700"/>
            <a:ext cx="9467850" cy="1409700"/>
          </a:xfrm>
          <a:prstGeom prst="rect">
            <a:avLst/>
          </a:prstGeom>
        </p:spPr>
      </p:pic>
      <p:sp>
        <p:nvSpPr>
          <p:cNvPr id="11" name="TextBox 10">
            <a:extLst>
              <a:ext uri="{FF2B5EF4-FFF2-40B4-BE49-F238E27FC236}">
                <a16:creationId xmlns:a16="http://schemas.microsoft.com/office/drawing/2014/main" id="{0191C530-1AA4-B512-C8C7-B5AD06334AB5}"/>
              </a:ext>
            </a:extLst>
          </p:cNvPr>
          <p:cNvSpPr txBox="1"/>
          <p:nvPr/>
        </p:nvSpPr>
        <p:spPr>
          <a:xfrm>
            <a:off x="448235" y="1014796"/>
            <a:ext cx="474009" cy="369332"/>
          </a:xfrm>
          <a:prstGeom prst="rect">
            <a:avLst/>
          </a:prstGeom>
          <a:noFill/>
        </p:spPr>
        <p:txBody>
          <a:bodyPr wrap="square" rtlCol="0">
            <a:spAutoFit/>
          </a:bodyPr>
          <a:lstStyle/>
          <a:p>
            <a:r>
              <a:rPr lang="en-US" dirty="0"/>
              <a:t>1.</a:t>
            </a:r>
          </a:p>
        </p:txBody>
      </p:sp>
      <p:sp>
        <p:nvSpPr>
          <p:cNvPr id="12" name="TextBox 11">
            <a:extLst>
              <a:ext uri="{FF2B5EF4-FFF2-40B4-BE49-F238E27FC236}">
                <a16:creationId xmlns:a16="http://schemas.microsoft.com/office/drawing/2014/main" id="{E6609C38-7B10-49CD-495A-2E834EA32DBD}"/>
              </a:ext>
            </a:extLst>
          </p:cNvPr>
          <p:cNvSpPr txBox="1"/>
          <p:nvPr/>
        </p:nvSpPr>
        <p:spPr>
          <a:xfrm>
            <a:off x="5222005" y="1014796"/>
            <a:ext cx="402244" cy="369332"/>
          </a:xfrm>
          <a:prstGeom prst="rect">
            <a:avLst/>
          </a:prstGeom>
          <a:noFill/>
        </p:spPr>
        <p:txBody>
          <a:bodyPr wrap="square" rtlCol="0">
            <a:spAutoFit/>
          </a:bodyPr>
          <a:lstStyle/>
          <a:p>
            <a:r>
              <a:rPr lang="en-US" dirty="0"/>
              <a:t>2.</a:t>
            </a:r>
          </a:p>
        </p:txBody>
      </p:sp>
      <p:sp>
        <p:nvSpPr>
          <p:cNvPr id="13" name="TextBox 12">
            <a:extLst>
              <a:ext uri="{FF2B5EF4-FFF2-40B4-BE49-F238E27FC236}">
                <a16:creationId xmlns:a16="http://schemas.microsoft.com/office/drawing/2014/main" id="{FE4E6B77-DF22-914F-DB07-E933357F6114}"/>
              </a:ext>
            </a:extLst>
          </p:cNvPr>
          <p:cNvSpPr txBox="1"/>
          <p:nvPr/>
        </p:nvSpPr>
        <p:spPr>
          <a:xfrm>
            <a:off x="1506361" y="5228665"/>
            <a:ext cx="376518" cy="369332"/>
          </a:xfrm>
          <a:prstGeom prst="rect">
            <a:avLst/>
          </a:prstGeom>
          <a:noFill/>
        </p:spPr>
        <p:txBody>
          <a:bodyPr wrap="square" rtlCol="0">
            <a:spAutoFit/>
          </a:bodyPr>
          <a:lstStyle/>
          <a:p>
            <a:r>
              <a:rPr lang="en-US" dirty="0"/>
              <a:t>3.</a:t>
            </a:r>
          </a:p>
        </p:txBody>
      </p:sp>
    </p:spTree>
    <p:extLst>
      <p:ext uri="{BB962C8B-B14F-4D97-AF65-F5344CB8AC3E}">
        <p14:creationId xmlns:p14="http://schemas.microsoft.com/office/powerpoint/2010/main" val="661472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1" name="think-cell data - do not delete" hidden="1">
            <a:extLst>
              <a:ext uri="{FF2B5EF4-FFF2-40B4-BE49-F238E27FC236}">
                <a16:creationId xmlns:a16="http://schemas.microsoft.com/office/drawing/2014/main" id="{F5F0A726-7D21-6872-594A-AC88A3291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2091" name="think-cell data - do not delete" hidden="1">
                        <a:extLst>
                          <a:ext uri="{FF2B5EF4-FFF2-40B4-BE49-F238E27FC236}">
                            <a16:creationId xmlns:a16="http://schemas.microsoft.com/office/drawing/2014/main" id="{F5F0A726-7D21-6872-594A-AC88A32918B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A008DF2-5116-A4EC-4746-79131351FF15}"/>
              </a:ext>
            </a:extLst>
          </p:cNvPr>
          <p:cNvSpPr/>
          <p:nvPr>
            <p:custDataLst>
              <p:tags r:id="rId3"/>
            </p:custDataLst>
          </p:nvPr>
        </p:nvSpPr>
        <p:spPr bwMode="auto">
          <a:xfrm>
            <a:off x="266700" y="1923936"/>
            <a:ext cx="11657075" cy="413582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9" name="Content Placeholder 8">
            <a:extLst>
              <a:ext uri="{FF2B5EF4-FFF2-40B4-BE49-F238E27FC236}">
                <a16:creationId xmlns:a16="http://schemas.microsoft.com/office/drawing/2014/main" id="{03574425-60B3-9BAE-5F9B-682E80D1497D}"/>
              </a:ext>
            </a:extLst>
          </p:cNvPr>
          <p:cNvSpPr>
            <a:spLocks noGrp="1"/>
          </p:cNvSpPr>
          <p:nvPr>
            <p:ph idx="1"/>
            <p:custDataLst>
              <p:tags r:id="rId4"/>
            </p:custDataLst>
          </p:nvPr>
        </p:nvSpPr>
        <p:spPr>
          <a:xfrm>
            <a:off x="266700" y="1936036"/>
            <a:ext cx="11658600" cy="4111625"/>
          </a:xfrm>
        </p:spPr>
        <p:txBody>
          <a:bodyPr rIns="4297680" anchor="ctr">
            <a:noAutofit/>
          </a:bodyPr>
          <a:lstStyle/>
          <a:p>
            <a:pPr marL="283464" indent="-283464"/>
            <a:r>
              <a:rPr lang="en-US" sz="1600" dirty="0"/>
              <a:t>Distressing physical or psychological symptoms </a:t>
            </a:r>
          </a:p>
          <a:p>
            <a:pPr marL="283464" indent="-283464"/>
            <a:r>
              <a:rPr lang="en-US" sz="1600" dirty="0"/>
              <a:t>Social or spiritual concerns affecting medical care or decision-making</a:t>
            </a:r>
          </a:p>
          <a:p>
            <a:pPr marL="283464" indent="-283464"/>
            <a:r>
              <a:rPr lang="en-US" sz="1600" dirty="0"/>
              <a:t>Patient/family with a lack of understanding of the severity of the illness</a:t>
            </a:r>
          </a:p>
          <a:p>
            <a:pPr marL="283464" indent="-283464"/>
            <a:r>
              <a:rPr lang="en-US" sz="1600" dirty="0"/>
              <a:t>Lack of clarity of patient’s goals and values</a:t>
            </a:r>
          </a:p>
          <a:p>
            <a:pPr marL="283464" indent="-283464"/>
            <a:r>
              <a:rPr lang="en-US" sz="1600" dirty="0"/>
              <a:t>Disagreements or uncertainty among the patient, clinical team, and/or family concerning:</a:t>
            </a:r>
          </a:p>
          <a:p>
            <a:pPr marL="740664" lvl="1" indent="-283464"/>
            <a:r>
              <a:rPr lang="en-US" sz="1400" dirty="0"/>
              <a:t>Major medical treatment decisions (e.g., tracheostomy, feeding tube placement, </a:t>
            </a:r>
            <a:br>
              <a:rPr lang="en-US" sz="1400" dirty="0"/>
            </a:br>
            <a:r>
              <a:rPr lang="en-US" sz="1400" dirty="0"/>
              <a:t>initiation of TPN, surgical interventions)</a:t>
            </a:r>
          </a:p>
          <a:p>
            <a:pPr marL="740664" lvl="1" indent="-283464"/>
            <a:r>
              <a:rPr lang="en-US" sz="1400" dirty="0"/>
              <a:t>Resuscitation preferences</a:t>
            </a:r>
          </a:p>
          <a:p>
            <a:pPr marL="740664" lvl="1" indent="-283464"/>
            <a:r>
              <a:rPr lang="en-US" sz="1400" dirty="0"/>
              <a:t>Decision for hospice care</a:t>
            </a:r>
          </a:p>
          <a:p>
            <a:pPr marL="283464" indent="-283464"/>
            <a:r>
              <a:rPr lang="en-US" sz="1600" dirty="0"/>
              <a:t>Patient or family request palliative care consultation</a:t>
            </a:r>
          </a:p>
        </p:txBody>
      </p:sp>
      <p:sp>
        <p:nvSpPr>
          <p:cNvPr id="2" name="Title 1">
            <a:extLst>
              <a:ext uri="{FF2B5EF4-FFF2-40B4-BE49-F238E27FC236}">
                <a16:creationId xmlns:a16="http://schemas.microsoft.com/office/drawing/2014/main" id="{F3A8B495-E710-46DB-AFE6-356FB6AD9407}"/>
              </a:ext>
            </a:extLst>
          </p:cNvPr>
          <p:cNvSpPr>
            <a:spLocks noGrp="1"/>
          </p:cNvSpPr>
          <p:nvPr>
            <p:ph type="title"/>
            <p:custDataLst>
              <p:tags r:id="rId5"/>
            </p:custDataLst>
          </p:nvPr>
        </p:nvSpPr>
        <p:spPr>
          <a:xfrm>
            <a:off x="266700" y="235313"/>
            <a:ext cx="11658600" cy="877824"/>
          </a:xfrm>
        </p:spPr>
        <p:txBody>
          <a:bodyPr vert="horz"/>
          <a:lstStyle/>
          <a:p>
            <a:r>
              <a:rPr lang="en-US" dirty="0"/>
              <a:t>When to Place a Palliative Medicine Referral</a:t>
            </a:r>
          </a:p>
        </p:txBody>
      </p:sp>
      <p:sp>
        <p:nvSpPr>
          <p:cNvPr id="10" name="Text Placeholder 9">
            <a:extLst>
              <a:ext uri="{FF2B5EF4-FFF2-40B4-BE49-F238E27FC236}">
                <a16:creationId xmlns:a16="http://schemas.microsoft.com/office/drawing/2014/main" id="{F02DB4BC-AB15-4879-05DC-BDC469DE6D3A}"/>
              </a:ext>
            </a:extLst>
          </p:cNvPr>
          <p:cNvSpPr>
            <a:spLocks noGrp="1"/>
          </p:cNvSpPr>
          <p:nvPr>
            <p:ph type="body" sz="quarter" idx="10"/>
            <p:custDataLst>
              <p:tags r:id="rId6"/>
            </p:custDataLst>
          </p:nvPr>
        </p:nvSpPr>
        <p:spPr>
          <a:xfrm>
            <a:off x="266700" y="1188720"/>
            <a:ext cx="11658600" cy="627743"/>
          </a:xfrm>
        </p:spPr>
        <p:txBody>
          <a:bodyPr/>
          <a:lstStyle/>
          <a:p>
            <a:r>
              <a:rPr lang="en-US" dirty="0"/>
              <a:t>The patient has a life-limiting illness and one or more of the following that persists after the primary team ACP conversation and first-line symptom treatment:</a:t>
            </a:r>
          </a:p>
        </p:txBody>
      </p:sp>
      <p:sp>
        <p:nvSpPr>
          <p:cNvPr id="3" name="Footer Placeholder 2">
            <a:extLst>
              <a:ext uri="{FF2B5EF4-FFF2-40B4-BE49-F238E27FC236}">
                <a16:creationId xmlns:a16="http://schemas.microsoft.com/office/drawing/2014/main" id="{588CE51F-06F4-1AA4-C978-3E109EB8908A}"/>
              </a:ext>
            </a:extLst>
          </p:cNvPr>
          <p:cNvSpPr>
            <a:spLocks noGrp="1"/>
          </p:cNvSpPr>
          <p:nvPr>
            <p:ph type="ftr" sz="quarter" idx="3"/>
            <p:custDataLst>
              <p:tags r:id="rId7"/>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grpSp>
        <p:nvGrpSpPr>
          <p:cNvPr id="4" name="Group 3">
            <a:extLst>
              <a:ext uri="{FF2B5EF4-FFF2-40B4-BE49-F238E27FC236}">
                <a16:creationId xmlns:a16="http://schemas.microsoft.com/office/drawing/2014/main" id="{C7A7E3D1-3F84-9FFE-6D6A-6E24FE70BC03}"/>
              </a:ext>
            </a:extLst>
          </p:cNvPr>
          <p:cNvGrpSpPr/>
          <p:nvPr>
            <p:custDataLst>
              <p:tags r:id="rId8"/>
            </p:custDataLst>
          </p:nvPr>
        </p:nvGrpSpPr>
        <p:grpSpPr>
          <a:xfrm>
            <a:off x="7467519" y="2175486"/>
            <a:ext cx="4348275" cy="3493794"/>
            <a:chOff x="7392105" y="2175486"/>
            <a:chExt cx="4348275" cy="3493794"/>
          </a:xfrm>
        </p:grpSpPr>
        <p:sp>
          <p:nvSpPr>
            <p:cNvPr id="13574" name="Rectangle 13573">
              <a:extLst>
                <a:ext uri="{FF2B5EF4-FFF2-40B4-BE49-F238E27FC236}">
                  <a16:creationId xmlns:a16="http://schemas.microsoft.com/office/drawing/2014/main" id="{37745276-9571-6836-19C2-70AF4D73173C}"/>
                </a:ext>
              </a:extLst>
            </p:cNvPr>
            <p:cNvSpPr/>
            <p:nvPr/>
          </p:nvSpPr>
          <p:spPr>
            <a:xfrm>
              <a:off x="9998215" y="2175488"/>
              <a:ext cx="1742165" cy="3493792"/>
            </a:xfrm>
            <a:prstGeom prst="rect">
              <a:avLst/>
            </a:prstGeom>
            <a:solidFill>
              <a:schemeClr val="accent6">
                <a:lumMod val="75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75" name="Rectangle 13574">
              <a:extLst>
                <a:ext uri="{FF2B5EF4-FFF2-40B4-BE49-F238E27FC236}">
                  <a16:creationId xmlns:a16="http://schemas.microsoft.com/office/drawing/2014/main" id="{A3701313-2611-3314-EFBD-373388AB37B8}"/>
                </a:ext>
              </a:extLst>
            </p:cNvPr>
            <p:cNvSpPr/>
            <p:nvPr/>
          </p:nvSpPr>
          <p:spPr>
            <a:xfrm>
              <a:off x="7392105" y="2175488"/>
              <a:ext cx="1237394" cy="3493792"/>
            </a:xfrm>
            <a:prstGeom prst="rect">
              <a:avLst/>
            </a:prstGeom>
            <a:solidFill>
              <a:schemeClr val="accent6">
                <a:lumMod val="75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76" name="Rectangle 13575">
              <a:extLst>
                <a:ext uri="{FF2B5EF4-FFF2-40B4-BE49-F238E27FC236}">
                  <a16:creationId xmlns:a16="http://schemas.microsoft.com/office/drawing/2014/main" id="{158AEA22-D6B5-56E6-C22C-53F197268FC5}"/>
                </a:ext>
              </a:extLst>
            </p:cNvPr>
            <p:cNvSpPr/>
            <p:nvPr/>
          </p:nvSpPr>
          <p:spPr>
            <a:xfrm>
              <a:off x="7755082" y="2175486"/>
              <a:ext cx="3710643" cy="3493792"/>
            </a:xfrm>
            <a:prstGeom prst="rect">
              <a:avLst/>
            </a:prstGeom>
            <a:solidFill>
              <a:schemeClr val="bg1">
                <a:lumMod val="85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92" name="Graphic 5">
              <a:extLst>
                <a:ext uri="{FF2B5EF4-FFF2-40B4-BE49-F238E27FC236}">
                  <a16:creationId xmlns:a16="http://schemas.microsoft.com/office/drawing/2014/main" id="{56867671-4C36-F004-B00C-02D175C5CCD9}"/>
                </a:ext>
              </a:extLst>
            </p:cNvPr>
            <p:cNvGrpSpPr/>
            <p:nvPr/>
          </p:nvGrpSpPr>
          <p:grpSpPr>
            <a:xfrm>
              <a:off x="7871878" y="2971896"/>
              <a:ext cx="686689" cy="2331353"/>
              <a:chOff x="-3668441" y="2858469"/>
              <a:chExt cx="593550" cy="2014650"/>
            </a:xfrm>
          </p:grpSpPr>
          <p:sp>
            <p:nvSpPr>
              <p:cNvPr id="13511" name="Freeform: Shape 13510">
                <a:extLst>
                  <a:ext uri="{FF2B5EF4-FFF2-40B4-BE49-F238E27FC236}">
                    <a16:creationId xmlns:a16="http://schemas.microsoft.com/office/drawing/2014/main" id="{B54B4672-E937-7F6A-4821-BE5561F80594}"/>
                  </a:ext>
                </a:extLst>
              </p:cNvPr>
              <p:cNvSpPr/>
              <p:nvPr/>
            </p:nvSpPr>
            <p:spPr>
              <a:xfrm>
                <a:off x="-3668441" y="2858469"/>
                <a:ext cx="593550" cy="2014650"/>
              </a:xfrm>
              <a:custGeom>
                <a:avLst/>
                <a:gdLst>
                  <a:gd name="connsiteX0" fmla="*/ 0 w 593550"/>
                  <a:gd name="connsiteY0" fmla="*/ 0 h 2014650"/>
                  <a:gd name="connsiteX1" fmla="*/ 0 w 593550"/>
                  <a:gd name="connsiteY1" fmla="*/ 2014651 h 2014650"/>
                  <a:gd name="connsiteX2" fmla="*/ 593550 w 593550"/>
                  <a:gd name="connsiteY2" fmla="*/ 2014651 h 2014650"/>
                  <a:gd name="connsiteX3" fmla="*/ 593550 w 593550"/>
                  <a:gd name="connsiteY3" fmla="*/ 0 h 2014650"/>
                  <a:gd name="connsiteX4" fmla="*/ 0 w 593550"/>
                  <a:gd name="connsiteY4" fmla="*/ 0 h 2014650"/>
                  <a:gd name="connsiteX5" fmla="*/ 551586 w 593550"/>
                  <a:gd name="connsiteY5" fmla="*/ 58095 h 2014650"/>
                  <a:gd name="connsiteX6" fmla="*/ 551586 w 593550"/>
                  <a:gd name="connsiteY6" fmla="*/ 357613 h 2014650"/>
                  <a:gd name="connsiteX7" fmla="*/ 43670 w 593550"/>
                  <a:gd name="connsiteY7" fmla="*/ 357613 h 2014650"/>
                  <a:gd name="connsiteX8" fmla="*/ 43670 w 593550"/>
                  <a:gd name="connsiteY8" fmla="*/ 58095 h 2014650"/>
                  <a:gd name="connsiteX9" fmla="*/ 551586 w 593550"/>
                  <a:gd name="connsiteY9" fmla="*/ 58095 h 2014650"/>
                  <a:gd name="connsiteX10" fmla="*/ 43670 w 593550"/>
                  <a:gd name="connsiteY10" fmla="*/ 1419267 h 2014650"/>
                  <a:gd name="connsiteX11" fmla="*/ 551586 w 593550"/>
                  <a:gd name="connsiteY11" fmla="*/ 1419267 h 2014650"/>
                  <a:gd name="connsiteX12" fmla="*/ 551586 w 593550"/>
                  <a:gd name="connsiteY12" fmla="*/ 1687963 h 2014650"/>
                  <a:gd name="connsiteX13" fmla="*/ 43670 w 593550"/>
                  <a:gd name="connsiteY13" fmla="*/ 1687963 h 2014650"/>
                  <a:gd name="connsiteX14" fmla="*/ 43670 w 593550"/>
                  <a:gd name="connsiteY14" fmla="*/ 1419267 h 2014650"/>
                  <a:gd name="connsiteX15" fmla="*/ 43670 w 593550"/>
                  <a:gd name="connsiteY15" fmla="*/ 1368148 h 2014650"/>
                  <a:gd name="connsiteX16" fmla="*/ 43670 w 593550"/>
                  <a:gd name="connsiteY16" fmla="*/ 1103232 h 2014650"/>
                  <a:gd name="connsiteX17" fmla="*/ 551586 w 593550"/>
                  <a:gd name="connsiteY17" fmla="*/ 1103232 h 2014650"/>
                  <a:gd name="connsiteX18" fmla="*/ 551586 w 593550"/>
                  <a:gd name="connsiteY18" fmla="*/ 1368148 h 2014650"/>
                  <a:gd name="connsiteX19" fmla="*/ 43670 w 593550"/>
                  <a:gd name="connsiteY19" fmla="*/ 1368148 h 2014650"/>
                  <a:gd name="connsiteX20" fmla="*/ 551586 w 593550"/>
                  <a:gd name="connsiteY20" fmla="*/ 1052105 h 2014650"/>
                  <a:gd name="connsiteX21" fmla="*/ 43670 w 593550"/>
                  <a:gd name="connsiteY21" fmla="*/ 1052105 h 2014650"/>
                  <a:gd name="connsiteX22" fmla="*/ 43670 w 593550"/>
                  <a:gd name="connsiteY22" fmla="*/ 770218 h 2014650"/>
                  <a:gd name="connsiteX23" fmla="*/ 551586 w 593550"/>
                  <a:gd name="connsiteY23" fmla="*/ 770218 h 2014650"/>
                  <a:gd name="connsiteX24" fmla="*/ 551586 w 593550"/>
                  <a:gd name="connsiteY24" fmla="*/ 1052105 h 2014650"/>
                  <a:gd name="connsiteX25" fmla="*/ 43670 w 593550"/>
                  <a:gd name="connsiteY25" fmla="*/ 719100 h 2014650"/>
                  <a:gd name="connsiteX26" fmla="*/ 43670 w 593550"/>
                  <a:gd name="connsiteY26" fmla="*/ 408731 h 2014650"/>
                  <a:gd name="connsiteX27" fmla="*/ 551586 w 593550"/>
                  <a:gd name="connsiteY27" fmla="*/ 408731 h 2014650"/>
                  <a:gd name="connsiteX28" fmla="*/ 551586 w 593550"/>
                  <a:gd name="connsiteY28" fmla="*/ 719100 h 2014650"/>
                  <a:gd name="connsiteX29" fmla="*/ 43670 w 593550"/>
                  <a:gd name="connsiteY29" fmla="*/ 719100 h 2014650"/>
                  <a:gd name="connsiteX30" fmla="*/ 43670 w 593550"/>
                  <a:gd name="connsiteY30" fmla="*/ 1965538 h 2014650"/>
                  <a:gd name="connsiteX31" fmla="*/ 43670 w 593550"/>
                  <a:gd name="connsiteY31" fmla="*/ 1739081 h 2014650"/>
                  <a:gd name="connsiteX32" fmla="*/ 551586 w 593550"/>
                  <a:gd name="connsiteY32" fmla="*/ 1739081 h 2014650"/>
                  <a:gd name="connsiteX33" fmla="*/ 551586 w 593550"/>
                  <a:gd name="connsiteY33" fmla="*/ 1965538 h 2014650"/>
                  <a:gd name="connsiteX34" fmla="*/ 43670 w 593550"/>
                  <a:gd name="connsiteY34" fmla="*/ 1965538 h 201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93550" h="2014650">
                    <a:moveTo>
                      <a:pt x="0" y="0"/>
                    </a:moveTo>
                    <a:lnTo>
                      <a:pt x="0" y="2014651"/>
                    </a:lnTo>
                    <a:lnTo>
                      <a:pt x="593550" y="2014651"/>
                    </a:lnTo>
                    <a:lnTo>
                      <a:pt x="593550" y="0"/>
                    </a:lnTo>
                    <a:lnTo>
                      <a:pt x="0" y="0"/>
                    </a:lnTo>
                    <a:close/>
                    <a:moveTo>
                      <a:pt x="551586" y="58095"/>
                    </a:moveTo>
                    <a:lnTo>
                      <a:pt x="551586" y="357613"/>
                    </a:lnTo>
                    <a:lnTo>
                      <a:pt x="43670" y="357613"/>
                    </a:lnTo>
                    <a:lnTo>
                      <a:pt x="43670" y="58095"/>
                    </a:lnTo>
                    <a:lnTo>
                      <a:pt x="551586" y="58095"/>
                    </a:lnTo>
                    <a:close/>
                    <a:moveTo>
                      <a:pt x="43670" y="1419267"/>
                    </a:moveTo>
                    <a:lnTo>
                      <a:pt x="551586" y="1419267"/>
                    </a:lnTo>
                    <a:lnTo>
                      <a:pt x="551586" y="1687963"/>
                    </a:lnTo>
                    <a:lnTo>
                      <a:pt x="43670" y="1687963"/>
                    </a:lnTo>
                    <a:lnTo>
                      <a:pt x="43670" y="1419267"/>
                    </a:lnTo>
                    <a:close/>
                    <a:moveTo>
                      <a:pt x="43670" y="1368148"/>
                    </a:moveTo>
                    <a:lnTo>
                      <a:pt x="43670" y="1103232"/>
                    </a:lnTo>
                    <a:lnTo>
                      <a:pt x="551586" y="1103232"/>
                    </a:lnTo>
                    <a:lnTo>
                      <a:pt x="551586" y="1368148"/>
                    </a:lnTo>
                    <a:lnTo>
                      <a:pt x="43670" y="1368148"/>
                    </a:lnTo>
                    <a:close/>
                    <a:moveTo>
                      <a:pt x="551586" y="1052105"/>
                    </a:moveTo>
                    <a:lnTo>
                      <a:pt x="43670" y="1052105"/>
                    </a:lnTo>
                    <a:lnTo>
                      <a:pt x="43670" y="770218"/>
                    </a:lnTo>
                    <a:lnTo>
                      <a:pt x="551586" y="770218"/>
                    </a:lnTo>
                    <a:lnTo>
                      <a:pt x="551586" y="1052105"/>
                    </a:lnTo>
                    <a:close/>
                    <a:moveTo>
                      <a:pt x="43670" y="719100"/>
                    </a:moveTo>
                    <a:lnTo>
                      <a:pt x="43670" y="408731"/>
                    </a:lnTo>
                    <a:lnTo>
                      <a:pt x="551586" y="408731"/>
                    </a:lnTo>
                    <a:lnTo>
                      <a:pt x="551586" y="719100"/>
                    </a:lnTo>
                    <a:lnTo>
                      <a:pt x="43670" y="719100"/>
                    </a:lnTo>
                    <a:close/>
                    <a:moveTo>
                      <a:pt x="43670" y="1965538"/>
                    </a:moveTo>
                    <a:lnTo>
                      <a:pt x="43670" y="1739081"/>
                    </a:lnTo>
                    <a:lnTo>
                      <a:pt x="551586" y="1739081"/>
                    </a:lnTo>
                    <a:lnTo>
                      <a:pt x="551586" y="1965538"/>
                    </a:lnTo>
                    <a:lnTo>
                      <a:pt x="43670" y="196553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512" name="Graphic 5">
                <a:extLst>
                  <a:ext uri="{FF2B5EF4-FFF2-40B4-BE49-F238E27FC236}">
                    <a16:creationId xmlns:a16="http://schemas.microsoft.com/office/drawing/2014/main" id="{75F17872-C233-4A41-9E33-AA43C1D82B5D}"/>
                  </a:ext>
                </a:extLst>
              </p:cNvPr>
              <p:cNvGrpSpPr/>
              <p:nvPr/>
            </p:nvGrpSpPr>
            <p:grpSpPr>
              <a:xfrm>
                <a:off x="-3623588" y="3292039"/>
                <a:ext cx="318511" cy="275595"/>
                <a:chOff x="-3623588" y="3292039"/>
                <a:chExt cx="318511" cy="275595"/>
              </a:xfrm>
            </p:grpSpPr>
            <p:grpSp>
              <p:nvGrpSpPr>
                <p:cNvPr id="13560" name="Graphic 5">
                  <a:extLst>
                    <a:ext uri="{FF2B5EF4-FFF2-40B4-BE49-F238E27FC236}">
                      <a16:creationId xmlns:a16="http://schemas.microsoft.com/office/drawing/2014/main" id="{6EE9DD6B-9FD4-F00C-1AD3-0DD462367754}"/>
                    </a:ext>
                  </a:extLst>
                </p:cNvPr>
                <p:cNvGrpSpPr/>
                <p:nvPr/>
              </p:nvGrpSpPr>
              <p:grpSpPr>
                <a:xfrm>
                  <a:off x="-3598843" y="3295339"/>
                  <a:ext cx="67669" cy="259096"/>
                  <a:chOff x="-3598843" y="3295339"/>
                  <a:chExt cx="67669" cy="259096"/>
                </a:xfrm>
              </p:grpSpPr>
              <p:sp>
                <p:nvSpPr>
                  <p:cNvPr id="13570" name="Freeform: Shape 13569">
                    <a:extLst>
                      <a:ext uri="{FF2B5EF4-FFF2-40B4-BE49-F238E27FC236}">
                        <a16:creationId xmlns:a16="http://schemas.microsoft.com/office/drawing/2014/main" id="{233873A1-CF87-70C2-A628-CBC281E1D27D}"/>
                      </a:ext>
                    </a:extLst>
                  </p:cNvPr>
                  <p:cNvSpPr/>
                  <p:nvPr/>
                </p:nvSpPr>
                <p:spPr>
                  <a:xfrm>
                    <a:off x="-3588935" y="3306884"/>
                    <a:ext cx="47861" cy="247551"/>
                  </a:xfrm>
                  <a:custGeom>
                    <a:avLst/>
                    <a:gdLst>
                      <a:gd name="connsiteX0" fmla="*/ 30419 w 47861"/>
                      <a:gd name="connsiteY0" fmla="*/ 0 h 247551"/>
                      <a:gd name="connsiteX1" fmla="*/ 47861 w 47861"/>
                      <a:gd name="connsiteY1" fmla="*/ 17442 h 247551"/>
                      <a:gd name="connsiteX2" fmla="*/ 47861 w 47861"/>
                      <a:gd name="connsiteY2" fmla="*/ 230109 h 247551"/>
                      <a:gd name="connsiteX3" fmla="*/ 30419 w 47861"/>
                      <a:gd name="connsiteY3" fmla="*/ 247552 h 247551"/>
                      <a:gd name="connsiteX4" fmla="*/ 17442 w 47861"/>
                      <a:gd name="connsiteY4" fmla="*/ 247552 h 247551"/>
                      <a:gd name="connsiteX5" fmla="*/ 0 w 47861"/>
                      <a:gd name="connsiteY5" fmla="*/ 230109 h 247551"/>
                      <a:gd name="connsiteX6" fmla="*/ 0 w 47861"/>
                      <a:gd name="connsiteY6" fmla="*/ 17442 h 247551"/>
                      <a:gd name="connsiteX7" fmla="*/ 17442 w 47861"/>
                      <a:gd name="connsiteY7" fmla="*/ 0 h 24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61" h="247551">
                        <a:moveTo>
                          <a:pt x="30419" y="0"/>
                        </a:moveTo>
                        <a:cubicBezTo>
                          <a:pt x="40052" y="0"/>
                          <a:pt x="47861" y="7809"/>
                          <a:pt x="47861" y="17442"/>
                        </a:cubicBezTo>
                        <a:lnTo>
                          <a:pt x="47861" y="230109"/>
                        </a:lnTo>
                        <a:cubicBezTo>
                          <a:pt x="47861" y="239742"/>
                          <a:pt x="40052" y="247552"/>
                          <a:pt x="30419" y="247552"/>
                        </a:cubicBezTo>
                        <a:lnTo>
                          <a:pt x="17442" y="247552"/>
                        </a:lnTo>
                        <a:cubicBezTo>
                          <a:pt x="7809" y="247552"/>
                          <a:pt x="0" y="239742"/>
                          <a:pt x="0" y="230109"/>
                        </a:cubicBezTo>
                        <a:lnTo>
                          <a:pt x="0" y="17442"/>
                        </a:lnTo>
                        <a:cubicBezTo>
                          <a:pt x="0" y="7809"/>
                          <a:pt x="7809" y="0"/>
                          <a:pt x="17442"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71" name="Freeform: Shape 13570">
                    <a:extLst>
                      <a:ext uri="{FF2B5EF4-FFF2-40B4-BE49-F238E27FC236}">
                        <a16:creationId xmlns:a16="http://schemas.microsoft.com/office/drawing/2014/main" id="{E7C689C4-4CD7-3C8D-5D35-ABD1F4EB431D}"/>
                      </a:ext>
                    </a:extLst>
                  </p:cNvPr>
                  <p:cNvSpPr/>
                  <p:nvPr/>
                </p:nvSpPr>
                <p:spPr>
                  <a:xfrm>
                    <a:off x="-3598843" y="3295339"/>
                    <a:ext cx="67669" cy="24753"/>
                  </a:xfrm>
                  <a:custGeom>
                    <a:avLst/>
                    <a:gdLst>
                      <a:gd name="connsiteX0" fmla="*/ 67669 w 67669"/>
                      <a:gd name="connsiteY0" fmla="*/ 13062 h 24753"/>
                      <a:gd name="connsiteX1" fmla="*/ 48881 w 67669"/>
                      <a:gd name="connsiteY1" fmla="*/ 24754 h 24753"/>
                      <a:gd name="connsiteX2" fmla="*/ 19045 w 67669"/>
                      <a:gd name="connsiteY2" fmla="*/ 24754 h 24753"/>
                      <a:gd name="connsiteX3" fmla="*/ 0 w 67669"/>
                      <a:gd name="connsiteY3" fmla="*/ 13062 h 24753"/>
                      <a:gd name="connsiteX4" fmla="*/ 0 w 67669"/>
                      <a:gd name="connsiteY4" fmla="*/ 12060 h 24753"/>
                      <a:gd name="connsiteX5" fmla="*/ 19045 w 67669"/>
                      <a:gd name="connsiteY5" fmla="*/ 0 h 24753"/>
                      <a:gd name="connsiteX6" fmla="*/ 48881 w 67669"/>
                      <a:gd name="connsiteY6" fmla="*/ 0 h 24753"/>
                      <a:gd name="connsiteX7" fmla="*/ 67669 w 67669"/>
                      <a:gd name="connsiteY7" fmla="*/ 12060 h 24753"/>
                      <a:gd name="connsiteX8" fmla="*/ 67669 w 67669"/>
                      <a:gd name="connsiteY8" fmla="*/ 13062 h 2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69" h="24753">
                        <a:moveTo>
                          <a:pt x="67669" y="13062"/>
                        </a:moveTo>
                        <a:cubicBezTo>
                          <a:pt x="67669" y="19722"/>
                          <a:pt x="59295" y="24754"/>
                          <a:pt x="48881" y="24754"/>
                        </a:cubicBezTo>
                        <a:lnTo>
                          <a:pt x="19045" y="24754"/>
                        </a:lnTo>
                        <a:cubicBezTo>
                          <a:pt x="8640" y="24754"/>
                          <a:pt x="0" y="19722"/>
                          <a:pt x="0" y="13062"/>
                        </a:cubicBezTo>
                        <a:lnTo>
                          <a:pt x="0" y="12060"/>
                        </a:lnTo>
                        <a:cubicBezTo>
                          <a:pt x="0" y="5400"/>
                          <a:pt x="8640" y="0"/>
                          <a:pt x="19045" y="0"/>
                        </a:cubicBezTo>
                        <a:lnTo>
                          <a:pt x="48881" y="0"/>
                        </a:lnTo>
                        <a:cubicBezTo>
                          <a:pt x="59286" y="0"/>
                          <a:pt x="67669" y="5400"/>
                          <a:pt x="67669" y="12060"/>
                        </a:cubicBezTo>
                        <a:lnTo>
                          <a:pt x="67669" y="13062"/>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73" name="Freeform: Shape 13572">
                    <a:extLst>
                      <a:ext uri="{FF2B5EF4-FFF2-40B4-BE49-F238E27FC236}">
                        <a16:creationId xmlns:a16="http://schemas.microsoft.com/office/drawing/2014/main" id="{94452C79-E846-430B-C18E-6424DB05F327}"/>
                      </a:ext>
                    </a:extLst>
                  </p:cNvPr>
                  <p:cNvSpPr/>
                  <p:nvPr/>
                </p:nvSpPr>
                <p:spPr>
                  <a:xfrm>
                    <a:off x="-3579035" y="3409206"/>
                    <a:ext cx="29707" cy="133675"/>
                  </a:xfrm>
                  <a:custGeom>
                    <a:avLst/>
                    <a:gdLst>
                      <a:gd name="connsiteX0" fmla="*/ 29708 w 29707"/>
                      <a:gd name="connsiteY0" fmla="*/ 124864 h 133675"/>
                      <a:gd name="connsiteX1" fmla="*/ 18668 w 29707"/>
                      <a:gd name="connsiteY1" fmla="*/ 133675 h 133675"/>
                      <a:gd name="connsiteX2" fmla="*/ 9651 w 29707"/>
                      <a:gd name="connsiteY2" fmla="*/ 133675 h 133675"/>
                      <a:gd name="connsiteX3" fmla="*/ 0 w 29707"/>
                      <a:gd name="connsiteY3" fmla="*/ 124864 h 133675"/>
                      <a:gd name="connsiteX4" fmla="*/ 0 w 29707"/>
                      <a:gd name="connsiteY4" fmla="*/ 10731 h 133675"/>
                      <a:gd name="connsiteX5" fmla="*/ 9651 w 29707"/>
                      <a:gd name="connsiteY5" fmla="*/ 0 h 133675"/>
                      <a:gd name="connsiteX6" fmla="*/ 18668 w 29707"/>
                      <a:gd name="connsiteY6" fmla="*/ 0 h 133675"/>
                      <a:gd name="connsiteX7" fmla="*/ 29708 w 29707"/>
                      <a:gd name="connsiteY7" fmla="*/ 10731 h 133675"/>
                      <a:gd name="connsiteX8" fmla="*/ 29708 w 29707"/>
                      <a:gd name="connsiteY8" fmla="*/ 124864 h 13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07" h="133675">
                        <a:moveTo>
                          <a:pt x="29708" y="124864"/>
                        </a:moveTo>
                        <a:cubicBezTo>
                          <a:pt x="29708" y="130041"/>
                          <a:pt x="24419" y="133675"/>
                          <a:pt x="18668" y="133675"/>
                        </a:cubicBezTo>
                        <a:lnTo>
                          <a:pt x="9651" y="133675"/>
                        </a:lnTo>
                        <a:cubicBezTo>
                          <a:pt x="3900" y="133675"/>
                          <a:pt x="0" y="130041"/>
                          <a:pt x="0" y="124864"/>
                        </a:cubicBezTo>
                        <a:lnTo>
                          <a:pt x="0" y="10731"/>
                        </a:lnTo>
                        <a:cubicBezTo>
                          <a:pt x="0" y="5554"/>
                          <a:pt x="3900" y="0"/>
                          <a:pt x="9651" y="0"/>
                        </a:cubicBezTo>
                        <a:lnTo>
                          <a:pt x="18668" y="0"/>
                        </a:lnTo>
                        <a:cubicBezTo>
                          <a:pt x="24419" y="0"/>
                          <a:pt x="29708" y="5554"/>
                          <a:pt x="29708" y="10731"/>
                        </a:cubicBezTo>
                        <a:lnTo>
                          <a:pt x="29708" y="124864"/>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61" name="Graphic 5">
                  <a:extLst>
                    <a:ext uri="{FF2B5EF4-FFF2-40B4-BE49-F238E27FC236}">
                      <a16:creationId xmlns:a16="http://schemas.microsoft.com/office/drawing/2014/main" id="{8FB500D8-56E3-7778-43B0-F0B242E29AB9}"/>
                    </a:ext>
                  </a:extLst>
                </p:cNvPr>
                <p:cNvGrpSpPr/>
                <p:nvPr/>
              </p:nvGrpSpPr>
              <p:grpSpPr>
                <a:xfrm>
                  <a:off x="-3504766" y="3292039"/>
                  <a:ext cx="67660" cy="259087"/>
                  <a:chOff x="-3504766" y="3292039"/>
                  <a:chExt cx="67660" cy="259087"/>
                </a:xfrm>
              </p:grpSpPr>
              <p:sp>
                <p:nvSpPr>
                  <p:cNvPr id="13567" name="Freeform: Shape 13566">
                    <a:extLst>
                      <a:ext uri="{FF2B5EF4-FFF2-40B4-BE49-F238E27FC236}">
                        <a16:creationId xmlns:a16="http://schemas.microsoft.com/office/drawing/2014/main" id="{EEB95B3E-EF43-A101-79FB-5A5F2CDB895A}"/>
                      </a:ext>
                    </a:extLst>
                  </p:cNvPr>
                  <p:cNvSpPr/>
                  <p:nvPr/>
                </p:nvSpPr>
                <p:spPr>
                  <a:xfrm>
                    <a:off x="-3494858" y="3303584"/>
                    <a:ext cx="47852" cy="247542"/>
                  </a:xfrm>
                  <a:custGeom>
                    <a:avLst/>
                    <a:gdLst>
                      <a:gd name="connsiteX0" fmla="*/ 17442 w 47852"/>
                      <a:gd name="connsiteY0" fmla="*/ 0 h 247542"/>
                      <a:gd name="connsiteX1" fmla="*/ 30410 w 47852"/>
                      <a:gd name="connsiteY1" fmla="*/ 0 h 247542"/>
                      <a:gd name="connsiteX2" fmla="*/ 47853 w 47852"/>
                      <a:gd name="connsiteY2" fmla="*/ 17442 h 247542"/>
                      <a:gd name="connsiteX3" fmla="*/ 47853 w 47852"/>
                      <a:gd name="connsiteY3" fmla="*/ 230100 h 247542"/>
                      <a:gd name="connsiteX4" fmla="*/ 30410 w 47852"/>
                      <a:gd name="connsiteY4" fmla="*/ 247543 h 247542"/>
                      <a:gd name="connsiteX5" fmla="*/ 17442 w 47852"/>
                      <a:gd name="connsiteY5" fmla="*/ 247543 h 247542"/>
                      <a:gd name="connsiteX6" fmla="*/ 0 w 47852"/>
                      <a:gd name="connsiteY6" fmla="*/ 230100 h 247542"/>
                      <a:gd name="connsiteX7" fmla="*/ 0 w 47852"/>
                      <a:gd name="connsiteY7" fmla="*/ 17442 h 247542"/>
                      <a:gd name="connsiteX8" fmla="*/ 17442 w 47852"/>
                      <a:gd name="connsiteY8" fmla="*/ 0 h 24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52" h="247542">
                        <a:moveTo>
                          <a:pt x="17442" y="0"/>
                        </a:moveTo>
                        <a:lnTo>
                          <a:pt x="30410" y="0"/>
                        </a:lnTo>
                        <a:cubicBezTo>
                          <a:pt x="40036" y="0"/>
                          <a:pt x="47853" y="7817"/>
                          <a:pt x="47853" y="17442"/>
                        </a:cubicBezTo>
                        <a:lnTo>
                          <a:pt x="47853" y="230100"/>
                        </a:lnTo>
                        <a:cubicBezTo>
                          <a:pt x="47853" y="239726"/>
                          <a:pt x="40036" y="247543"/>
                          <a:pt x="30410" y="247543"/>
                        </a:cubicBezTo>
                        <a:lnTo>
                          <a:pt x="17442" y="247543"/>
                        </a:lnTo>
                        <a:cubicBezTo>
                          <a:pt x="7817" y="247543"/>
                          <a:pt x="0" y="239726"/>
                          <a:pt x="0" y="230100"/>
                        </a:cubicBezTo>
                        <a:lnTo>
                          <a:pt x="0" y="17442"/>
                        </a:lnTo>
                        <a:cubicBezTo>
                          <a:pt x="0" y="7817"/>
                          <a:pt x="7817" y="0"/>
                          <a:pt x="17442"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68" name="Freeform: Shape 13567">
                    <a:extLst>
                      <a:ext uri="{FF2B5EF4-FFF2-40B4-BE49-F238E27FC236}">
                        <a16:creationId xmlns:a16="http://schemas.microsoft.com/office/drawing/2014/main" id="{74CC970F-3818-A791-1C4B-96FCFC33EFAE}"/>
                      </a:ext>
                    </a:extLst>
                  </p:cNvPr>
                  <p:cNvSpPr/>
                  <p:nvPr/>
                </p:nvSpPr>
                <p:spPr>
                  <a:xfrm>
                    <a:off x="-3504766" y="3292039"/>
                    <a:ext cx="67660" cy="24753"/>
                  </a:xfrm>
                  <a:custGeom>
                    <a:avLst/>
                    <a:gdLst>
                      <a:gd name="connsiteX0" fmla="*/ 67660 w 67660"/>
                      <a:gd name="connsiteY0" fmla="*/ 13062 h 24753"/>
                      <a:gd name="connsiteX1" fmla="*/ 48710 w 67660"/>
                      <a:gd name="connsiteY1" fmla="*/ 24753 h 24753"/>
                      <a:gd name="connsiteX2" fmla="*/ 18874 w 67660"/>
                      <a:gd name="connsiteY2" fmla="*/ 24753 h 24753"/>
                      <a:gd name="connsiteX3" fmla="*/ 0 w 67660"/>
                      <a:gd name="connsiteY3" fmla="*/ 13062 h 24753"/>
                      <a:gd name="connsiteX4" fmla="*/ 0 w 67660"/>
                      <a:gd name="connsiteY4" fmla="*/ 12060 h 24753"/>
                      <a:gd name="connsiteX5" fmla="*/ 18874 w 67660"/>
                      <a:gd name="connsiteY5" fmla="*/ 0 h 24753"/>
                      <a:gd name="connsiteX6" fmla="*/ 48710 w 67660"/>
                      <a:gd name="connsiteY6" fmla="*/ 0 h 24753"/>
                      <a:gd name="connsiteX7" fmla="*/ 67660 w 67660"/>
                      <a:gd name="connsiteY7" fmla="*/ 12060 h 24753"/>
                      <a:gd name="connsiteX8" fmla="*/ 67660 w 67660"/>
                      <a:gd name="connsiteY8" fmla="*/ 13062 h 2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60" h="24753">
                        <a:moveTo>
                          <a:pt x="67660" y="13062"/>
                        </a:moveTo>
                        <a:cubicBezTo>
                          <a:pt x="67660" y="19722"/>
                          <a:pt x="59115" y="24753"/>
                          <a:pt x="48710" y="24753"/>
                        </a:cubicBezTo>
                        <a:lnTo>
                          <a:pt x="18874" y="24753"/>
                        </a:lnTo>
                        <a:cubicBezTo>
                          <a:pt x="8468" y="24753"/>
                          <a:pt x="0" y="19722"/>
                          <a:pt x="0" y="13062"/>
                        </a:cubicBezTo>
                        <a:lnTo>
                          <a:pt x="0" y="12060"/>
                        </a:lnTo>
                        <a:cubicBezTo>
                          <a:pt x="0" y="5400"/>
                          <a:pt x="8468" y="0"/>
                          <a:pt x="18874" y="0"/>
                        </a:cubicBezTo>
                        <a:lnTo>
                          <a:pt x="48710" y="0"/>
                        </a:lnTo>
                        <a:cubicBezTo>
                          <a:pt x="59115" y="0"/>
                          <a:pt x="67660" y="5400"/>
                          <a:pt x="67660" y="12060"/>
                        </a:cubicBezTo>
                        <a:lnTo>
                          <a:pt x="67660" y="13062"/>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69" name="Freeform: Shape 13568">
                    <a:extLst>
                      <a:ext uri="{FF2B5EF4-FFF2-40B4-BE49-F238E27FC236}">
                        <a16:creationId xmlns:a16="http://schemas.microsoft.com/office/drawing/2014/main" id="{5FC5985A-6439-3760-6120-15FF6D6CC5B9}"/>
                      </a:ext>
                    </a:extLst>
                  </p:cNvPr>
                  <p:cNvSpPr/>
                  <p:nvPr/>
                </p:nvSpPr>
                <p:spPr>
                  <a:xfrm>
                    <a:off x="-3486621" y="3433959"/>
                    <a:ext cx="31361" cy="105622"/>
                  </a:xfrm>
                  <a:custGeom>
                    <a:avLst/>
                    <a:gdLst>
                      <a:gd name="connsiteX0" fmla="*/ 31362 w 31361"/>
                      <a:gd name="connsiteY0" fmla="*/ 98619 h 105622"/>
                      <a:gd name="connsiteX1" fmla="*/ 20151 w 31361"/>
                      <a:gd name="connsiteY1" fmla="*/ 105622 h 105622"/>
                      <a:gd name="connsiteX2" fmla="*/ 11134 w 31361"/>
                      <a:gd name="connsiteY2" fmla="*/ 105622 h 105622"/>
                      <a:gd name="connsiteX3" fmla="*/ 0 w 31361"/>
                      <a:gd name="connsiteY3" fmla="*/ 98619 h 105622"/>
                      <a:gd name="connsiteX4" fmla="*/ 0 w 31361"/>
                      <a:gd name="connsiteY4" fmla="*/ 6548 h 105622"/>
                      <a:gd name="connsiteX5" fmla="*/ 11134 w 31361"/>
                      <a:gd name="connsiteY5" fmla="*/ 0 h 105622"/>
                      <a:gd name="connsiteX6" fmla="*/ 20151 w 31361"/>
                      <a:gd name="connsiteY6" fmla="*/ 0 h 105622"/>
                      <a:gd name="connsiteX7" fmla="*/ 31362 w 31361"/>
                      <a:gd name="connsiteY7" fmla="*/ 6548 h 105622"/>
                      <a:gd name="connsiteX8" fmla="*/ 31362 w 31361"/>
                      <a:gd name="connsiteY8" fmla="*/ 98619 h 1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1" h="105622">
                        <a:moveTo>
                          <a:pt x="31362" y="98619"/>
                        </a:moveTo>
                        <a:cubicBezTo>
                          <a:pt x="31362" y="102794"/>
                          <a:pt x="25902" y="105622"/>
                          <a:pt x="20151" y="105622"/>
                        </a:cubicBezTo>
                        <a:lnTo>
                          <a:pt x="11134" y="105622"/>
                        </a:lnTo>
                        <a:cubicBezTo>
                          <a:pt x="5383" y="105622"/>
                          <a:pt x="0" y="102794"/>
                          <a:pt x="0" y="98619"/>
                        </a:cubicBezTo>
                        <a:lnTo>
                          <a:pt x="0" y="6548"/>
                        </a:lnTo>
                        <a:cubicBezTo>
                          <a:pt x="0" y="2374"/>
                          <a:pt x="5383" y="0"/>
                          <a:pt x="11134" y="0"/>
                        </a:cubicBezTo>
                        <a:lnTo>
                          <a:pt x="20151" y="0"/>
                        </a:lnTo>
                        <a:cubicBezTo>
                          <a:pt x="25902" y="0"/>
                          <a:pt x="31362" y="2374"/>
                          <a:pt x="31362" y="6548"/>
                        </a:cubicBezTo>
                        <a:lnTo>
                          <a:pt x="31362" y="98619"/>
                        </a:lnTo>
                        <a:close/>
                      </a:path>
                    </a:pathLst>
                  </a:custGeom>
                  <a:solidFill>
                    <a:srgbClr val="00A89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62" name="Graphic 5">
                  <a:extLst>
                    <a:ext uri="{FF2B5EF4-FFF2-40B4-BE49-F238E27FC236}">
                      <a16:creationId xmlns:a16="http://schemas.microsoft.com/office/drawing/2014/main" id="{CC48C994-CD66-A0B5-BD89-0885CD5F9E46}"/>
                    </a:ext>
                  </a:extLst>
                </p:cNvPr>
                <p:cNvGrpSpPr/>
                <p:nvPr/>
              </p:nvGrpSpPr>
              <p:grpSpPr>
                <a:xfrm>
                  <a:off x="-3409053" y="3295339"/>
                  <a:ext cx="67668" cy="259087"/>
                  <a:chOff x="-3409053" y="3295339"/>
                  <a:chExt cx="67668" cy="259087"/>
                </a:xfrm>
              </p:grpSpPr>
              <p:sp>
                <p:nvSpPr>
                  <p:cNvPr id="13564" name="Freeform: Shape 13563">
                    <a:extLst>
                      <a:ext uri="{FF2B5EF4-FFF2-40B4-BE49-F238E27FC236}">
                        <a16:creationId xmlns:a16="http://schemas.microsoft.com/office/drawing/2014/main" id="{7516B9DD-8C98-1F73-BF96-EC2A467144FC}"/>
                      </a:ext>
                    </a:extLst>
                  </p:cNvPr>
                  <p:cNvSpPr/>
                  <p:nvPr/>
                </p:nvSpPr>
                <p:spPr>
                  <a:xfrm>
                    <a:off x="-3399145" y="3306884"/>
                    <a:ext cx="47852" cy="247542"/>
                  </a:xfrm>
                  <a:custGeom>
                    <a:avLst/>
                    <a:gdLst>
                      <a:gd name="connsiteX0" fmla="*/ 17442 w 47852"/>
                      <a:gd name="connsiteY0" fmla="*/ 0 h 247542"/>
                      <a:gd name="connsiteX1" fmla="*/ 30410 w 47852"/>
                      <a:gd name="connsiteY1" fmla="*/ 0 h 247542"/>
                      <a:gd name="connsiteX2" fmla="*/ 47853 w 47852"/>
                      <a:gd name="connsiteY2" fmla="*/ 17442 h 247542"/>
                      <a:gd name="connsiteX3" fmla="*/ 47853 w 47852"/>
                      <a:gd name="connsiteY3" fmla="*/ 230100 h 247542"/>
                      <a:gd name="connsiteX4" fmla="*/ 30410 w 47852"/>
                      <a:gd name="connsiteY4" fmla="*/ 247542 h 247542"/>
                      <a:gd name="connsiteX5" fmla="*/ 17442 w 47852"/>
                      <a:gd name="connsiteY5" fmla="*/ 247542 h 247542"/>
                      <a:gd name="connsiteX6" fmla="*/ 0 w 47852"/>
                      <a:gd name="connsiteY6" fmla="*/ 230100 h 247542"/>
                      <a:gd name="connsiteX7" fmla="*/ 0 w 47852"/>
                      <a:gd name="connsiteY7" fmla="*/ 17442 h 247542"/>
                      <a:gd name="connsiteX8" fmla="*/ 17442 w 47852"/>
                      <a:gd name="connsiteY8" fmla="*/ 0 h 24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52" h="247542">
                        <a:moveTo>
                          <a:pt x="17442" y="0"/>
                        </a:moveTo>
                        <a:lnTo>
                          <a:pt x="30410" y="0"/>
                        </a:lnTo>
                        <a:cubicBezTo>
                          <a:pt x="40036" y="0"/>
                          <a:pt x="47853" y="7817"/>
                          <a:pt x="47853" y="17442"/>
                        </a:cubicBezTo>
                        <a:lnTo>
                          <a:pt x="47853" y="230100"/>
                        </a:lnTo>
                        <a:cubicBezTo>
                          <a:pt x="47853" y="239726"/>
                          <a:pt x="40036" y="247542"/>
                          <a:pt x="30410" y="247542"/>
                        </a:cubicBezTo>
                        <a:lnTo>
                          <a:pt x="17442" y="247542"/>
                        </a:lnTo>
                        <a:cubicBezTo>
                          <a:pt x="7817" y="247542"/>
                          <a:pt x="0" y="239726"/>
                          <a:pt x="0" y="230100"/>
                        </a:cubicBezTo>
                        <a:lnTo>
                          <a:pt x="0" y="17442"/>
                        </a:lnTo>
                        <a:cubicBezTo>
                          <a:pt x="0" y="7817"/>
                          <a:pt x="7817" y="0"/>
                          <a:pt x="17442"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65" name="Freeform: Shape 13564">
                    <a:extLst>
                      <a:ext uri="{FF2B5EF4-FFF2-40B4-BE49-F238E27FC236}">
                        <a16:creationId xmlns:a16="http://schemas.microsoft.com/office/drawing/2014/main" id="{2B344A08-C9C2-D770-DA75-F7C0F5EDFCE1}"/>
                      </a:ext>
                    </a:extLst>
                  </p:cNvPr>
                  <p:cNvSpPr/>
                  <p:nvPr/>
                </p:nvSpPr>
                <p:spPr>
                  <a:xfrm>
                    <a:off x="-3409053" y="3295339"/>
                    <a:ext cx="67668" cy="24753"/>
                  </a:xfrm>
                  <a:custGeom>
                    <a:avLst/>
                    <a:gdLst>
                      <a:gd name="connsiteX0" fmla="*/ 67669 w 67668"/>
                      <a:gd name="connsiteY0" fmla="*/ 13062 h 24753"/>
                      <a:gd name="connsiteX1" fmla="*/ 49104 w 67668"/>
                      <a:gd name="connsiteY1" fmla="*/ 24754 h 24753"/>
                      <a:gd name="connsiteX2" fmla="*/ 19268 w 67668"/>
                      <a:gd name="connsiteY2" fmla="*/ 24754 h 24753"/>
                      <a:gd name="connsiteX3" fmla="*/ 0 w 67668"/>
                      <a:gd name="connsiteY3" fmla="*/ 13062 h 24753"/>
                      <a:gd name="connsiteX4" fmla="*/ 0 w 67668"/>
                      <a:gd name="connsiteY4" fmla="*/ 12060 h 24753"/>
                      <a:gd name="connsiteX5" fmla="*/ 19268 w 67668"/>
                      <a:gd name="connsiteY5" fmla="*/ 0 h 24753"/>
                      <a:gd name="connsiteX6" fmla="*/ 49104 w 67668"/>
                      <a:gd name="connsiteY6" fmla="*/ 0 h 24753"/>
                      <a:gd name="connsiteX7" fmla="*/ 67669 w 67668"/>
                      <a:gd name="connsiteY7" fmla="*/ 12060 h 24753"/>
                      <a:gd name="connsiteX8" fmla="*/ 67669 w 67668"/>
                      <a:gd name="connsiteY8" fmla="*/ 13062 h 2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68" h="24753">
                        <a:moveTo>
                          <a:pt x="67669" y="13062"/>
                        </a:moveTo>
                        <a:cubicBezTo>
                          <a:pt x="67669" y="19722"/>
                          <a:pt x="59509" y="24754"/>
                          <a:pt x="49104" y="24754"/>
                        </a:cubicBezTo>
                        <a:lnTo>
                          <a:pt x="19268" y="24754"/>
                        </a:lnTo>
                        <a:cubicBezTo>
                          <a:pt x="8863" y="24754"/>
                          <a:pt x="0" y="19722"/>
                          <a:pt x="0" y="13062"/>
                        </a:cubicBezTo>
                        <a:lnTo>
                          <a:pt x="0" y="12060"/>
                        </a:lnTo>
                        <a:cubicBezTo>
                          <a:pt x="0" y="5400"/>
                          <a:pt x="8854" y="0"/>
                          <a:pt x="19268" y="0"/>
                        </a:cubicBezTo>
                        <a:lnTo>
                          <a:pt x="49104" y="0"/>
                        </a:lnTo>
                        <a:cubicBezTo>
                          <a:pt x="59509" y="0"/>
                          <a:pt x="67669" y="5400"/>
                          <a:pt x="67669" y="12060"/>
                        </a:cubicBezTo>
                        <a:lnTo>
                          <a:pt x="67669" y="13062"/>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66" name="Freeform: Shape 13565">
                    <a:extLst>
                      <a:ext uri="{FF2B5EF4-FFF2-40B4-BE49-F238E27FC236}">
                        <a16:creationId xmlns:a16="http://schemas.microsoft.com/office/drawing/2014/main" id="{0E98D376-89D1-E023-64F1-A9CFA98C2CE3}"/>
                      </a:ext>
                    </a:extLst>
                  </p:cNvPr>
                  <p:cNvSpPr/>
                  <p:nvPr/>
                </p:nvSpPr>
                <p:spPr>
                  <a:xfrm>
                    <a:off x="-3389245" y="3391053"/>
                    <a:ext cx="29707" cy="151828"/>
                  </a:xfrm>
                  <a:custGeom>
                    <a:avLst/>
                    <a:gdLst>
                      <a:gd name="connsiteX0" fmla="*/ 29707 w 29707"/>
                      <a:gd name="connsiteY0" fmla="*/ 141543 h 151828"/>
                      <a:gd name="connsiteX1" fmla="*/ 18891 w 29707"/>
                      <a:gd name="connsiteY1" fmla="*/ 151829 h 151828"/>
                      <a:gd name="connsiteX2" fmla="*/ 9874 w 29707"/>
                      <a:gd name="connsiteY2" fmla="*/ 151829 h 151828"/>
                      <a:gd name="connsiteX3" fmla="*/ 0 w 29707"/>
                      <a:gd name="connsiteY3" fmla="*/ 141543 h 151828"/>
                      <a:gd name="connsiteX4" fmla="*/ 0 w 29707"/>
                      <a:gd name="connsiteY4" fmla="*/ 9531 h 151828"/>
                      <a:gd name="connsiteX5" fmla="*/ 9874 w 29707"/>
                      <a:gd name="connsiteY5" fmla="*/ 0 h 151828"/>
                      <a:gd name="connsiteX6" fmla="*/ 18891 w 29707"/>
                      <a:gd name="connsiteY6" fmla="*/ 0 h 151828"/>
                      <a:gd name="connsiteX7" fmla="*/ 29707 w 29707"/>
                      <a:gd name="connsiteY7" fmla="*/ 9531 h 151828"/>
                      <a:gd name="connsiteX8" fmla="*/ 29707 w 29707"/>
                      <a:gd name="connsiteY8" fmla="*/ 141543 h 15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07" h="151828">
                        <a:moveTo>
                          <a:pt x="29707" y="141543"/>
                        </a:moveTo>
                        <a:cubicBezTo>
                          <a:pt x="29707" y="147535"/>
                          <a:pt x="24633" y="151829"/>
                          <a:pt x="18891" y="151829"/>
                        </a:cubicBezTo>
                        <a:lnTo>
                          <a:pt x="9874" y="151829"/>
                        </a:lnTo>
                        <a:cubicBezTo>
                          <a:pt x="4123" y="151829"/>
                          <a:pt x="0" y="147535"/>
                          <a:pt x="0" y="141543"/>
                        </a:cubicBezTo>
                        <a:lnTo>
                          <a:pt x="0" y="9531"/>
                        </a:lnTo>
                        <a:cubicBezTo>
                          <a:pt x="0" y="3548"/>
                          <a:pt x="4123" y="0"/>
                          <a:pt x="9874" y="0"/>
                        </a:cubicBezTo>
                        <a:lnTo>
                          <a:pt x="18891" y="0"/>
                        </a:lnTo>
                        <a:cubicBezTo>
                          <a:pt x="24642" y="0"/>
                          <a:pt x="29707" y="3548"/>
                          <a:pt x="29707" y="9531"/>
                        </a:cubicBezTo>
                        <a:lnTo>
                          <a:pt x="29707" y="141543"/>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563" name="Freeform: Shape 13562">
                  <a:extLst>
                    <a:ext uri="{FF2B5EF4-FFF2-40B4-BE49-F238E27FC236}">
                      <a16:creationId xmlns:a16="http://schemas.microsoft.com/office/drawing/2014/main" id="{0EBB35A8-8546-F071-4286-4C133215393C}"/>
                    </a:ext>
                  </a:extLst>
                </p:cNvPr>
                <p:cNvSpPr/>
                <p:nvPr/>
              </p:nvSpPr>
              <p:spPr>
                <a:xfrm>
                  <a:off x="-3623588" y="3400944"/>
                  <a:ext cx="318511" cy="166691"/>
                </a:xfrm>
                <a:custGeom>
                  <a:avLst/>
                  <a:gdLst>
                    <a:gd name="connsiteX0" fmla="*/ 297109 w 318511"/>
                    <a:gd name="connsiteY0" fmla="*/ 166691 h 166691"/>
                    <a:gd name="connsiteX1" fmla="*/ 21402 w 318511"/>
                    <a:gd name="connsiteY1" fmla="*/ 166691 h 166691"/>
                    <a:gd name="connsiteX2" fmla="*/ 0 w 318511"/>
                    <a:gd name="connsiteY2" fmla="*/ 143283 h 166691"/>
                    <a:gd name="connsiteX3" fmla="*/ 0 w 318511"/>
                    <a:gd name="connsiteY3" fmla="*/ 24033 h 166691"/>
                    <a:gd name="connsiteX4" fmla="*/ 21402 w 318511"/>
                    <a:gd name="connsiteY4" fmla="*/ 0 h 166691"/>
                    <a:gd name="connsiteX5" fmla="*/ 297109 w 318511"/>
                    <a:gd name="connsiteY5" fmla="*/ 0 h 166691"/>
                    <a:gd name="connsiteX6" fmla="*/ 318511 w 318511"/>
                    <a:gd name="connsiteY6" fmla="*/ 24033 h 166691"/>
                    <a:gd name="connsiteX7" fmla="*/ 318511 w 318511"/>
                    <a:gd name="connsiteY7" fmla="*/ 143283 h 166691"/>
                    <a:gd name="connsiteX8" fmla="*/ 297109 w 318511"/>
                    <a:gd name="connsiteY8" fmla="*/ 166691 h 166691"/>
                    <a:gd name="connsiteX9" fmla="*/ 21402 w 318511"/>
                    <a:gd name="connsiteY9" fmla="*/ 6608 h 166691"/>
                    <a:gd name="connsiteX10" fmla="*/ 6600 w 318511"/>
                    <a:gd name="connsiteY10" fmla="*/ 24033 h 166691"/>
                    <a:gd name="connsiteX11" fmla="*/ 6600 w 318511"/>
                    <a:gd name="connsiteY11" fmla="*/ 143283 h 166691"/>
                    <a:gd name="connsiteX12" fmla="*/ 21402 w 318511"/>
                    <a:gd name="connsiteY12" fmla="*/ 160083 h 166691"/>
                    <a:gd name="connsiteX13" fmla="*/ 297109 w 318511"/>
                    <a:gd name="connsiteY13" fmla="*/ 160083 h 166691"/>
                    <a:gd name="connsiteX14" fmla="*/ 311912 w 318511"/>
                    <a:gd name="connsiteY14" fmla="*/ 143283 h 166691"/>
                    <a:gd name="connsiteX15" fmla="*/ 311912 w 318511"/>
                    <a:gd name="connsiteY15" fmla="*/ 24033 h 166691"/>
                    <a:gd name="connsiteX16" fmla="*/ 297109 w 318511"/>
                    <a:gd name="connsiteY16" fmla="*/ 6608 h 166691"/>
                    <a:gd name="connsiteX17" fmla="*/ 21402 w 318511"/>
                    <a:gd name="connsiteY17" fmla="*/ 6608 h 16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8511" h="166691">
                      <a:moveTo>
                        <a:pt x="297109" y="166691"/>
                      </a:moveTo>
                      <a:lnTo>
                        <a:pt x="21402" y="166691"/>
                      </a:lnTo>
                      <a:cubicBezTo>
                        <a:pt x="9600" y="166691"/>
                        <a:pt x="0" y="156192"/>
                        <a:pt x="0" y="143283"/>
                      </a:cubicBezTo>
                      <a:lnTo>
                        <a:pt x="0" y="24033"/>
                      </a:lnTo>
                      <a:cubicBezTo>
                        <a:pt x="0" y="11005"/>
                        <a:pt x="9805" y="0"/>
                        <a:pt x="21402" y="0"/>
                      </a:cubicBezTo>
                      <a:lnTo>
                        <a:pt x="297109" y="0"/>
                      </a:lnTo>
                      <a:cubicBezTo>
                        <a:pt x="308706" y="0"/>
                        <a:pt x="318511" y="11005"/>
                        <a:pt x="318511" y="24033"/>
                      </a:cubicBezTo>
                      <a:lnTo>
                        <a:pt x="318511" y="143283"/>
                      </a:lnTo>
                      <a:cubicBezTo>
                        <a:pt x="318511" y="156192"/>
                        <a:pt x="308912" y="166691"/>
                        <a:pt x="297109" y="166691"/>
                      </a:cubicBezTo>
                      <a:close/>
                      <a:moveTo>
                        <a:pt x="21402" y="6608"/>
                      </a:moveTo>
                      <a:cubicBezTo>
                        <a:pt x="13380" y="6608"/>
                        <a:pt x="6600" y="14588"/>
                        <a:pt x="6600" y="24033"/>
                      </a:cubicBezTo>
                      <a:lnTo>
                        <a:pt x="6600" y="143283"/>
                      </a:lnTo>
                      <a:cubicBezTo>
                        <a:pt x="6600" y="152549"/>
                        <a:pt x="13242" y="160083"/>
                        <a:pt x="21402" y="160083"/>
                      </a:cubicBezTo>
                      <a:lnTo>
                        <a:pt x="297109" y="160083"/>
                      </a:lnTo>
                      <a:cubicBezTo>
                        <a:pt x="305269" y="160083"/>
                        <a:pt x="311912" y="152549"/>
                        <a:pt x="311912" y="143283"/>
                      </a:cubicBezTo>
                      <a:lnTo>
                        <a:pt x="311912" y="24033"/>
                      </a:lnTo>
                      <a:cubicBezTo>
                        <a:pt x="311912" y="14588"/>
                        <a:pt x="305132" y="6608"/>
                        <a:pt x="297109" y="6608"/>
                      </a:cubicBezTo>
                      <a:lnTo>
                        <a:pt x="21402" y="6608"/>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513" name="Freeform: Shape 13512">
                <a:extLst>
                  <a:ext uri="{FF2B5EF4-FFF2-40B4-BE49-F238E27FC236}">
                    <a16:creationId xmlns:a16="http://schemas.microsoft.com/office/drawing/2014/main" id="{F4FDFB07-4BF5-CB89-F9A7-9EB149ACBECB}"/>
                  </a:ext>
                </a:extLst>
              </p:cNvPr>
              <p:cNvSpPr/>
              <p:nvPr/>
            </p:nvSpPr>
            <p:spPr>
              <a:xfrm>
                <a:off x="-3428252" y="3043408"/>
                <a:ext cx="65791" cy="169296"/>
              </a:xfrm>
              <a:custGeom>
                <a:avLst/>
                <a:gdLst>
                  <a:gd name="connsiteX0" fmla="*/ 53647 w 65791"/>
                  <a:gd name="connsiteY0" fmla="*/ 0 h 169296"/>
                  <a:gd name="connsiteX1" fmla="*/ 65792 w 65791"/>
                  <a:gd name="connsiteY1" fmla="*/ 12145 h 169296"/>
                  <a:gd name="connsiteX2" fmla="*/ 65792 w 65791"/>
                  <a:gd name="connsiteY2" fmla="*/ 157152 h 169296"/>
                  <a:gd name="connsiteX3" fmla="*/ 53647 w 65791"/>
                  <a:gd name="connsiteY3" fmla="*/ 169297 h 169296"/>
                  <a:gd name="connsiteX4" fmla="*/ 12145 w 65791"/>
                  <a:gd name="connsiteY4" fmla="*/ 169297 h 169296"/>
                  <a:gd name="connsiteX5" fmla="*/ 0 w 65791"/>
                  <a:gd name="connsiteY5" fmla="*/ 157152 h 169296"/>
                  <a:gd name="connsiteX6" fmla="*/ 0 w 65791"/>
                  <a:gd name="connsiteY6" fmla="*/ 12145 h 169296"/>
                  <a:gd name="connsiteX7" fmla="*/ 12145 w 65791"/>
                  <a:gd name="connsiteY7" fmla="*/ 0 h 16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1" h="169296">
                    <a:moveTo>
                      <a:pt x="53647" y="0"/>
                    </a:moveTo>
                    <a:cubicBezTo>
                      <a:pt x="60354" y="0"/>
                      <a:pt x="65792" y="5438"/>
                      <a:pt x="65792" y="12145"/>
                    </a:cubicBezTo>
                    <a:lnTo>
                      <a:pt x="65792" y="157152"/>
                    </a:lnTo>
                    <a:cubicBezTo>
                      <a:pt x="65792" y="163859"/>
                      <a:pt x="60354" y="169297"/>
                      <a:pt x="53647" y="169297"/>
                    </a:cubicBezTo>
                    <a:lnTo>
                      <a:pt x="12145" y="169297"/>
                    </a:lnTo>
                    <a:cubicBezTo>
                      <a:pt x="5438" y="169297"/>
                      <a:pt x="0" y="163859"/>
                      <a:pt x="0" y="157152"/>
                    </a:cubicBezTo>
                    <a:lnTo>
                      <a:pt x="0" y="12145"/>
                    </a:lnTo>
                    <a:cubicBezTo>
                      <a:pt x="0" y="5438"/>
                      <a:pt x="5438" y="0"/>
                      <a:pt x="12145"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514" name="Graphic 5">
                <a:extLst>
                  <a:ext uri="{FF2B5EF4-FFF2-40B4-BE49-F238E27FC236}">
                    <a16:creationId xmlns:a16="http://schemas.microsoft.com/office/drawing/2014/main" id="{F0070AB8-148E-5A34-D363-4964691EDD50}"/>
                  </a:ext>
                </a:extLst>
              </p:cNvPr>
              <p:cNvGrpSpPr/>
              <p:nvPr/>
            </p:nvGrpSpPr>
            <p:grpSpPr>
              <a:xfrm>
                <a:off x="-3624771" y="3852366"/>
                <a:ext cx="491738" cy="56470"/>
                <a:chOff x="-3624771" y="3852366"/>
                <a:chExt cx="491738" cy="56470"/>
              </a:xfrm>
            </p:grpSpPr>
            <p:sp>
              <p:nvSpPr>
                <p:cNvPr id="13556" name="Freeform: Shape 13555">
                  <a:extLst>
                    <a:ext uri="{FF2B5EF4-FFF2-40B4-BE49-F238E27FC236}">
                      <a16:creationId xmlns:a16="http://schemas.microsoft.com/office/drawing/2014/main" id="{BDF5736F-FF9D-8964-5CF5-46815C2FCB41}"/>
                    </a:ext>
                  </a:extLst>
                </p:cNvPr>
                <p:cNvSpPr/>
                <p:nvPr/>
              </p:nvSpPr>
              <p:spPr>
                <a:xfrm>
                  <a:off x="-3624771" y="3852366"/>
                  <a:ext cx="491283" cy="55791"/>
                </a:xfrm>
                <a:custGeom>
                  <a:avLst/>
                  <a:gdLst>
                    <a:gd name="connsiteX0" fmla="*/ 2777 w 491283"/>
                    <a:gd name="connsiteY0" fmla="*/ 55791 h 55791"/>
                    <a:gd name="connsiteX1" fmla="*/ 2777 w 491283"/>
                    <a:gd name="connsiteY1" fmla="*/ 5462 h 55791"/>
                    <a:gd name="connsiteX2" fmla="*/ 489822 w 491283"/>
                    <a:gd name="connsiteY2" fmla="*/ 5462 h 55791"/>
                    <a:gd name="connsiteX3" fmla="*/ 489822 w 491283"/>
                    <a:gd name="connsiteY3" fmla="*/ 55791 h 55791"/>
                    <a:gd name="connsiteX4" fmla="*/ 2777 w 491283"/>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83" h="55791">
                      <a:moveTo>
                        <a:pt x="2777" y="55791"/>
                      </a:moveTo>
                      <a:cubicBezTo>
                        <a:pt x="2777" y="55791"/>
                        <a:pt x="-3471" y="9293"/>
                        <a:pt x="2777" y="5462"/>
                      </a:cubicBezTo>
                      <a:cubicBezTo>
                        <a:pt x="9025" y="1630"/>
                        <a:pt x="488554" y="-4627"/>
                        <a:pt x="489822" y="5462"/>
                      </a:cubicBezTo>
                      <a:cubicBezTo>
                        <a:pt x="491091" y="15550"/>
                        <a:pt x="492351" y="55791"/>
                        <a:pt x="489822" y="55791"/>
                      </a:cubicBezTo>
                      <a:lnTo>
                        <a:pt x="2777"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57" name="Freeform: Shape 13556">
                  <a:extLst>
                    <a:ext uri="{FF2B5EF4-FFF2-40B4-BE49-F238E27FC236}">
                      <a16:creationId xmlns:a16="http://schemas.microsoft.com/office/drawing/2014/main" id="{FF82006B-53B4-E385-5270-24948FB64141}"/>
                    </a:ext>
                  </a:extLst>
                </p:cNvPr>
                <p:cNvSpPr/>
                <p:nvPr/>
              </p:nvSpPr>
              <p:spPr>
                <a:xfrm>
                  <a:off x="-3623922" y="3888649"/>
                  <a:ext cx="490890" cy="20186"/>
                </a:xfrm>
                <a:custGeom>
                  <a:avLst/>
                  <a:gdLst>
                    <a:gd name="connsiteX0" fmla="*/ 9 w 490890"/>
                    <a:gd name="connsiteY0" fmla="*/ 1406 h 20186"/>
                    <a:gd name="connsiteX1" fmla="*/ 490431 w 490890"/>
                    <a:gd name="connsiteY1" fmla="*/ 1406 h 20186"/>
                    <a:gd name="connsiteX2" fmla="*/ 488974 w 490890"/>
                    <a:gd name="connsiteY2" fmla="*/ 19516 h 20186"/>
                    <a:gd name="connsiteX3" fmla="*/ 1929 w 490890"/>
                    <a:gd name="connsiteY3" fmla="*/ 19516 h 20186"/>
                    <a:gd name="connsiteX4" fmla="*/ 0 w 490890"/>
                    <a:gd name="connsiteY4" fmla="*/ 1406 h 20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890" h="20186">
                      <a:moveTo>
                        <a:pt x="9" y="1406"/>
                      </a:moveTo>
                      <a:cubicBezTo>
                        <a:pt x="9" y="1406"/>
                        <a:pt x="490431" y="-1757"/>
                        <a:pt x="490431" y="1406"/>
                      </a:cubicBezTo>
                      <a:cubicBezTo>
                        <a:pt x="490431" y="4568"/>
                        <a:pt x="492137" y="18008"/>
                        <a:pt x="488974" y="19516"/>
                      </a:cubicBezTo>
                      <a:cubicBezTo>
                        <a:pt x="485811" y="21025"/>
                        <a:pt x="1929" y="19516"/>
                        <a:pt x="1929" y="19516"/>
                      </a:cubicBezTo>
                      <a:lnTo>
                        <a:pt x="0" y="140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15" name="Graphic 5">
                <a:extLst>
                  <a:ext uri="{FF2B5EF4-FFF2-40B4-BE49-F238E27FC236}">
                    <a16:creationId xmlns:a16="http://schemas.microsoft.com/office/drawing/2014/main" id="{456B6C0C-5E37-8AB0-B3BC-9529FD317212}"/>
                  </a:ext>
                </a:extLst>
              </p:cNvPr>
              <p:cNvGrpSpPr/>
              <p:nvPr/>
            </p:nvGrpSpPr>
            <p:grpSpPr>
              <a:xfrm>
                <a:off x="-3624771" y="3800150"/>
                <a:ext cx="491722" cy="56614"/>
                <a:chOff x="-3624771" y="3800150"/>
                <a:chExt cx="491722" cy="56614"/>
              </a:xfrm>
            </p:grpSpPr>
            <p:sp>
              <p:nvSpPr>
                <p:cNvPr id="13554" name="Freeform: Shape 13553">
                  <a:extLst>
                    <a:ext uri="{FF2B5EF4-FFF2-40B4-BE49-F238E27FC236}">
                      <a16:creationId xmlns:a16="http://schemas.microsoft.com/office/drawing/2014/main" id="{9DB55532-0088-DE6B-DDA7-026B2E2423A4}"/>
                    </a:ext>
                  </a:extLst>
                </p:cNvPr>
                <p:cNvSpPr/>
                <p:nvPr/>
              </p:nvSpPr>
              <p:spPr>
                <a:xfrm>
                  <a:off x="-3624771" y="3800150"/>
                  <a:ext cx="491283" cy="55791"/>
                </a:xfrm>
                <a:custGeom>
                  <a:avLst/>
                  <a:gdLst>
                    <a:gd name="connsiteX0" fmla="*/ 2777 w 491283"/>
                    <a:gd name="connsiteY0" fmla="*/ 55791 h 55791"/>
                    <a:gd name="connsiteX1" fmla="*/ 2777 w 491283"/>
                    <a:gd name="connsiteY1" fmla="*/ 5462 h 55791"/>
                    <a:gd name="connsiteX2" fmla="*/ 489822 w 491283"/>
                    <a:gd name="connsiteY2" fmla="*/ 5462 h 55791"/>
                    <a:gd name="connsiteX3" fmla="*/ 489822 w 491283"/>
                    <a:gd name="connsiteY3" fmla="*/ 55791 h 55791"/>
                    <a:gd name="connsiteX4" fmla="*/ 2777 w 491283"/>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83" h="55791">
                      <a:moveTo>
                        <a:pt x="2777" y="55791"/>
                      </a:moveTo>
                      <a:cubicBezTo>
                        <a:pt x="2777" y="55791"/>
                        <a:pt x="-3471" y="9293"/>
                        <a:pt x="2777" y="5462"/>
                      </a:cubicBezTo>
                      <a:cubicBezTo>
                        <a:pt x="9025" y="1630"/>
                        <a:pt x="488554" y="-4627"/>
                        <a:pt x="489822" y="5462"/>
                      </a:cubicBezTo>
                      <a:cubicBezTo>
                        <a:pt x="491091" y="15550"/>
                        <a:pt x="492351" y="55791"/>
                        <a:pt x="489822" y="55791"/>
                      </a:cubicBezTo>
                      <a:lnTo>
                        <a:pt x="2777"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55" name="Freeform: Shape 13554">
                  <a:extLst>
                    <a:ext uri="{FF2B5EF4-FFF2-40B4-BE49-F238E27FC236}">
                      <a16:creationId xmlns:a16="http://schemas.microsoft.com/office/drawing/2014/main" id="{6DD5A442-974C-C989-B282-EFEE09E30C92}"/>
                    </a:ext>
                  </a:extLst>
                </p:cNvPr>
                <p:cNvSpPr/>
                <p:nvPr/>
              </p:nvSpPr>
              <p:spPr>
                <a:xfrm>
                  <a:off x="-3624771" y="3834385"/>
                  <a:ext cx="491722" cy="22379"/>
                </a:xfrm>
                <a:custGeom>
                  <a:avLst/>
                  <a:gdLst>
                    <a:gd name="connsiteX0" fmla="*/ 2777 w 491722"/>
                    <a:gd name="connsiteY0" fmla="*/ 21556 h 22379"/>
                    <a:gd name="connsiteX1" fmla="*/ 0 w 491722"/>
                    <a:gd name="connsiteY1" fmla="*/ 0 h 22379"/>
                    <a:gd name="connsiteX2" fmla="*/ 491245 w 491722"/>
                    <a:gd name="connsiteY2" fmla="*/ 0 h 22379"/>
                    <a:gd name="connsiteX3" fmla="*/ 489822 w 491722"/>
                    <a:gd name="connsiteY3" fmla="*/ 21556 h 22379"/>
                    <a:gd name="connsiteX4" fmla="*/ 2777 w 491722"/>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722" h="22379">
                      <a:moveTo>
                        <a:pt x="2777" y="21556"/>
                      </a:moveTo>
                      <a:lnTo>
                        <a:pt x="0" y="0"/>
                      </a:lnTo>
                      <a:lnTo>
                        <a:pt x="491245" y="0"/>
                      </a:lnTo>
                      <a:cubicBezTo>
                        <a:pt x="491245" y="0"/>
                        <a:pt x="492985" y="19705"/>
                        <a:pt x="489822" y="21556"/>
                      </a:cubicBezTo>
                      <a:cubicBezTo>
                        <a:pt x="486660" y="23408"/>
                        <a:pt x="2777" y="21556"/>
                        <a:pt x="2777"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16" name="Graphic 5">
                <a:extLst>
                  <a:ext uri="{FF2B5EF4-FFF2-40B4-BE49-F238E27FC236}">
                    <a16:creationId xmlns:a16="http://schemas.microsoft.com/office/drawing/2014/main" id="{F5E592FF-6269-9418-A225-0F52AE6C8197}"/>
                  </a:ext>
                </a:extLst>
              </p:cNvPr>
              <p:cNvGrpSpPr/>
              <p:nvPr/>
            </p:nvGrpSpPr>
            <p:grpSpPr>
              <a:xfrm>
                <a:off x="-3340004" y="3077572"/>
                <a:ext cx="65791" cy="135140"/>
                <a:chOff x="-3340004" y="3077572"/>
                <a:chExt cx="65791" cy="135140"/>
              </a:xfrm>
            </p:grpSpPr>
            <p:sp>
              <p:nvSpPr>
                <p:cNvPr id="13552" name="Freeform: Shape 13551">
                  <a:extLst>
                    <a:ext uri="{FF2B5EF4-FFF2-40B4-BE49-F238E27FC236}">
                      <a16:creationId xmlns:a16="http://schemas.microsoft.com/office/drawing/2014/main" id="{773B7F58-0E1F-D887-241D-FB1D585DE725}"/>
                    </a:ext>
                  </a:extLst>
                </p:cNvPr>
                <p:cNvSpPr/>
                <p:nvPr/>
              </p:nvSpPr>
              <p:spPr>
                <a:xfrm>
                  <a:off x="-3340004" y="3095606"/>
                  <a:ext cx="65791" cy="117107"/>
                </a:xfrm>
                <a:custGeom>
                  <a:avLst/>
                  <a:gdLst>
                    <a:gd name="connsiteX0" fmla="*/ 53647 w 65791"/>
                    <a:gd name="connsiteY0" fmla="*/ 0 h 117107"/>
                    <a:gd name="connsiteX1" fmla="*/ 65792 w 65791"/>
                    <a:gd name="connsiteY1" fmla="*/ 12145 h 117107"/>
                    <a:gd name="connsiteX2" fmla="*/ 65792 w 65791"/>
                    <a:gd name="connsiteY2" fmla="*/ 104962 h 117107"/>
                    <a:gd name="connsiteX3" fmla="*/ 53647 w 65791"/>
                    <a:gd name="connsiteY3" fmla="*/ 117107 h 117107"/>
                    <a:gd name="connsiteX4" fmla="*/ 12145 w 65791"/>
                    <a:gd name="connsiteY4" fmla="*/ 117107 h 117107"/>
                    <a:gd name="connsiteX5" fmla="*/ 0 w 65791"/>
                    <a:gd name="connsiteY5" fmla="*/ 104962 h 117107"/>
                    <a:gd name="connsiteX6" fmla="*/ 0 w 65791"/>
                    <a:gd name="connsiteY6" fmla="*/ 12145 h 117107"/>
                    <a:gd name="connsiteX7" fmla="*/ 12145 w 65791"/>
                    <a:gd name="connsiteY7" fmla="*/ 0 h 1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1" h="117107">
                      <a:moveTo>
                        <a:pt x="53647" y="0"/>
                      </a:moveTo>
                      <a:cubicBezTo>
                        <a:pt x="60354" y="0"/>
                        <a:pt x="65792" y="5438"/>
                        <a:pt x="65792" y="12145"/>
                      </a:cubicBezTo>
                      <a:lnTo>
                        <a:pt x="65792" y="104962"/>
                      </a:lnTo>
                      <a:cubicBezTo>
                        <a:pt x="65792" y="111670"/>
                        <a:pt x="60354" y="117107"/>
                        <a:pt x="53647" y="117107"/>
                      </a:cubicBezTo>
                      <a:lnTo>
                        <a:pt x="12145" y="117107"/>
                      </a:lnTo>
                      <a:cubicBezTo>
                        <a:pt x="5438" y="117107"/>
                        <a:pt x="0" y="111670"/>
                        <a:pt x="0" y="104962"/>
                      </a:cubicBezTo>
                      <a:lnTo>
                        <a:pt x="0" y="12145"/>
                      </a:lnTo>
                      <a:cubicBezTo>
                        <a:pt x="0" y="5438"/>
                        <a:pt x="5438" y="0"/>
                        <a:pt x="12145"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53" name="Freeform: Shape 13552">
                  <a:extLst>
                    <a:ext uri="{FF2B5EF4-FFF2-40B4-BE49-F238E27FC236}">
                      <a16:creationId xmlns:a16="http://schemas.microsoft.com/office/drawing/2014/main" id="{FA9E2B44-6DA3-F8A2-75EF-64D658051BB7}"/>
                    </a:ext>
                  </a:extLst>
                </p:cNvPr>
                <p:cNvSpPr/>
                <p:nvPr/>
              </p:nvSpPr>
              <p:spPr>
                <a:xfrm>
                  <a:off x="-3340004" y="3077572"/>
                  <a:ext cx="65791" cy="29733"/>
                </a:xfrm>
                <a:custGeom>
                  <a:avLst/>
                  <a:gdLst>
                    <a:gd name="connsiteX0" fmla="*/ 10448 w 65791"/>
                    <a:gd name="connsiteY0" fmla="*/ 0 h 29733"/>
                    <a:gd name="connsiteX1" fmla="*/ 55344 w 65791"/>
                    <a:gd name="connsiteY1" fmla="*/ 0 h 29733"/>
                    <a:gd name="connsiteX2" fmla="*/ 65792 w 65791"/>
                    <a:gd name="connsiteY2" fmla="*/ 10448 h 29733"/>
                    <a:gd name="connsiteX3" fmla="*/ 65792 w 65791"/>
                    <a:gd name="connsiteY3" fmla="*/ 29733 h 29733"/>
                    <a:gd name="connsiteX4" fmla="*/ 0 w 65791"/>
                    <a:gd name="connsiteY4" fmla="*/ 29733 h 29733"/>
                    <a:gd name="connsiteX5" fmla="*/ 0 w 65791"/>
                    <a:gd name="connsiteY5" fmla="*/ 10448 h 29733"/>
                    <a:gd name="connsiteX6" fmla="*/ 10448 w 65791"/>
                    <a:gd name="connsiteY6" fmla="*/ 0 h 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91" h="29733">
                      <a:moveTo>
                        <a:pt x="10448" y="0"/>
                      </a:moveTo>
                      <a:lnTo>
                        <a:pt x="55344" y="0"/>
                      </a:lnTo>
                      <a:cubicBezTo>
                        <a:pt x="61112" y="0"/>
                        <a:pt x="65792" y="4680"/>
                        <a:pt x="65792" y="10448"/>
                      </a:cubicBezTo>
                      <a:lnTo>
                        <a:pt x="65792" y="29733"/>
                      </a:lnTo>
                      <a:lnTo>
                        <a:pt x="0" y="29733"/>
                      </a:lnTo>
                      <a:lnTo>
                        <a:pt x="0" y="10448"/>
                      </a:lnTo>
                      <a:cubicBezTo>
                        <a:pt x="0" y="4680"/>
                        <a:pt x="4680" y="0"/>
                        <a:pt x="10448" y="0"/>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17" name="Graphic 5">
                <a:extLst>
                  <a:ext uri="{FF2B5EF4-FFF2-40B4-BE49-F238E27FC236}">
                    <a16:creationId xmlns:a16="http://schemas.microsoft.com/office/drawing/2014/main" id="{6B076B11-5CD4-D723-796F-1DF417A624A1}"/>
                  </a:ext>
                </a:extLst>
              </p:cNvPr>
              <p:cNvGrpSpPr/>
              <p:nvPr/>
            </p:nvGrpSpPr>
            <p:grpSpPr>
              <a:xfrm>
                <a:off x="-3246159" y="3134930"/>
                <a:ext cx="113130" cy="78228"/>
                <a:chOff x="-3246159" y="3134930"/>
                <a:chExt cx="113130" cy="78228"/>
              </a:xfrm>
            </p:grpSpPr>
            <p:sp>
              <p:nvSpPr>
                <p:cNvPr id="13550" name="Freeform: Shape 13549">
                  <a:extLst>
                    <a:ext uri="{FF2B5EF4-FFF2-40B4-BE49-F238E27FC236}">
                      <a16:creationId xmlns:a16="http://schemas.microsoft.com/office/drawing/2014/main" id="{5C88E01E-A4C8-FFD5-3C0C-2CEA24C8A149}"/>
                    </a:ext>
                  </a:extLst>
                </p:cNvPr>
                <p:cNvSpPr/>
                <p:nvPr/>
              </p:nvSpPr>
              <p:spPr>
                <a:xfrm>
                  <a:off x="-3246159" y="3145370"/>
                  <a:ext cx="113130" cy="67789"/>
                </a:xfrm>
                <a:custGeom>
                  <a:avLst/>
                  <a:gdLst>
                    <a:gd name="connsiteX0" fmla="*/ 100985 w 113130"/>
                    <a:gd name="connsiteY0" fmla="*/ 0 h 67789"/>
                    <a:gd name="connsiteX1" fmla="*/ 113130 w 113130"/>
                    <a:gd name="connsiteY1" fmla="*/ 12145 h 67789"/>
                    <a:gd name="connsiteX2" fmla="*/ 113130 w 113130"/>
                    <a:gd name="connsiteY2" fmla="*/ 55644 h 67789"/>
                    <a:gd name="connsiteX3" fmla="*/ 100985 w 113130"/>
                    <a:gd name="connsiteY3" fmla="*/ 67789 h 67789"/>
                    <a:gd name="connsiteX4" fmla="*/ 12145 w 113130"/>
                    <a:gd name="connsiteY4" fmla="*/ 67789 h 67789"/>
                    <a:gd name="connsiteX5" fmla="*/ 0 w 113130"/>
                    <a:gd name="connsiteY5" fmla="*/ 55644 h 67789"/>
                    <a:gd name="connsiteX6" fmla="*/ 0 w 113130"/>
                    <a:gd name="connsiteY6" fmla="*/ 12145 h 67789"/>
                    <a:gd name="connsiteX7" fmla="*/ 12145 w 113130"/>
                    <a:gd name="connsiteY7" fmla="*/ 0 h 6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130" h="67789">
                      <a:moveTo>
                        <a:pt x="100985" y="0"/>
                      </a:moveTo>
                      <a:cubicBezTo>
                        <a:pt x="107693" y="0"/>
                        <a:pt x="113130" y="5438"/>
                        <a:pt x="113130" y="12145"/>
                      </a:cubicBezTo>
                      <a:lnTo>
                        <a:pt x="113130" y="55644"/>
                      </a:lnTo>
                      <a:cubicBezTo>
                        <a:pt x="113130" y="62352"/>
                        <a:pt x="107693" y="67789"/>
                        <a:pt x="100985" y="67789"/>
                      </a:cubicBezTo>
                      <a:lnTo>
                        <a:pt x="12145" y="67789"/>
                      </a:lnTo>
                      <a:cubicBezTo>
                        <a:pt x="5438" y="67789"/>
                        <a:pt x="0" y="62351"/>
                        <a:pt x="0" y="55644"/>
                      </a:cubicBezTo>
                      <a:lnTo>
                        <a:pt x="0" y="12145"/>
                      </a:lnTo>
                      <a:cubicBezTo>
                        <a:pt x="0" y="5438"/>
                        <a:pt x="5438" y="0"/>
                        <a:pt x="12145"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51" name="Freeform: Shape 13550">
                  <a:extLst>
                    <a:ext uri="{FF2B5EF4-FFF2-40B4-BE49-F238E27FC236}">
                      <a16:creationId xmlns:a16="http://schemas.microsoft.com/office/drawing/2014/main" id="{BE173641-EC4A-E42C-EACE-9F4A82A61A51}"/>
                    </a:ext>
                  </a:extLst>
                </p:cNvPr>
                <p:cNvSpPr/>
                <p:nvPr/>
              </p:nvSpPr>
              <p:spPr>
                <a:xfrm>
                  <a:off x="-3246159" y="3134930"/>
                  <a:ext cx="113130" cy="17210"/>
                </a:xfrm>
                <a:custGeom>
                  <a:avLst/>
                  <a:gdLst>
                    <a:gd name="connsiteX0" fmla="*/ 10448 w 113130"/>
                    <a:gd name="connsiteY0" fmla="*/ 0 h 17210"/>
                    <a:gd name="connsiteX1" fmla="*/ 102682 w 113130"/>
                    <a:gd name="connsiteY1" fmla="*/ 0 h 17210"/>
                    <a:gd name="connsiteX2" fmla="*/ 113130 w 113130"/>
                    <a:gd name="connsiteY2" fmla="*/ 10448 h 17210"/>
                    <a:gd name="connsiteX3" fmla="*/ 113130 w 113130"/>
                    <a:gd name="connsiteY3" fmla="*/ 17211 h 17210"/>
                    <a:gd name="connsiteX4" fmla="*/ 0 w 113130"/>
                    <a:gd name="connsiteY4" fmla="*/ 17211 h 17210"/>
                    <a:gd name="connsiteX5" fmla="*/ 0 w 113130"/>
                    <a:gd name="connsiteY5" fmla="*/ 10448 h 17210"/>
                    <a:gd name="connsiteX6" fmla="*/ 10448 w 113130"/>
                    <a:gd name="connsiteY6" fmla="*/ 0 h 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130" h="17210">
                      <a:moveTo>
                        <a:pt x="10448" y="0"/>
                      </a:moveTo>
                      <a:lnTo>
                        <a:pt x="102682" y="0"/>
                      </a:lnTo>
                      <a:cubicBezTo>
                        <a:pt x="108450" y="0"/>
                        <a:pt x="113130" y="4680"/>
                        <a:pt x="113130" y="10448"/>
                      </a:cubicBezTo>
                      <a:lnTo>
                        <a:pt x="113130" y="17211"/>
                      </a:lnTo>
                      <a:lnTo>
                        <a:pt x="0" y="17211"/>
                      </a:lnTo>
                      <a:lnTo>
                        <a:pt x="0" y="10448"/>
                      </a:lnTo>
                      <a:cubicBezTo>
                        <a:pt x="0" y="4680"/>
                        <a:pt x="4680" y="0"/>
                        <a:pt x="10448" y="0"/>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518" name="Freeform: Shape 13517">
                <a:extLst>
                  <a:ext uri="{FF2B5EF4-FFF2-40B4-BE49-F238E27FC236}">
                    <a16:creationId xmlns:a16="http://schemas.microsoft.com/office/drawing/2014/main" id="{DB2774A4-98C0-2629-77CC-5FE4580DF944}"/>
                  </a:ext>
                </a:extLst>
              </p:cNvPr>
              <p:cNvSpPr/>
              <p:nvPr/>
            </p:nvSpPr>
            <p:spPr>
              <a:xfrm>
                <a:off x="-3621831" y="3043639"/>
                <a:ext cx="65791" cy="169296"/>
              </a:xfrm>
              <a:custGeom>
                <a:avLst/>
                <a:gdLst>
                  <a:gd name="connsiteX0" fmla="*/ 53647 w 65791"/>
                  <a:gd name="connsiteY0" fmla="*/ 0 h 169296"/>
                  <a:gd name="connsiteX1" fmla="*/ 65792 w 65791"/>
                  <a:gd name="connsiteY1" fmla="*/ 12145 h 169296"/>
                  <a:gd name="connsiteX2" fmla="*/ 65792 w 65791"/>
                  <a:gd name="connsiteY2" fmla="*/ 157152 h 169296"/>
                  <a:gd name="connsiteX3" fmla="*/ 53647 w 65791"/>
                  <a:gd name="connsiteY3" fmla="*/ 169297 h 169296"/>
                  <a:gd name="connsiteX4" fmla="*/ 12145 w 65791"/>
                  <a:gd name="connsiteY4" fmla="*/ 169297 h 169296"/>
                  <a:gd name="connsiteX5" fmla="*/ 0 w 65791"/>
                  <a:gd name="connsiteY5" fmla="*/ 157152 h 169296"/>
                  <a:gd name="connsiteX6" fmla="*/ 0 w 65791"/>
                  <a:gd name="connsiteY6" fmla="*/ 12145 h 169296"/>
                  <a:gd name="connsiteX7" fmla="*/ 12145 w 65791"/>
                  <a:gd name="connsiteY7" fmla="*/ 0 h 16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1" h="169296">
                    <a:moveTo>
                      <a:pt x="53647" y="0"/>
                    </a:moveTo>
                    <a:cubicBezTo>
                      <a:pt x="60354" y="0"/>
                      <a:pt x="65792" y="5438"/>
                      <a:pt x="65792" y="12145"/>
                    </a:cubicBezTo>
                    <a:lnTo>
                      <a:pt x="65792" y="157152"/>
                    </a:lnTo>
                    <a:cubicBezTo>
                      <a:pt x="65792" y="163859"/>
                      <a:pt x="60354" y="169297"/>
                      <a:pt x="53647" y="169297"/>
                    </a:cubicBezTo>
                    <a:lnTo>
                      <a:pt x="12145" y="169297"/>
                    </a:lnTo>
                    <a:cubicBezTo>
                      <a:pt x="5438" y="169297"/>
                      <a:pt x="0" y="163859"/>
                      <a:pt x="0" y="157152"/>
                    </a:cubicBezTo>
                    <a:lnTo>
                      <a:pt x="0" y="12145"/>
                    </a:lnTo>
                    <a:cubicBezTo>
                      <a:pt x="0" y="5438"/>
                      <a:pt x="5438" y="0"/>
                      <a:pt x="12145"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519" name="Graphic 5">
                <a:extLst>
                  <a:ext uri="{FF2B5EF4-FFF2-40B4-BE49-F238E27FC236}">
                    <a16:creationId xmlns:a16="http://schemas.microsoft.com/office/drawing/2014/main" id="{45D0C5CC-4B78-7E47-A5B6-426E543E0D13}"/>
                  </a:ext>
                </a:extLst>
              </p:cNvPr>
              <p:cNvGrpSpPr/>
              <p:nvPr/>
            </p:nvGrpSpPr>
            <p:grpSpPr>
              <a:xfrm>
                <a:off x="-3266832" y="3493649"/>
                <a:ext cx="113130" cy="78228"/>
                <a:chOff x="-3266832" y="3493649"/>
                <a:chExt cx="113130" cy="78228"/>
              </a:xfrm>
            </p:grpSpPr>
            <p:sp>
              <p:nvSpPr>
                <p:cNvPr id="13548" name="Freeform: Shape 13547">
                  <a:extLst>
                    <a:ext uri="{FF2B5EF4-FFF2-40B4-BE49-F238E27FC236}">
                      <a16:creationId xmlns:a16="http://schemas.microsoft.com/office/drawing/2014/main" id="{05247BF9-D898-82B3-C7D5-45BC7DBD3097}"/>
                    </a:ext>
                  </a:extLst>
                </p:cNvPr>
                <p:cNvSpPr/>
                <p:nvPr/>
              </p:nvSpPr>
              <p:spPr>
                <a:xfrm>
                  <a:off x="-3266832" y="3504089"/>
                  <a:ext cx="113130" cy="67789"/>
                </a:xfrm>
                <a:custGeom>
                  <a:avLst/>
                  <a:gdLst>
                    <a:gd name="connsiteX0" fmla="*/ 100985 w 113130"/>
                    <a:gd name="connsiteY0" fmla="*/ 0 h 67789"/>
                    <a:gd name="connsiteX1" fmla="*/ 113130 w 113130"/>
                    <a:gd name="connsiteY1" fmla="*/ 12145 h 67789"/>
                    <a:gd name="connsiteX2" fmla="*/ 113130 w 113130"/>
                    <a:gd name="connsiteY2" fmla="*/ 55644 h 67789"/>
                    <a:gd name="connsiteX3" fmla="*/ 100985 w 113130"/>
                    <a:gd name="connsiteY3" fmla="*/ 67789 h 67789"/>
                    <a:gd name="connsiteX4" fmla="*/ 12145 w 113130"/>
                    <a:gd name="connsiteY4" fmla="*/ 67789 h 67789"/>
                    <a:gd name="connsiteX5" fmla="*/ 0 w 113130"/>
                    <a:gd name="connsiteY5" fmla="*/ 55644 h 67789"/>
                    <a:gd name="connsiteX6" fmla="*/ 0 w 113130"/>
                    <a:gd name="connsiteY6" fmla="*/ 12145 h 67789"/>
                    <a:gd name="connsiteX7" fmla="*/ 12145 w 113130"/>
                    <a:gd name="connsiteY7" fmla="*/ 0 h 6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130" h="67789">
                      <a:moveTo>
                        <a:pt x="100985" y="0"/>
                      </a:moveTo>
                      <a:cubicBezTo>
                        <a:pt x="107693" y="0"/>
                        <a:pt x="113130" y="5438"/>
                        <a:pt x="113130" y="12145"/>
                      </a:cubicBezTo>
                      <a:lnTo>
                        <a:pt x="113130" y="55644"/>
                      </a:lnTo>
                      <a:cubicBezTo>
                        <a:pt x="113130" y="62351"/>
                        <a:pt x="107693" y="67789"/>
                        <a:pt x="100985" y="67789"/>
                      </a:cubicBezTo>
                      <a:lnTo>
                        <a:pt x="12145" y="67789"/>
                      </a:lnTo>
                      <a:cubicBezTo>
                        <a:pt x="5438" y="67789"/>
                        <a:pt x="0" y="62351"/>
                        <a:pt x="0" y="55644"/>
                      </a:cubicBezTo>
                      <a:lnTo>
                        <a:pt x="0" y="12145"/>
                      </a:lnTo>
                      <a:cubicBezTo>
                        <a:pt x="0" y="5437"/>
                        <a:pt x="5438" y="0"/>
                        <a:pt x="12145" y="0"/>
                      </a:cubicBez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49" name="Freeform: Shape 13548">
                  <a:extLst>
                    <a:ext uri="{FF2B5EF4-FFF2-40B4-BE49-F238E27FC236}">
                      <a16:creationId xmlns:a16="http://schemas.microsoft.com/office/drawing/2014/main" id="{71BA4BC5-2141-DB9D-3F3F-DEFDC753BFB8}"/>
                    </a:ext>
                  </a:extLst>
                </p:cNvPr>
                <p:cNvSpPr/>
                <p:nvPr/>
              </p:nvSpPr>
              <p:spPr>
                <a:xfrm>
                  <a:off x="-3266832" y="3493649"/>
                  <a:ext cx="113130" cy="17210"/>
                </a:xfrm>
                <a:custGeom>
                  <a:avLst/>
                  <a:gdLst>
                    <a:gd name="connsiteX0" fmla="*/ 10448 w 113130"/>
                    <a:gd name="connsiteY0" fmla="*/ 0 h 17210"/>
                    <a:gd name="connsiteX1" fmla="*/ 102682 w 113130"/>
                    <a:gd name="connsiteY1" fmla="*/ 0 h 17210"/>
                    <a:gd name="connsiteX2" fmla="*/ 113130 w 113130"/>
                    <a:gd name="connsiteY2" fmla="*/ 10448 h 17210"/>
                    <a:gd name="connsiteX3" fmla="*/ 113130 w 113130"/>
                    <a:gd name="connsiteY3" fmla="*/ 17211 h 17210"/>
                    <a:gd name="connsiteX4" fmla="*/ 0 w 113130"/>
                    <a:gd name="connsiteY4" fmla="*/ 17211 h 17210"/>
                    <a:gd name="connsiteX5" fmla="*/ 0 w 113130"/>
                    <a:gd name="connsiteY5" fmla="*/ 10448 h 17210"/>
                    <a:gd name="connsiteX6" fmla="*/ 10448 w 113130"/>
                    <a:gd name="connsiteY6" fmla="*/ 0 h 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130" h="17210">
                      <a:moveTo>
                        <a:pt x="10448" y="0"/>
                      </a:moveTo>
                      <a:lnTo>
                        <a:pt x="102682" y="0"/>
                      </a:lnTo>
                      <a:cubicBezTo>
                        <a:pt x="108450" y="0"/>
                        <a:pt x="113130" y="4680"/>
                        <a:pt x="113130" y="10448"/>
                      </a:cubicBezTo>
                      <a:lnTo>
                        <a:pt x="113130" y="17211"/>
                      </a:lnTo>
                      <a:lnTo>
                        <a:pt x="0" y="17211"/>
                      </a:lnTo>
                      <a:lnTo>
                        <a:pt x="0" y="10448"/>
                      </a:lnTo>
                      <a:cubicBezTo>
                        <a:pt x="0" y="4680"/>
                        <a:pt x="4680" y="0"/>
                        <a:pt x="10448" y="0"/>
                      </a:cubicBezTo>
                      <a:close/>
                    </a:path>
                  </a:pathLst>
                </a:custGeom>
                <a:solidFill>
                  <a:srgbClr val="3296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20" name="Graphic 5">
                <a:extLst>
                  <a:ext uri="{FF2B5EF4-FFF2-40B4-BE49-F238E27FC236}">
                    <a16:creationId xmlns:a16="http://schemas.microsoft.com/office/drawing/2014/main" id="{15FAA9D4-9CED-2CE8-36F1-54E306D4D172}"/>
                  </a:ext>
                </a:extLst>
              </p:cNvPr>
              <p:cNvGrpSpPr/>
              <p:nvPr/>
            </p:nvGrpSpPr>
            <p:grpSpPr>
              <a:xfrm>
                <a:off x="-3624334" y="3749452"/>
                <a:ext cx="491722" cy="56613"/>
                <a:chOff x="-3624334" y="3749452"/>
                <a:chExt cx="491722" cy="56613"/>
              </a:xfrm>
            </p:grpSpPr>
            <p:sp>
              <p:nvSpPr>
                <p:cNvPr id="13546" name="Freeform: Shape 13545">
                  <a:extLst>
                    <a:ext uri="{FF2B5EF4-FFF2-40B4-BE49-F238E27FC236}">
                      <a16:creationId xmlns:a16="http://schemas.microsoft.com/office/drawing/2014/main" id="{465BFD72-5AEA-DC82-3164-6B7FE3C8A201}"/>
                    </a:ext>
                  </a:extLst>
                </p:cNvPr>
                <p:cNvSpPr/>
                <p:nvPr/>
              </p:nvSpPr>
              <p:spPr>
                <a:xfrm>
                  <a:off x="-3624334" y="3749452"/>
                  <a:ext cx="491283" cy="55791"/>
                </a:xfrm>
                <a:custGeom>
                  <a:avLst/>
                  <a:gdLst>
                    <a:gd name="connsiteX0" fmla="*/ 2777 w 491283"/>
                    <a:gd name="connsiteY0" fmla="*/ 55791 h 55791"/>
                    <a:gd name="connsiteX1" fmla="*/ 2777 w 491283"/>
                    <a:gd name="connsiteY1" fmla="*/ 5462 h 55791"/>
                    <a:gd name="connsiteX2" fmla="*/ 489822 w 491283"/>
                    <a:gd name="connsiteY2" fmla="*/ 5462 h 55791"/>
                    <a:gd name="connsiteX3" fmla="*/ 489822 w 491283"/>
                    <a:gd name="connsiteY3" fmla="*/ 55791 h 55791"/>
                    <a:gd name="connsiteX4" fmla="*/ 2777 w 491283"/>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83" h="55791">
                      <a:moveTo>
                        <a:pt x="2777" y="55791"/>
                      </a:moveTo>
                      <a:cubicBezTo>
                        <a:pt x="2777" y="55791"/>
                        <a:pt x="-3471" y="9293"/>
                        <a:pt x="2777" y="5462"/>
                      </a:cubicBezTo>
                      <a:cubicBezTo>
                        <a:pt x="9025" y="1630"/>
                        <a:pt x="488554" y="-4627"/>
                        <a:pt x="489822" y="5462"/>
                      </a:cubicBezTo>
                      <a:cubicBezTo>
                        <a:pt x="491091" y="15550"/>
                        <a:pt x="492351" y="55791"/>
                        <a:pt x="489822" y="55791"/>
                      </a:cubicBezTo>
                      <a:lnTo>
                        <a:pt x="2777"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47" name="Freeform: Shape 13546">
                  <a:extLst>
                    <a:ext uri="{FF2B5EF4-FFF2-40B4-BE49-F238E27FC236}">
                      <a16:creationId xmlns:a16="http://schemas.microsoft.com/office/drawing/2014/main" id="{2C8B53AC-CC40-8684-363A-88DF8D35C79A}"/>
                    </a:ext>
                  </a:extLst>
                </p:cNvPr>
                <p:cNvSpPr/>
                <p:nvPr/>
              </p:nvSpPr>
              <p:spPr>
                <a:xfrm>
                  <a:off x="-3624334" y="3783687"/>
                  <a:ext cx="491722" cy="22379"/>
                </a:xfrm>
                <a:custGeom>
                  <a:avLst/>
                  <a:gdLst>
                    <a:gd name="connsiteX0" fmla="*/ 2777 w 491722"/>
                    <a:gd name="connsiteY0" fmla="*/ 21556 h 22379"/>
                    <a:gd name="connsiteX1" fmla="*/ 0 w 491722"/>
                    <a:gd name="connsiteY1" fmla="*/ 0 h 22379"/>
                    <a:gd name="connsiteX2" fmla="*/ 491245 w 491722"/>
                    <a:gd name="connsiteY2" fmla="*/ 0 h 22379"/>
                    <a:gd name="connsiteX3" fmla="*/ 489822 w 491722"/>
                    <a:gd name="connsiteY3" fmla="*/ 21556 h 22379"/>
                    <a:gd name="connsiteX4" fmla="*/ 2777 w 491722"/>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722" h="22379">
                      <a:moveTo>
                        <a:pt x="2777" y="21556"/>
                      </a:moveTo>
                      <a:lnTo>
                        <a:pt x="0" y="0"/>
                      </a:lnTo>
                      <a:lnTo>
                        <a:pt x="491245" y="0"/>
                      </a:lnTo>
                      <a:cubicBezTo>
                        <a:pt x="491245" y="0"/>
                        <a:pt x="492985" y="19705"/>
                        <a:pt x="489822" y="21556"/>
                      </a:cubicBezTo>
                      <a:cubicBezTo>
                        <a:pt x="486660" y="23408"/>
                        <a:pt x="2777" y="21556"/>
                        <a:pt x="2777"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21" name="Graphic 5">
                <a:extLst>
                  <a:ext uri="{FF2B5EF4-FFF2-40B4-BE49-F238E27FC236}">
                    <a16:creationId xmlns:a16="http://schemas.microsoft.com/office/drawing/2014/main" id="{1E010967-CB8E-ACF4-7CD3-9376E24A1819}"/>
                  </a:ext>
                </a:extLst>
              </p:cNvPr>
              <p:cNvGrpSpPr/>
              <p:nvPr/>
            </p:nvGrpSpPr>
            <p:grpSpPr>
              <a:xfrm>
                <a:off x="-3603063" y="4387058"/>
                <a:ext cx="460620" cy="436908"/>
                <a:chOff x="-3603063" y="4387058"/>
                <a:chExt cx="460620" cy="436908"/>
              </a:xfrm>
            </p:grpSpPr>
            <p:grpSp>
              <p:nvGrpSpPr>
                <p:cNvPr id="13527" name="Graphic 5">
                  <a:extLst>
                    <a:ext uri="{FF2B5EF4-FFF2-40B4-BE49-F238E27FC236}">
                      <a16:creationId xmlns:a16="http://schemas.microsoft.com/office/drawing/2014/main" id="{19884135-15C0-95F1-F13A-6B38F990E63B}"/>
                    </a:ext>
                  </a:extLst>
                </p:cNvPr>
                <p:cNvGrpSpPr/>
                <p:nvPr/>
              </p:nvGrpSpPr>
              <p:grpSpPr>
                <a:xfrm>
                  <a:off x="-3323394" y="4767504"/>
                  <a:ext cx="180797" cy="56461"/>
                  <a:chOff x="-3323394" y="4767504"/>
                  <a:chExt cx="180797" cy="56461"/>
                </a:xfrm>
              </p:grpSpPr>
              <p:sp>
                <p:nvSpPr>
                  <p:cNvPr id="13544" name="Freeform: Shape 13543">
                    <a:extLst>
                      <a:ext uri="{FF2B5EF4-FFF2-40B4-BE49-F238E27FC236}">
                        <a16:creationId xmlns:a16="http://schemas.microsoft.com/office/drawing/2014/main" id="{C6D3B9AD-85F1-7022-7FB1-5E6BE0AC9DCF}"/>
                      </a:ext>
                    </a:extLst>
                  </p:cNvPr>
                  <p:cNvSpPr/>
                  <p:nvPr/>
                </p:nvSpPr>
                <p:spPr>
                  <a:xfrm>
                    <a:off x="-3323394" y="4767504"/>
                    <a:ext cx="180626" cy="55791"/>
                  </a:xfrm>
                  <a:custGeom>
                    <a:avLst/>
                    <a:gdLst>
                      <a:gd name="connsiteX0" fmla="*/ 1021 w 180626"/>
                      <a:gd name="connsiteY0" fmla="*/ 55791 h 55791"/>
                      <a:gd name="connsiteX1" fmla="*/ 1021 w 180626"/>
                      <a:gd name="connsiteY1" fmla="*/ 5462 h 55791"/>
                      <a:gd name="connsiteX2" fmla="*/ 180089 w 180626"/>
                      <a:gd name="connsiteY2" fmla="*/ 5462 h 55791"/>
                      <a:gd name="connsiteX3" fmla="*/ 180089 w 180626"/>
                      <a:gd name="connsiteY3" fmla="*/ 55791 h 55791"/>
                      <a:gd name="connsiteX4" fmla="*/ 1021 w 180626"/>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26" h="55791">
                        <a:moveTo>
                          <a:pt x="1021" y="55791"/>
                        </a:moveTo>
                        <a:cubicBezTo>
                          <a:pt x="1021" y="55791"/>
                          <a:pt x="-1276" y="9293"/>
                          <a:pt x="1021" y="5462"/>
                        </a:cubicBezTo>
                        <a:cubicBezTo>
                          <a:pt x="3318" y="1630"/>
                          <a:pt x="179617" y="-4627"/>
                          <a:pt x="180089" y="5462"/>
                        </a:cubicBezTo>
                        <a:cubicBezTo>
                          <a:pt x="180552" y="15550"/>
                          <a:pt x="181023" y="55791"/>
                          <a:pt x="180089" y="55791"/>
                        </a:cubicBezTo>
                        <a:lnTo>
                          <a:pt x="1021"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45" name="Freeform: Shape 13544">
                    <a:extLst>
                      <a:ext uri="{FF2B5EF4-FFF2-40B4-BE49-F238E27FC236}">
                        <a16:creationId xmlns:a16="http://schemas.microsoft.com/office/drawing/2014/main" id="{C6ED09FF-D373-602D-FE3F-807D5334DFB7}"/>
                      </a:ext>
                    </a:extLst>
                  </p:cNvPr>
                  <p:cNvSpPr/>
                  <p:nvPr/>
                </p:nvSpPr>
                <p:spPr>
                  <a:xfrm>
                    <a:off x="-3323076" y="4803779"/>
                    <a:ext cx="180479" cy="20186"/>
                  </a:xfrm>
                  <a:custGeom>
                    <a:avLst/>
                    <a:gdLst>
                      <a:gd name="connsiteX0" fmla="*/ 0 w 180479"/>
                      <a:gd name="connsiteY0" fmla="*/ 1406 h 20186"/>
                      <a:gd name="connsiteX1" fmla="*/ 180311 w 180479"/>
                      <a:gd name="connsiteY1" fmla="*/ 1406 h 20186"/>
                      <a:gd name="connsiteX2" fmla="*/ 179779 w 180479"/>
                      <a:gd name="connsiteY2" fmla="*/ 19517 h 20186"/>
                      <a:gd name="connsiteX3" fmla="*/ 711 w 180479"/>
                      <a:gd name="connsiteY3" fmla="*/ 19517 h 20186"/>
                      <a:gd name="connsiteX4" fmla="*/ 0 w 180479"/>
                      <a:gd name="connsiteY4" fmla="*/ 1406 h 20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479" h="20186">
                        <a:moveTo>
                          <a:pt x="0" y="1406"/>
                        </a:moveTo>
                        <a:cubicBezTo>
                          <a:pt x="0" y="1406"/>
                          <a:pt x="180311" y="-1757"/>
                          <a:pt x="180311" y="1406"/>
                        </a:cubicBezTo>
                        <a:cubicBezTo>
                          <a:pt x="180311" y="4568"/>
                          <a:pt x="180936" y="18008"/>
                          <a:pt x="179779" y="19517"/>
                        </a:cubicBezTo>
                        <a:cubicBezTo>
                          <a:pt x="178614" y="21025"/>
                          <a:pt x="711" y="19517"/>
                          <a:pt x="711" y="19517"/>
                        </a:cubicBezTo>
                        <a:lnTo>
                          <a:pt x="0" y="140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28" name="Graphic 5">
                  <a:extLst>
                    <a:ext uri="{FF2B5EF4-FFF2-40B4-BE49-F238E27FC236}">
                      <a16:creationId xmlns:a16="http://schemas.microsoft.com/office/drawing/2014/main" id="{E7861EFB-0014-F027-D14F-F1B9456DDD03}"/>
                    </a:ext>
                  </a:extLst>
                </p:cNvPr>
                <p:cNvGrpSpPr/>
                <p:nvPr/>
              </p:nvGrpSpPr>
              <p:grpSpPr>
                <a:xfrm>
                  <a:off x="-3323394" y="4715281"/>
                  <a:ext cx="180788" cy="56614"/>
                  <a:chOff x="-3323394" y="4715281"/>
                  <a:chExt cx="180788" cy="56614"/>
                </a:xfrm>
              </p:grpSpPr>
              <p:sp>
                <p:nvSpPr>
                  <p:cNvPr id="13542" name="Freeform: Shape 13541">
                    <a:extLst>
                      <a:ext uri="{FF2B5EF4-FFF2-40B4-BE49-F238E27FC236}">
                        <a16:creationId xmlns:a16="http://schemas.microsoft.com/office/drawing/2014/main" id="{C813800C-0924-C8A4-09FF-3D2B558CAC48}"/>
                      </a:ext>
                    </a:extLst>
                  </p:cNvPr>
                  <p:cNvSpPr/>
                  <p:nvPr/>
                </p:nvSpPr>
                <p:spPr>
                  <a:xfrm>
                    <a:off x="-3323394" y="4715281"/>
                    <a:ext cx="180626" cy="55791"/>
                  </a:xfrm>
                  <a:custGeom>
                    <a:avLst/>
                    <a:gdLst>
                      <a:gd name="connsiteX0" fmla="*/ 1021 w 180626"/>
                      <a:gd name="connsiteY0" fmla="*/ 55791 h 55791"/>
                      <a:gd name="connsiteX1" fmla="*/ 1021 w 180626"/>
                      <a:gd name="connsiteY1" fmla="*/ 5462 h 55791"/>
                      <a:gd name="connsiteX2" fmla="*/ 180089 w 180626"/>
                      <a:gd name="connsiteY2" fmla="*/ 5462 h 55791"/>
                      <a:gd name="connsiteX3" fmla="*/ 180089 w 180626"/>
                      <a:gd name="connsiteY3" fmla="*/ 55791 h 55791"/>
                      <a:gd name="connsiteX4" fmla="*/ 1021 w 180626"/>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26" h="55791">
                        <a:moveTo>
                          <a:pt x="1021" y="55791"/>
                        </a:moveTo>
                        <a:cubicBezTo>
                          <a:pt x="1021" y="55791"/>
                          <a:pt x="-1276" y="9293"/>
                          <a:pt x="1021" y="5462"/>
                        </a:cubicBezTo>
                        <a:cubicBezTo>
                          <a:pt x="3318" y="1630"/>
                          <a:pt x="179617" y="-4627"/>
                          <a:pt x="180089" y="5462"/>
                        </a:cubicBezTo>
                        <a:cubicBezTo>
                          <a:pt x="180552" y="15550"/>
                          <a:pt x="181023" y="55791"/>
                          <a:pt x="180089" y="55791"/>
                        </a:cubicBezTo>
                        <a:lnTo>
                          <a:pt x="1021"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43" name="Freeform: Shape 13542">
                    <a:extLst>
                      <a:ext uri="{FF2B5EF4-FFF2-40B4-BE49-F238E27FC236}">
                        <a16:creationId xmlns:a16="http://schemas.microsoft.com/office/drawing/2014/main" id="{DB733400-036E-B063-C0FF-9BA61C1749ED}"/>
                      </a:ext>
                    </a:extLst>
                  </p:cNvPr>
                  <p:cNvSpPr/>
                  <p:nvPr/>
                </p:nvSpPr>
                <p:spPr>
                  <a:xfrm>
                    <a:off x="-3323393" y="4749515"/>
                    <a:ext cx="180787" cy="22379"/>
                  </a:xfrm>
                  <a:custGeom>
                    <a:avLst/>
                    <a:gdLst>
                      <a:gd name="connsiteX0" fmla="*/ 1020 w 180787"/>
                      <a:gd name="connsiteY0" fmla="*/ 21556 h 22379"/>
                      <a:gd name="connsiteX1" fmla="*/ 0 w 180787"/>
                      <a:gd name="connsiteY1" fmla="*/ 0 h 22379"/>
                      <a:gd name="connsiteX2" fmla="*/ 180611 w 180787"/>
                      <a:gd name="connsiteY2" fmla="*/ 0 h 22379"/>
                      <a:gd name="connsiteX3" fmla="*/ 180088 w 180787"/>
                      <a:gd name="connsiteY3" fmla="*/ 21556 h 22379"/>
                      <a:gd name="connsiteX4" fmla="*/ 1020 w 180787"/>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87" h="22379">
                        <a:moveTo>
                          <a:pt x="1020" y="21556"/>
                        </a:moveTo>
                        <a:lnTo>
                          <a:pt x="0" y="0"/>
                        </a:lnTo>
                        <a:lnTo>
                          <a:pt x="180611" y="0"/>
                        </a:lnTo>
                        <a:cubicBezTo>
                          <a:pt x="180611" y="0"/>
                          <a:pt x="181253" y="19705"/>
                          <a:pt x="180088" y="21556"/>
                        </a:cubicBezTo>
                        <a:cubicBezTo>
                          <a:pt x="178922" y="23408"/>
                          <a:pt x="1020" y="21556"/>
                          <a:pt x="1020"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29" name="Graphic 5">
                  <a:extLst>
                    <a:ext uri="{FF2B5EF4-FFF2-40B4-BE49-F238E27FC236}">
                      <a16:creationId xmlns:a16="http://schemas.microsoft.com/office/drawing/2014/main" id="{0B6CD5FF-682B-3ED1-8F3E-E34D7BFBAAC0}"/>
                    </a:ext>
                  </a:extLst>
                </p:cNvPr>
                <p:cNvGrpSpPr/>
                <p:nvPr/>
              </p:nvGrpSpPr>
              <p:grpSpPr>
                <a:xfrm>
                  <a:off x="-3323231" y="4664591"/>
                  <a:ext cx="180788" cy="56613"/>
                  <a:chOff x="-3323231" y="4664591"/>
                  <a:chExt cx="180788" cy="56613"/>
                </a:xfrm>
              </p:grpSpPr>
              <p:sp>
                <p:nvSpPr>
                  <p:cNvPr id="13539" name="Freeform: Shape 13538">
                    <a:extLst>
                      <a:ext uri="{FF2B5EF4-FFF2-40B4-BE49-F238E27FC236}">
                        <a16:creationId xmlns:a16="http://schemas.microsoft.com/office/drawing/2014/main" id="{F97B8E0F-88AD-254E-712A-5A2D443A4B38}"/>
                      </a:ext>
                    </a:extLst>
                  </p:cNvPr>
                  <p:cNvSpPr/>
                  <p:nvPr/>
                </p:nvSpPr>
                <p:spPr>
                  <a:xfrm>
                    <a:off x="-3323231" y="4664591"/>
                    <a:ext cx="180626" cy="55791"/>
                  </a:xfrm>
                  <a:custGeom>
                    <a:avLst/>
                    <a:gdLst>
                      <a:gd name="connsiteX0" fmla="*/ 1021 w 180626"/>
                      <a:gd name="connsiteY0" fmla="*/ 55791 h 55791"/>
                      <a:gd name="connsiteX1" fmla="*/ 1021 w 180626"/>
                      <a:gd name="connsiteY1" fmla="*/ 5462 h 55791"/>
                      <a:gd name="connsiteX2" fmla="*/ 180089 w 180626"/>
                      <a:gd name="connsiteY2" fmla="*/ 5462 h 55791"/>
                      <a:gd name="connsiteX3" fmla="*/ 180089 w 180626"/>
                      <a:gd name="connsiteY3" fmla="*/ 55791 h 55791"/>
                      <a:gd name="connsiteX4" fmla="*/ 1021 w 180626"/>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26" h="55791">
                        <a:moveTo>
                          <a:pt x="1021" y="55791"/>
                        </a:moveTo>
                        <a:cubicBezTo>
                          <a:pt x="1021" y="55791"/>
                          <a:pt x="-1276" y="9293"/>
                          <a:pt x="1021" y="5462"/>
                        </a:cubicBezTo>
                        <a:cubicBezTo>
                          <a:pt x="3318" y="1630"/>
                          <a:pt x="179617" y="-4627"/>
                          <a:pt x="180089" y="5462"/>
                        </a:cubicBezTo>
                        <a:cubicBezTo>
                          <a:pt x="180552" y="15550"/>
                          <a:pt x="181023" y="55791"/>
                          <a:pt x="180089" y="55791"/>
                        </a:cubicBezTo>
                        <a:lnTo>
                          <a:pt x="1021"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41" name="Freeform: Shape 13540">
                    <a:extLst>
                      <a:ext uri="{FF2B5EF4-FFF2-40B4-BE49-F238E27FC236}">
                        <a16:creationId xmlns:a16="http://schemas.microsoft.com/office/drawing/2014/main" id="{F441099D-3456-5F76-74F2-589E002055DA}"/>
                      </a:ext>
                    </a:extLst>
                  </p:cNvPr>
                  <p:cNvSpPr/>
                  <p:nvPr/>
                </p:nvSpPr>
                <p:spPr>
                  <a:xfrm>
                    <a:off x="-3323230" y="4698826"/>
                    <a:ext cx="180787" cy="22379"/>
                  </a:xfrm>
                  <a:custGeom>
                    <a:avLst/>
                    <a:gdLst>
                      <a:gd name="connsiteX0" fmla="*/ 1020 w 180787"/>
                      <a:gd name="connsiteY0" fmla="*/ 21556 h 22379"/>
                      <a:gd name="connsiteX1" fmla="*/ 0 w 180787"/>
                      <a:gd name="connsiteY1" fmla="*/ 0 h 22379"/>
                      <a:gd name="connsiteX2" fmla="*/ 180611 w 180787"/>
                      <a:gd name="connsiteY2" fmla="*/ 0 h 22379"/>
                      <a:gd name="connsiteX3" fmla="*/ 180088 w 180787"/>
                      <a:gd name="connsiteY3" fmla="*/ 21556 h 22379"/>
                      <a:gd name="connsiteX4" fmla="*/ 1020 w 180787"/>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87" h="22379">
                        <a:moveTo>
                          <a:pt x="1020" y="21556"/>
                        </a:moveTo>
                        <a:lnTo>
                          <a:pt x="0" y="0"/>
                        </a:lnTo>
                        <a:lnTo>
                          <a:pt x="180611" y="0"/>
                        </a:lnTo>
                        <a:cubicBezTo>
                          <a:pt x="180611" y="0"/>
                          <a:pt x="181253" y="19705"/>
                          <a:pt x="180088" y="21556"/>
                        </a:cubicBezTo>
                        <a:cubicBezTo>
                          <a:pt x="178922" y="23408"/>
                          <a:pt x="1020" y="21556"/>
                          <a:pt x="1020"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30" name="Graphic 5">
                  <a:extLst>
                    <a:ext uri="{FF2B5EF4-FFF2-40B4-BE49-F238E27FC236}">
                      <a16:creationId xmlns:a16="http://schemas.microsoft.com/office/drawing/2014/main" id="{D5106B3A-F59B-7E25-F268-8280A62CA583}"/>
                    </a:ext>
                  </a:extLst>
                </p:cNvPr>
                <p:cNvGrpSpPr/>
                <p:nvPr/>
              </p:nvGrpSpPr>
              <p:grpSpPr>
                <a:xfrm>
                  <a:off x="-3603063" y="4489972"/>
                  <a:ext cx="444770" cy="56461"/>
                  <a:chOff x="-3603063" y="4489972"/>
                  <a:chExt cx="444770" cy="56461"/>
                </a:xfrm>
              </p:grpSpPr>
              <p:sp>
                <p:nvSpPr>
                  <p:cNvPr id="13537" name="Freeform: Shape 13536">
                    <a:extLst>
                      <a:ext uri="{FF2B5EF4-FFF2-40B4-BE49-F238E27FC236}">
                        <a16:creationId xmlns:a16="http://schemas.microsoft.com/office/drawing/2014/main" id="{9DE41BAB-CA1F-D224-E564-1489C6BBD9B0}"/>
                      </a:ext>
                    </a:extLst>
                  </p:cNvPr>
                  <p:cNvSpPr/>
                  <p:nvPr/>
                </p:nvSpPr>
                <p:spPr>
                  <a:xfrm>
                    <a:off x="-3603063" y="4489972"/>
                    <a:ext cx="444358" cy="55791"/>
                  </a:xfrm>
                  <a:custGeom>
                    <a:avLst/>
                    <a:gdLst>
                      <a:gd name="connsiteX0" fmla="*/ 2514 w 444358"/>
                      <a:gd name="connsiteY0" fmla="*/ 55791 h 55791"/>
                      <a:gd name="connsiteX1" fmla="*/ 2514 w 444358"/>
                      <a:gd name="connsiteY1" fmla="*/ 5462 h 55791"/>
                      <a:gd name="connsiteX2" fmla="*/ 443036 w 444358"/>
                      <a:gd name="connsiteY2" fmla="*/ 5462 h 55791"/>
                      <a:gd name="connsiteX3" fmla="*/ 443036 w 444358"/>
                      <a:gd name="connsiteY3" fmla="*/ 55791 h 55791"/>
                      <a:gd name="connsiteX4" fmla="*/ 2514 w 444358"/>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358" h="55791">
                        <a:moveTo>
                          <a:pt x="2514" y="55791"/>
                        </a:moveTo>
                        <a:cubicBezTo>
                          <a:pt x="2514" y="55791"/>
                          <a:pt x="-3143" y="9293"/>
                          <a:pt x="2514" y="5462"/>
                        </a:cubicBezTo>
                        <a:cubicBezTo>
                          <a:pt x="8171" y="1630"/>
                          <a:pt x="441896" y="-4627"/>
                          <a:pt x="443036" y="5462"/>
                        </a:cubicBezTo>
                        <a:cubicBezTo>
                          <a:pt x="444184" y="15550"/>
                          <a:pt x="445324" y="55791"/>
                          <a:pt x="443036" y="55791"/>
                        </a:cubicBezTo>
                        <a:lnTo>
                          <a:pt x="2514"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38" name="Freeform: Shape 13537">
                    <a:extLst>
                      <a:ext uri="{FF2B5EF4-FFF2-40B4-BE49-F238E27FC236}">
                        <a16:creationId xmlns:a16="http://schemas.microsoft.com/office/drawing/2014/main" id="{2D498862-4CC6-375F-F741-FB0DB99175C3}"/>
                      </a:ext>
                    </a:extLst>
                  </p:cNvPr>
                  <p:cNvSpPr/>
                  <p:nvPr/>
                </p:nvSpPr>
                <p:spPr>
                  <a:xfrm>
                    <a:off x="-3602289" y="4526246"/>
                    <a:ext cx="443996" cy="20186"/>
                  </a:xfrm>
                  <a:custGeom>
                    <a:avLst/>
                    <a:gdLst>
                      <a:gd name="connsiteX0" fmla="*/ 0 w 443996"/>
                      <a:gd name="connsiteY0" fmla="*/ 1406 h 20186"/>
                      <a:gd name="connsiteX1" fmla="*/ 443581 w 443996"/>
                      <a:gd name="connsiteY1" fmla="*/ 1406 h 20186"/>
                      <a:gd name="connsiteX2" fmla="*/ 442261 w 443996"/>
                      <a:gd name="connsiteY2" fmla="*/ 19517 h 20186"/>
                      <a:gd name="connsiteX3" fmla="*/ 1740 w 443996"/>
                      <a:gd name="connsiteY3" fmla="*/ 19517 h 20186"/>
                      <a:gd name="connsiteX4" fmla="*/ 0 w 443996"/>
                      <a:gd name="connsiteY4" fmla="*/ 1406 h 20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996" h="20186">
                        <a:moveTo>
                          <a:pt x="0" y="1406"/>
                        </a:moveTo>
                        <a:cubicBezTo>
                          <a:pt x="0" y="1406"/>
                          <a:pt x="443581" y="-1757"/>
                          <a:pt x="443581" y="1406"/>
                        </a:cubicBezTo>
                        <a:cubicBezTo>
                          <a:pt x="443581" y="4569"/>
                          <a:pt x="445124" y="18008"/>
                          <a:pt x="442261" y="19517"/>
                        </a:cubicBezTo>
                        <a:cubicBezTo>
                          <a:pt x="439399" y="21025"/>
                          <a:pt x="1740" y="19517"/>
                          <a:pt x="1740" y="19517"/>
                        </a:cubicBezTo>
                        <a:lnTo>
                          <a:pt x="0" y="140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31" name="Graphic 5">
                  <a:extLst>
                    <a:ext uri="{FF2B5EF4-FFF2-40B4-BE49-F238E27FC236}">
                      <a16:creationId xmlns:a16="http://schemas.microsoft.com/office/drawing/2014/main" id="{C4B21D47-3A8D-8AA5-7986-C2F5A3A2CA81}"/>
                    </a:ext>
                  </a:extLst>
                </p:cNvPr>
                <p:cNvGrpSpPr/>
                <p:nvPr/>
              </p:nvGrpSpPr>
              <p:grpSpPr>
                <a:xfrm>
                  <a:off x="-3603063" y="4437748"/>
                  <a:ext cx="444754" cy="56614"/>
                  <a:chOff x="-3603063" y="4437748"/>
                  <a:chExt cx="444754" cy="56614"/>
                </a:xfrm>
              </p:grpSpPr>
              <p:sp>
                <p:nvSpPr>
                  <p:cNvPr id="13535" name="Freeform: Shape 13534">
                    <a:extLst>
                      <a:ext uri="{FF2B5EF4-FFF2-40B4-BE49-F238E27FC236}">
                        <a16:creationId xmlns:a16="http://schemas.microsoft.com/office/drawing/2014/main" id="{459B0354-4D21-011A-E81D-52BBA4E06F7D}"/>
                      </a:ext>
                    </a:extLst>
                  </p:cNvPr>
                  <p:cNvSpPr/>
                  <p:nvPr/>
                </p:nvSpPr>
                <p:spPr>
                  <a:xfrm>
                    <a:off x="-3603063" y="4437748"/>
                    <a:ext cx="444358" cy="55791"/>
                  </a:xfrm>
                  <a:custGeom>
                    <a:avLst/>
                    <a:gdLst>
                      <a:gd name="connsiteX0" fmla="*/ 2514 w 444358"/>
                      <a:gd name="connsiteY0" fmla="*/ 55791 h 55791"/>
                      <a:gd name="connsiteX1" fmla="*/ 2514 w 444358"/>
                      <a:gd name="connsiteY1" fmla="*/ 5461 h 55791"/>
                      <a:gd name="connsiteX2" fmla="*/ 443036 w 444358"/>
                      <a:gd name="connsiteY2" fmla="*/ 5461 h 55791"/>
                      <a:gd name="connsiteX3" fmla="*/ 443036 w 444358"/>
                      <a:gd name="connsiteY3" fmla="*/ 55791 h 55791"/>
                      <a:gd name="connsiteX4" fmla="*/ 2514 w 444358"/>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358" h="55791">
                        <a:moveTo>
                          <a:pt x="2514" y="55791"/>
                        </a:moveTo>
                        <a:cubicBezTo>
                          <a:pt x="2514" y="55791"/>
                          <a:pt x="-3143" y="9293"/>
                          <a:pt x="2514" y="5461"/>
                        </a:cubicBezTo>
                        <a:cubicBezTo>
                          <a:pt x="8171" y="1630"/>
                          <a:pt x="441896" y="-4627"/>
                          <a:pt x="443036" y="5461"/>
                        </a:cubicBezTo>
                        <a:cubicBezTo>
                          <a:pt x="444184" y="15550"/>
                          <a:pt x="445324" y="55791"/>
                          <a:pt x="443036" y="55791"/>
                        </a:cubicBezTo>
                        <a:lnTo>
                          <a:pt x="2514"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36" name="Freeform: Shape 13535">
                    <a:extLst>
                      <a:ext uri="{FF2B5EF4-FFF2-40B4-BE49-F238E27FC236}">
                        <a16:creationId xmlns:a16="http://schemas.microsoft.com/office/drawing/2014/main" id="{E115F339-0B8D-4AE3-05A2-C3BC37A546B0}"/>
                      </a:ext>
                    </a:extLst>
                  </p:cNvPr>
                  <p:cNvSpPr/>
                  <p:nvPr/>
                </p:nvSpPr>
                <p:spPr>
                  <a:xfrm>
                    <a:off x="-3603060" y="4471982"/>
                    <a:ext cx="444751" cy="22379"/>
                  </a:xfrm>
                  <a:custGeom>
                    <a:avLst/>
                    <a:gdLst>
                      <a:gd name="connsiteX0" fmla="*/ 2511 w 444751"/>
                      <a:gd name="connsiteY0" fmla="*/ 21556 h 22379"/>
                      <a:gd name="connsiteX1" fmla="*/ 0 w 444751"/>
                      <a:gd name="connsiteY1" fmla="*/ 0 h 22379"/>
                      <a:gd name="connsiteX2" fmla="*/ 444318 w 444751"/>
                      <a:gd name="connsiteY2" fmla="*/ 0 h 22379"/>
                      <a:gd name="connsiteX3" fmla="*/ 443033 w 444751"/>
                      <a:gd name="connsiteY3" fmla="*/ 21556 h 22379"/>
                      <a:gd name="connsiteX4" fmla="*/ 2511 w 444751"/>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751" h="22379">
                        <a:moveTo>
                          <a:pt x="2511" y="21556"/>
                        </a:moveTo>
                        <a:lnTo>
                          <a:pt x="0" y="0"/>
                        </a:lnTo>
                        <a:lnTo>
                          <a:pt x="444318" y="0"/>
                        </a:lnTo>
                        <a:cubicBezTo>
                          <a:pt x="444318" y="0"/>
                          <a:pt x="445896" y="19705"/>
                          <a:pt x="443033" y="21556"/>
                        </a:cubicBezTo>
                        <a:cubicBezTo>
                          <a:pt x="440170" y="23408"/>
                          <a:pt x="2511" y="21556"/>
                          <a:pt x="2511"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32" name="Graphic 5">
                  <a:extLst>
                    <a:ext uri="{FF2B5EF4-FFF2-40B4-BE49-F238E27FC236}">
                      <a16:creationId xmlns:a16="http://schemas.microsoft.com/office/drawing/2014/main" id="{B74EF667-BD21-E5CE-1B37-B0D0688B49F6}"/>
                    </a:ext>
                  </a:extLst>
                </p:cNvPr>
                <p:cNvGrpSpPr/>
                <p:nvPr/>
              </p:nvGrpSpPr>
              <p:grpSpPr>
                <a:xfrm>
                  <a:off x="-3602669" y="4387058"/>
                  <a:ext cx="444754" cy="56614"/>
                  <a:chOff x="-3602669" y="4387058"/>
                  <a:chExt cx="444754" cy="56614"/>
                </a:xfrm>
              </p:grpSpPr>
              <p:sp>
                <p:nvSpPr>
                  <p:cNvPr id="13533" name="Freeform: Shape 13532">
                    <a:extLst>
                      <a:ext uri="{FF2B5EF4-FFF2-40B4-BE49-F238E27FC236}">
                        <a16:creationId xmlns:a16="http://schemas.microsoft.com/office/drawing/2014/main" id="{45A3135D-99E0-3B8B-100D-787E3A15D45B}"/>
                      </a:ext>
                    </a:extLst>
                  </p:cNvPr>
                  <p:cNvSpPr/>
                  <p:nvPr/>
                </p:nvSpPr>
                <p:spPr>
                  <a:xfrm>
                    <a:off x="-3602669" y="4387058"/>
                    <a:ext cx="444358" cy="55791"/>
                  </a:xfrm>
                  <a:custGeom>
                    <a:avLst/>
                    <a:gdLst>
                      <a:gd name="connsiteX0" fmla="*/ 2514 w 444358"/>
                      <a:gd name="connsiteY0" fmla="*/ 55791 h 55791"/>
                      <a:gd name="connsiteX1" fmla="*/ 2514 w 444358"/>
                      <a:gd name="connsiteY1" fmla="*/ 5462 h 55791"/>
                      <a:gd name="connsiteX2" fmla="*/ 443036 w 444358"/>
                      <a:gd name="connsiteY2" fmla="*/ 5462 h 55791"/>
                      <a:gd name="connsiteX3" fmla="*/ 443036 w 444358"/>
                      <a:gd name="connsiteY3" fmla="*/ 55791 h 55791"/>
                      <a:gd name="connsiteX4" fmla="*/ 2514 w 444358"/>
                      <a:gd name="connsiteY4" fmla="*/ 55791 h 55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358" h="55791">
                        <a:moveTo>
                          <a:pt x="2514" y="55791"/>
                        </a:moveTo>
                        <a:cubicBezTo>
                          <a:pt x="2514" y="55791"/>
                          <a:pt x="-3143" y="9293"/>
                          <a:pt x="2514" y="5462"/>
                        </a:cubicBezTo>
                        <a:cubicBezTo>
                          <a:pt x="8171" y="1630"/>
                          <a:pt x="441896" y="-4627"/>
                          <a:pt x="443036" y="5462"/>
                        </a:cubicBezTo>
                        <a:cubicBezTo>
                          <a:pt x="444184" y="15550"/>
                          <a:pt x="445324" y="55791"/>
                          <a:pt x="443036" y="55791"/>
                        </a:cubicBezTo>
                        <a:lnTo>
                          <a:pt x="2514" y="55791"/>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34" name="Freeform: Shape 13533">
                    <a:extLst>
                      <a:ext uri="{FF2B5EF4-FFF2-40B4-BE49-F238E27FC236}">
                        <a16:creationId xmlns:a16="http://schemas.microsoft.com/office/drawing/2014/main" id="{718EFEF2-627D-A4BC-6CBD-8E6FDA109267}"/>
                      </a:ext>
                    </a:extLst>
                  </p:cNvPr>
                  <p:cNvSpPr/>
                  <p:nvPr/>
                </p:nvSpPr>
                <p:spPr>
                  <a:xfrm>
                    <a:off x="-3602666" y="4421293"/>
                    <a:ext cx="444751" cy="22379"/>
                  </a:xfrm>
                  <a:custGeom>
                    <a:avLst/>
                    <a:gdLst>
                      <a:gd name="connsiteX0" fmla="*/ 2511 w 444751"/>
                      <a:gd name="connsiteY0" fmla="*/ 21556 h 22379"/>
                      <a:gd name="connsiteX1" fmla="*/ 0 w 444751"/>
                      <a:gd name="connsiteY1" fmla="*/ 0 h 22379"/>
                      <a:gd name="connsiteX2" fmla="*/ 444318 w 444751"/>
                      <a:gd name="connsiteY2" fmla="*/ 0 h 22379"/>
                      <a:gd name="connsiteX3" fmla="*/ 443033 w 444751"/>
                      <a:gd name="connsiteY3" fmla="*/ 21556 h 22379"/>
                      <a:gd name="connsiteX4" fmla="*/ 2511 w 444751"/>
                      <a:gd name="connsiteY4" fmla="*/ 21556 h 22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751" h="22379">
                        <a:moveTo>
                          <a:pt x="2511" y="21556"/>
                        </a:moveTo>
                        <a:lnTo>
                          <a:pt x="0" y="0"/>
                        </a:lnTo>
                        <a:lnTo>
                          <a:pt x="444318" y="0"/>
                        </a:lnTo>
                        <a:cubicBezTo>
                          <a:pt x="444318" y="0"/>
                          <a:pt x="445896" y="19705"/>
                          <a:pt x="443033" y="21556"/>
                        </a:cubicBezTo>
                        <a:cubicBezTo>
                          <a:pt x="440170" y="23408"/>
                          <a:pt x="2511" y="21556"/>
                          <a:pt x="2511" y="21556"/>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13493" name="Graphic 5">
              <a:extLst>
                <a:ext uri="{FF2B5EF4-FFF2-40B4-BE49-F238E27FC236}">
                  <a16:creationId xmlns:a16="http://schemas.microsoft.com/office/drawing/2014/main" id="{0D29ED91-7BB6-7835-7914-1D8AFF3A86F3}"/>
                </a:ext>
              </a:extLst>
            </p:cNvPr>
            <p:cNvGrpSpPr/>
            <p:nvPr/>
          </p:nvGrpSpPr>
          <p:grpSpPr>
            <a:xfrm>
              <a:off x="7936918" y="4356647"/>
              <a:ext cx="341549" cy="196425"/>
              <a:chOff x="-3612223" y="4055109"/>
              <a:chExt cx="295223" cy="169742"/>
            </a:xfrm>
          </p:grpSpPr>
          <p:sp>
            <p:nvSpPr>
              <p:cNvPr id="13504" name="Freeform: Shape 13503">
                <a:extLst>
                  <a:ext uri="{FF2B5EF4-FFF2-40B4-BE49-F238E27FC236}">
                    <a16:creationId xmlns:a16="http://schemas.microsoft.com/office/drawing/2014/main" id="{B43FF7B6-D05C-749D-D54E-62BEA3401ED4}"/>
                  </a:ext>
                </a:extLst>
              </p:cNvPr>
              <p:cNvSpPr/>
              <p:nvPr/>
            </p:nvSpPr>
            <p:spPr>
              <a:xfrm>
                <a:off x="-3612223" y="4055109"/>
                <a:ext cx="65791" cy="169296"/>
              </a:xfrm>
              <a:custGeom>
                <a:avLst/>
                <a:gdLst>
                  <a:gd name="connsiteX0" fmla="*/ 53647 w 65791"/>
                  <a:gd name="connsiteY0" fmla="*/ 0 h 169296"/>
                  <a:gd name="connsiteX1" fmla="*/ 65792 w 65791"/>
                  <a:gd name="connsiteY1" fmla="*/ 12145 h 169296"/>
                  <a:gd name="connsiteX2" fmla="*/ 65792 w 65791"/>
                  <a:gd name="connsiteY2" fmla="*/ 157151 h 169296"/>
                  <a:gd name="connsiteX3" fmla="*/ 53647 w 65791"/>
                  <a:gd name="connsiteY3" fmla="*/ 169297 h 169296"/>
                  <a:gd name="connsiteX4" fmla="*/ 12145 w 65791"/>
                  <a:gd name="connsiteY4" fmla="*/ 169297 h 169296"/>
                  <a:gd name="connsiteX5" fmla="*/ 0 w 65791"/>
                  <a:gd name="connsiteY5" fmla="*/ 157151 h 169296"/>
                  <a:gd name="connsiteX6" fmla="*/ 0 w 65791"/>
                  <a:gd name="connsiteY6" fmla="*/ 12145 h 169296"/>
                  <a:gd name="connsiteX7" fmla="*/ 12145 w 65791"/>
                  <a:gd name="connsiteY7" fmla="*/ 0 h 16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1" h="169296">
                    <a:moveTo>
                      <a:pt x="53647" y="0"/>
                    </a:moveTo>
                    <a:cubicBezTo>
                      <a:pt x="60354" y="0"/>
                      <a:pt x="65792" y="5438"/>
                      <a:pt x="65792" y="12145"/>
                    </a:cubicBezTo>
                    <a:lnTo>
                      <a:pt x="65792" y="157151"/>
                    </a:lnTo>
                    <a:cubicBezTo>
                      <a:pt x="65792" y="163859"/>
                      <a:pt x="60354" y="169297"/>
                      <a:pt x="53647" y="169297"/>
                    </a:cubicBezTo>
                    <a:lnTo>
                      <a:pt x="12145" y="169297"/>
                    </a:lnTo>
                    <a:cubicBezTo>
                      <a:pt x="5438" y="169297"/>
                      <a:pt x="0" y="163859"/>
                      <a:pt x="0" y="157151"/>
                    </a:cubicBezTo>
                    <a:lnTo>
                      <a:pt x="0" y="12145"/>
                    </a:lnTo>
                    <a:cubicBezTo>
                      <a:pt x="0" y="5438"/>
                      <a:pt x="5438" y="0"/>
                      <a:pt x="12145" y="0"/>
                    </a:cubicBezTo>
                    <a:close/>
                  </a:path>
                </a:pathLst>
              </a:custGeom>
              <a:solidFill>
                <a:srgbClr val="00A89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505" name="Graphic 5">
                <a:extLst>
                  <a:ext uri="{FF2B5EF4-FFF2-40B4-BE49-F238E27FC236}">
                    <a16:creationId xmlns:a16="http://schemas.microsoft.com/office/drawing/2014/main" id="{6E8FB426-0BE5-B975-275E-0D503D618364}"/>
                  </a:ext>
                </a:extLst>
              </p:cNvPr>
              <p:cNvGrpSpPr/>
              <p:nvPr/>
            </p:nvGrpSpPr>
            <p:grpSpPr>
              <a:xfrm>
                <a:off x="-3523966" y="4089265"/>
                <a:ext cx="65791" cy="135140"/>
                <a:chOff x="-3523966" y="4089265"/>
                <a:chExt cx="65791" cy="135140"/>
              </a:xfrm>
            </p:grpSpPr>
            <p:sp>
              <p:nvSpPr>
                <p:cNvPr id="13509" name="Freeform: Shape 13508">
                  <a:extLst>
                    <a:ext uri="{FF2B5EF4-FFF2-40B4-BE49-F238E27FC236}">
                      <a16:creationId xmlns:a16="http://schemas.microsoft.com/office/drawing/2014/main" id="{AE7E1119-0A68-5452-9990-3113F80EB99F}"/>
                    </a:ext>
                  </a:extLst>
                </p:cNvPr>
                <p:cNvSpPr/>
                <p:nvPr/>
              </p:nvSpPr>
              <p:spPr>
                <a:xfrm>
                  <a:off x="-3523966" y="4107298"/>
                  <a:ext cx="65791" cy="117107"/>
                </a:xfrm>
                <a:custGeom>
                  <a:avLst/>
                  <a:gdLst>
                    <a:gd name="connsiteX0" fmla="*/ 53647 w 65791"/>
                    <a:gd name="connsiteY0" fmla="*/ 0 h 117107"/>
                    <a:gd name="connsiteX1" fmla="*/ 65792 w 65791"/>
                    <a:gd name="connsiteY1" fmla="*/ 12145 h 117107"/>
                    <a:gd name="connsiteX2" fmla="*/ 65792 w 65791"/>
                    <a:gd name="connsiteY2" fmla="*/ 104962 h 117107"/>
                    <a:gd name="connsiteX3" fmla="*/ 53647 w 65791"/>
                    <a:gd name="connsiteY3" fmla="*/ 117107 h 117107"/>
                    <a:gd name="connsiteX4" fmla="*/ 12145 w 65791"/>
                    <a:gd name="connsiteY4" fmla="*/ 117107 h 117107"/>
                    <a:gd name="connsiteX5" fmla="*/ 0 w 65791"/>
                    <a:gd name="connsiteY5" fmla="*/ 104962 h 117107"/>
                    <a:gd name="connsiteX6" fmla="*/ 0 w 65791"/>
                    <a:gd name="connsiteY6" fmla="*/ 12145 h 117107"/>
                    <a:gd name="connsiteX7" fmla="*/ 12145 w 65791"/>
                    <a:gd name="connsiteY7" fmla="*/ 0 h 1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91" h="117107">
                      <a:moveTo>
                        <a:pt x="53647" y="0"/>
                      </a:moveTo>
                      <a:cubicBezTo>
                        <a:pt x="60354" y="0"/>
                        <a:pt x="65792" y="5438"/>
                        <a:pt x="65792" y="12145"/>
                      </a:cubicBezTo>
                      <a:lnTo>
                        <a:pt x="65792" y="104962"/>
                      </a:lnTo>
                      <a:cubicBezTo>
                        <a:pt x="65792" y="111670"/>
                        <a:pt x="60354" y="117107"/>
                        <a:pt x="53647" y="117107"/>
                      </a:cubicBezTo>
                      <a:lnTo>
                        <a:pt x="12145" y="117107"/>
                      </a:lnTo>
                      <a:cubicBezTo>
                        <a:pt x="5438" y="117107"/>
                        <a:pt x="0" y="111669"/>
                        <a:pt x="0" y="104962"/>
                      </a:cubicBezTo>
                      <a:lnTo>
                        <a:pt x="0" y="12145"/>
                      </a:lnTo>
                      <a:cubicBezTo>
                        <a:pt x="0" y="5437"/>
                        <a:pt x="5438" y="0"/>
                        <a:pt x="12145" y="0"/>
                      </a:cubicBezTo>
                      <a:close/>
                    </a:path>
                  </a:pathLst>
                </a:custGeom>
                <a:solidFill>
                  <a:srgbClr val="FBB0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10" name="Freeform: Shape 13509">
                  <a:extLst>
                    <a:ext uri="{FF2B5EF4-FFF2-40B4-BE49-F238E27FC236}">
                      <a16:creationId xmlns:a16="http://schemas.microsoft.com/office/drawing/2014/main" id="{CDC0453E-3BFA-A124-D9F5-66D8C053AA32}"/>
                    </a:ext>
                  </a:extLst>
                </p:cNvPr>
                <p:cNvSpPr/>
                <p:nvPr/>
              </p:nvSpPr>
              <p:spPr>
                <a:xfrm>
                  <a:off x="-3523966" y="4089265"/>
                  <a:ext cx="65791" cy="29733"/>
                </a:xfrm>
                <a:custGeom>
                  <a:avLst/>
                  <a:gdLst>
                    <a:gd name="connsiteX0" fmla="*/ 10448 w 65791"/>
                    <a:gd name="connsiteY0" fmla="*/ 0 h 29733"/>
                    <a:gd name="connsiteX1" fmla="*/ 55344 w 65791"/>
                    <a:gd name="connsiteY1" fmla="*/ 0 h 29733"/>
                    <a:gd name="connsiteX2" fmla="*/ 65792 w 65791"/>
                    <a:gd name="connsiteY2" fmla="*/ 10448 h 29733"/>
                    <a:gd name="connsiteX3" fmla="*/ 65792 w 65791"/>
                    <a:gd name="connsiteY3" fmla="*/ 29733 h 29733"/>
                    <a:gd name="connsiteX4" fmla="*/ 0 w 65791"/>
                    <a:gd name="connsiteY4" fmla="*/ 29733 h 29733"/>
                    <a:gd name="connsiteX5" fmla="*/ 0 w 65791"/>
                    <a:gd name="connsiteY5" fmla="*/ 10448 h 29733"/>
                    <a:gd name="connsiteX6" fmla="*/ 10448 w 65791"/>
                    <a:gd name="connsiteY6" fmla="*/ 0 h 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91" h="29733">
                      <a:moveTo>
                        <a:pt x="10448" y="0"/>
                      </a:moveTo>
                      <a:lnTo>
                        <a:pt x="55344" y="0"/>
                      </a:lnTo>
                      <a:cubicBezTo>
                        <a:pt x="61112" y="0"/>
                        <a:pt x="65792" y="4680"/>
                        <a:pt x="65792" y="10448"/>
                      </a:cubicBezTo>
                      <a:lnTo>
                        <a:pt x="65792" y="29733"/>
                      </a:lnTo>
                      <a:lnTo>
                        <a:pt x="0" y="29733"/>
                      </a:lnTo>
                      <a:lnTo>
                        <a:pt x="0" y="10448"/>
                      </a:lnTo>
                      <a:cubicBezTo>
                        <a:pt x="0" y="4680"/>
                        <a:pt x="4680" y="0"/>
                        <a:pt x="10448" y="0"/>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506" name="Graphic 5">
                <a:extLst>
                  <a:ext uri="{FF2B5EF4-FFF2-40B4-BE49-F238E27FC236}">
                    <a16:creationId xmlns:a16="http://schemas.microsoft.com/office/drawing/2014/main" id="{0ED26B5F-9806-0FAC-2852-08662796EF0D}"/>
                  </a:ext>
                </a:extLst>
              </p:cNvPr>
              <p:cNvGrpSpPr/>
              <p:nvPr/>
            </p:nvGrpSpPr>
            <p:grpSpPr>
              <a:xfrm>
                <a:off x="-3430129" y="4146623"/>
                <a:ext cx="113130" cy="78228"/>
                <a:chOff x="-3430129" y="4146623"/>
                <a:chExt cx="113130" cy="78228"/>
              </a:xfrm>
            </p:grpSpPr>
            <p:sp>
              <p:nvSpPr>
                <p:cNvPr id="13507" name="Freeform: Shape 13506">
                  <a:extLst>
                    <a:ext uri="{FF2B5EF4-FFF2-40B4-BE49-F238E27FC236}">
                      <a16:creationId xmlns:a16="http://schemas.microsoft.com/office/drawing/2014/main" id="{30F975A4-9D59-AEFB-22DC-5611F67B10A0}"/>
                    </a:ext>
                  </a:extLst>
                </p:cNvPr>
                <p:cNvSpPr/>
                <p:nvPr/>
              </p:nvSpPr>
              <p:spPr>
                <a:xfrm>
                  <a:off x="-3430129" y="4157062"/>
                  <a:ext cx="113130" cy="67789"/>
                </a:xfrm>
                <a:custGeom>
                  <a:avLst/>
                  <a:gdLst>
                    <a:gd name="connsiteX0" fmla="*/ 100985 w 113130"/>
                    <a:gd name="connsiteY0" fmla="*/ 0 h 67789"/>
                    <a:gd name="connsiteX1" fmla="*/ 113130 w 113130"/>
                    <a:gd name="connsiteY1" fmla="*/ 12145 h 67789"/>
                    <a:gd name="connsiteX2" fmla="*/ 113130 w 113130"/>
                    <a:gd name="connsiteY2" fmla="*/ 55644 h 67789"/>
                    <a:gd name="connsiteX3" fmla="*/ 100985 w 113130"/>
                    <a:gd name="connsiteY3" fmla="*/ 67789 h 67789"/>
                    <a:gd name="connsiteX4" fmla="*/ 12145 w 113130"/>
                    <a:gd name="connsiteY4" fmla="*/ 67789 h 67789"/>
                    <a:gd name="connsiteX5" fmla="*/ 0 w 113130"/>
                    <a:gd name="connsiteY5" fmla="*/ 55644 h 67789"/>
                    <a:gd name="connsiteX6" fmla="*/ 0 w 113130"/>
                    <a:gd name="connsiteY6" fmla="*/ 12145 h 67789"/>
                    <a:gd name="connsiteX7" fmla="*/ 12145 w 113130"/>
                    <a:gd name="connsiteY7" fmla="*/ 0 h 6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130" h="67789">
                      <a:moveTo>
                        <a:pt x="100985" y="0"/>
                      </a:moveTo>
                      <a:cubicBezTo>
                        <a:pt x="107693" y="0"/>
                        <a:pt x="113130" y="5438"/>
                        <a:pt x="113130" y="12145"/>
                      </a:cubicBezTo>
                      <a:lnTo>
                        <a:pt x="113130" y="55644"/>
                      </a:lnTo>
                      <a:cubicBezTo>
                        <a:pt x="113130" y="62351"/>
                        <a:pt x="107693" y="67789"/>
                        <a:pt x="100985" y="67789"/>
                      </a:cubicBezTo>
                      <a:lnTo>
                        <a:pt x="12145" y="67789"/>
                      </a:lnTo>
                      <a:cubicBezTo>
                        <a:pt x="5438" y="67789"/>
                        <a:pt x="0" y="62351"/>
                        <a:pt x="0" y="55644"/>
                      </a:cubicBezTo>
                      <a:lnTo>
                        <a:pt x="0" y="12145"/>
                      </a:lnTo>
                      <a:cubicBezTo>
                        <a:pt x="0" y="5438"/>
                        <a:pt x="5438" y="0"/>
                        <a:pt x="12145"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08" name="Freeform: Shape 13507">
                  <a:extLst>
                    <a:ext uri="{FF2B5EF4-FFF2-40B4-BE49-F238E27FC236}">
                      <a16:creationId xmlns:a16="http://schemas.microsoft.com/office/drawing/2014/main" id="{95128D96-1DCE-E902-7ECE-4B472F465723}"/>
                    </a:ext>
                  </a:extLst>
                </p:cNvPr>
                <p:cNvSpPr/>
                <p:nvPr/>
              </p:nvSpPr>
              <p:spPr>
                <a:xfrm>
                  <a:off x="-3430129" y="4146623"/>
                  <a:ext cx="113130" cy="17210"/>
                </a:xfrm>
                <a:custGeom>
                  <a:avLst/>
                  <a:gdLst>
                    <a:gd name="connsiteX0" fmla="*/ 10448 w 113130"/>
                    <a:gd name="connsiteY0" fmla="*/ 0 h 17210"/>
                    <a:gd name="connsiteX1" fmla="*/ 102682 w 113130"/>
                    <a:gd name="connsiteY1" fmla="*/ 0 h 17210"/>
                    <a:gd name="connsiteX2" fmla="*/ 113130 w 113130"/>
                    <a:gd name="connsiteY2" fmla="*/ 10448 h 17210"/>
                    <a:gd name="connsiteX3" fmla="*/ 113130 w 113130"/>
                    <a:gd name="connsiteY3" fmla="*/ 17211 h 17210"/>
                    <a:gd name="connsiteX4" fmla="*/ 0 w 113130"/>
                    <a:gd name="connsiteY4" fmla="*/ 17211 h 17210"/>
                    <a:gd name="connsiteX5" fmla="*/ 0 w 113130"/>
                    <a:gd name="connsiteY5" fmla="*/ 10448 h 17210"/>
                    <a:gd name="connsiteX6" fmla="*/ 10448 w 113130"/>
                    <a:gd name="connsiteY6" fmla="*/ 0 h 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130" h="17210">
                      <a:moveTo>
                        <a:pt x="10448" y="0"/>
                      </a:moveTo>
                      <a:lnTo>
                        <a:pt x="102682" y="0"/>
                      </a:lnTo>
                      <a:cubicBezTo>
                        <a:pt x="108450" y="0"/>
                        <a:pt x="113130" y="4680"/>
                        <a:pt x="113130" y="10448"/>
                      </a:cubicBezTo>
                      <a:lnTo>
                        <a:pt x="113130" y="17211"/>
                      </a:lnTo>
                      <a:lnTo>
                        <a:pt x="0" y="17211"/>
                      </a:lnTo>
                      <a:lnTo>
                        <a:pt x="0" y="10448"/>
                      </a:lnTo>
                      <a:cubicBezTo>
                        <a:pt x="0" y="4680"/>
                        <a:pt x="4680" y="0"/>
                        <a:pt x="10448" y="0"/>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3494" name="Graphic 5">
              <a:extLst>
                <a:ext uri="{FF2B5EF4-FFF2-40B4-BE49-F238E27FC236}">
                  <a16:creationId xmlns:a16="http://schemas.microsoft.com/office/drawing/2014/main" id="{1778CA09-A917-B36D-D3F8-5EEB9AA0E86F}"/>
                </a:ext>
              </a:extLst>
            </p:cNvPr>
            <p:cNvGrpSpPr/>
            <p:nvPr/>
          </p:nvGrpSpPr>
          <p:grpSpPr>
            <a:xfrm>
              <a:off x="8290645" y="4434051"/>
              <a:ext cx="212997" cy="122493"/>
              <a:chOff x="-3306474" y="4121998"/>
              <a:chExt cx="184107" cy="105853"/>
            </a:xfrm>
          </p:grpSpPr>
          <p:sp>
            <p:nvSpPr>
              <p:cNvPr id="13495" name="Freeform: Shape 13494">
                <a:extLst>
                  <a:ext uri="{FF2B5EF4-FFF2-40B4-BE49-F238E27FC236}">
                    <a16:creationId xmlns:a16="http://schemas.microsoft.com/office/drawing/2014/main" id="{581DBD88-F688-0180-2711-9AC0C928E5E1}"/>
                  </a:ext>
                </a:extLst>
              </p:cNvPr>
              <p:cNvSpPr/>
              <p:nvPr/>
            </p:nvSpPr>
            <p:spPr>
              <a:xfrm rot="10800000">
                <a:off x="-3163396" y="4121998"/>
                <a:ext cx="41029" cy="105570"/>
              </a:xfrm>
              <a:custGeom>
                <a:avLst/>
                <a:gdLst>
                  <a:gd name="connsiteX0" fmla="*/ 28885 w 41029"/>
                  <a:gd name="connsiteY0" fmla="*/ 0 h 105570"/>
                  <a:gd name="connsiteX1" fmla="*/ 41030 w 41029"/>
                  <a:gd name="connsiteY1" fmla="*/ 12145 h 105570"/>
                  <a:gd name="connsiteX2" fmla="*/ 41030 w 41029"/>
                  <a:gd name="connsiteY2" fmla="*/ 93425 h 105570"/>
                  <a:gd name="connsiteX3" fmla="*/ 28885 w 41029"/>
                  <a:gd name="connsiteY3" fmla="*/ 105571 h 105570"/>
                  <a:gd name="connsiteX4" fmla="*/ 12145 w 41029"/>
                  <a:gd name="connsiteY4" fmla="*/ 105571 h 105570"/>
                  <a:gd name="connsiteX5" fmla="*/ 0 w 41029"/>
                  <a:gd name="connsiteY5" fmla="*/ 93425 h 105570"/>
                  <a:gd name="connsiteX6" fmla="*/ 0 w 41029"/>
                  <a:gd name="connsiteY6" fmla="*/ 12145 h 105570"/>
                  <a:gd name="connsiteX7" fmla="*/ 12145 w 41029"/>
                  <a:gd name="connsiteY7" fmla="*/ 0 h 10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29" h="105570">
                    <a:moveTo>
                      <a:pt x="28885" y="0"/>
                    </a:moveTo>
                    <a:cubicBezTo>
                      <a:pt x="35592" y="0"/>
                      <a:pt x="41030" y="5438"/>
                      <a:pt x="41030" y="12145"/>
                    </a:cubicBezTo>
                    <a:lnTo>
                      <a:pt x="41030" y="93425"/>
                    </a:lnTo>
                    <a:cubicBezTo>
                      <a:pt x="41030" y="100133"/>
                      <a:pt x="35592" y="105571"/>
                      <a:pt x="28885" y="105571"/>
                    </a:cubicBezTo>
                    <a:lnTo>
                      <a:pt x="12145" y="105571"/>
                    </a:lnTo>
                    <a:cubicBezTo>
                      <a:pt x="5438" y="105571"/>
                      <a:pt x="0" y="100133"/>
                      <a:pt x="0" y="93425"/>
                    </a:cubicBezTo>
                    <a:lnTo>
                      <a:pt x="0" y="12145"/>
                    </a:lnTo>
                    <a:cubicBezTo>
                      <a:pt x="0" y="5438"/>
                      <a:pt x="5438" y="0"/>
                      <a:pt x="12145" y="0"/>
                    </a:cubicBezTo>
                    <a:close/>
                  </a:path>
                </a:pathLst>
              </a:custGeom>
              <a:solidFill>
                <a:srgbClr val="00A89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96" name="Graphic 5">
                <a:extLst>
                  <a:ext uri="{FF2B5EF4-FFF2-40B4-BE49-F238E27FC236}">
                    <a16:creationId xmlns:a16="http://schemas.microsoft.com/office/drawing/2014/main" id="{F4EB6CE0-5A0D-C2AF-9D3C-90C7E94E8222}"/>
                  </a:ext>
                </a:extLst>
              </p:cNvPr>
              <p:cNvGrpSpPr/>
              <p:nvPr/>
            </p:nvGrpSpPr>
            <p:grpSpPr>
              <a:xfrm>
                <a:off x="-3218440" y="4143306"/>
                <a:ext cx="41029" cy="84262"/>
                <a:chOff x="-3218440" y="4143306"/>
                <a:chExt cx="41029" cy="84262"/>
              </a:xfrm>
            </p:grpSpPr>
            <p:sp>
              <p:nvSpPr>
                <p:cNvPr id="13502" name="Freeform: Shape 13501">
                  <a:extLst>
                    <a:ext uri="{FF2B5EF4-FFF2-40B4-BE49-F238E27FC236}">
                      <a16:creationId xmlns:a16="http://schemas.microsoft.com/office/drawing/2014/main" id="{E3E3DA4C-380D-3749-D88B-B6B743FC83F8}"/>
                    </a:ext>
                  </a:extLst>
                </p:cNvPr>
                <p:cNvSpPr/>
                <p:nvPr/>
              </p:nvSpPr>
              <p:spPr>
                <a:xfrm rot="10800000">
                  <a:off x="-3218440" y="4154542"/>
                  <a:ext cx="41029" cy="73025"/>
                </a:xfrm>
                <a:custGeom>
                  <a:avLst/>
                  <a:gdLst>
                    <a:gd name="connsiteX0" fmla="*/ 28885 w 41029"/>
                    <a:gd name="connsiteY0" fmla="*/ 0 h 73025"/>
                    <a:gd name="connsiteX1" fmla="*/ 41030 w 41029"/>
                    <a:gd name="connsiteY1" fmla="*/ 12145 h 73025"/>
                    <a:gd name="connsiteX2" fmla="*/ 41030 w 41029"/>
                    <a:gd name="connsiteY2" fmla="*/ 60881 h 73025"/>
                    <a:gd name="connsiteX3" fmla="*/ 28885 w 41029"/>
                    <a:gd name="connsiteY3" fmla="*/ 73026 h 73025"/>
                    <a:gd name="connsiteX4" fmla="*/ 12145 w 41029"/>
                    <a:gd name="connsiteY4" fmla="*/ 73026 h 73025"/>
                    <a:gd name="connsiteX5" fmla="*/ 0 w 41029"/>
                    <a:gd name="connsiteY5" fmla="*/ 60881 h 73025"/>
                    <a:gd name="connsiteX6" fmla="*/ 0 w 41029"/>
                    <a:gd name="connsiteY6" fmla="*/ 12145 h 73025"/>
                    <a:gd name="connsiteX7" fmla="*/ 12145 w 41029"/>
                    <a:gd name="connsiteY7" fmla="*/ 0 h 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29" h="73025">
                      <a:moveTo>
                        <a:pt x="28885" y="0"/>
                      </a:moveTo>
                      <a:cubicBezTo>
                        <a:pt x="35592" y="0"/>
                        <a:pt x="41030" y="5438"/>
                        <a:pt x="41030" y="12145"/>
                      </a:cubicBezTo>
                      <a:lnTo>
                        <a:pt x="41030" y="60881"/>
                      </a:lnTo>
                      <a:cubicBezTo>
                        <a:pt x="41030" y="67588"/>
                        <a:pt x="35592" y="73026"/>
                        <a:pt x="28885" y="73026"/>
                      </a:cubicBezTo>
                      <a:lnTo>
                        <a:pt x="12145" y="73026"/>
                      </a:lnTo>
                      <a:cubicBezTo>
                        <a:pt x="5438" y="73026"/>
                        <a:pt x="0" y="67588"/>
                        <a:pt x="0" y="60881"/>
                      </a:cubicBezTo>
                      <a:lnTo>
                        <a:pt x="0" y="12145"/>
                      </a:lnTo>
                      <a:cubicBezTo>
                        <a:pt x="0" y="5438"/>
                        <a:pt x="5438" y="0"/>
                        <a:pt x="12145" y="0"/>
                      </a:cubicBezTo>
                      <a:close/>
                    </a:path>
                  </a:pathLst>
                </a:custGeom>
                <a:solidFill>
                  <a:srgbClr val="ABE8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03" name="Freeform: Shape 13502">
                  <a:extLst>
                    <a:ext uri="{FF2B5EF4-FFF2-40B4-BE49-F238E27FC236}">
                      <a16:creationId xmlns:a16="http://schemas.microsoft.com/office/drawing/2014/main" id="{7151DEA8-982B-2712-DE33-9207FD37463B}"/>
                    </a:ext>
                  </a:extLst>
                </p:cNvPr>
                <p:cNvSpPr/>
                <p:nvPr/>
              </p:nvSpPr>
              <p:spPr>
                <a:xfrm rot="10800000">
                  <a:off x="-3218440" y="4143306"/>
                  <a:ext cx="41029" cy="18539"/>
                </a:xfrm>
                <a:custGeom>
                  <a:avLst/>
                  <a:gdLst>
                    <a:gd name="connsiteX0" fmla="*/ 0 w 41029"/>
                    <a:gd name="connsiteY0" fmla="*/ 0 h 18539"/>
                    <a:gd name="connsiteX1" fmla="*/ 41030 w 41029"/>
                    <a:gd name="connsiteY1" fmla="*/ 0 h 18539"/>
                    <a:gd name="connsiteX2" fmla="*/ 41030 w 41029"/>
                    <a:gd name="connsiteY2" fmla="*/ 8091 h 18539"/>
                    <a:gd name="connsiteX3" fmla="*/ 30582 w 41029"/>
                    <a:gd name="connsiteY3" fmla="*/ 18539 h 18539"/>
                    <a:gd name="connsiteX4" fmla="*/ 10457 w 41029"/>
                    <a:gd name="connsiteY4" fmla="*/ 18539 h 18539"/>
                    <a:gd name="connsiteX5" fmla="*/ 9 w 41029"/>
                    <a:gd name="connsiteY5" fmla="*/ 8091 h 18539"/>
                    <a:gd name="connsiteX6" fmla="*/ 9 w 41029"/>
                    <a:gd name="connsiteY6" fmla="*/ 0 h 18539"/>
                    <a:gd name="connsiteX7" fmla="*/ 9 w 41029"/>
                    <a:gd name="connsiteY7" fmla="*/ 0 h 1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29" h="18539">
                      <a:moveTo>
                        <a:pt x="0" y="0"/>
                      </a:moveTo>
                      <a:lnTo>
                        <a:pt x="41030" y="0"/>
                      </a:lnTo>
                      <a:lnTo>
                        <a:pt x="41030" y="8091"/>
                      </a:lnTo>
                      <a:cubicBezTo>
                        <a:pt x="41030" y="13859"/>
                        <a:pt x="36350" y="18539"/>
                        <a:pt x="30582" y="18539"/>
                      </a:cubicBezTo>
                      <a:lnTo>
                        <a:pt x="10457" y="18539"/>
                      </a:lnTo>
                      <a:cubicBezTo>
                        <a:pt x="4688" y="18539"/>
                        <a:pt x="9" y="13859"/>
                        <a:pt x="9" y="8091"/>
                      </a:cubicBezTo>
                      <a:lnTo>
                        <a:pt x="9" y="0"/>
                      </a:lnTo>
                      <a:lnTo>
                        <a:pt x="9" y="0"/>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499" name="Graphic 5">
                <a:extLst>
                  <a:ext uri="{FF2B5EF4-FFF2-40B4-BE49-F238E27FC236}">
                    <a16:creationId xmlns:a16="http://schemas.microsoft.com/office/drawing/2014/main" id="{127977F5-A770-3399-3BD4-3CB9ED9B7F45}"/>
                  </a:ext>
                </a:extLst>
              </p:cNvPr>
              <p:cNvGrpSpPr/>
              <p:nvPr/>
            </p:nvGrpSpPr>
            <p:grpSpPr>
              <a:xfrm>
                <a:off x="-3306474" y="4179064"/>
                <a:ext cx="70557" cy="48786"/>
                <a:chOff x="-3306474" y="4179064"/>
                <a:chExt cx="70557" cy="48786"/>
              </a:xfrm>
            </p:grpSpPr>
            <p:sp>
              <p:nvSpPr>
                <p:cNvPr id="13500" name="Freeform: Shape 13499">
                  <a:extLst>
                    <a:ext uri="{FF2B5EF4-FFF2-40B4-BE49-F238E27FC236}">
                      <a16:creationId xmlns:a16="http://schemas.microsoft.com/office/drawing/2014/main" id="{D81321FF-8E21-9C1D-75BB-A960A735E122}"/>
                    </a:ext>
                  </a:extLst>
                </p:cNvPr>
                <p:cNvSpPr/>
                <p:nvPr/>
              </p:nvSpPr>
              <p:spPr>
                <a:xfrm rot="10800000">
                  <a:off x="-3306474" y="4185578"/>
                  <a:ext cx="70548" cy="42272"/>
                </a:xfrm>
                <a:custGeom>
                  <a:avLst/>
                  <a:gdLst>
                    <a:gd name="connsiteX0" fmla="*/ 58404 w 70548"/>
                    <a:gd name="connsiteY0" fmla="*/ 0 h 42272"/>
                    <a:gd name="connsiteX1" fmla="*/ 70549 w 70548"/>
                    <a:gd name="connsiteY1" fmla="*/ 12145 h 42272"/>
                    <a:gd name="connsiteX2" fmla="*/ 70549 w 70548"/>
                    <a:gd name="connsiteY2" fmla="*/ 30127 h 42272"/>
                    <a:gd name="connsiteX3" fmla="*/ 58404 w 70548"/>
                    <a:gd name="connsiteY3" fmla="*/ 42273 h 42272"/>
                    <a:gd name="connsiteX4" fmla="*/ 12145 w 70548"/>
                    <a:gd name="connsiteY4" fmla="*/ 42273 h 42272"/>
                    <a:gd name="connsiteX5" fmla="*/ 0 w 70548"/>
                    <a:gd name="connsiteY5" fmla="*/ 30127 h 42272"/>
                    <a:gd name="connsiteX6" fmla="*/ 0 w 70548"/>
                    <a:gd name="connsiteY6" fmla="*/ 12145 h 42272"/>
                    <a:gd name="connsiteX7" fmla="*/ 12145 w 70548"/>
                    <a:gd name="connsiteY7" fmla="*/ 0 h 4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548" h="42272">
                      <a:moveTo>
                        <a:pt x="58404" y="0"/>
                      </a:moveTo>
                      <a:cubicBezTo>
                        <a:pt x="65111" y="0"/>
                        <a:pt x="70549" y="5438"/>
                        <a:pt x="70549" y="12145"/>
                      </a:cubicBezTo>
                      <a:lnTo>
                        <a:pt x="70549" y="30127"/>
                      </a:lnTo>
                      <a:cubicBezTo>
                        <a:pt x="70549" y="36835"/>
                        <a:pt x="65111" y="42273"/>
                        <a:pt x="58404" y="42273"/>
                      </a:cubicBezTo>
                      <a:lnTo>
                        <a:pt x="12145" y="42273"/>
                      </a:lnTo>
                      <a:cubicBezTo>
                        <a:pt x="5438" y="42273"/>
                        <a:pt x="0" y="36835"/>
                        <a:pt x="0" y="30127"/>
                      </a:cubicBezTo>
                      <a:lnTo>
                        <a:pt x="0" y="12145"/>
                      </a:lnTo>
                      <a:cubicBezTo>
                        <a:pt x="0" y="5438"/>
                        <a:pt x="5438" y="0"/>
                        <a:pt x="12145" y="0"/>
                      </a:cubicBezTo>
                      <a:close/>
                    </a:path>
                  </a:pathLst>
                </a:custGeom>
                <a:solidFill>
                  <a:srgbClr val="FBB0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01" name="Freeform: Shape 13500">
                  <a:extLst>
                    <a:ext uri="{FF2B5EF4-FFF2-40B4-BE49-F238E27FC236}">
                      <a16:creationId xmlns:a16="http://schemas.microsoft.com/office/drawing/2014/main" id="{C3145183-8D15-614E-EA7E-BF694C847FE1}"/>
                    </a:ext>
                  </a:extLst>
                </p:cNvPr>
                <p:cNvSpPr/>
                <p:nvPr/>
              </p:nvSpPr>
              <p:spPr>
                <a:xfrm rot="10800000">
                  <a:off x="-3306474" y="4179064"/>
                  <a:ext cx="70557" cy="10739"/>
                </a:xfrm>
                <a:custGeom>
                  <a:avLst/>
                  <a:gdLst>
                    <a:gd name="connsiteX0" fmla="*/ 9 w 70557"/>
                    <a:gd name="connsiteY0" fmla="*/ 0 h 10739"/>
                    <a:gd name="connsiteX1" fmla="*/ 70558 w 70557"/>
                    <a:gd name="connsiteY1" fmla="*/ 0 h 10739"/>
                    <a:gd name="connsiteX2" fmla="*/ 70558 w 70557"/>
                    <a:gd name="connsiteY2" fmla="*/ 1140 h 10739"/>
                    <a:gd name="connsiteX3" fmla="*/ 60958 w 70557"/>
                    <a:gd name="connsiteY3" fmla="*/ 10740 h 10739"/>
                    <a:gd name="connsiteX4" fmla="*/ 9600 w 70557"/>
                    <a:gd name="connsiteY4" fmla="*/ 10740 h 10739"/>
                    <a:gd name="connsiteX5" fmla="*/ 0 w 70557"/>
                    <a:gd name="connsiteY5" fmla="*/ 1140 h 10739"/>
                    <a:gd name="connsiteX6" fmla="*/ 0 w 70557"/>
                    <a:gd name="connsiteY6" fmla="*/ 0 h 10739"/>
                    <a:gd name="connsiteX7" fmla="*/ 0 w 70557"/>
                    <a:gd name="connsiteY7" fmla="*/ 0 h 1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557" h="10739">
                      <a:moveTo>
                        <a:pt x="9" y="0"/>
                      </a:moveTo>
                      <a:lnTo>
                        <a:pt x="70558" y="0"/>
                      </a:lnTo>
                      <a:lnTo>
                        <a:pt x="70558" y="1140"/>
                      </a:lnTo>
                      <a:cubicBezTo>
                        <a:pt x="70558" y="6437"/>
                        <a:pt x="66255" y="10740"/>
                        <a:pt x="60958" y="10740"/>
                      </a:cubicBezTo>
                      <a:lnTo>
                        <a:pt x="9600" y="10740"/>
                      </a:lnTo>
                      <a:cubicBezTo>
                        <a:pt x="4303" y="10740"/>
                        <a:pt x="0" y="6437"/>
                        <a:pt x="0" y="1140"/>
                      </a:cubicBezTo>
                      <a:lnTo>
                        <a:pt x="0" y="0"/>
                      </a:lnTo>
                      <a:lnTo>
                        <a:pt x="0" y="0"/>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3483" name="Freeform: Shape 13482">
              <a:extLst>
                <a:ext uri="{FF2B5EF4-FFF2-40B4-BE49-F238E27FC236}">
                  <a16:creationId xmlns:a16="http://schemas.microsoft.com/office/drawing/2014/main" id="{1CDC57C4-6EA1-2C8A-6450-93C5F2003C72}"/>
                </a:ext>
              </a:extLst>
            </p:cNvPr>
            <p:cNvSpPr/>
            <p:nvPr/>
          </p:nvSpPr>
          <p:spPr>
            <a:xfrm>
              <a:off x="9023831" y="2999320"/>
              <a:ext cx="556699" cy="320903"/>
            </a:xfrm>
            <a:custGeom>
              <a:avLst/>
              <a:gdLst>
                <a:gd name="connsiteX0" fmla="*/ 481191 w 481191"/>
                <a:gd name="connsiteY0" fmla="*/ 248854 h 277310"/>
                <a:gd name="connsiteX1" fmla="*/ 440041 w 481191"/>
                <a:gd name="connsiteY1" fmla="*/ 277310 h 277310"/>
                <a:gd name="connsiteX2" fmla="*/ 41150 w 481191"/>
                <a:gd name="connsiteY2" fmla="*/ 277310 h 277310"/>
                <a:gd name="connsiteX3" fmla="*/ 0 w 481191"/>
                <a:gd name="connsiteY3" fmla="*/ 248854 h 277310"/>
                <a:gd name="connsiteX4" fmla="*/ 0 w 481191"/>
                <a:gd name="connsiteY4" fmla="*/ 28456 h 277310"/>
                <a:gd name="connsiteX5" fmla="*/ 41150 w 481191"/>
                <a:gd name="connsiteY5" fmla="*/ 0 h 277310"/>
                <a:gd name="connsiteX6" fmla="*/ 440041 w 481191"/>
                <a:gd name="connsiteY6" fmla="*/ 0 h 277310"/>
                <a:gd name="connsiteX7" fmla="*/ 481191 w 481191"/>
                <a:gd name="connsiteY7" fmla="*/ 28456 h 277310"/>
                <a:gd name="connsiteX8" fmla="*/ 481191 w 481191"/>
                <a:gd name="connsiteY8" fmla="*/ 248854 h 27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191" h="277310">
                  <a:moveTo>
                    <a:pt x="481191" y="248854"/>
                  </a:moveTo>
                  <a:cubicBezTo>
                    <a:pt x="481191" y="264573"/>
                    <a:pt x="462763" y="277310"/>
                    <a:pt x="440041" y="277310"/>
                  </a:cubicBezTo>
                  <a:lnTo>
                    <a:pt x="41150" y="277310"/>
                  </a:lnTo>
                  <a:cubicBezTo>
                    <a:pt x="18419" y="277310"/>
                    <a:pt x="0" y="264565"/>
                    <a:pt x="0" y="248854"/>
                  </a:cubicBezTo>
                  <a:lnTo>
                    <a:pt x="0" y="28456"/>
                  </a:lnTo>
                  <a:cubicBezTo>
                    <a:pt x="0" y="12737"/>
                    <a:pt x="18428" y="0"/>
                    <a:pt x="41150" y="0"/>
                  </a:cubicBezTo>
                  <a:lnTo>
                    <a:pt x="440041" y="0"/>
                  </a:lnTo>
                  <a:cubicBezTo>
                    <a:pt x="462772" y="0"/>
                    <a:pt x="481191" y="12745"/>
                    <a:pt x="481191" y="28456"/>
                  </a:cubicBezTo>
                  <a:lnTo>
                    <a:pt x="481191" y="248854"/>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4" name="Freeform: Shape 13483">
              <a:extLst>
                <a:ext uri="{FF2B5EF4-FFF2-40B4-BE49-F238E27FC236}">
                  <a16:creationId xmlns:a16="http://schemas.microsoft.com/office/drawing/2014/main" id="{BB76C993-1672-036B-A434-D4203F55A0DF}"/>
                </a:ext>
              </a:extLst>
            </p:cNvPr>
            <p:cNvSpPr/>
            <p:nvPr/>
          </p:nvSpPr>
          <p:spPr>
            <a:xfrm>
              <a:off x="9062473" y="3004666"/>
              <a:ext cx="487128" cy="283461"/>
            </a:xfrm>
            <a:custGeom>
              <a:avLst/>
              <a:gdLst>
                <a:gd name="connsiteX0" fmla="*/ 421056 w 421056"/>
                <a:gd name="connsiteY0" fmla="*/ 219952 h 244954"/>
                <a:gd name="connsiteX1" fmla="*/ 384895 w 421056"/>
                <a:gd name="connsiteY1" fmla="*/ 244954 h 244954"/>
                <a:gd name="connsiteX2" fmla="*/ 36162 w 421056"/>
                <a:gd name="connsiteY2" fmla="*/ 244954 h 244954"/>
                <a:gd name="connsiteX3" fmla="*/ 0 w 421056"/>
                <a:gd name="connsiteY3" fmla="*/ 219952 h 244954"/>
                <a:gd name="connsiteX4" fmla="*/ 0 w 421056"/>
                <a:gd name="connsiteY4" fmla="*/ 25002 h 244954"/>
                <a:gd name="connsiteX5" fmla="*/ 36162 w 421056"/>
                <a:gd name="connsiteY5" fmla="*/ 0 h 244954"/>
                <a:gd name="connsiteX6" fmla="*/ 384895 w 421056"/>
                <a:gd name="connsiteY6" fmla="*/ 0 h 244954"/>
                <a:gd name="connsiteX7" fmla="*/ 421056 w 421056"/>
                <a:gd name="connsiteY7" fmla="*/ 25002 h 244954"/>
                <a:gd name="connsiteX8" fmla="*/ 421056 w 421056"/>
                <a:gd name="connsiteY8" fmla="*/ 219952 h 24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056" h="244954">
                  <a:moveTo>
                    <a:pt x="421056" y="219952"/>
                  </a:moveTo>
                  <a:cubicBezTo>
                    <a:pt x="421056" y="233760"/>
                    <a:pt x="404866" y="244954"/>
                    <a:pt x="384895" y="244954"/>
                  </a:cubicBezTo>
                  <a:lnTo>
                    <a:pt x="36162" y="244954"/>
                  </a:lnTo>
                  <a:cubicBezTo>
                    <a:pt x="16191" y="244954"/>
                    <a:pt x="0" y="233760"/>
                    <a:pt x="0" y="219952"/>
                  </a:cubicBezTo>
                  <a:lnTo>
                    <a:pt x="0" y="25002"/>
                  </a:lnTo>
                  <a:cubicBezTo>
                    <a:pt x="0" y="11194"/>
                    <a:pt x="16191" y="0"/>
                    <a:pt x="36162" y="0"/>
                  </a:cubicBezTo>
                  <a:lnTo>
                    <a:pt x="384895" y="0"/>
                  </a:lnTo>
                  <a:cubicBezTo>
                    <a:pt x="404866" y="0"/>
                    <a:pt x="421056" y="11194"/>
                    <a:pt x="421056" y="25002"/>
                  </a:cubicBezTo>
                  <a:lnTo>
                    <a:pt x="421056" y="219952"/>
                  </a:lnTo>
                  <a:close/>
                </a:path>
              </a:pathLst>
            </a:custGeom>
            <a:solidFill>
              <a:srgbClr val="1A1A1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5" name="Freeform: Shape 13484">
              <a:extLst>
                <a:ext uri="{FF2B5EF4-FFF2-40B4-BE49-F238E27FC236}">
                  <a16:creationId xmlns:a16="http://schemas.microsoft.com/office/drawing/2014/main" id="{DDA2BCE7-A4C0-AA42-5B38-76684A92BED4}"/>
                </a:ext>
              </a:extLst>
            </p:cNvPr>
            <p:cNvSpPr/>
            <p:nvPr/>
          </p:nvSpPr>
          <p:spPr>
            <a:xfrm>
              <a:off x="9460218" y="3222010"/>
              <a:ext cx="62738" cy="43404"/>
            </a:xfrm>
            <a:custGeom>
              <a:avLst/>
              <a:gdLst>
                <a:gd name="connsiteX0" fmla="*/ 54230 w 54229"/>
                <a:gd name="connsiteY0" fmla="*/ 18754 h 37507"/>
                <a:gd name="connsiteX1" fmla="*/ 27110 w 54229"/>
                <a:gd name="connsiteY1" fmla="*/ 37507 h 37507"/>
                <a:gd name="connsiteX2" fmla="*/ 0 w 54229"/>
                <a:gd name="connsiteY2" fmla="*/ 18754 h 37507"/>
                <a:gd name="connsiteX3" fmla="*/ 27110 w 54229"/>
                <a:gd name="connsiteY3" fmla="*/ 0 h 37507"/>
                <a:gd name="connsiteX4" fmla="*/ 54230 w 54229"/>
                <a:gd name="connsiteY4" fmla="*/ 18754 h 37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29" h="37507">
                  <a:moveTo>
                    <a:pt x="54230" y="18754"/>
                  </a:moveTo>
                  <a:cubicBezTo>
                    <a:pt x="54230" y="29107"/>
                    <a:pt x="42093" y="37507"/>
                    <a:pt x="27110" y="37507"/>
                  </a:cubicBezTo>
                  <a:cubicBezTo>
                    <a:pt x="12128" y="37507"/>
                    <a:pt x="0" y="29107"/>
                    <a:pt x="0" y="18754"/>
                  </a:cubicBezTo>
                  <a:cubicBezTo>
                    <a:pt x="0" y="8400"/>
                    <a:pt x="12137" y="0"/>
                    <a:pt x="27110" y="0"/>
                  </a:cubicBezTo>
                  <a:cubicBezTo>
                    <a:pt x="42084" y="0"/>
                    <a:pt x="54230" y="8391"/>
                    <a:pt x="54230" y="18754"/>
                  </a:cubicBezTo>
                  <a:close/>
                </a:path>
              </a:pathLst>
            </a:custGeom>
            <a:solidFill>
              <a:srgbClr val="B3B3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6" name="Freeform: Shape 13485">
              <a:extLst>
                <a:ext uri="{FF2B5EF4-FFF2-40B4-BE49-F238E27FC236}">
                  <a16:creationId xmlns:a16="http://schemas.microsoft.com/office/drawing/2014/main" id="{2F24DA98-D5B2-90BA-92A9-DF1D6A6C2EA4}"/>
                </a:ext>
              </a:extLst>
            </p:cNvPr>
            <p:cNvSpPr/>
            <p:nvPr/>
          </p:nvSpPr>
          <p:spPr>
            <a:xfrm>
              <a:off x="9097893" y="3034133"/>
              <a:ext cx="318494" cy="67089"/>
            </a:xfrm>
            <a:custGeom>
              <a:avLst/>
              <a:gdLst>
                <a:gd name="connsiteX0" fmla="*/ 150003 w 275295"/>
                <a:gd name="connsiteY0" fmla="*/ 57975 h 57975"/>
                <a:gd name="connsiteX1" fmla="*/ 136075 w 275295"/>
                <a:gd name="connsiteY1" fmla="*/ 37370 h 57975"/>
                <a:gd name="connsiteX2" fmla="*/ 126175 w 275295"/>
                <a:gd name="connsiteY2" fmla="*/ 22088 h 57975"/>
                <a:gd name="connsiteX3" fmla="*/ 104045 w 275295"/>
                <a:gd name="connsiteY3" fmla="*/ 44458 h 57975"/>
                <a:gd name="connsiteX4" fmla="*/ 93442 w 275295"/>
                <a:gd name="connsiteY4" fmla="*/ 31233 h 57975"/>
                <a:gd name="connsiteX5" fmla="*/ 76600 w 275295"/>
                <a:gd name="connsiteY5" fmla="*/ 44853 h 57975"/>
                <a:gd name="connsiteX6" fmla="*/ 66923 w 275295"/>
                <a:gd name="connsiteY6" fmla="*/ 9703 h 57975"/>
                <a:gd name="connsiteX7" fmla="*/ 53030 w 275295"/>
                <a:gd name="connsiteY7" fmla="*/ 40216 h 57975"/>
                <a:gd name="connsiteX8" fmla="*/ 42470 w 275295"/>
                <a:gd name="connsiteY8" fmla="*/ 23776 h 57975"/>
                <a:gd name="connsiteX9" fmla="*/ 32562 w 275295"/>
                <a:gd name="connsiteY9" fmla="*/ 39187 h 57975"/>
                <a:gd name="connsiteX10" fmla="*/ 19139 w 275295"/>
                <a:gd name="connsiteY10" fmla="*/ 26913 h 57975"/>
                <a:gd name="connsiteX11" fmla="*/ 2631 w 275295"/>
                <a:gd name="connsiteY11" fmla="*/ 40593 h 57975"/>
                <a:gd name="connsiteX12" fmla="*/ 0 w 275295"/>
                <a:gd name="connsiteY12" fmla="*/ 39076 h 57975"/>
                <a:gd name="connsiteX13" fmla="*/ 19276 w 275295"/>
                <a:gd name="connsiteY13" fmla="*/ 23108 h 57975"/>
                <a:gd name="connsiteX14" fmla="*/ 31799 w 275295"/>
                <a:gd name="connsiteY14" fmla="*/ 34550 h 57975"/>
                <a:gd name="connsiteX15" fmla="*/ 42470 w 275295"/>
                <a:gd name="connsiteY15" fmla="*/ 17939 h 57975"/>
                <a:gd name="connsiteX16" fmla="*/ 52481 w 275295"/>
                <a:gd name="connsiteY16" fmla="*/ 33522 h 57975"/>
                <a:gd name="connsiteX17" fmla="*/ 67738 w 275295"/>
                <a:gd name="connsiteY17" fmla="*/ 0 h 57975"/>
                <a:gd name="connsiteX18" fmla="*/ 78640 w 275295"/>
                <a:gd name="connsiteY18" fmla="*/ 39556 h 57975"/>
                <a:gd name="connsiteX19" fmla="*/ 94051 w 275295"/>
                <a:gd name="connsiteY19" fmla="*/ 27093 h 57975"/>
                <a:gd name="connsiteX20" fmla="*/ 104353 w 275295"/>
                <a:gd name="connsiteY20" fmla="*/ 39950 h 57975"/>
                <a:gd name="connsiteX21" fmla="*/ 126801 w 275295"/>
                <a:gd name="connsiteY21" fmla="*/ 17254 h 57975"/>
                <a:gd name="connsiteX22" fmla="*/ 139195 w 275295"/>
                <a:gd name="connsiteY22" fmla="*/ 36384 h 57975"/>
                <a:gd name="connsiteX23" fmla="*/ 150115 w 275295"/>
                <a:gd name="connsiteY23" fmla="*/ 52524 h 57975"/>
                <a:gd name="connsiteX24" fmla="*/ 162680 w 275295"/>
                <a:gd name="connsiteY24" fmla="*/ 35150 h 57975"/>
                <a:gd name="connsiteX25" fmla="*/ 178879 w 275295"/>
                <a:gd name="connsiteY25" fmla="*/ 9445 h 57975"/>
                <a:gd name="connsiteX26" fmla="*/ 196904 w 275295"/>
                <a:gd name="connsiteY26" fmla="*/ 41493 h 57975"/>
                <a:gd name="connsiteX27" fmla="*/ 205133 w 275295"/>
                <a:gd name="connsiteY27" fmla="*/ 28679 h 57975"/>
                <a:gd name="connsiteX28" fmla="*/ 218992 w 275295"/>
                <a:gd name="connsiteY28" fmla="*/ 44544 h 57975"/>
                <a:gd name="connsiteX29" fmla="*/ 240583 w 275295"/>
                <a:gd name="connsiteY29" fmla="*/ 16474 h 57975"/>
                <a:gd name="connsiteX30" fmla="*/ 258874 w 275295"/>
                <a:gd name="connsiteY30" fmla="*/ 42376 h 57975"/>
                <a:gd name="connsiteX31" fmla="*/ 272613 w 275295"/>
                <a:gd name="connsiteY31" fmla="*/ 30496 h 57975"/>
                <a:gd name="connsiteX32" fmla="*/ 275296 w 275295"/>
                <a:gd name="connsiteY32" fmla="*/ 31979 h 57975"/>
                <a:gd name="connsiteX33" fmla="*/ 258171 w 275295"/>
                <a:gd name="connsiteY33" fmla="*/ 46781 h 57975"/>
                <a:gd name="connsiteX34" fmla="*/ 240454 w 275295"/>
                <a:gd name="connsiteY34" fmla="*/ 21694 h 57975"/>
                <a:gd name="connsiteX35" fmla="*/ 219172 w 275295"/>
                <a:gd name="connsiteY35" fmla="*/ 49353 h 57975"/>
                <a:gd name="connsiteX36" fmla="*/ 205596 w 275295"/>
                <a:gd name="connsiteY36" fmla="*/ 33796 h 57975"/>
                <a:gd name="connsiteX37" fmla="*/ 196682 w 275295"/>
                <a:gd name="connsiteY37" fmla="*/ 47664 h 57975"/>
                <a:gd name="connsiteX38" fmla="*/ 178699 w 275295"/>
                <a:gd name="connsiteY38" fmla="*/ 15668 h 57975"/>
                <a:gd name="connsiteX39" fmla="*/ 165783 w 275295"/>
                <a:gd name="connsiteY39" fmla="*/ 36153 h 57975"/>
                <a:gd name="connsiteX40" fmla="*/ 150003 w 275295"/>
                <a:gd name="connsiteY40" fmla="*/ 57975 h 5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5295" h="57975">
                  <a:moveTo>
                    <a:pt x="150003" y="57975"/>
                  </a:moveTo>
                  <a:lnTo>
                    <a:pt x="136075" y="37370"/>
                  </a:lnTo>
                  <a:lnTo>
                    <a:pt x="126175" y="22088"/>
                  </a:lnTo>
                  <a:lnTo>
                    <a:pt x="104045" y="44458"/>
                  </a:lnTo>
                  <a:lnTo>
                    <a:pt x="93442" y="31233"/>
                  </a:lnTo>
                  <a:lnTo>
                    <a:pt x="76600" y="44853"/>
                  </a:lnTo>
                  <a:lnTo>
                    <a:pt x="66923" y="9703"/>
                  </a:lnTo>
                  <a:lnTo>
                    <a:pt x="53030" y="40216"/>
                  </a:lnTo>
                  <a:lnTo>
                    <a:pt x="42470" y="23776"/>
                  </a:lnTo>
                  <a:lnTo>
                    <a:pt x="32562" y="39187"/>
                  </a:lnTo>
                  <a:lnTo>
                    <a:pt x="19139" y="26913"/>
                  </a:lnTo>
                  <a:lnTo>
                    <a:pt x="2631" y="40593"/>
                  </a:lnTo>
                  <a:lnTo>
                    <a:pt x="0" y="39076"/>
                  </a:lnTo>
                  <a:lnTo>
                    <a:pt x="19276" y="23108"/>
                  </a:lnTo>
                  <a:lnTo>
                    <a:pt x="31799" y="34550"/>
                  </a:lnTo>
                  <a:lnTo>
                    <a:pt x="42470" y="17939"/>
                  </a:lnTo>
                  <a:lnTo>
                    <a:pt x="52481" y="33522"/>
                  </a:lnTo>
                  <a:lnTo>
                    <a:pt x="67738" y="0"/>
                  </a:lnTo>
                  <a:lnTo>
                    <a:pt x="78640" y="39556"/>
                  </a:lnTo>
                  <a:lnTo>
                    <a:pt x="94051" y="27093"/>
                  </a:lnTo>
                  <a:lnTo>
                    <a:pt x="104353" y="39950"/>
                  </a:lnTo>
                  <a:lnTo>
                    <a:pt x="126801" y="17254"/>
                  </a:lnTo>
                  <a:lnTo>
                    <a:pt x="139195" y="36384"/>
                  </a:lnTo>
                  <a:lnTo>
                    <a:pt x="150115" y="52524"/>
                  </a:lnTo>
                  <a:lnTo>
                    <a:pt x="162680" y="35150"/>
                  </a:lnTo>
                  <a:lnTo>
                    <a:pt x="178879" y="9445"/>
                  </a:lnTo>
                  <a:lnTo>
                    <a:pt x="196904" y="41493"/>
                  </a:lnTo>
                  <a:lnTo>
                    <a:pt x="205133" y="28679"/>
                  </a:lnTo>
                  <a:lnTo>
                    <a:pt x="218992" y="44544"/>
                  </a:lnTo>
                  <a:lnTo>
                    <a:pt x="240583" y="16474"/>
                  </a:lnTo>
                  <a:lnTo>
                    <a:pt x="258874" y="42376"/>
                  </a:lnTo>
                  <a:lnTo>
                    <a:pt x="272613" y="30496"/>
                  </a:lnTo>
                  <a:lnTo>
                    <a:pt x="275296" y="31979"/>
                  </a:lnTo>
                  <a:lnTo>
                    <a:pt x="258171" y="46781"/>
                  </a:lnTo>
                  <a:lnTo>
                    <a:pt x="240454" y="21694"/>
                  </a:lnTo>
                  <a:lnTo>
                    <a:pt x="219172" y="49353"/>
                  </a:lnTo>
                  <a:lnTo>
                    <a:pt x="205596" y="33796"/>
                  </a:lnTo>
                  <a:lnTo>
                    <a:pt x="196682" y="47664"/>
                  </a:lnTo>
                  <a:lnTo>
                    <a:pt x="178699" y="15668"/>
                  </a:lnTo>
                  <a:lnTo>
                    <a:pt x="165783" y="36153"/>
                  </a:lnTo>
                  <a:lnTo>
                    <a:pt x="150003" y="57975"/>
                  </a:lnTo>
                  <a:close/>
                </a:path>
              </a:pathLst>
            </a:custGeom>
            <a:solidFill>
              <a:srgbClr val="FBB0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7" name="Freeform: Shape 13486">
              <a:extLst>
                <a:ext uri="{FF2B5EF4-FFF2-40B4-BE49-F238E27FC236}">
                  <a16:creationId xmlns:a16="http://schemas.microsoft.com/office/drawing/2014/main" id="{88355DF5-83F3-98BE-8B28-90403905536B}"/>
                </a:ext>
              </a:extLst>
            </p:cNvPr>
            <p:cNvSpPr/>
            <p:nvPr/>
          </p:nvSpPr>
          <p:spPr>
            <a:xfrm>
              <a:off x="9456816" y="3173141"/>
              <a:ext cx="69581" cy="29417"/>
            </a:xfrm>
            <a:custGeom>
              <a:avLst/>
              <a:gdLst>
                <a:gd name="connsiteX0" fmla="*/ 60144 w 60143"/>
                <a:gd name="connsiteY0" fmla="*/ 20836 h 25421"/>
                <a:gd name="connsiteX1" fmla="*/ 50493 w 60143"/>
                <a:gd name="connsiteY1" fmla="*/ 25422 h 25421"/>
                <a:gd name="connsiteX2" fmla="*/ 8974 w 60143"/>
                <a:gd name="connsiteY2" fmla="*/ 25422 h 25421"/>
                <a:gd name="connsiteX3" fmla="*/ 0 w 60143"/>
                <a:gd name="connsiteY3" fmla="*/ 20836 h 25421"/>
                <a:gd name="connsiteX4" fmla="*/ 0 w 60143"/>
                <a:gd name="connsiteY4" fmla="*/ 5554 h 25421"/>
                <a:gd name="connsiteX5" fmla="*/ 8974 w 60143"/>
                <a:gd name="connsiteY5" fmla="*/ 0 h 25421"/>
                <a:gd name="connsiteX6" fmla="*/ 50493 w 60143"/>
                <a:gd name="connsiteY6" fmla="*/ 0 h 25421"/>
                <a:gd name="connsiteX7" fmla="*/ 60144 w 60143"/>
                <a:gd name="connsiteY7" fmla="*/ 5554 h 25421"/>
                <a:gd name="connsiteX8" fmla="*/ 60144 w 60143"/>
                <a:gd name="connsiteY8" fmla="*/ 20836 h 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43" h="25421">
                  <a:moveTo>
                    <a:pt x="60144" y="20836"/>
                  </a:moveTo>
                  <a:cubicBezTo>
                    <a:pt x="60144" y="23382"/>
                    <a:pt x="55121" y="25422"/>
                    <a:pt x="50493" y="25422"/>
                  </a:cubicBezTo>
                  <a:lnTo>
                    <a:pt x="8974" y="25422"/>
                  </a:lnTo>
                  <a:cubicBezTo>
                    <a:pt x="4337" y="25422"/>
                    <a:pt x="0" y="23382"/>
                    <a:pt x="0" y="20836"/>
                  </a:cubicBezTo>
                  <a:lnTo>
                    <a:pt x="0" y="5554"/>
                  </a:lnTo>
                  <a:cubicBezTo>
                    <a:pt x="0" y="3008"/>
                    <a:pt x="4337" y="0"/>
                    <a:pt x="8974" y="0"/>
                  </a:cubicBezTo>
                  <a:lnTo>
                    <a:pt x="50493" y="0"/>
                  </a:lnTo>
                  <a:cubicBezTo>
                    <a:pt x="55121" y="0"/>
                    <a:pt x="60144" y="3008"/>
                    <a:pt x="60144" y="5554"/>
                  </a:cubicBezTo>
                  <a:lnTo>
                    <a:pt x="60144" y="2083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8" name="Freeform: Shape 13487">
              <a:extLst>
                <a:ext uri="{FF2B5EF4-FFF2-40B4-BE49-F238E27FC236}">
                  <a16:creationId xmlns:a16="http://schemas.microsoft.com/office/drawing/2014/main" id="{410BA61F-7772-3EC0-CC05-8F9A3DEB6524}"/>
                </a:ext>
              </a:extLst>
            </p:cNvPr>
            <p:cNvSpPr/>
            <p:nvPr/>
          </p:nvSpPr>
          <p:spPr>
            <a:xfrm>
              <a:off x="9456816" y="3122329"/>
              <a:ext cx="69581" cy="26739"/>
            </a:xfrm>
            <a:custGeom>
              <a:avLst/>
              <a:gdLst>
                <a:gd name="connsiteX0" fmla="*/ 60144 w 60143"/>
                <a:gd name="connsiteY0" fmla="*/ 19679 h 23107"/>
                <a:gd name="connsiteX1" fmla="*/ 50493 w 60143"/>
                <a:gd name="connsiteY1" fmla="*/ 23108 h 23107"/>
                <a:gd name="connsiteX2" fmla="*/ 8974 w 60143"/>
                <a:gd name="connsiteY2" fmla="*/ 23108 h 23107"/>
                <a:gd name="connsiteX3" fmla="*/ 0 w 60143"/>
                <a:gd name="connsiteY3" fmla="*/ 19679 h 23107"/>
                <a:gd name="connsiteX4" fmla="*/ 0 w 60143"/>
                <a:gd name="connsiteY4" fmla="*/ 4397 h 23107"/>
                <a:gd name="connsiteX5" fmla="*/ 8974 w 60143"/>
                <a:gd name="connsiteY5" fmla="*/ 0 h 23107"/>
                <a:gd name="connsiteX6" fmla="*/ 50493 w 60143"/>
                <a:gd name="connsiteY6" fmla="*/ 0 h 23107"/>
                <a:gd name="connsiteX7" fmla="*/ 60144 w 60143"/>
                <a:gd name="connsiteY7" fmla="*/ 4397 h 23107"/>
                <a:gd name="connsiteX8" fmla="*/ 60144 w 60143"/>
                <a:gd name="connsiteY8" fmla="*/ 19679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43" h="23107">
                  <a:moveTo>
                    <a:pt x="60144" y="19679"/>
                  </a:moveTo>
                  <a:cubicBezTo>
                    <a:pt x="60144" y="22225"/>
                    <a:pt x="55121" y="23108"/>
                    <a:pt x="50493" y="23108"/>
                  </a:cubicBezTo>
                  <a:lnTo>
                    <a:pt x="8974" y="23108"/>
                  </a:lnTo>
                  <a:cubicBezTo>
                    <a:pt x="4337" y="23108"/>
                    <a:pt x="0" y="22225"/>
                    <a:pt x="0" y="19679"/>
                  </a:cubicBezTo>
                  <a:lnTo>
                    <a:pt x="0" y="4397"/>
                  </a:lnTo>
                  <a:cubicBezTo>
                    <a:pt x="0" y="1851"/>
                    <a:pt x="4337" y="0"/>
                    <a:pt x="8974" y="0"/>
                  </a:cubicBezTo>
                  <a:lnTo>
                    <a:pt x="50493" y="0"/>
                  </a:lnTo>
                  <a:cubicBezTo>
                    <a:pt x="55121" y="0"/>
                    <a:pt x="60144" y="1851"/>
                    <a:pt x="60144" y="4397"/>
                  </a:cubicBezTo>
                  <a:lnTo>
                    <a:pt x="60144" y="19679"/>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9" name="Freeform: Shape 13488">
              <a:extLst>
                <a:ext uri="{FF2B5EF4-FFF2-40B4-BE49-F238E27FC236}">
                  <a16:creationId xmlns:a16="http://schemas.microsoft.com/office/drawing/2014/main" id="{9B3C537B-49A2-4A14-466B-C2D347874A79}"/>
                </a:ext>
              </a:extLst>
            </p:cNvPr>
            <p:cNvSpPr/>
            <p:nvPr/>
          </p:nvSpPr>
          <p:spPr>
            <a:xfrm>
              <a:off x="9456816" y="3066170"/>
              <a:ext cx="69581" cy="29408"/>
            </a:xfrm>
            <a:custGeom>
              <a:avLst/>
              <a:gdLst>
                <a:gd name="connsiteX0" fmla="*/ 60144 w 60143"/>
                <a:gd name="connsiteY0" fmla="*/ 20776 h 25413"/>
                <a:gd name="connsiteX1" fmla="*/ 50493 w 60143"/>
                <a:gd name="connsiteY1" fmla="*/ 25413 h 25413"/>
                <a:gd name="connsiteX2" fmla="*/ 8974 w 60143"/>
                <a:gd name="connsiteY2" fmla="*/ 25413 h 25413"/>
                <a:gd name="connsiteX3" fmla="*/ 0 w 60143"/>
                <a:gd name="connsiteY3" fmla="*/ 20776 h 25413"/>
                <a:gd name="connsiteX4" fmla="*/ 0 w 60143"/>
                <a:gd name="connsiteY4" fmla="*/ 5494 h 25413"/>
                <a:gd name="connsiteX5" fmla="*/ 8974 w 60143"/>
                <a:gd name="connsiteY5" fmla="*/ 0 h 25413"/>
                <a:gd name="connsiteX6" fmla="*/ 50493 w 60143"/>
                <a:gd name="connsiteY6" fmla="*/ 0 h 25413"/>
                <a:gd name="connsiteX7" fmla="*/ 60144 w 60143"/>
                <a:gd name="connsiteY7" fmla="*/ 5494 h 25413"/>
                <a:gd name="connsiteX8" fmla="*/ 60144 w 60143"/>
                <a:gd name="connsiteY8" fmla="*/ 20776 h 2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43" h="25413">
                  <a:moveTo>
                    <a:pt x="60144" y="20776"/>
                  </a:moveTo>
                  <a:cubicBezTo>
                    <a:pt x="60144" y="23322"/>
                    <a:pt x="55121" y="25413"/>
                    <a:pt x="50493" y="25413"/>
                  </a:cubicBezTo>
                  <a:lnTo>
                    <a:pt x="8974" y="25413"/>
                  </a:lnTo>
                  <a:cubicBezTo>
                    <a:pt x="4337" y="25413"/>
                    <a:pt x="0" y="23322"/>
                    <a:pt x="0" y="20776"/>
                  </a:cubicBezTo>
                  <a:lnTo>
                    <a:pt x="0" y="5494"/>
                  </a:lnTo>
                  <a:cubicBezTo>
                    <a:pt x="0" y="2948"/>
                    <a:pt x="4337" y="0"/>
                    <a:pt x="8974" y="0"/>
                  </a:cubicBezTo>
                  <a:lnTo>
                    <a:pt x="50493" y="0"/>
                  </a:lnTo>
                  <a:cubicBezTo>
                    <a:pt x="55121" y="0"/>
                    <a:pt x="60144" y="2948"/>
                    <a:pt x="60144" y="5494"/>
                  </a:cubicBezTo>
                  <a:lnTo>
                    <a:pt x="60144" y="2077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90" name="Freeform: Shape 13489">
              <a:extLst>
                <a:ext uri="{FF2B5EF4-FFF2-40B4-BE49-F238E27FC236}">
                  <a16:creationId xmlns:a16="http://schemas.microsoft.com/office/drawing/2014/main" id="{C328E20A-F701-6B2D-9516-F5028EF61BD6}"/>
                </a:ext>
              </a:extLst>
            </p:cNvPr>
            <p:cNvSpPr/>
            <p:nvPr/>
          </p:nvSpPr>
          <p:spPr>
            <a:xfrm>
              <a:off x="9113759" y="3108234"/>
              <a:ext cx="318494" cy="67089"/>
            </a:xfrm>
            <a:custGeom>
              <a:avLst/>
              <a:gdLst>
                <a:gd name="connsiteX0" fmla="*/ 150012 w 275295"/>
                <a:gd name="connsiteY0" fmla="*/ 57975 h 57975"/>
                <a:gd name="connsiteX1" fmla="*/ 136084 w 275295"/>
                <a:gd name="connsiteY1" fmla="*/ 37370 h 57975"/>
                <a:gd name="connsiteX2" fmla="*/ 126184 w 275295"/>
                <a:gd name="connsiteY2" fmla="*/ 22088 h 57975"/>
                <a:gd name="connsiteX3" fmla="*/ 104045 w 275295"/>
                <a:gd name="connsiteY3" fmla="*/ 44458 h 57975"/>
                <a:gd name="connsiteX4" fmla="*/ 93451 w 275295"/>
                <a:gd name="connsiteY4" fmla="*/ 31233 h 57975"/>
                <a:gd name="connsiteX5" fmla="*/ 76609 w 275295"/>
                <a:gd name="connsiteY5" fmla="*/ 44853 h 57975"/>
                <a:gd name="connsiteX6" fmla="*/ 66923 w 275295"/>
                <a:gd name="connsiteY6" fmla="*/ 9702 h 57975"/>
                <a:gd name="connsiteX7" fmla="*/ 53038 w 275295"/>
                <a:gd name="connsiteY7" fmla="*/ 40216 h 57975"/>
                <a:gd name="connsiteX8" fmla="*/ 42470 w 275295"/>
                <a:gd name="connsiteY8" fmla="*/ 23776 h 57975"/>
                <a:gd name="connsiteX9" fmla="*/ 32570 w 275295"/>
                <a:gd name="connsiteY9" fmla="*/ 39187 h 57975"/>
                <a:gd name="connsiteX10" fmla="*/ 19148 w 275295"/>
                <a:gd name="connsiteY10" fmla="*/ 26913 h 57975"/>
                <a:gd name="connsiteX11" fmla="*/ 2631 w 275295"/>
                <a:gd name="connsiteY11" fmla="*/ 40593 h 57975"/>
                <a:gd name="connsiteX12" fmla="*/ 0 w 275295"/>
                <a:gd name="connsiteY12" fmla="*/ 39076 h 57975"/>
                <a:gd name="connsiteX13" fmla="*/ 19285 w 275295"/>
                <a:gd name="connsiteY13" fmla="*/ 23108 h 57975"/>
                <a:gd name="connsiteX14" fmla="*/ 31799 w 275295"/>
                <a:gd name="connsiteY14" fmla="*/ 34550 h 57975"/>
                <a:gd name="connsiteX15" fmla="*/ 42470 w 275295"/>
                <a:gd name="connsiteY15" fmla="*/ 17939 h 57975"/>
                <a:gd name="connsiteX16" fmla="*/ 52481 w 275295"/>
                <a:gd name="connsiteY16" fmla="*/ 33522 h 57975"/>
                <a:gd name="connsiteX17" fmla="*/ 67746 w 275295"/>
                <a:gd name="connsiteY17" fmla="*/ 0 h 57975"/>
                <a:gd name="connsiteX18" fmla="*/ 78640 w 275295"/>
                <a:gd name="connsiteY18" fmla="*/ 39556 h 57975"/>
                <a:gd name="connsiteX19" fmla="*/ 94051 w 275295"/>
                <a:gd name="connsiteY19" fmla="*/ 27093 h 57975"/>
                <a:gd name="connsiteX20" fmla="*/ 104353 w 275295"/>
                <a:gd name="connsiteY20" fmla="*/ 39950 h 57975"/>
                <a:gd name="connsiteX21" fmla="*/ 126801 w 275295"/>
                <a:gd name="connsiteY21" fmla="*/ 17254 h 57975"/>
                <a:gd name="connsiteX22" fmla="*/ 139204 w 275295"/>
                <a:gd name="connsiteY22" fmla="*/ 36384 h 57975"/>
                <a:gd name="connsiteX23" fmla="*/ 150115 w 275295"/>
                <a:gd name="connsiteY23" fmla="*/ 52524 h 57975"/>
                <a:gd name="connsiteX24" fmla="*/ 162680 w 275295"/>
                <a:gd name="connsiteY24" fmla="*/ 35150 h 57975"/>
                <a:gd name="connsiteX25" fmla="*/ 178879 w 275295"/>
                <a:gd name="connsiteY25" fmla="*/ 9445 h 57975"/>
                <a:gd name="connsiteX26" fmla="*/ 196904 w 275295"/>
                <a:gd name="connsiteY26" fmla="*/ 41493 h 57975"/>
                <a:gd name="connsiteX27" fmla="*/ 205141 w 275295"/>
                <a:gd name="connsiteY27" fmla="*/ 28679 h 57975"/>
                <a:gd name="connsiteX28" fmla="*/ 218992 w 275295"/>
                <a:gd name="connsiteY28" fmla="*/ 44544 h 57975"/>
                <a:gd name="connsiteX29" fmla="*/ 240583 w 275295"/>
                <a:gd name="connsiteY29" fmla="*/ 16474 h 57975"/>
                <a:gd name="connsiteX30" fmla="*/ 258874 w 275295"/>
                <a:gd name="connsiteY30" fmla="*/ 42376 h 57975"/>
                <a:gd name="connsiteX31" fmla="*/ 272622 w 275295"/>
                <a:gd name="connsiteY31" fmla="*/ 30496 h 57975"/>
                <a:gd name="connsiteX32" fmla="*/ 275296 w 275295"/>
                <a:gd name="connsiteY32" fmla="*/ 31979 h 57975"/>
                <a:gd name="connsiteX33" fmla="*/ 258171 w 275295"/>
                <a:gd name="connsiteY33" fmla="*/ 46781 h 57975"/>
                <a:gd name="connsiteX34" fmla="*/ 240454 w 275295"/>
                <a:gd name="connsiteY34" fmla="*/ 21693 h 57975"/>
                <a:gd name="connsiteX35" fmla="*/ 219181 w 275295"/>
                <a:gd name="connsiteY35" fmla="*/ 49352 h 57975"/>
                <a:gd name="connsiteX36" fmla="*/ 205596 w 275295"/>
                <a:gd name="connsiteY36" fmla="*/ 33796 h 57975"/>
                <a:gd name="connsiteX37" fmla="*/ 196690 w 275295"/>
                <a:gd name="connsiteY37" fmla="*/ 47664 h 57975"/>
                <a:gd name="connsiteX38" fmla="*/ 178699 w 275295"/>
                <a:gd name="connsiteY38" fmla="*/ 15668 h 57975"/>
                <a:gd name="connsiteX39" fmla="*/ 165783 w 275295"/>
                <a:gd name="connsiteY39" fmla="*/ 36153 h 57975"/>
                <a:gd name="connsiteX40" fmla="*/ 150012 w 275295"/>
                <a:gd name="connsiteY40" fmla="*/ 57975 h 5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5295" h="57975">
                  <a:moveTo>
                    <a:pt x="150012" y="57975"/>
                  </a:moveTo>
                  <a:lnTo>
                    <a:pt x="136084" y="37370"/>
                  </a:lnTo>
                  <a:lnTo>
                    <a:pt x="126184" y="22088"/>
                  </a:lnTo>
                  <a:lnTo>
                    <a:pt x="104045" y="44458"/>
                  </a:lnTo>
                  <a:lnTo>
                    <a:pt x="93451" y="31233"/>
                  </a:lnTo>
                  <a:lnTo>
                    <a:pt x="76609" y="44853"/>
                  </a:lnTo>
                  <a:lnTo>
                    <a:pt x="66923" y="9702"/>
                  </a:lnTo>
                  <a:lnTo>
                    <a:pt x="53038" y="40216"/>
                  </a:lnTo>
                  <a:lnTo>
                    <a:pt x="42470" y="23776"/>
                  </a:lnTo>
                  <a:lnTo>
                    <a:pt x="32570" y="39187"/>
                  </a:lnTo>
                  <a:lnTo>
                    <a:pt x="19148" y="26913"/>
                  </a:lnTo>
                  <a:lnTo>
                    <a:pt x="2631" y="40593"/>
                  </a:lnTo>
                  <a:lnTo>
                    <a:pt x="0" y="39076"/>
                  </a:lnTo>
                  <a:lnTo>
                    <a:pt x="19285" y="23108"/>
                  </a:lnTo>
                  <a:lnTo>
                    <a:pt x="31799" y="34550"/>
                  </a:lnTo>
                  <a:lnTo>
                    <a:pt x="42470" y="17939"/>
                  </a:lnTo>
                  <a:lnTo>
                    <a:pt x="52481" y="33522"/>
                  </a:lnTo>
                  <a:lnTo>
                    <a:pt x="67746" y="0"/>
                  </a:lnTo>
                  <a:lnTo>
                    <a:pt x="78640" y="39556"/>
                  </a:lnTo>
                  <a:lnTo>
                    <a:pt x="94051" y="27093"/>
                  </a:lnTo>
                  <a:lnTo>
                    <a:pt x="104353" y="39950"/>
                  </a:lnTo>
                  <a:lnTo>
                    <a:pt x="126801" y="17254"/>
                  </a:lnTo>
                  <a:lnTo>
                    <a:pt x="139204" y="36384"/>
                  </a:lnTo>
                  <a:lnTo>
                    <a:pt x="150115" y="52524"/>
                  </a:lnTo>
                  <a:lnTo>
                    <a:pt x="162680" y="35150"/>
                  </a:lnTo>
                  <a:lnTo>
                    <a:pt x="178879" y="9445"/>
                  </a:lnTo>
                  <a:lnTo>
                    <a:pt x="196904" y="41493"/>
                  </a:lnTo>
                  <a:lnTo>
                    <a:pt x="205141" y="28679"/>
                  </a:lnTo>
                  <a:lnTo>
                    <a:pt x="218992" y="44544"/>
                  </a:lnTo>
                  <a:lnTo>
                    <a:pt x="240583" y="16474"/>
                  </a:lnTo>
                  <a:lnTo>
                    <a:pt x="258874" y="42376"/>
                  </a:lnTo>
                  <a:lnTo>
                    <a:pt x="272622" y="30496"/>
                  </a:lnTo>
                  <a:lnTo>
                    <a:pt x="275296" y="31979"/>
                  </a:lnTo>
                  <a:lnTo>
                    <a:pt x="258171" y="46781"/>
                  </a:lnTo>
                  <a:lnTo>
                    <a:pt x="240454" y="21693"/>
                  </a:lnTo>
                  <a:lnTo>
                    <a:pt x="219181" y="49352"/>
                  </a:lnTo>
                  <a:lnTo>
                    <a:pt x="205596" y="33796"/>
                  </a:lnTo>
                  <a:lnTo>
                    <a:pt x="196690" y="47664"/>
                  </a:lnTo>
                  <a:lnTo>
                    <a:pt x="178699" y="15668"/>
                  </a:lnTo>
                  <a:lnTo>
                    <a:pt x="165783" y="36153"/>
                  </a:lnTo>
                  <a:lnTo>
                    <a:pt x="150012" y="57975"/>
                  </a:lnTo>
                  <a:close/>
                </a:path>
              </a:pathLst>
            </a:custGeom>
            <a:solidFill>
              <a:srgbClr val="8CC6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91" name="Freeform: Shape 13490">
              <a:extLst>
                <a:ext uri="{FF2B5EF4-FFF2-40B4-BE49-F238E27FC236}">
                  <a16:creationId xmlns:a16="http://schemas.microsoft.com/office/drawing/2014/main" id="{C28A6878-B3FA-E0FB-F797-5CCE506C91FE}"/>
                </a:ext>
              </a:extLst>
            </p:cNvPr>
            <p:cNvSpPr/>
            <p:nvPr/>
          </p:nvSpPr>
          <p:spPr>
            <a:xfrm>
              <a:off x="9113759" y="3174104"/>
              <a:ext cx="318494" cy="67089"/>
            </a:xfrm>
            <a:custGeom>
              <a:avLst/>
              <a:gdLst>
                <a:gd name="connsiteX0" fmla="*/ 150012 w 275295"/>
                <a:gd name="connsiteY0" fmla="*/ 57975 h 57975"/>
                <a:gd name="connsiteX1" fmla="*/ 136084 w 275295"/>
                <a:gd name="connsiteY1" fmla="*/ 37370 h 57975"/>
                <a:gd name="connsiteX2" fmla="*/ 126184 w 275295"/>
                <a:gd name="connsiteY2" fmla="*/ 22088 h 57975"/>
                <a:gd name="connsiteX3" fmla="*/ 104045 w 275295"/>
                <a:gd name="connsiteY3" fmla="*/ 44458 h 57975"/>
                <a:gd name="connsiteX4" fmla="*/ 93451 w 275295"/>
                <a:gd name="connsiteY4" fmla="*/ 31233 h 57975"/>
                <a:gd name="connsiteX5" fmla="*/ 76609 w 275295"/>
                <a:gd name="connsiteY5" fmla="*/ 44853 h 57975"/>
                <a:gd name="connsiteX6" fmla="*/ 66923 w 275295"/>
                <a:gd name="connsiteY6" fmla="*/ 9703 h 57975"/>
                <a:gd name="connsiteX7" fmla="*/ 53038 w 275295"/>
                <a:gd name="connsiteY7" fmla="*/ 40216 h 57975"/>
                <a:gd name="connsiteX8" fmla="*/ 42470 w 275295"/>
                <a:gd name="connsiteY8" fmla="*/ 23776 h 57975"/>
                <a:gd name="connsiteX9" fmla="*/ 32570 w 275295"/>
                <a:gd name="connsiteY9" fmla="*/ 39187 h 57975"/>
                <a:gd name="connsiteX10" fmla="*/ 19148 w 275295"/>
                <a:gd name="connsiteY10" fmla="*/ 26913 h 57975"/>
                <a:gd name="connsiteX11" fmla="*/ 2631 w 275295"/>
                <a:gd name="connsiteY11" fmla="*/ 40593 h 57975"/>
                <a:gd name="connsiteX12" fmla="*/ 0 w 275295"/>
                <a:gd name="connsiteY12" fmla="*/ 39076 h 57975"/>
                <a:gd name="connsiteX13" fmla="*/ 19285 w 275295"/>
                <a:gd name="connsiteY13" fmla="*/ 23108 h 57975"/>
                <a:gd name="connsiteX14" fmla="*/ 31799 w 275295"/>
                <a:gd name="connsiteY14" fmla="*/ 34550 h 57975"/>
                <a:gd name="connsiteX15" fmla="*/ 42470 w 275295"/>
                <a:gd name="connsiteY15" fmla="*/ 17939 h 57975"/>
                <a:gd name="connsiteX16" fmla="*/ 52481 w 275295"/>
                <a:gd name="connsiteY16" fmla="*/ 33522 h 57975"/>
                <a:gd name="connsiteX17" fmla="*/ 67746 w 275295"/>
                <a:gd name="connsiteY17" fmla="*/ 0 h 57975"/>
                <a:gd name="connsiteX18" fmla="*/ 78640 w 275295"/>
                <a:gd name="connsiteY18" fmla="*/ 39556 h 57975"/>
                <a:gd name="connsiteX19" fmla="*/ 94051 w 275295"/>
                <a:gd name="connsiteY19" fmla="*/ 27093 h 57975"/>
                <a:gd name="connsiteX20" fmla="*/ 104353 w 275295"/>
                <a:gd name="connsiteY20" fmla="*/ 39950 h 57975"/>
                <a:gd name="connsiteX21" fmla="*/ 126801 w 275295"/>
                <a:gd name="connsiteY21" fmla="*/ 17254 h 57975"/>
                <a:gd name="connsiteX22" fmla="*/ 139204 w 275295"/>
                <a:gd name="connsiteY22" fmla="*/ 36384 h 57975"/>
                <a:gd name="connsiteX23" fmla="*/ 150115 w 275295"/>
                <a:gd name="connsiteY23" fmla="*/ 52524 h 57975"/>
                <a:gd name="connsiteX24" fmla="*/ 162680 w 275295"/>
                <a:gd name="connsiteY24" fmla="*/ 35150 h 57975"/>
                <a:gd name="connsiteX25" fmla="*/ 178879 w 275295"/>
                <a:gd name="connsiteY25" fmla="*/ 9445 h 57975"/>
                <a:gd name="connsiteX26" fmla="*/ 196904 w 275295"/>
                <a:gd name="connsiteY26" fmla="*/ 41493 h 57975"/>
                <a:gd name="connsiteX27" fmla="*/ 205141 w 275295"/>
                <a:gd name="connsiteY27" fmla="*/ 28679 h 57975"/>
                <a:gd name="connsiteX28" fmla="*/ 218992 w 275295"/>
                <a:gd name="connsiteY28" fmla="*/ 44544 h 57975"/>
                <a:gd name="connsiteX29" fmla="*/ 240583 w 275295"/>
                <a:gd name="connsiteY29" fmla="*/ 16474 h 57975"/>
                <a:gd name="connsiteX30" fmla="*/ 258874 w 275295"/>
                <a:gd name="connsiteY30" fmla="*/ 42376 h 57975"/>
                <a:gd name="connsiteX31" fmla="*/ 272622 w 275295"/>
                <a:gd name="connsiteY31" fmla="*/ 30496 h 57975"/>
                <a:gd name="connsiteX32" fmla="*/ 275296 w 275295"/>
                <a:gd name="connsiteY32" fmla="*/ 31979 h 57975"/>
                <a:gd name="connsiteX33" fmla="*/ 258171 w 275295"/>
                <a:gd name="connsiteY33" fmla="*/ 46781 h 57975"/>
                <a:gd name="connsiteX34" fmla="*/ 240454 w 275295"/>
                <a:gd name="connsiteY34" fmla="*/ 21694 h 57975"/>
                <a:gd name="connsiteX35" fmla="*/ 219181 w 275295"/>
                <a:gd name="connsiteY35" fmla="*/ 49353 h 57975"/>
                <a:gd name="connsiteX36" fmla="*/ 205596 w 275295"/>
                <a:gd name="connsiteY36" fmla="*/ 33796 h 57975"/>
                <a:gd name="connsiteX37" fmla="*/ 196690 w 275295"/>
                <a:gd name="connsiteY37" fmla="*/ 47664 h 57975"/>
                <a:gd name="connsiteX38" fmla="*/ 178699 w 275295"/>
                <a:gd name="connsiteY38" fmla="*/ 15668 h 57975"/>
                <a:gd name="connsiteX39" fmla="*/ 165783 w 275295"/>
                <a:gd name="connsiteY39" fmla="*/ 36153 h 57975"/>
                <a:gd name="connsiteX40" fmla="*/ 150012 w 275295"/>
                <a:gd name="connsiteY40" fmla="*/ 57975 h 5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5295" h="57975">
                  <a:moveTo>
                    <a:pt x="150012" y="57975"/>
                  </a:moveTo>
                  <a:lnTo>
                    <a:pt x="136084" y="37370"/>
                  </a:lnTo>
                  <a:lnTo>
                    <a:pt x="126184" y="22088"/>
                  </a:lnTo>
                  <a:lnTo>
                    <a:pt x="104045" y="44458"/>
                  </a:lnTo>
                  <a:lnTo>
                    <a:pt x="93451" y="31233"/>
                  </a:lnTo>
                  <a:lnTo>
                    <a:pt x="76609" y="44853"/>
                  </a:lnTo>
                  <a:lnTo>
                    <a:pt x="66923" y="9703"/>
                  </a:lnTo>
                  <a:lnTo>
                    <a:pt x="53038" y="40216"/>
                  </a:lnTo>
                  <a:lnTo>
                    <a:pt x="42470" y="23776"/>
                  </a:lnTo>
                  <a:lnTo>
                    <a:pt x="32570" y="39187"/>
                  </a:lnTo>
                  <a:lnTo>
                    <a:pt x="19148" y="26913"/>
                  </a:lnTo>
                  <a:lnTo>
                    <a:pt x="2631" y="40593"/>
                  </a:lnTo>
                  <a:lnTo>
                    <a:pt x="0" y="39076"/>
                  </a:lnTo>
                  <a:lnTo>
                    <a:pt x="19285" y="23108"/>
                  </a:lnTo>
                  <a:lnTo>
                    <a:pt x="31799" y="34550"/>
                  </a:lnTo>
                  <a:lnTo>
                    <a:pt x="42470" y="17939"/>
                  </a:lnTo>
                  <a:lnTo>
                    <a:pt x="52481" y="33522"/>
                  </a:lnTo>
                  <a:lnTo>
                    <a:pt x="67746" y="0"/>
                  </a:lnTo>
                  <a:lnTo>
                    <a:pt x="78640" y="39556"/>
                  </a:lnTo>
                  <a:lnTo>
                    <a:pt x="94051" y="27093"/>
                  </a:lnTo>
                  <a:lnTo>
                    <a:pt x="104353" y="39950"/>
                  </a:lnTo>
                  <a:lnTo>
                    <a:pt x="126801" y="17254"/>
                  </a:lnTo>
                  <a:lnTo>
                    <a:pt x="139204" y="36384"/>
                  </a:lnTo>
                  <a:lnTo>
                    <a:pt x="150115" y="52524"/>
                  </a:lnTo>
                  <a:lnTo>
                    <a:pt x="162680" y="35150"/>
                  </a:lnTo>
                  <a:lnTo>
                    <a:pt x="178879" y="9445"/>
                  </a:lnTo>
                  <a:lnTo>
                    <a:pt x="196904" y="41493"/>
                  </a:lnTo>
                  <a:lnTo>
                    <a:pt x="205141" y="28679"/>
                  </a:lnTo>
                  <a:lnTo>
                    <a:pt x="218992" y="44544"/>
                  </a:lnTo>
                  <a:lnTo>
                    <a:pt x="240583" y="16474"/>
                  </a:lnTo>
                  <a:lnTo>
                    <a:pt x="258874" y="42376"/>
                  </a:lnTo>
                  <a:lnTo>
                    <a:pt x="272622" y="30496"/>
                  </a:lnTo>
                  <a:lnTo>
                    <a:pt x="275296" y="31979"/>
                  </a:lnTo>
                  <a:lnTo>
                    <a:pt x="258171" y="46781"/>
                  </a:lnTo>
                  <a:lnTo>
                    <a:pt x="240454" y="21694"/>
                  </a:lnTo>
                  <a:lnTo>
                    <a:pt x="219181" y="49353"/>
                  </a:lnTo>
                  <a:lnTo>
                    <a:pt x="205596" y="33796"/>
                  </a:lnTo>
                  <a:lnTo>
                    <a:pt x="196690" y="47664"/>
                  </a:lnTo>
                  <a:lnTo>
                    <a:pt x="178699" y="15668"/>
                  </a:lnTo>
                  <a:lnTo>
                    <a:pt x="165783" y="36153"/>
                  </a:lnTo>
                  <a:lnTo>
                    <a:pt x="150012" y="57975"/>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22" name="Graphic 5">
              <a:extLst>
                <a:ext uri="{FF2B5EF4-FFF2-40B4-BE49-F238E27FC236}">
                  <a16:creationId xmlns:a16="http://schemas.microsoft.com/office/drawing/2014/main" id="{C189506A-8E97-9FDC-7BDF-15758DD888AB}"/>
                </a:ext>
              </a:extLst>
            </p:cNvPr>
            <p:cNvGrpSpPr/>
            <p:nvPr/>
          </p:nvGrpSpPr>
          <p:grpSpPr>
            <a:xfrm>
              <a:off x="8874454" y="3428107"/>
              <a:ext cx="1678287" cy="962649"/>
              <a:chOff x="-2801849" y="3252706"/>
              <a:chExt cx="1450653" cy="831878"/>
            </a:xfrm>
          </p:grpSpPr>
          <p:grpSp>
            <p:nvGrpSpPr>
              <p:cNvPr id="13479" name="Graphic 5">
                <a:extLst>
                  <a:ext uri="{FF2B5EF4-FFF2-40B4-BE49-F238E27FC236}">
                    <a16:creationId xmlns:a16="http://schemas.microsoft.com/office/drawing/2014/main" id="{60EAB557-CCF5-F9C4-B699-F8F1A98E8837}"/>
                  </a:ext>
                </a:extLst>
              </p:cNvPr>
              <p:cNvGrpSpPr/>
              <p:nvPr/>
            </p:nvGrpSpPr>
            <p:grpSpPr>
              <a:xfrm>
                <a:off x="-2801849" y="3252706"/>
                <a:ext cx="1450653" cy="831878"/>
                <a:chOff x="-2801849" y="3252706"/>
                <a:chExt cx="1450653" cy="831878"/>
              </a:xfrm>
            </p:grpSpPr>
            <p:sp>
              <p:nvSpPr>
                <p:cNvPr id="13481" name="Freeform: Shape 13480">
                  <a:extLst>
                    <a:ext uri="{FF2B5EF4-FFF2-40B4-BE49-F238E27FC236}">
                      <a16:creationId xmlns:a16="http://schemas.microsoft.com/office/drawing/2014/main" id="{97533D9E-7837-CF05-C043-31E73BBABCF1}"/>
                    </a:ext>
                  </a:extLst>
                </p:cNvPr>
                <p:cNvSpPr/>
                <p:nvPr/>
              </p:nvSpPr>
              <p:spPr>
                <a:xfrm>
                  <a:off x="-2801849" y="3252706"/>
                  <a:ext cx="1450653" cy="831878"/>
                </a:xfrm>
                <a:custGeom>
                  <a:avLst/>
                  <a:gdLst>
                    <a:gd name="connsiteX0" fmla="*/ 1450654 w 1450653"/>
                    <a:gd name="connsiteY0" fmla="*/ 831879 h 831878"/>
                    <a:gd name="connsiteX1" fmla="*/ 10911 w 1450653"/>
                    <a:gd name="connsiteY1" fmla="*/ 831879 h 831878"/>
                    <a:gd name="connsiteX2" fmla="*/ 0 w 1450653"/>
                    <a:gd name="connsiteY2" fmla="*/ 135064 h 831878"/>
                    <a:gd name="connsiteX3" fmla="*/ 135064 w 1450653"/>
                    <a:gd name="connsiteY3" fmla="*/ 0 h 831878"/>
                    <a:gd name="connsiteX4" fmla="*/ 1304679 w 1450653"/>
                    <a:gd name="connsiteY4" fmla="*/ 0 h 831878"/>
                    <a:gd name="connsiteX5" fmla="*/ 1439743 w 1450653"/>
                    <a:gd name="connsiteY5" fmla="*/ 135064 h 831878"/>
                    <a:gd name="connsiteX6" fmla="*/ 1450654 w 1450653"/>
                    <a:gd name="connsiteY6" fmla="*/ 831879 h 831878"/>
                    <a:gd name="connsiteX7" fmla="*/ 1267720 w 1450653"/>
                    <a:gd name="connsiteY7" fmla="*/ 54615 h 831878"/>
                    <a:gd name="connsiteX8" fmla="*/ 184288 w 1450653"/>
                    <a:gd name="connsiteY8" fmla="*/ 54615 h 831878"/>
                    <a:gd name="connsiteX9" fmla="*/ 63521 w 1450653"/>
                    <a:gd name="connsiteY9" fmla="*/ 175382 h 831878"/>
                    <a:gd name="connsiteX10" fmla="*/ 63521 w 1450653"/>
                    <a:gd name="connsiteY10" fmla="*/ 689975 h 831878"/>
                    <a:gd name="connsiteX11" fmla="*/ 1388488 w 1450653"/>
                    <a:gd name="connsiteY11" fmla="*/ 689975 h 831878"/>
                    <a:gd name="connsiteX12" fmla="*/ 1388488 w 1450653"/>
                    <a:gd name="connsiteY12" fmla="*/ 175382 h 831878"/>
                    <a:gd name="connsiteX13" fmla="*/ 1267720 w 1450653"/>
                    <a:gd name="connsiteY13" fmla="*/ 54615 h 83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0653" h="831878">
                      <a:moveTo>
                        <a:pt x="1450654" y="831879"/>
                      </a:moveTo>
                      <a:lnTo>
                        <a:pt x="10911" y="831879"/>
                      </a:lnTo>
                      <a:lnTo>
                        <a:pt x="0" y="135064"/>
                      </a:lnTo>
                      <a:cubicBezTo>
                        <a:pt x="0" y="60469"/>
                        <a:pt x="60469" y="0"/>
                        <a:pt x="135064" y="0"/>
                      </a:cubicBezTo>
                      <a:lnTo>
                        <a:pt x="1304679" y="0"/>
                      </a:lnTo>
                      <a:cubicBezTo>
                        <a:pt x="1379274" y="0"/>
                        <a:pt x="1439743" y="60469"/>
                        <a:pt x="1439743" y="135064"/>
                      </a:cubicBezTo>
                      <a:lnTo>
                        <a:pt x="1450654" y="831879"/>
                      </a:lnTo>
                      <a:close/>
                      <a:moveTo>
                        <a:pt x="1267720" y="54615"/>
                      </a:moveTo>
                      <a:lnTo>
                        <a:pt x="184288" y="54615"/>
                      </a:lnTo>
                      <a:cubicBezTo>
                        <a:pt x="117587" y="54615"/>
                        <a:pt x="63521" y="108682"/>
                        <a:pt x="63521" y="175382"/>
                      </a:cubicBezTo>
                      <a:lnTo>
                        <a:pt x="63521" y="689975"/>
                      </a:lnTo>
                      <a:lnTo>
                        <a:pt x="1388488" y="689975"/>
                      </a:lnTo>
                      <a:lnTo>
                        <a:pt x="1388488" y="175382"/>
                      </a:lnTo>
                      <a:cubicBezTo>
                        <a:pt x="1388488" y="108682"/>
                        <a:pt x="1334421" y="54615"/>
                        <a:pt x="1267720" y="5461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82" name="Freeform: Shape 13481">
                  <a:extLst>
                    <a:ext uri="{FF2B5EF4-FFF2-40B4-BE49-F238E27FC236}">
                      <a16:creationId xmlns:a16="http://schemas.microsoft.com/office/drawing/2014/main" id="{4941B541-3292-A1FD-3C2E-90F80F6B1206}"/>
                    </a:ext>
                  </a:extLst>
                </p:cNvPr>
                <p:cNvSpPr/>
                <p:nvPr/>
              </p:nvSpPr>
              <p:spPr>
                <a:xfrm>
                  <a:off x="-2751123" y="3355985"/>
                  <a:ext cx="1367437" cy="721520"/>
                </a:xfrm>
                <a:custGeom>
                  <a:avLst/>
                  <a:gdLst>
                    <a:gd name="connsiteX0" fmla="*/ 6384 w 1367437"/>
                    <a:gd name="connsiteY0" fmla="*/ 11351 h 721520"/>
                    <a:gd name="connsiteX1" fmla="*/ 654866 w 1367437"/>
                    <a:gd name="connsiteY1" fmla="*/ 23068 h 721520"/>
                    <a:gd name="connsiteX2" fmla="*/ 1331351 w 1367437"/>
                    <a:gd name="connsiteY2" fmla="*/ 11351 h 721520"/>
                    <a:gd name="connsiteX3" fmla="*/ 1331351 w 1367437"/>
                    <a:gd name="connsiteY3" fmla="*/ 646317 h 721520"/>
                    <a:gd name="connsiteX4" fmla="*/ 13755 w 1367437"/>
                    <a:gd name="connsiteY4" fmla="*/ 696561 h 721520"/>
                    <a:gd name="connsiteX5" fmla="*/ 6384 w 1367437"/>
                    <a:gd name="connsiteY5" fmla="*/ 11351 h 72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437" h="721520">
                      <a:moveTo>
                        <a:pt x="6384" y="11351"/>
                      </a:moveTo>
                      <a:cubicBezTo>
                        <a:pt x="6384" y="11351"/>
                        <a:pt x="504160" y="33285"/>
                        <a:pt x="654866" y="23068"/>
                      </a:cubicBezTo>
                      <a:cubicBezTo>
                        <a:pt x="805572" y="12851"/>
                        <a:pt x="1331351" y="-15742"/>
                        <a:pt x="1331351" y="11351"/>
                      </a:cubicBezTo>
                      <a:cubicBezTo>
                        <a:pt x="1331351" y="38444"/>
                        <a:pt x="1412545" y="575931"/>
                        <a:pt x="1331351" y="646317"/>
                      </a:cubicBezTo>
                      <a:cubicBezTo>
                        <a:pt x="1250157" y="716703"/>
                        <a:pt x="39563" y="746805"/>
                        <a:pt x="13755" y="696561"/>
                      </a:cubicBezTo>
                      <a:cubicBezTo>
                        <a:pt x="-12061" y="646317"/>
                        <a:pt x="6384" y="11351"/>
                        <a:pt x="6384" y="11351"/>
                      </a:cubicBezTo>
                      <a:close/>
                    </a:path>
                  </a:pathLst>
                </a:custGeom>
                <a:solidFill>
                  <a:srgbClr val="ABE8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80" name="Freeform: Shape 13479">
                <a:extLst>
                  <a:ext uri="{FF2B5EF4-FFF2-40B4-BE49-F238E27FC236}">
                    <a16:creationId xmlns:a16="http://schemas.microsoft.com/office/drawing/2014/main" id="{3B1666E5-ABFB-31CE-3EC1-B3A0FB2BD75F}"/>
                  </a:ext>
                </a:extLst>
              </p:cNvPr>
              <p:cNvSpPr/>
              <p:nvPr/>
            </p:nvSpPr>
            <p:spPr>
              <a:xfrm>
                <a:off x="-2574879" y="3369968"/>
                <a:ext cx="954481" cy="516975"/>
              </a:xfrm>
              <a:custGeom>
                <a:avLst/>
                <a:gdLst>
                  <a:gd name="connsiteX0" fmla="*/ 349309 w 954481"/>
                  <a:gd name="connsiteY0" fmla="*/ 13002 h 516975"/>
                  <a:gd name="connsiteX1" fmla="*/ 273318 w 954481"/>
                  <a:gd name="connsiteY1" fmla="*/ 109899 h 516975"/>
                  <a:gd name="connsiteX2" fmla="*/ 297548 w 954481"/>
                  <a:gd name="connsiteY2" fmla="*/ 213541 h 516975"/>
                  <a:gd name="connsiteX3" fmla="*/ 119132 w 954481"/>
                  <a:gd name="connsiteY3" fmla="*/ 261565 h 516975"/>
                  <a:gd name="connsiteX4" fmla="*/ 46440 w 954481"/>
                  <a:gd name="connsiteY4" fmla="*/ 422128 h 516975"/>
                  <a:gd name="connsiteX5" fmla="*/ 15507 w 954481"/>
                  <a:gd name="connsiteY5" fmla="*/ 516976 h 516975"/>
                  <a:gd name="connsiteX6" fmla="*/ 934665 w 954481"/>
                  <a:gd name="connsiteY6" fmla="*/ 495814 h 516975"/>
                  <a:gd name="connsiteX7" fmla="*/ 934665 w 954481"/>
                  <a:gd name="connsiteY7" fmla="*/ 430168 h 516975"/>
                  <a:gd name="connsiteX8" fmla="*/ 890078 w 954481"/>
                  <a:gd name="connsiteY8" fmla="*/ 346342 h 516975"/>
                  <a:gd name="connsiteX9" fmla="*/ 757920 w 954481"/>
                  <a:gd name="connsiteY9" fmla="*/ 240369 h 516975"/>
                  <a:gd name="connsiteX10" fmla="*/ 654390 w 954481"/>
                  <a:gd name="connsiteY10" fmla="*/ 156954 h 516975"/>
                  <a:gd name="connsiteX11" fmla="*/ 720473 w 954481"/>
                  <a:gd name="connsiteY11" fmla="*/ 40619 h 516975"/>
                  <a:gd name="connsiteX12" fmla="*/ 631273 w 954481"/>
                  <a:gd name="connsiteY12" fmla="*/ 0 h 516975"/>
                  <a:gd name="connsiteX13" fmla="*/ 349318 w 954481"/>
                  <a:gd name="connsiteY13" fmla="*/ 12985 h 51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4481" h="516975">
                    <a:moveTo>
                      <a:pt x="349309" y="13002"/>
                    </a:moveTo>
                    <a:cubicBezTo>
                      <a:pt x="349309" y="13002"/>
                      <a:pt x="229262" y="53458"/>
                      <a:pt x="273318" y="109899"/>
                    </a:cubicBezTo>
                    <a:cubicBezTo>
                      <a:pt x="317373" y="166340"/>
                      <a:pt x="376848" y="192465"/>
                      <a:pt x="297548" y="213541"/>
                    </a:cubicBezTo>
                    <a:cubicBezTo>
                      <a:pt x="218248" y="234626"/>
                      <a:pt x="119132" y="220226"/>
                      <a:pt x="119132" y="261565"/>
                    </a:cubicBezTo>
                    <a:cubicBezTo>
                      <a:pt x="119132" y="302904"/>
                      <a:pt x="127943" y="387166"/>
                      <a:pt x="46440" y="422128"/>
                    </a:cubicBezTo>
                    <a:cubicBezTo>
                      <a:pt x="-35063" y="457089"/>
                      <a:pt x="15507" y="516976"/>
                      <a:pt x="15507" y="516976"/>
                    </a:cubicBezTo>
                    <a:lnTo>
                      <a:pt x="934665" y="495814"/>
                    </a:lnTo>
                    <a:cubicBezTo>
                      <a:pt x="934665" y="495814"/>
                      <a:pt x="979252" y="478140"/>
                      <a:pt x="934665" y="430168"/>
                    </a:cubicBezTo>
                    <a:cubicBezTo>
                      <a:pt x="890078" y="382195"/>
                      <a:pt x="879065" y="378775"/>
                      <a:pt x="890078" y="346342"/>
                    </a:cubicBezTo>
                    <a:cubicBezTo>
                      <a:pt x="901092" y="313909"/>
                      <a:pt x="812981" y="261539"/>
                      <a:pt x="757920" y="240369"/>
                    </a:cubicBezTo>
                    <a:cubicBezTo>
                      <a:pt x="702851" y="219198"/>
                      <a:pt x="605937" y="198233"/>
                      <a:pt x="654390" y="156954"/>
                    </a:cubicBezTo>
                    <a:cubicBezTo>
                      <a:pt x="702851" y="115667"/>
                      <a:pt x="773340" y="73497"/>
                      <a:pt x="720473" y="40619"/>
                    </a:cubicBezTo>
                    <a:cubicBezTo>
                      <a:pt x="667607" y="7740"/>
                      <a:pt x="631273" y="0"/>
                      <a:pt x="631273" y="0"/>
                    </a:cubicBezTo>
                    <a:lnTo>
                      <a:pt x="349318" y="12985"/>
                    </a:lnTo>
                    <a:close/>
                  </a:path>
                </a:pathLst>
              </a:custGeom>
              <a:solidFill>
                <a:srgbClr val="66CED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23" name="Freeform: Shape 13422">
              <a:extLst>
                <a:ext uri="{FF2B5EF4-FFF2-40B4-BE49-F238E27FC236}">
                  <a16:creationId xmlns:a16="http://schemas.microsoft.com/office/drawing/2014/main" id="{CCB5A299-D606-B346-422E-36F113657B4B}"/>
                </a:ext>
              </a:extLst>
            </p:cNvPr>
            <p:cNvSpPr/>
            <p:nvPr/>
          </p:nvSpPr>
          <p:spPr>
            <a:xfrm>
              <a:off x="9231622" y="3866494"/>
              <a:ext cx="910861" cy="260628"/>
            </a:xfrm>
            <a:custGeom>
              <a:avLst/>
              <a:gdLst>
                <a:gd name="connsiteX0" fmla="*/ 297212 w 787317"/>
                <a:gd name="connsiteY0" fmla="*/ 0 h 225223"/>
                <a:gd name="connsiteX1" fmla="*/ 168962 w 787317"/>
                <a:gd name="connsiteY1" fmla="*/ 43293 h 225223"/>
                <a:gd name="connsiteX2" fmla="*/ 36007 w 787317"/>
                <a:gd name="connsiteY2" fmla="*/ 168611 h 225223"/>
                <a:gd name="connsiteX3" fmla="*/ 0 w 787317"/>
                <a:gd name="connsiteY3" fmla="*/ 225223 h 225223"/>
                <a:gd name="connsiteX4" fmla="*/ 422059 w 787317"/>
                <a:gd name="connsiteY4" fmla="*/ 172322 h 225223"/>
                <a:gd name="connsiteX5" fmla="*/ 787318 w 787317"/>
                <a:gd name="connsiteY5" fmla="*/ 214887 h 225223"/>
                <a:gd name="connsiteX6" fmla="*/ 706337 w 787317"/>
                <a:gd name="connsiteY6" fmla="*/ 64001 h 225223"/>
                <a:gd name="connsiteX7" fmla="*/ 549512 w 787317"/>
                <a:gd name="connsiteY7" fmla="*/ 2511 h 225223"/>
                <a:gd name="connsiteX8" fmla="*/ 297212 w 787317"/>
                <a:gd name="connsiteY8" fmla="*/ 9 h 2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317" h="225223">
                  <a:moveTo>
                    <a:pt x="297212" y="0"/>
                  </a:moveTo>
                  <a:cubicBezTo>
                    <a:pt x="297212" y="0"/>
                    <a:pt x="254828" y="20888"/>
                    <a:pt x="168962" y="43293"/>
                  </a:cubicBezTo>
                  <a:cubicBezTo>
                    <a:pt x="83097" y="65698"/>
                    <a:pt x="66478" y="127487"/>
                    <a:pt x="36007" y="168611"/>
                  </a:cubicBezTo>
                  <a:cubicBezTo>
                    <a:pt x="5537" y="209736"/>
                    <a:pt x="0" y="225223"/>
                    <a:pt x="0" y="225223"/>
                  </a:cubicBezTo>
                  <a:cubicBezTo>
                    <a:pt x="0" y="225223"/>
                    <a:pt x="231960" y="165380"/>
                    <a:pt x="422059" y="172322"/>
                  </a:cubicBezTo>
                  <a:cubicBezTo>
                    <a:pt x="612158" y="179265"/>
                    <a:pt x="787318" y="214887"/>
                    <a:pt x="787318" y="214887"/>
                  </a:cubicBezTo>
                  <a:cubicBezTo>
                    <a:pt x="787318" y="214887"/>
                    <a:pt x="758964" y="95542"/>
                    <a:pt x="706337" y="64001"/>
                  </a:cubicBezTo>
                  <a:cubicBezTo>
                    <a:pt x="653711" y="32459"/>
                    <a:pt x="549512" y="2511"/>
                    <a:pt x="549512" y="2511"/>
                  </a:cubicBezTo>
                  <a:cubicBezTo>
                    <a:pt x="549512" y="2511"/>
                    <a:pt x="411620" y="78349"/>
                    <a:pt x="297212" y="9"/>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24" name="Graphic 5">
              <a:extLst>
                <a:ext uri="{FF2B5EF4-FFF2-40B4-BE49-F238E27FC236}">
                  <a16:creationId xmlns:a16="http://schemas.microsoft.com/office/drawing/2014/main" id="{22FEBBCD-6E85-4E83-4CCA-2A03A7A2B239}"/>
                </a:ext>
              </a:extLst>
            </p:cNvPr>
            <p:cNvGrpSpPr/>
            <p:nvPr/>
          </p:nvGrpSpPr>
          <p:grpSpPr>
            <a:xfrm>
              <a:off x="9570613" y="3452378"/>
              <a:ext cx="296748" cy="486956"/>
              <a:chOff x="-2200113" y="3273680"/>
              <a:chExt cx="256499" cy="420806"/>
            </a:xfrm>
          </p:grpSpPr>
          <p:grpSp>
            <p:nvGrpSpPr>
              <p:cNvPr id="13465" name="Graphic 5">
                <a:extLst>
                  <a:ext uri="{FF2B5EF4-FFF2-40B4-BE49-F238E27FC236}">
                    <a16:creationId xmlns:a16="http://schemas.microsoft.com/office/drawing/2014/main" id="{7BE4CE7F-EC8E-C567-8CAB-943D80236E5B}"/>
                  </a:ext>
                </a:extLst>
              </p:cNvPr>
              <p:cNvGrpSpPr/>
              <p:nvPr/>
            </p:nvGrpSpPr>
            <p:grpSpPr>
              <a:xfrm>
                <a:off x="-2200113" y="3273680"/>
                <a:ext cx="256499" cy="420806"/>
                <a:chOff x="-2200113" y="3273680"/>
                <a:chExt cx="256499" cy="420806"/>
              </a:xfrm>
            </p:grpSpPr>
            <p:grpSp>
              <p:nvGrpSpPr>
                <p:cNvPr id="13474" name="Graphic 5">
                  <a:extLst>
                    <a:ext uri="{FF2B5EF4-FFF2-40B4-BE49-F238E27FC236}">
                      <a16:creationId xmlns:a16="http://schemas.microsoft.com/office/drawing/2014/main" id="{F50E0290-1D68-F13A-0A18-720702C47CF2}"/>
                    </a:ext>
                  </a:extLst>
                </p:cNvPr>
                <p:cNvGrpSpPr/>
                <p:nvPr/>
              </p:nvGrpSpPr>
              <p:grpSpPr>
                <a:xfrm>
                  <a:off x="-2195925" y="3312377"/>
                  <a:ext cx="252310" cy="382109"/>
                  <a:chOff x="-2195925" y="3312377"/>
                  <a:chExt cx="252310" cy="382109"/>
                </a:xfrm>
              </p:grpSpPr>
              <p:sp>
                <p:nvSpPr>
                  <p:cNvPr id="13476" name="Freeform: Shape 13475">
                    <a:extLst>
                      <a:ext uri="{FF2B5EF4-FFF2-40B4-BE49-F238E27FC236}">
                        <a16:creationId xmlns:a16="http://schemas.microsoft.com/office/drawing/2014/main" id="{607988A7-228B-C271-4EDF-99A163578EAB}"/>
                      </a:ext>
                    </a:extLst>
                  </p:cNvPr>
                  <p:cNvSpPr/>
                  <p:nvPr/>
                </p:nvSpPr>
                <p:spPr>
                  <a:xfrm>
                    <a:off x="-2195925" y="3540719"/>
                    <a:ext cx="252310" cy="153768"/>
                  </a:xfrm>
                  <a:custGeom>
                    <a:avLst/>
                    <a:gdLst>
                      <a:gd name="connsiteX0" fmla="*/ 27130 w 252310"/>
                      <a:gd name="connsiteY0" fmla="*/ 10485 h 153768"/>
                      <a:gd name="connsiteX1" fmla="*/ 22202 w 252310"/>
                      <a:gd name="connsiteY1" fmla="*/ 78043 h 153768"/>
                      <a:gd name="connsiteX2" fmla="*/ 11 w 252310"/>
                      <a:gd name="connsiteY2" fmla="*/ 90822 h 153768"/>
                      <a:gd name="connsiteX3" fmla="*/ 104785 w 252310"/>
                      <a:gd name="connsiteY3" fmla="*/ 153666 h 153768"/>
                      <a:gd name="connsiteX4" fmla="*/ 252311 w 252310"/>
                      <a:gd name="connsiteY4" fmla="*/ 93325 h 153768"/>
                      <a:gd name="connsiteX5" fmla="*/ 204870 w 252310"/>
                      <a:gd name="connsiteY5" fmla="*/ 10879 h 153768"/>
                      <a:gd name="connsiteX6" fmla="*/ 43519 w 252310"/>
                      <a:gd name="connsiteY6" fmla="*/ 16545 h 153768"/>
                      <a:gd name="connsiteX7" fmla="*/ 27139 w 252310"/>
                      <a:gd name="connsiteY7" fmla="*/ 10485 h 15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310" h="153768">
                        <a:moveTo>
                          <a:pt x="27130" y="10485"/>
                        </a:moveTo>
                        <a:cubicBezTo>
                          <a:pt x="26376" y="20925"/>
                          <a:pt x="33807" y="66420"/>
                          <a:pt x="22202" y="78043"/>
                        </a:cubicBezTo>
                        <a:cubicBezTo>
                          <a:pt x="11694" y="85011"/>
                          <a:pt x="-426" y="89880"/>
                          <a:pt x="11" y="90822"/>
                        </a:cubicBezTo>
                        <a:cubicBezTo>
                          <a:pt x="13845" y="105119"/>
                          <a:pt x="48481" y="156357"/>
                          <a:pt x="104785" y="153666"/>
                        </a:cubicBezTo>
                        <a:cubicBezTo>
                          <a:pt x="203687" y="148935"/>
                          <a:pt x="237397" y="104305"/>
                          <a:pt x="252311" y="93325"/>
                        </a:cubicBezTo>
                        <a:cubicBezTo>
                          <a:pt x="217281" y="89339"/>
                          <a:pt x="201536" y="41710"/>
                          <a:pt x="204870" y="10879"/>
                        </a:cubicBezTo>
                        <a:cubicBezTo>
                          <a:pt x="178668" y="-7549"/>
                          <a:pt x="84026" y="-477"/>
                          <a:pt x="43519" y="16545"/>
                        </a:cubicBezTo>
                        <a:cubicBezTo>
                          <a:pt x="40407" y="21182"/>
                          <a:pt x="31373" y="5102"/>
                          <a:pt x="27139" y="10485"/>
                        </a:cubicBezTo>
                        <a:close/>
                      </a:path>
                    </a:pathLst>
                  </a:custGeom>
                  <a:solidFill>
                    <a:srgbClr val="F7BA9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7" name="Freeform: Shape 13476">
                    <a:extLst>
                      <a:ext uri="{FF2B5EF4-FFF2-40B4-BE49-F238E27FC236}">
                        <a16:creationId xmlns:a16="http://schemas.microsoft.com/office/drawing/2014/main" id="{0F581384-A468-734D-CA09-8A0DB6D4257C}"/>
                      </a:ext>
                    </a:extLst>
                  </p:cNvPr>
                  <p:cNvSpPr/>
                  <p:nvPr/>
                </p:nvSpPr>
                <p:spPr>
                  <a:xfrm>
                    <a:off x="-2183511" y="3510894"/>
                    <a:ext cx="192456" cy="131734"/>
                  </a:xfrm>
                  <a:custGeom>
                    <a:avLst/>
                    <a:gdLst>
                      <a:gd name="connsiteX0" fmla="*/ 192456 w 192456"/>
                      <a:gd name="connsiteY0" fmla="*/ 0 h 131734"/>
                      <a:gd name="connsiteX1" fmla="*/ 192456 w 192456"/>
                      <a:gd name="connsiteY1" fmla="*/ 40696 h 131734"/>
                      <a:gd name="connsiteX2" fmla="*/ 148023 w 192456"/>
                      <a:gd name="connsiteY2" fmla="*/ 107002 h 131734"/>
                      <a:gd name="connsiteX3" fmla="*/ 52267 w 192456"/>
                      <a:gd name="connsiteY3" fmla="*/ 131695 h 131734"/>
                      <a:gd name="connsiteX4" fmla="*/ 0 w 192456"/>
                      <a:gd name="connsiteY4" fmla="*/ 113027 h 131734"/>
                      <a:gd name="connsiteX5" fmla="*/ 9291 w 192456"/>
                      <a:gd name="connsiteY5" fmla="*/ 107122 h 131734"/>
                      <a:gd name="connsiteX6" fmla="*/ 5468 w 192456"/>
                      <a:gd name="connsiteY6" fmla="*/ 9 h 131734"/>
                      <a:gd name="connsiteX7" fmla="*/ 192456 w 192456"/>
                      <a:gd name="connsiteY7" fmla="*/ 9 h 13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456" h="131734">
                        <a:moveTo>
                          <a:pt x="192456" y="0"/>
                        </a:moveTo>
                        <a:lnTo>
                          <a:pt x="192456" y="40696"/>
                        </a:lnTo>
                        <a:cubicBezTo>
                          <a:pt x="192456" y="40696"/>
                          <a:pt x="166700" y="91017"/>
                          <a:pt x="148023" y="107002"/>
                        </a:cubicBezTo>
                        <a:cubicBezTo>
                          <a:pt x="129338" y="122979"/>
                          <a:pt x="75032" y="132424"/>
                          <a:pt x="52267" y="131695"/>
                        </a:cubicBezTo>
                        <a:cubicBezTo>
                          <a:pt x="29493" y="130967"/>
                          <a:pt x="0" y="113027"/>
                          <a:pt x="0" y="113027"/>
                        </a:cubicBezTo>
                        <a:cubicBezTo>
                          <a:pt x="0" y="113027"/>
                          <a:pt x="7997" y="109719"/>
                          <a:pt x="9291" y="107122"/>
                        </a:cubicBezTo>
                        <a:cubicBezTo>
                          <a:pt x="18728" y="88120"/>
                          <a:pt x="5468" y="9"/>
                          <a:pt x="5468" y="9"/>
                        </a:cubicBezTo>
                        <a:lnTo>
                          <a:pt x="192456" y="9"/>
                        </a:lnTo>
                        <a:close/>
                      </a:path>
                    </a:pathLst>
                  </a:custGeom>
                  <a:solidFill>
                    <a:srgbClr val="E5A38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8" name="Freeform: Shape 13477">
                    <a:extLst>
                      <a:ext uri="{FF2B5EF4-FFF2-40B4-BE49-F238E27FC236}">
                        <a16:creationId xmlns:a16="http://schemas.microsoft.com/office/drawing/2014/main" id="{C3BC8291-BCAB-220E-3938-E8C38AEF6112}"/>
                      </a:ext>
                    </a:extLst>
                  </p:cNvPr>
                  <p:cNvSpPr/>
                  <p:nvPr/>
                </p:nvSpPr>
                <p:spPr>
                  <a:xfrm>
                    <a:off x="-2190580" y="3312377"/>
                    <a:ext cx="208872" cy="273438"/>
                  </a:xfrm>
                  <a:custGeom>
                    <a:avLst/>
                    <a:gdLst>
                      <a:gd name="connsiteX0" fmla="*/ 103297 w 208872"/>
                      <a:gd name="connsiteY0" fmla="*/ 6069 h 273438"/>
                      <a:gd name="connsiteX1" fmla="*/ 190508 w 208872"/>
                      <a:gd name="connsiteY1" fmla="*/ 5375 h 273438"/>
                      <a:gd name="connsiteX2" fmla="*/ 199731 w 208872"/>
                      <a:gd name="connsiteY2" fmla="*/ 70267 h 273438"/>
                      <a:gd name="connsiteX3" fmla="*/ 208508 w 208872"/>
                      <a:gd name="connsiteY3" fmla="*/ 140182 h 273438"/>
                      <a:gd name="connsiteX4" fmla="*/ 190534 w 208872"/>
                      <a:gd name="connsiteY4" fmla="*/ 221873 h 273438"/>
                      <a:gd name="connsiteX5" fmla="*/ 112134 w 208872"/>
                      <a:gd name="connsiteY5" fmla="*/ 273437 h 273438"/>
                      <a:gd name="connsiteX6" fmla="*/ 13026 w 208872"/>
                      <a:gd name="connsiteY6" fmla="*/ 216113 h 273438"/>
                      <a:gd name="connsiteX7" fmla="*/ 898 w 208872"/>
                      <a:gd name="connsiteY7" fmla="*/ 150664 h 273438"/>
                      <a:gd name="connsiteX8" fmla="*/ 5724 w 208872"/>
                      <a:gd name="connsiteY8" fmla="*/ 78727 h 273438"/>
                      <a:gd name="connsiteX9" fmla="*/ 15435 w 208872"/>
                      <a:gd name="connsiteY9" fmla="*/ 4089 h 273438"/>
                      <a:gd name="connsiteX10" fmla="*/ 103289 w 208872"/>
                      <a:gd name="connsiteY10" fmla="*/ 6061 h 27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872" h="273438">
                        <a:moveTo>
                          <a:pt x="103297" y="6069"/>
                        </a:moveTo>
                        <a:cubicBezTo>
                          <a:pt x="125068" y="4518"/>
                          <a:pt x="177806" y="-6342"/>
                          <a:pt x="190508" y="5375"/>
                        </a:cubicBezTo>
                        <a:cubicBezTo>
                          <a:pt x="197682" y="12000"/>
                          <a:pt x="196405" y="63170"/>
                          <a:pt x="199731" y="70267"/>
                        </a:cubicBezTo>
                        <a:cubicBezTo>
                          <a:pt x="207488" y="86801"/>
                          <a:pt x="206322" y="102177"/>
                          <a:pt x="208508" y="140182"/>
                        </a:cubicBezTo>
                        <a:cubicBezTo>
                          <a:pt x="211199" y="186937"/>
                          <a:pt x="198351" y="206359"/>
                          <a:pt x="190534" y="221873"/>
                        </a:cubicBezTo>
                        <a:cubicBezTo>
                          <a:pt x="183660" y="241329"/>
                          <a:pt x="147567" y="273685"/>
                          <a:pt x="112134" y="273437"/>
                        </a:cubicBezTo>
                        <a:cubicBezTo>
                          <a:pt x="69124" y="273128"/>
                          <a:pt x="22874" y="230718"/>
                          <a:pt x="13026" y="216113"/>
                        </a:cubicBezTo>
                        <a:cubicBezTo>
                          <a:pt x="3169" y="201516"/>
                          <a:pt x="4121" y="199982"/>
                          <a:pt x="898" y="150664"/>
                        </a:cubicBezTo>
                        <a:cubicBezTo>
                          <a:pt x="-1313" y="116808"/>
                          <a:pt x="658" y="92629"/>
                          <a:pt x="5724" y="78727"/>
                        </a:cubicBezTo>
                        <a:cubicBezTo>
                          <a:pt x="7566" y="73695"/>
                          <a:pt x="3366" y="13723"/>
                          <a:pt x="15435" y="4089"/>
                        </a:cubicBezTo>
                        <a:cubicBezTo>
                          <a:pt x="28994" y="-6736"/>
                          <a:pt x="73247" y="8195"/>
                          <a:pt x="103289" y="6061"/>
                        </a:cubicBezTo>
                        <a:close/>
                      </a:path>
                    </a:pathLst>
                  </a:custGeom>
                  <a:solidFill>
                    <a:srgbClr val="F6B9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75" name="Freeform: Shape 13474">
                  <a:extLst>
                    <a:ext uri="{FF2B5EF4-FFF2-40B4-BE49-F238E27FC236}">
                      <a16:creationId xmlns:a16="http://schemas.microsoft.com/office/drawing/2014/main" id="{8DF1F6BD-B717-BEEC-1536-758A9B5854A6}"/>
                    </a:ext>
                  </a:extLst>
                </p:cNvPr>
                <p:cNvSpPr/>
                <p:nvPr/>
              </p:nvSpPr>
              <p:spPr>
                <a:xfrm>
                  <a:off x="-2200113" y="3273680"/>
                  <a:ext cx="225000" cy="165259"/>
                </a:xfrm>
                <a:custGeom>
                  <a:avLst/>
                  <a:gdLst>
                    <a:gd name="connsiteX0" fmla="*/ 225001 w 225000"/>
                    <a:gd name="connsiteY0" fmla="*/ 121487 h 165259"/>
                    <a:gd name="connsiteX1" fmla="*/ 222335 w 225000"/>
                    <a:gd name="connsiteY1" fmla="*/ 144329 h 165259"/>
                    <a:gd name="connsiteX2" fmla="*/ 213687 w 225000"/>
                    <a:gd name="connsiteY2" fmla="*/ 159474 h 165259"/>
                    <a:gd name="connsiteX3" fmla="*/ 210867 w 225000"/>
                    <a:gd name="connsiteY3" fmla="*/ 159954 h 165259"/>
                    <a:gd name="connsiteX4" fmla="*/ 209050 w 225000"/>
                    <a:gd name="connsiteY4" fmla="*/ 107705 h 165259"/>
                    <a:gd name="connsiteX5" fmla="*/ 192508 w 225000"/>
                    <a:gd name="connsiteY5" fmla="*/ 46155 h 165259"/>
                    <a:gd name="connsiteX6" fmla="*/ 143687 w 225000"/>
                    <a:gd name="connsiteY6" fmla="*/ 44098 h 165259"/>
                    <a:gd name="connsiteX7" fmla="*/ 88060 w 225000"/>
                    <a:gd name="connsiteY7" fmla="*/ 50604 h 165259"/>
                    <a:gd name="connsiteX8" fmla="*/ 26134 w 225000"/>
                    <a:gd name="connsiteY8" fmla="*/ 55481 h 165259"/>
                    <a:gd name="connsiteX9" fmla="*/ 16868 w 225000"/>
                    <a:gd name="connsiteY9" fmla="*/ 144895 h 165259"/>
                    <a:gd name="connsiteX10" fmla="*/ 16345 w 225000"/>
                    <a:gd name="connsiteY10" fmla="*/ 165260 h 165259"/>
                    <a:gd name="connsiteX11" fmla="*/ 8512 w 225000"/>
                    <a:gd name="connsiteY11" fmla="*/ 157134 h 165259"/>
                    <a:gd name="connsiteX12" fmla="*/ 2186 w 225000"/>
                    <a:gd name="connsiteY12" fmla="*/ 124487 h 165259"/>
                    <a:gd name="connsiteX13" fmla="*/ 592 w 225000"/>
                    <a:gd name="connsiteY13" fmla="*/ 69717 h 165259"/>
                    <a:gd name="connsiteX14" fmla="*/ 33830 w 225000"/>
                    <a:gd name="connsiteY14" fmla="*/ 19165 h 165259"/>
                    <a:gd name="connsiteX15" fmla="*/ 82763 w 225000"/>
                    <a:gd name="connsiteY15" fmla="*/ 3163 h 165259"/>
                    <a:gd name="connsiteX16" fmla="*/ 195285 w 225000"/>
                    <a:gd name="connsiteY16" fmla="*/ 24462 h 165259"/>
                    <a:gd name="connsiteX17" fmla="*/ 224992 w 225000"/>
                    <a:gd name="connsiteY17" fmla="*/ 121504 h 1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000" h="165259">
                      <a:moveTo>
                        <a:pt x="225001" y="121487"/>
                      </a:moveTo>
                      <a:cubicBezTo>
                        <a:pt x="225001" y="121487"/>
                        <a:pt x="222575" y="132475"/>
                        <a:pt x="222335" y="144329"/>
                      </a:cubicBezTo>
                      <a:cubicBezTo>
                        <a:pt x="222078" y="157237"/>
                        <a:pt x="220330" y="156397"/>
                        <a:pt x="213687" y="159474"/>
                      </a:cubicBezTo>
                      <a:lnTo>
                        <a:pt x="210867" y="159954"/>
                      </a:lnTo>
                      <a:cubicBezTo>
                        <a:pt x="210867" y="159954"/>
                        <a:pt x="211304" y="122713"/>
                        <a:pt x="209050" y="107705"/>
                      </a:cubicBezTo>
                      <a:cubicBezTo>
                        <a:pt x="206804" y="92696"/>
                        <a:pt x="205604" y="55146"/>
                        <a:pt x="192508" y="46155"/>
                      </a:cubicBezTo>
                      <a:cubicBezTo>
                        <a:pt x="183277" y="39821"/>
                        <a:pt x="170754" y="40198"/>
                        <a:pt x="143687" y="44098"/>
                      </a:cubicBezTo>
                      <a:cubicBezTo>
                        <a:pt x="116619" y="47998"/>
                        <a:pt x="121599" y="56843"/>
                        <a:pt x="88060" y="50604"/>
                      </a:cubicBezTo>
                      <a:cubicBezTo>
                        <a:pt x="54521" y="44364"/>
                        <a:pt x="39479" y="43455"/>
                        <a:pt x="26134" y="55481"/>
                      </a:cubicBezTo>
                      <a:cubicBezTo>
                        <a:pt x="12780" y="67506"/>
                        <a:pt x="17314" y="133306"/>
                        <a:pt x="16868" y="144895"/>
                      </a:cubicBezTo>
                      <a:cubicBezTo>
                        <a:pt x="16423" y="156483"/>
                        <a:pt x="16345" y="165260"/>
                        <a:pt x="16345" y="165260"/>
                      </a:cubicBezTo>
                      <a:cubicBezTo>
                        <a:pt x="16345" y="165260"/>
                        <a:pt x="9951" y="165260"/>
                        <a:pt x="8512" y="157134"/>
                      </a:cubicBezTo>
                      <a:cubicBezTo>
                        <a:pt x="7071" y="149009"/>
                        <a:pt x="2606" y="134344"/>
                        <a:pt x="2186" y="124487"/>
                      </a:cubicBezTo>
                      <a:cubicBezTo>
                        <a:pt x="-102" y="71303"/>
                        <a:pt x="-522" y="83362"/>
                        <a:pt x="592" y="69717"/>
                      </a:cubicBezTo>
                      <a:cubicBezTo>
                        <a:pt x="1706" y="56064"/>
                        <a:pt x="21780" y="24042"/>
                        <a:pt x="33830" y="19165"/>
                      </a:cubicBezTo>
                      <a:cubicBezTo>
                        <a:pt x="45882" y="14288"/>
                        <a:pt x="49996" y="9274"/>
                        <a:pt x="82763" y="3163"/>
                      </a:cubicBezTo>
                      <a:cubicBezTo>
                        <a:pt x="130333" y="-5717"/>
                        <a:pt x="167472" y="4962"/>
                        <a:pt x="195285" y="24462"/>
                      </a:cubicBezTo>
                      <a:cubicBezTo>
                        <a:pt x="223098" y="43961"/>
                        <a:pt x="220732" y="49112"/>
                        <a:pt x="224992" y="121504"/>
                      </a:cubicBezTo>
                      <a:close/>
                    </a:path>
                  </a:pathLst>
                </a:custGeom>
                <a:solidFill>
                  <a:srgbClr val="0743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466" name="Graphic 5">
                <a:extLst>
                  <a:ext uri="{FF2B5EF4-FFF2-40B4-BE49-F238E27FC236}">
                    <a16:creationId xmlns:a16="http://schemas.microsoft.com/office/drawing/2014/main" id="{DC99BA5D-86B3-65EE-E3F1-88607DF1CDD7}"/>
                  </a:ext>
                </a:extLst>
              </p:cNvPr>
              <p:cNvGrpSpPr/>
              <p:nvPr/>
            </p:nvGrpSpPr>
            <p:grpSpPr>
              <a:xfrm>
                <a:off x="-2192553" y="3382970"/>
                <a:ext cx="214672" cy="193799"/>
                <a:chOff x="-2192553" y="3382970"/>
                <a:chExt cx="214672" cy="193799"/>
              </a:xfrm>
            </p:grpSpPr>
            <p:sp>
              <p:nvSpPr>
                <p:cNvPr id="13467" name="Freeform: Shape 13466">
                  <a:extLst>
                    <a:ext uri="{FF2B5EF4-FFF2-40B4-BE49-F238E27FC236}">
                      <a16:creationId xmlns:a16="http://schemas.microsoft.com/office/drawing/2014/main" id="{5AEDA122-B6CB-6758-0E3C-E973C8367828}"/>
                    </a:ext>
                  </a:extLst>
                </p:cNvPr>
                <p:cNvSpPr/>
                <p:nvPr/>
              </p:nvSpPr>
              <p:spPr>
                <a:xfrm>
                  <a:off x="-2128416" y="3410597"/>
                  <a:ext cx="96161" cy="132517"/>
                </a:xfrm>
                <a:custGeom>
                  <a:avLst/>
                  <a:gdLst>
                    <a:gd name="connsiteX0" fmla="*/ 50630 w 96161"/>
                    <a:gd name="connsiteY0" fmla="*/ 1515 h 132517"/>
                    <a:gd name="connsiteX1" fmla="*/ 4526 w 96161"/>
                    <a:gd name="connsiteY1" fmla="*/ 32851 h 132517"/>
                    <a:gd name="connsiteX2" fmla="*/ 27874 w 96161"/>
                    <a:gd name="connsiteY2" fmla="*/ 124116 h 132517"/>
                    <a:gd name="connsiteX3" fmla="*/ 86826 w 96161"/>
                    <a:gd name="connsiteY3" fmla="*/ 100151 h 132517"/>
                    <a:gd name="connsiteX4" fmla="*/ 50630 w 96161"/>
                    <a:gd name="connsiteY4" fmla="*/ 1515 h 132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61" h="132517">
                      <a:moveTo>
                        <a:pt x="50630" y="1515"/>
                      </a:moveTo>
                      <a:cubicBezTo>
                        <a:pt x="31079" y="-7039"/>
                        <a:pt x="12651" y="22986"/>
                        <a:pt x="4526" y="32851"/>
                      </a:cubicBezTo>
                      <a:cubicBezTo>
                        <a:pt x="-3600" y="42716"/>
                        <a:pt x="-3480" y="103803"/>
                        <a:pt x="27874" y="124116"/>
                      </a:cubicBezTo>
                      <a:cubicBezTo>
                        <a:pt x="59218" y="144438"/>
                        <a:pt x="74629" y="124528"/>
                        <a:pt x="86826" y="100151"/>
                      </a:cubicBezTo>
                      <a:cubicBezTo>
                        <a:pt x="99014" y="75767"/>
                        <a:pt x="108999" y="27057"/>
                        <a:pt x="50630" y="1515"/>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8" name="Freeform: Shape 13467">
                  <a:extLst>
                    <a:ext uri="{FF2B5EF4-FFF2-40B4-BE49-F238E27FC236}">
                      <a16:creationId xmlns:a16="http://schemas.microsoft.com/office/drawing/2014/main" id="{8C4247E9-E3A7-3571-E12C-B7EB0510391B}"/>
                    </a:ext>
                  </a:extLst>
                </p:cNvPr>
                <p:cNvSpPr/>
                <p:nvPr/>
              </p:nvSpPr>
              <p:spPr>
                <a:xfrm>
                  <a:off x="-2102024" y="3451475"/>
                  <a:ext cx="61487" cy="51520"/>
                </a:xfrm>
                <a:custGeom>
                  <a:avLst/>
                  <a:gdLst>
                    <a:gd name="connsiteX0" fmla="*/ 24769 w 61487"/>
                    <a:gd name="connsiteY0" fmla="*/ 13 h 51520"/>
                    <a:gd name="connsiteX1" fmla="*/ 93 w 61487"/>
                    <a:gd name="connsiteY1" fmla="*/ 24261 h 51520"/>
                    <a:gd name="connsiteX2" fmla="*/ 28652 w 61487"/>
                    <a:gd name="connsiteY2" fmla="*/ 51268 h 51520"/>
                    <a:gd name="connsiteX3" fmla="*/ 61488 w 61487"/>
                    <a:gd name="connsiteY3" fmla="*/ 48500 h 51520"/>
                    <a:gd name="connsiteX4" fmla="*/ 61488 w 61487"/>
                    <a:gd name="connsiteY4" fmla="*/ 4873 h 51520"/>
                    <a:gd name="connsiteX5" fmla="*/ 24769 w 61487"/>
                    <a:gd name="connsiteY5" fmla="*/ 13 h 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87" h="51520">
                      <a:moveTo>
                        <a:pt x="24769" y="13"/>
                      </a:moveTo>
                      <a:cubicBezTo>
                        <a:pt x="24769" y="13"/>
                        <a:pt x="-1759" y="-1359"/>
                        <a:pt x="93" y="24261"/>
                      </a:cubicBezTo>
                      <a:cubicBezTo>
                        <a:pt x="1935" y="49880"/>
                        <a:pt x="15212" y="51962"/>
                        <a:pt x="28652" y="51268"/>
                      </a:cubicBezTo>
                      <a:cubicBezTo>
                        <a:pt x="28652" y="51268"/>
                        <a:pt x="61488" y="52760"/>
                        <a:pt x="61488" y="48500"/>
                      </a:cubicBezTo>
                      <a:lnTo>
                        <a:pt x="61488" y="4873"/>
                      </a:lnTo>
                      <a:lnTo>
                        <a:pt x="24769" y="13"/>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9" name="Freeform: Shape 13468">
                  <a:extLst>
                    <a:ext uri="{FF2B5EF4-FFF2-40B4-BE49-F238E27FC236}">
                      <a16:creationId xmlns:a16="http://schemas.microsoft.com/office/drawing/2014/main" id="{A73D4ABA-AA14-7A00-4C32-C774F52D07FB}"/>
                    </a:ext>
                  </a:extLst>
                </p:cNvPr>
                <p:cNvSpPr/>
                <p:nvPr/>
              </p:nvSpPr>
              <p:spPr>
                <a:xfrm>
                  <a:off x="-2169466" y="3382970"/>
                  <a:ext cx="172451" cy="193799"/>
                </a:xfrm>
                <a:custGeom>
                  <a:avLst/>
                  <a:gdLst>
                    <a:gd name="connsiteX0" fmla="*/ 170877 w 172451"/>
                    <a:gd name="connsiteY0" fmla="*/ 118582 h 193799"/>
                    <a:gd name="connsiteX1" fmla="*/ 119536 w 172451"/>
                    <a:gd name="connsiteY1" fmla="*/ 186696 h 193799"/>
                    <a:gd name="connsiteX2" fmla="*/ 63447 w 172451"/>
                    <a:gd name="connsiteY2" fmla="*/ 188770 h 193799"/>
                    <a:gd name="connsiteX3" fmla="*/ 8069 w 172451"/>
                    <a:gd name="connsiteY3" fmla="*/ 122096 h 193799"/>
                    <a:gd name="connsiteX4" fmla="*/ 183 w 172451"/>
                    <a:gd name="connsiteY4" fmla="*/ 63624 h 193799"/>
                    <a:gd name="connsiteX5" fmla="*/ 26488 w 172451"/>
                    <a:gd name="connsiteY5" fmla="*/ 28396 h 193799"/>
                    <a:gd name="connsiteX6" fmla="*/ 85912 w 172451"/>
                    <a:gd name="connsiteY6" fmla="*/ 0 h 193799"/>
                    <a:gd name="connsiteX7" fmla="*/ 163420 w 172451"/>
                    <a:gd name="connsiteY7" fmla="*/ 30470 h 193799"/>
                    <a:gd name="connsiteX8" fmla="*/ 172420 w 172451"/>
                    <a:gd name="connsiteY8" fmla="*/ 55404 h 193799"/>
                    <a:gd name="connsiteX9" fmla="*/ 170886 w 172451"/>
                    <a:gd name="connsiteY9" fmla="*/ 118582 h 193799"/>
                    <a:gd name="connsiteX10" fmla="*/ 159075 w 172451"/>
                    <a:gd name="connsiteY10" fmla="*/ 66564 h 193799"/>
                    <a:gd name="connsiteX11" fmla="*/ 151464 w 172451"/>
                    <a:gd name="connsiteY11" fmla="*/ 45496 h 193799"/>
                    <a:gd name="connsiteX12" fmla="*/ 85955 w 172451"/>
                    <a:gd name="connsiteY12" fmla="*/ 19739 h 193799"/>
                    <a:gd name="connsiteX13" fmla="*/ 35728 w 172451"/>
                    <a:gd name="connsiteY13" fmla="*/ 43739 h 193799"/>
                    <a:gd name="connsiteX14" fmla="*/ 13494 w 172451"/>
                    <a:gd name="connsiteY14" fmla="*/ 73515 h 193799"/>
                    <a:gd name="connsiteX15" fmla="*/ 20154 w 172451"/>
                    <a:gd name="connsiteY15" fmla="*/ 122936 h 193799"/>
                    <a:gd name="connsiteX16" fmla="*/ 67038 w 172451"/>
                    <a:gd name="connsiteY16" fmla="*/ 170488 h 193799"/>
                    <a:gd name="connsiteX17" fmla="*/ 114445 w 172451"/>
                    <a:gd name="connsiteY17" fmla="*/ 168731 h 193799"/>
                    <a:gd name="connsiteX18" fmla="*/ 157763 w 172451"/>
                    <a:gd name="connsiteY18" fmla="*/ 119970 h 193799"/>
                    <a:gd name="connsiteX19" fmla="*/ 159058 w 172451"/>
                    <a:gd name="connsiteY19" fmla="*/ 66572 h 19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451" h="193799">
                      <a:moveTo>
                        <a:pt x="170877" y="118582"/>
                      </a:moveTo>
                      <a:cubicBezTo>
                        <a:pt x="170877" y="118582"/>
                        <a:pt x="156701" y="165860"/>
                        <a:pt x="119536" y="186696"/>
                      </a:cubicBezTo>
                      <a:cubicBezTo>
                        <a:pt x="119536" y="186696"/>
                        <a:pt x="93609" y="201190"/>
                        <a:pt x="63447" y="188770"/>
                      </a:cubicBezTo>
                      <a:cubicBezTo>
                        <a:pt x="43433" y="180542"/>
                        <a:pt x="11609" y="133521"/>
                        <a:pt x="8069" y="122096"/>
                      </a:cubicBezTo>
                      <a:cubicBezTo>
                        <a:pt x="4520" y="110671"/>
                        <a:pt x="-1085" y="66932"/>
                        <a:pt x="183" y="63624"/>
                      </a:cubicBezTo>
                      <a:cubicBezTo>
                        <a:pt x="183" y="63624"/>
                        <a:pt x="-3639" y="44887"/>
                        <a:pt x="26488" y="28396"/>
                      </a:cubicBezTo>
                      <a:cubicBezTo>
                        <a:pt x="61201" y="9394"/>
                        <a:pt x="66207" y="94"/>
                        <a:pt x="85912" y="0"/>
                      </a:cubicBezTo>
                      <a:cubicBezTo>
                        <a:pt x="100020" y="-60"/>
                        <a:pt x="153341" y="25619"/>
                        <a:pt x="163420" y="30470"/>
                      </a:cubicBezTo>
                      <a:cubicBezTo>
                        <a:pt x="173466" y="35305"/>
                        <a:pt x="172420" y="55404"/>
                        <a:pt x="172420" y="55404"/>
                      </a:cubicBezTo>
                      <a:lnTo>
                        <a:pt x="170886" y="118582"/>
                      </a:lnTo>
                      <a:close/>
                      <a:moveTo>
                        <a:pt x="159075" y="66564"/>
                      </a:moveTo>
                      <a:cubicBezTo>
                        <a:pt x="159075" y="66564"/>
                        <a:pt x="159958" y="49576"/>
                        <a:pt x="151464" y="45496"/>
                      </a:cubicBezTo>
                      <a:cubicBezTo>
                        <a:pt x="142944" y="41390"/>
                        <a:pt x="97877" y="19688"/>
                        <a:pt x="85955" y="19739"/>
                      </a:cubicBezTo>
                      <a:cubicBezTo>
                        <a:pt x="69301" y="19817"/>
                        <a:pt x="65067" y="27676"/>
                        <a:pt x="35728" y="43739"/>
                      </a:cubicBezTo>
                      <a:cubicBezTo>
                        <a:pt x="10263" y="57675"/>
                        <a:pt x="13494" y="73515"/>
                        <a:pt x="13494" y="73515"/>
                      </a:cubicBezTo>
                      <a:cubicBezTo>
                        <a:pt x="12414" y="76309"/>
                        <a:pt x="17163" y="113285"/>
                        <a:pt x="20154" y="122936"/>
                      </a:cubicBezTo>
                      <a:cubicBezTo>
                        <a:pt x="23145" y="132596"/>
                        <a:pt x="50119" y="163529"/>
                        <a:pt x="67038" y="170488"/>
                      </a:cubicBezTo>
                      <a:cubicBezTo>
                        <a:pt x="92537" y="180979"/>
                        <a:pt x="114445" y="168731"/>
                        <a:pt x="114445" y="168731"/>
                      </a:cubicBezTo>
                      <a:cubicBezTo>
                        <a:pt x="145867" y="151126"/>
                        <a:pt x="157763" y="119970"/>
                        <a:pt x="157763" y="119970"/>
                      </a:cubicBezTo>
                      <a:lnTo>
                        <a:pt x="159058" y="66572"/>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0" name="Freeform: Shape 13469">
                  <a:extLst>
                    <a:ext uri="{FF2B5EF4-FFF2-40B4-BE49-F238E27FC236}">
                      <a16:creationId xmlns:a16="http://schemas.microsoft.com/office/drawing/2014/main" id="{4C7479FD-6C6E-C9D1-41A9-70E6D090BF97}"/>
                    </a:ext>
                  </a:extLst>
                </p:cNvPr>
                <p:cNvSpPr/>
                <p:nvPr/>
              </p:nvSpPr>
              <p:spPr>
                <a:xfrm>
                  <a:off x="-2192553" y="3425047"/>
                  <a:ext cx="46549" cy="26431"/>
                </a:xfrm>
                <a:custGeom>
                  <a:avLst/>
                  <a:gdLst>
                    <a:gd name="connsiteX0" fmla="*/ 46550 w 46549"/>
                    <a:gd name="connsiteY0" fmla="*/ 10258 h 26431"/>
                    <a:gd name="connsiteX1" fmla="*/ 0 w 46549"/>
                    <a:gd name="connsiteY1" fmla="*/ 1087 h 26431"/>
                    <a:gd name="connsiteX2" fmla="*/ 2263 w 46549"/>
                    <a:gd name="connsiteY2" fmla="*/ 26432 h 26431"/>
                    <a:gd name="connsiteX3" fmla="*/ 39204 w 46549"/>
                    <a:gd name="connsiteY3" fmla="*/ 24049 h 26431"/>
                    <a:gd name="connsiteX4" fmla="*/ 46550 w 46549"/>
                    <a:gd name="connsiteY4" fmla="*/ 10258 h 26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49" h="26431">
                      <a:moveTo>
                        <a:pt x="46550" y="10258"/>
                      </a:moveTo>
                      <a:cubicBezTo>
                        <a:pt x="46550" y="10258"/>
                        <a:pt x="12891" y="-3970"/>
                        <a:pt x="0" y="1087"/>
                      </a:cubicBezTo>
                      <a:lnTo>
                        <a:pt x="2263" y="26432"/>
                      </a:lnTo>
                      <a:cubicBezTo>
                        <a:pt x="2263" y="26432"/>
                        <a:pt x="17511" y="22900"/>
                        <a:pt x="39204" y="24049"/>
                      </a:cubicBezTo>
                      <a:lnTo>
                        <a:pt x="46550" y="10258"/>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1" name="Freeform: Shape 13470">
                  <a:extLst>
                    <a:ext uri="{FF2B5EF4-FFF2-40B4-BE49-F238E27FC236}">
                      <a16:creationId xmlns:a16="http://schemas.microsoft.com/office/drawing/2014/main" id="{258B3DBB-0024-9964-12E6-21BBAA401A32}"/>
                    </a:ext>
                  </a:extLst>
                </p:cNvPr>
                <p:cNvSpPr/>
                <p:nvPr/>
              </p:nvSpPr>
              <p:spPr>
                <a:xfrm>
                  <a:off x="-2015577" y="3421077"/>
                  <a:ext cx="37695" cy="28456"/>
                </a:xfrm>
                <a:custGeom>
                  <a:avLst/>
                  <a:gdLst>
                    <a:gd name="connsiteX0" fmla="*/ 0 w 37695"/>
                    <a:gd name="connsiteY0" fmla="*/ 9128 h 28456"/>
                    <a:gd name="connsiteX1" fmla="*/ 5186 w 37695"/>
                    <a:gd name="connsiteY1" fmla="*/ 28456 h 28456"/>
                    <a:gd name="connsiteX2" fmla="*/ 33873 w 37695"/>
                    <a:gd name="connsiteY2" fmla="*/ 28019 h 28456"/>
                    <a:gd name="connsiteX3" fmla="*/ 37696 w 37695"/>
                    <a:gd name="connsiteY3" fmla="*/ 0 h 28456"/>
                    <a:gd name="connsiteX4" fmla="*/ 0 w 37695"/>
                    <a:gd name="connsiteY4" fmla="*/ 9120 h 28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5" h="28456">
                      <a:moveTo>
                        <a:pt x="0" y="9128"/>
                      </a:moveTo>
                      <a:lnTo>
                        <a:pt x="5186" y="28456"/>
                      </a:lnTo>
                      <a:cubicBezTo>
                        <a:pt x="5186" y="28456"/>
                        <a:pt x="22602" y="21470"/>
                        <a:pt x="33873" y="28019"/>
                      </a:cubicBezTo>
                      <a:lnTo>
                        <a:pt x="37696" y="0"/>
                      </a:lnTo>
                      <a:cubicBezTo>
                        <a:pt x="37696" y="0"/>
                        <a:pt x="9694" y="8117"/>
                        <a:pt x="0" y="9120"/>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2" name="Freeform: Shape 13471">
                  <a:extLst>
                    <a:ext uri="{FF2B5EF4-FFF2-40B4-BE49-F238E27FC236}">
                      <a16:creationId xmlns:a16="http://schemas.microsoft.com/office/drawing/2014/main" id="{DADCD0BD-CC71-CE36-6EC3-ED847DDD8288}"/>
                    </a:ext>
                  </a:extLst>
                </p:cNvPr>
                <p:cNvSpPr/>
                <p:nvPr/>
              </p:nvSpPr>
              <p:spPr>
                <a:xfrm>
                  <a:off x="-2176380" y="3530136"/>
                  <a:ext cx="71971" cy="28845"/>
                </a:xfrm>
                <a:custGeom>
                  <a:avLst/>
                  <a:gdLst>
                    <a:gd name="connsiteX0" fmla="*/ 50938 w 71971"/>
                    <a:gd name="connsiteY0" fmla="*/ 6291 h 28845"/>
                    <a:gd name="connsiteX1" fmla="*/ 0 w 71971"/>
                    <a:gd name="connsiteY1" fmla="*/ 0 h 28845"/>
                    <a:gd name="connsiteX2" fmla="*/ 2348 w 71971"/>
                    <a:gd name="connsiteY2" fmla="*/ 23493 h 28845"/>
                    <a:gd name="connsiteX3" fmla="*/ 71972 w 71971"/>
                    <a:gd name="connsiteY3" fmla="*/ 23493 h 28845"/>
                    <a:gd name="connsiteX4" fmla="*/ 50938 w 71971"/>
                    <a:gd name="connsiteY4" fmla="*/ 6291 h 28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71" h="28845">
                      <a:moveTo>
                        <a:pt x="50938" y="6291"/>
                      </a:moveTo>
                      <a:cubicBezTo>
                        <a:pt x="50938" y="6291"/>
                        <a:pt x="28876" y="3917"/>
                        <a:pt x="0" y="0"/>
                      </a:cubicBezTo>
                      <a:lnTo>
                        <a:pt x="2348" y="23493"/>
                      </a:lnTo>
                      <a:cubicBezTo>
                        <a:pt x="2348" y="23493"/>
                        <a:pt x="37353" y="35536"/>
                        <a:pt x="71972" y="23493"/>
                      </a:cubicBezTo>
                      <a:lnTo>
                        <a:pt x="50938" y="6291"/>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73" name="Freeform: Shape 13472">
                  <a:extLst>
                    <a:ext uri="{FF2B5EF4-FFF2-40B4-BE49-F238E27FC236}">
                      <a16:creationId xmlns:a16="http://schemas.microsoft.com/office/drawing/2014/main" id="{7717F705-6C1C-1B44-C114-A073885CABAB}"/>
                    </a:ext>
                  </a:extLst>
                </p:cNvPr>
                <p:cNvSpPr/>
                <p:nvPr/>
              </p:nvSpPr>
              <p:spPr>
                <a:xfrm>
                  <a:off x="-2055013" y="3526939"/>
                  <a:ext cx="63957" cy="26765"/>
                </a:xfrm>
                <a:custGeom>
                  <a:avLst/>
                  <a:gdLst>
                    <a:gd name="connsiteX0" fmla="*/ 22362 w 63957"/>
                    <a:gd name="connsiteY0" fmla="*/ 7354 h 26765"/>
                    <a:gd name="connsiteX1" fmla="*/ 0 w 63957"/>
                    <a:gd name="connsiteY1" fmla="*/ 24762 h 26765"/>
                    <a:gd name="connsiteX2" fmla="*/ 63958 w 63957"/>
                    <a:gd name="connsiteY2" fmla="*/ 22928 h 26765"/>
                    <a:gd name="connsiteX3" fmla="*/ 63958 w 63957"/>
                    <a:gd name="connsiteY3" fmla="*/ 0 h 26765"/>
                    <a:gd name="connsiteX4" fmla="*/ 22362 w 63957"/>
                    <a:gd name="connsiteY4" fmla="*/ 7354 h 26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57" h="26765">
                      <a:moveTo>
                        <a:pt x="22362" y="7354"/>
                      </a:moveTo>
                      <a:lnTo>
                        <a:pt x="0" y="24762"/>
                      </a:lnTo>
                      <a:cubicBezTo>
                        <a:pt x="0" y="24762"/>
                        <a:pt x="19885" y="30316"/>
                        <a:pt x="63958" y="22928"/>
                      </a:cubicBezTo>
                      <a:lnTo>
                        <a:pt x="63958" y="0"/>
                      </a:lnTo>
                      <a:cubicBezTo>
                        <a:pt x="63958" y="0"/>
                        <a:pt x="40627" y="8245"/>
                        <a:pt x="22362" y="7354"/>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3425" name="Freeform: Shape 13424">
              <a:extLst>
                <a:ext uri="{FF2B5EF4-FFF2-40B4-BE49-F238E27FC236}">
                  <a16:creationId xmlns:a16="http://schemas.microsoft.com/office/drawing/2014/main" id="{97502A99-8510-2A3E-4CAE-6272A2E4E393}"/>
                </a:ext>
              </a:extLst>
            </p:cNvPr>
            <p:cNvSpPr/>
            <p:nvPr/>
          </p:nvSpPr>
          <p:spPr>
            <a:xfrm>
              <a:off x="8997363" y="4067318"/>
              <a:ext cx="1493154" cy="250230"/>
            </a:xfrm>
            <a:custGeom>
              <a:avLst/>
              <a:gdLst>
                <a:gd name="connsiteX0" fmla="*/ 8 w 1290631"/>
                <a:gd name="connsiteY0" fmla="*/ 189334 h 216238"/>
                <a:gd name="connsiteX1" fmla="*/ 591193 w 1290631"/>
                <a:gd name="connsiteY1" fmla="*/ 160 h 216238"/>
                <a:gd name="connsiteX2" fmla="*/ 1290631 w 1290631"/>
                <a:gd name="connsiteY2" fmla="*/ 216238 h 216238"/>
                <a:gd name="connsiteX3" fmla="*/ 0 w 1290631"/>
                <a:gd name="connsiteY3" fmla="*/ 189342 h 216238"/>
              </a:gdLst>
              <a:ahLst/>
              <a:cxnLst>
                <a:cxn ang="0">
                  <a:pos x="connsiteX0" y="connsiteY0"/>
                </a:cxn>
                <a:cxn ang="0">
                  <a:pos x="connsiteX1" y="connsiteY1"/>
                </a:cxn>
                <a:cxn ang="0">
                  <a:pos x="connsiteX2" y="connsiteY2"/>
                </a:cxn>
                <a:cxn ang="0">
                  <a:pos x="connsiteX3" y="connsiteY3"/>
                </a:cxn>
              </a:cxnLst>
              <a:rect l="l" t="t" r="r" b="b"/>
              <a:pathLst>
                <a:path w="1290631" h="216238">
                  <a:moveTo>
                    <a:pt x="8" y="189334"/>
                  </a:moveTo>
                  <a:cubicBezTo>
                    <a:pt x="8" y="189334"/>
                    <a:pt x="86311" y="6263"/>
                    <a:pt x="591193" y="160"/>
                  </a:cubicBezTo>
                  <a:cubicBezTo>
                    <a:pt x="1096084" y="-5942"/>
                    <a:pt x="1266966" y="163792"/>
                    <a:pt x="1290631" y="216238"/>
                  </a:cubicBezTo>
                  <a:lnTo>
                    <a:pt x="0" y="189342"/>
                  </a:lnTo>
                  <a:close/>
                </a:path>
              </a:pathLst>
            </a:custGeom>
            <a:solidFill>
              <a:srgbClr val="66CED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26" name="Graphic 5">
              <a:extLst>
                <a:ext uri="{FF2B5EF4-FFF2-40B4-BE49-F238E27FC236}">
                  <a16:creationId xmlns:a16="http://schemas.microsoft.com/office/drawing/2014/main" id="{DE2A1635-43FC-0145-2EBC-A393ED44F976}"/>
                </a:ext>
              </a:extLst>
            </p:cNvPr>
            <p:cNvGrpSpPr/>
            <p:nvPr/>
          </p:nvGrpSpPr>
          <p:grpSpPr>
            <a:xfrm>
              <a:off x="9755241" y="3126604"/>
              <a:ext cx="1479777" cy="2098179"/>
              <a:chOff x="-2040527" y="2992161"/>
              <a:chExt cx="1279068" cy="1813152"/>
            </a:xfrm>
          </p:grpSpPr>
          <p:sp>
            <p:nvSpPr>
              <p:cNvPr id="13438" name="Freeform: Shape 13437">
                <a:extLst>
                  <a:ext uri="{FF2B5EF4-FFF2-40B4-BE49-F238E27FC236}">
                    <a16:creationId xmlns:a16="http://schemas.microsoft.com/office/drawing/2014/main" id="{AB9C5E99-67BE-05EA-D10F-AA00BC9D2B57}"/>
                  </a:ext>
                </a:extLst>
              </p:cNvPr>
              <p:cNvSpPr/>
              <p:nvPr/>
            </p:nvSpPr>
            <p:spPr>
              <a:xfrm>
                <a:off x="-2040527" y="3289961"/>
                <a:ext cx="733936" cy="552370"/>
              </a:xfrm>
              <a:custGeom>
                <a:avLst/>
                <a:gdLst>
                  <a:gd name="connsiteX0" fmla="*/ 732591 w 733936"/>
                  <a:gd name="connsiteY0" fmla="*/ 21 h 552370"/>
                  <a:gd name="connsiteX1" fmla="*/ 654225 w 733936"/>
                  <a:gd name="connsiteY1" fmla="*/ 130637 h 552370"/>
                  <a:gd name="connsiteX2" fmla="*/ 635557 w 733936"/>
                  <a:gd name="connsiteY2" fmla="*/ 434826 h 552370"/>
                  <a:gd name="connsiteX3" fmla="*/ 388032 w 733936"/>
                  <a:gd name="connsiteY3" fmla="*/ 488652 h 552370"/>
                  <a:gd name="connsiteX4" fmla="*/ 150963 w 733936"/>
                  <a:gd name="connsiteY4" fmla="*/ 243955 h 552370"/>
                  <a:gd name="connsiteX5" fmla="*/ 0 w 733936"/>
                  <a:gd name="connsiteY5" fmla="*/ 166395 h 552370"/>
                  <a:gd name="connsiteX6" fmla="*/ 0 w 733936"/>
                  <a:gd name="connsiteY6" fmla="*/ 210022 h 552370"/>
                  <a:gd name="connsiteX7" fmla="*/ 253448 w 733936"/>
                  <a:gd name="connsiteY7" fmla="*/ 425286 h 552370"/>
                  <a:gd name="connsiteX8" fmla="*/ 506896 w 733936"/>
                  <a:gd name="connsiteY8" fmla="*/ 551419 h 552370"/>
                  <a:gd name="connsiteX9" fmla="*/ 667930 w 733936"/>
                  <a:gd name="connsiteY9" fmla="*/ 434826 h 552370"/>
                  <a:gd name="connsiteX10" fmla="*/ 698221 w 733936"/>
                  <a:gd name="connsiteY10" fmla="*/ 77178 h 552370"/>
                  <a:gd name="connsiteX11" fmla="*/ 733936 w 733936"/>
                  <a:gd name="connsiteY11" fmla="*/ 48062 h 552370"/>
                  <a:gd name="connsiteX12" fmla="*/ 732582 w 733936"/>
                  <a:gd name="connsiteY12" fmla="*/ 30 h 55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3936" h="552370">
                    <a:moveTo>
                      <a:pt x="732591" y="21"/>
                    </a:moveTo>
                    <a:cubicBezTo>
                      <a:pt x="732591" y="21"/>
                      <a:pt x="660971" y="-4787"/>
                      <a:pt x="654225" y="130637"/>
                    </a:cubicBezTo>
                    <a:cubicBezTo>
                      <a:pt x="647480" y="266060"/>
                      <a:pt x="653025" y="360660"/>
                      <a:pt x="635557" y="434826"/>
                    </a:cubicBezTo>
                    <a:cubicBezTo>
                      <a:pt x="604247" y="567747"/>
                      <a:pt x="474137" y="515026"/>
                      <a:pt x="388032" y="488652"/>
                    </a:cubicBezTo>
                    <a:cubicBezTo>
                      <a:pt x="300778" y="461936"/>
                      <a:pt x="192507" y="306276"/>
                      <a:pt x="150963" y="243955"/>
                    </a:cubicBezTo>
                    <a:cubicBezTo>
                      <a:pt x="109410" y="181635"/>
                      <a:pt x="0" y="166395"/>
                      <a:pt x="0" y="166395"/>
                    </a:cubicBezTo>
                    <a:lnTo>
                      <a:pt x="0" y="210022"/>
                    </a:lnTo>
                    <a:cubicBezTo>
                      <a:pt x="127418" y="195477"/>
                      <a:pt x="188359" y="365245"/>
                      <a:pt x="253448" y="425286"/>
                    </a:cubicBezTo>
                    <a:cubicBezTo>
                      <a:pt x="301686" y="469779"/>
                      <a:pt x="378098" y="540962"/>
                      <a:pt x="506896" y="551419"/>
                    </a:cubicBezTo>
                    <a:cubicBezTo>
                      <a:pt x="635694" y="561867"/>
                      <a:pt x="660242" y="483930"/>
                      <a:pt x="667930" y="434826"/>
                    </a:cubicBezTo>
                    <a:cubicBezTo>
                      <a:pt x="681798" y="346175"/>
                      <a:pt x="687841" y="113880"/>
                      <a:pt x="698221" y="77178"/>
                    </a:cubicBezTo>
                    <a:cubicBezTo>
                      <a:pt x="708609" y="40477"/>
                      <a:pt x="733936" y="48062"/>
                      <a:pt x="733936" y="48062"/>
                    </a:cubicBezTo>
                    <a:lnTo>
                      <a:pt x="732582" y="30"/>
                    </a:lnTo>
                    <a:close/>
                  </a:path>
                </a:pathLst>
              </a:custGeom>
              <a:solidFill>
                <a:srgbClr val="F2F2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9" name="Freeform: Shape 13438">
                <a:extLst>
                  <a:ext uri="{FF2B5EF4-FFF2-40B4-BE49-F238E27FC236}">
                    <a16:creationId xmlns:a16="http://schemas.microsoft.com/office/drawing/2014/main" id="{736EBB08-39CF-C384-1154-34EB87A6E60D}"/>
                  </a:ext>
                </a:extLst>
              </p:cNvPr>
              <p:cNvSpPr/>
              <p:nvPr/>
            </p:nvSpPr>
            <p:spPr>
              <a:xfrm>
                <a:off x="-1258370" y="3921851"/>
                <a:ext cx="79711" cy="112541"/>
              </a:xfrm>
              <a:custGeom>
                <a:avLst/>
                <a:gdLst>
                  <a:gd name="connsiteX0" fmla="*/ 78366 w 79711"/>
                  <a:gd name="connsiteY0" fmla="*/ 611 h 112541"/>
                  <a:gd name="connsiteX1" fmla="*/ 30522 w 79711"/>
                  <a:gd name="connsiteY1" fmla="*/ 17128 h 112541"/>
                  <a:gd name="connsiteX2" fmla="*/ 0 w 79711"/>
                  <a:gd name="connsiteY2" fmla="*/ 107047 h 112541"/>
                  <a:gd name="connsiteX3" fmla="*/ 39710 w 79711"/>
                  <a:gd name="connsiteY3" fmla="*/ 112541 h 112541"/>
                  <a:gd name="connsiteX4" fmla="*/ 62766 w 79711"/>
                  <a:gd name="connsiteY4" fmla="*/ 64749 h 112541"/>
                  <a:gd name="connsiteX5" fmla="*/ 79711 w 79711"/>
                  <a:gd name="connsiteY5" fmla="*/ 64749 h 112541"/>
                  <a:gd name="connsiteX6" fmla="*/ 78357 w 79711"/>
                  <a:gd name="connsiteY6" fmla="*/ 611 h 11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1" h="112541">
                    <a:moveTo>
                      <a:pt x="78366" y="611"/>
                    </a:moveTo>
                    <a:cubicBezTo>
                      <a:pt x="78366" y="611"/>
                      <a:pt x="47827" y="-4892"/>
                      <a:pt x="30522" y="17128"/>
                    </a:cubicBezTo>
                    <a:cubicBezTo>
                      <a:pt x="13217" y="39147"/>
                      <a:pt x="0" y="107047"/>
                      <a:pt x="0" y="107047"/>
                    </a:cubicBezTo>
                    <a:lnTo>
                      <a:pt x="39710" y="112541"/>
                    </a:lnTo>
                    <a:cubicBezTo>
                      <a:pt x="39710" y="112541"/>
                      <a:pt x="47167" y="67406"/>
                      <a:pt x="62766" y="64749"/>
                    </a:cubicBezTo>
                    <a:cubicBezTo>
                      <a:pt x="78366" y="62092"/>
                      <a:pt x="79711" y="64749"/>
                      <a:pt x="79711" y="64749"/>
                    </a:cubicBezTo>
                    <a:lnTo>
                      <a:pt x="78357" y="611"/>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40" name="Graphic 5">
                <a:extLst>
                  <a:ext uri="{FF2B5EF4-FFF2-40B4-BE49-F238E27FC236}">
                    <a16:creationId xmlns:a16="http://schemas.microsoft.com/office/drawing/2014/main" id="{C0920729-8474-5CD2-C47E-2A0CB6C9CFB5}"/>
                  </a:ext>
                </a:extLst>
              </p:cNvPr>
              <p:cNvGrpSpPr/>
              <p:nvPr/>
            </p:nvGrpSpPr>
            <p:grpSpPr>
              <a:xfrm>
                <a:off x="-1386302" y="2992161"/>
                <a:ext cx="592230" cy="1813152"/>
                <a:chOff x="-1386302" y="2992161"/>
                <a:chExt cx="592230" cy="1813152"/>
              </a:xfrm>
            </p:grpSpPr>
            <p:sp>
              <p:nvSpPr>
                <p:cNvPr id="13453" name="Freeform: Shape 13452">
                  <a:extLst>
                    <a:ext uri="{FF2B5EF4-FFF2-40B4-BE49-F238E27FC236}">
                      <a16:creationId xmlns:a16="http://schemas.microsoft.com/office/drawing/2014/main" id="{C5324E37-82A4-549B-039F-627C304E2D8F}"/>
                    </a:ext>
                  </a:extLst>
                </p:cNvPr>
                <p:cNvSpPr/>
                <p:nvPr/>
              </p:nvSpPr>
              <p:spPr>
                <a:xfrm>
                  <a:off x="-1182721" y="3385550"/>
                  <a:ext cx="281252" cy="1419763"/>
                </a:xfrm>
                <a:custGeom>
                  <a:avLst/>
                  <a:gdLst>
                    <a:gd name="connsiteX0" fmla="*/ 0 w 281252"/>
                    <a:gd name="connsiteY0" fmla="*/ 0 h 1419763"/>
                    <a:gd name="connsiteX1" fmla="*/ 281253 w 281252"/>
                    <a:gd name="connsiteY1" fmla="*/ 0 h 1419763"/>
                    <a:gd name="connsiteX2" fmla="*/ 281253 w 281252"/>
                    <a:gd name="connsiteY2" fmla="*/ 1419763 h 1419763"/>
                    <a:gd name="connsiteX3" fmla="*/ 0 w 281252"/>
                    <a:gd name="connsiteY3" fmla="*/ 1419763 h 1419763"/>
                  </a:gdLst>
                  <a:ahLst/>
                  <a:cxnLst>
                    <a:cxn ang="0">
                      <a:pos x="connsiteX0" y="connsiteY0"/>
                    </a:cxn>
                    <a:cxn ang="0">
                      <a:pos x="connsiteX1" y="connsiteY1"/>
                    </a:cxn>
                    <a:cxn ang="0">
                      <a:pos x="connsiteX2" y="connsiteY2"/>
                    </a:cxn>
                    <a:cxn ang="0">
                      <a:pos x="connsiteX3" y="connsiteY3"/>
                    </a:cxn>
                  </a:cxnLst>
                  <a:rect l="l" t="t" r="r" b="b"/>
                  <a:pathLst>
                    <a:path w="281252" h="1419763">
                      <a:moveTo>
                        <a:pt x="0" y="0"/>
                      </a:moveTo>
                      <a:lnTo>
                        <a:pt x="281253" y="0"/>
                      </a:lnTo>
                      <a:lnTo>
                        <a:pt x="281253" y="1419763"/>
                      </a:lnTo>
                      <a:lnTo>
                        <a:pt x="0" y="1419763"/>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54" name="Graphic 5">
                  <a:extLst>
                    <a:ext uri="{FF2B5EF4-FFF2-40B4-BE49-F238E27FC236}">
                      <a16:creationId xmlns:a16="http://schemas.microsoft.com/office/drawing/2014/main" id="{16C543FB-7E48-54EA-90CC-D50EBBC3061B}"/>
                    </a:ext>
                  </a:extLst>
                </p:cNvPr>
                <p:cNvGrpSpPr/>
                <p:nvPr/>
              </p:nvGrpSpPr>
              <p:grpSpPr>
                <a:xfrm>
                  <a:off x="-1386302" y="2992161"/>
                  <a:ext cx="592230" cy="429147"/>
                  <a:chOff x="-1386302" y="2992161"/>
                  <a:chExt cx="592230" cy="429147"/>
                </a:xfrm>
              </p:grpSpPr>
              <p:sp>
                <p:nvSpPr>
                  <p:cNvPr id="13455" name="Freeform: Shape 13454">
                    <a:extLst>
                      <a:ext uri="{FF2B5EF4-FFF2-40B4-BE49-F238E27FC236}">
                        <a16:creationId xmlns:a16="http://schemas.microsoft.com/office/drawing/2014/main" id="{BC425E2E-4067-F5AB-FD57-C6DF552C0EE0}"/>
                      </a:ext>
                    </a:extLst>
                  </p:cNvPr>
                  <p:cNvSpPr/>
                  <p:nvPr/>
                </p:nvSpPr>
                <p:spPr>
                  <a:xfrm>
                    <a:off x="-1309051" y="2992161"/>
                    <a:ext cx="514978" cy="429147"/>
                  </a:xfrm>
                  <a:custGeom>
                    <a:avLst/>
                    <a:gdLst>
                      <a:gd name="connsiteX0" fmla="*/ 44038 w 514978"/>
                      <a:gd name="connsiteY0" fmla="*/ 0 h 429147"/>
                      <a:gd name="connsiteX1" fmla="*/ 470932 w 514978"/>
                      <a:gd name="connsiteY1" fmla="*/ 0 h 429147"/>
                      <a:gd name="connsiteX2" fmla="*/ 514979 w 514978"/>
                      <a:gd name="connsiteY2" fmla="*/ 44047 h 429147"/>
                      <a:gd name="connsiteX3" fmla="*/ 514979 w 514978"/>
                      <a:gd name="connsiteY3" fmla="*/ 385109 h 429147"/>
                      <a:gd name="connsiteX4" fmla="*/ 470940 w 514978"/>
                      <a:gd name="connsiteY4" fmla="*/ 429148 h 429147"/>
                      <a:gd name="connsiteX5" fmla="*/ 44047 w 514978"/>
                      <a:gd name="connsiteY5" fmla="*/ 429148 h 429147"/>
                      <a:gd name="connsiteX6" fmla="*/ 0 w 514978"/>
                      <a:gd name="connsiteY6" fmla="*/ 385100 h 429147"/>
                      <a:gd name="connsiteX7" fmla="*/ 0 w 514978"/>
                      <a:gd name="connsiteY7" fmla="*/ 44038 h 429147"/>
                      <a:gd name="connsiteX8" fmla="*/ 44038 w 514978"/>
                      <a:gd name="connsiteY8" fmla="*/ 0 h 42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78" h="429147">
                        <a:moveTo>
                          <a:pt x="44038" y="0"/>
                        </a:moveTo>
                        <a:lnTo>
                          <a:pt x="470932" y="0"/>
                        </a:lnTo>
                        <a:cubicBezTo>
                          <a:pt x="495239" y="0"/>
                          <a:pt x="514979" y="19731"/>
                          <a:pt x="514979" y="44047"/>
                        </a:cubicBezTo>
                        <a:lnTo>
                          <a:pt x="514979" y="385109"/>
                        </a:lnTo>
                        <a:cubicBezTo>
                          <a:pt x="514979" y="409417"/>
                          <a:pt x="495248" y="429148"/>
                          <a:pt x="470940" y="429148"/>
                        </a:cubicBezTo>
                        <a:lnTo>
                          <a:pt x="44047" y="429148"/>
                        </a:lnTo>
                        <a:cubicBezTo>
                          <a:pt x="19739" y="429148"/>
                          <a:pt x="0" y="409417"/>
                          <a:pt x="0" y="385100"/>
                        </a:cubicBezTo>
                        <a:lnTo>
                          <a:pt x="0" y="44038"/>
                        </a:lnTo>
                        <a:cubicBezTo>
                          <a:pt x="0" y="19731"/>
                          <a:pt x="19731" y="0"/>
                          <a:pt x="44038" y="0"/>
                        </a:cubicBez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6" name="Freeform: Shape 13455">
                    <a:extLst>
                      <a:ext uri="{FF2B5EF4-FFF2-40B4-BE49-F238E27FC236}">
                        <a16:creationId xmlns:a16="http://schemas.microsoft.com/office/drawing/2014/main" id="{374382B9-3281-0D02-F021-475BBC6F941C}"/>
                      </a:ext>
                    </a:extLst>
                  </p:cNvPr>
                  <p:cNvSpPr/>
                  <p:nvPr/>
                </p:nvSpPr>
                <p:spPr>
                  <a:xfrm>
                    <a:off x="-1273292" y="2999318"/>
                    <a:ext cx="450609" cy="379083"/>
                  </a:xfrm>
                  <a:custGeom>
                    <a:avLst/>
                    <a:gdLst>
                      <a:gd name="connsiteX0" fmla="*/ 411911 w 450609"/>
                      <a:gd name="connsiteY0" fmla="*/ 0 h 379083"/>
                      <a:gd name="connsiteX1" fmla="*/ 450610 w 450609"/>
                      <a:gd name="connsiteY1" fmla="*/ 38699 h 379083"/>
                      <a:gd name="connsiteX2" fmla="*/ 450610 w 450609"/>
                      <a:gd name="connsiteY2" fmla="*/ 340385 h 379083"/>
                      <a:gd name="connsiteX3" fmla="*/ 411911 w 450609"/>
                      <a:gd name="connsiteY3" fmla="*/ 379084 h 379083"/>
                      <a:gd name="connsiteX4" fmla="*/ 38699 w 450609"/>
                      <a:gd name="connsiteY4" fmla="*/ 379084 h 379083"/>
                      <a:gd name="connsiteX5" fmla="*/ 0 w 450609"/>
                      <a:gd name="connsiteY5" fmla="*/ 340385 h 379083"/>
                      <a:gd name="connsiteX6" fmla="*/ 0 w 450609"/>
                      <a:gd name="connsiteY6" fmla="*/ 38699 h 379083"/>
                      <a:gd name="connsiteX7" fmla="*/ 38699 w 450609"/>
                      <a:gd name="connsiteY7" fmla="*/ 0 h 37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609" h="379083">
                        <a:moveTo>
                          <a:pt x="411911" y="0"/>
                        </a:moveTo>
                        <a:cubicBezTo>
                          <a:pt x="433284" y="0"/>
                          <a:pt x="450610" y="17326"/>
                          <a:pt x="450610" y="38699"/>
                        </a:cubicBezTo>
                        <a:lnTo>
                          <a:pt x="450610" y="340385"/>
                        </a:lnTo>
                        <a:cubicBezTo>
                          <a:pt x="450610" y="361758"/>
                          <a:pt x="433284" y="379084"/>
                          <a:pt x="411911" y="379084"/>
                        </a:cubicBezTo>
                        <a:lnTo>
                          <a:pt x="38699" y="379084"/>
                        </a:lnTo>
                        <a:cubicBezTo>
                          <a:pt x="17326" y="379084"/>
                          <a:pt x="0" y="361758"/>
                          <a:pt x="0" y="340385"/>
                        </a:cubicBezTo>
                        <a:lnTo>
                          <a:pt x="0" y="38699"/>
                        </a:lnTo>
                        <a:cubicBezTo>
                          <a:pt x="0" y="17326"/>
                          <a:pt x="17326" y="0"/>
                          <a:pt x="38699" y="0"/>
                        </a:cubicBezTo>
                        <a:close/>
                      </a:path>
                    </a:pathLst>
                  </a:custGeom>
                  <a:solidFill>
                    <a:srgbClr val="1A1A1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7" name="Freeform: Shape 13456">
                    <a:extLst>
                      <a:ext uri="{FF2B5EF4-FFF2-40B4-BE49-F238E27FC236}">
                        <a16:creationId xmlns:a16="http://schemas.microsoft.com/office/drawing/2014/main" id="{8EA421D6-3623-AE3A-1D8C-D6C3ED9B558D}"/>
                      </a:ext>
                    </a:extLst>
                  </p:cNvPr>
                  <p:cNvSpPr/>
                  <p:nvPr/>
                </p:nvSpPr>
                <p:spPr>
                  <a:xfrm>
                    <a:off x="-905368" y="3289973"/>
                    <a:ext cx="58035" cy="58035"/>
                  </a:xfrm>
                  <a:custGeom>
                    <a:avLst/>
                    <a:gdLst>
                      <a:gd name="connsiteX0" fmla="*/ 58035 w 58035"/>
                      <a:gd name="connsiteY0" fmla="*/ 29022 h 58035"/>
                      <a:gd name="connsiteX1" fmla="*/ 29013 w 58035"/>
                      <a:gd name="connsiteY1" fmla="*/ 58035 h 58035"/>
                      <a:gd name="connsiteX2" fmla="*/ 0 w 58035"/>
                      <a:gd name="connsiteY2" fmla="*/ 29022 h 58035"/>
                      <a:gd name="connsiteX3" fmla="*/ 29013 w 58035"/>
                      <a:gd name="connsiteY3" fmla="*/ 0 h 58035"/>
                      <a:gd name="connsiteX4" fmla="*/ 58035 w 58035"/>
                      <a:gd name="connsiteY4" fmla="*/ 29022 h 5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35" h="58035">
                        <a:moveTo>
                          <a:pt x="58035" y="29022"/>
                        </a:moveTo>
                        <a:cubicBezTo>
                          <a:pt x="58035" y="45041"/>
                          <a:pt x="45050" y="58035"/>
                          <a:pt x="29013" y="58035"/>
                        </a:cubicBezTo>
                        <a:cubicBezTo>
                          <a:pt x="12977" y="58035"/>
                          <a:pt x="0" y="45041"/>
                          <a:pt x="0" y="29022"/>
                        </a:cubicBezTo>
                        <a:cubicBezTo>
                          <a:pt x="0" y="13003"/>
                          <a:pt x="12985" y="0"/>
                          <a:pt x="29013" y="0"/>
                        </a:cubicBezTo>
                        <a:cubicBezTo>
                          <a:pt x="45041" y="0"/>
                          <a:pt x="58035" y="12994"/>
                          <a:pt x="58035" y="29022"/>
                        </a:cubicBezTo>
                        <a:close/>
                      </a:path>
                    </a:pathLst>
                  </a:custGeom>
                  <a:solidFill>
                    <a:srgbClr val="B3B3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8" name="Freeform: Shape 13457">
                    <a:extLst>
                      <a:ext uri="{FF2B5EF4-FFF2-40B4-BE49-F238E27FC236}">
                        <a16:creationId xmlns:a16="http://schemas.microsoft.com/office/drawing/2014/main" id="{F5290111-3839-215D-06FF-4464BE2F9C5A}"/>
                      </a:ext>
                    </a:extLst>
                  </p:cNvPr>
                  <p:cNvSpPr/>
                  <p:nvPr/>
                </p:nvSpPr>
                <p:spPr>
                  <a:xfrm>
                    <a:off x="-1240533" y="3038728"/>
                    <a:ext cx="294623" cy="89713"/>
                  </a:xfrm>
                  <a:custGeom>
                    <a:avLst/>
                    <a:gdLst>
                      <a:gd name="connsiteX0" fmla="*/ 160537 w 294623"/>
                      <a:gd name="connsiteY0" fmla="*/ 89714 h 89713"/>
                      <a:gd name="connsiteX1" fmla="*/ 145632 w 294623"/>
                      <a:gd name="connsiteY1" fmla="*/ 57829 h 89713"/>
                      <a:gd name="connsiteX2" fmla="*/ 135038 w 294623"/>
                      <a:gd name="connsiteY2" fmla="*/ 34182 h 89713"/>
                      <a:gd name="connsiteX3" fmla="*/ 111348 w 294623"/>
                      <a:gd name="connsiteY3" fmla="*/ 68800 h 89713"/>
                      <a:gd name="connsiteX4" fmla="*/ 100008 w 294623"/>
                      <a:gd name="connsiteY4" fmla="*/ 48333 h 89713"/>
                      <a:gd name="connsiteX5" fmla="*/ 81983 w 294623"/>
                      <a:gd name="connsiteY5" fmla="*/ 69409 h 89713"/>
                      <a:gd name="connsiteX6" fmla="*/ 71620 w 294623"/>
                      <a:gd name="connsiteY6" fmla="*/ 15017 h 89713"/>
                      <a:gd name="connsiteX7" fmla="*/ 56758 w 294623"/>
                      <a:gd name="connsiteY7" fmla="*/ 62235 h 89713"/>
                      <a:gd name="connsiteX8" fmla="*/ 45453 w 294623"/>
                      <a:gd name="connsiteY8" fmla="*/ 36796 h 89713"/>
                      <a:gd name="connsiteX9" fmla="*/ 34850 w 294623"/>
                      <a:gd name="connsiteY9" fmla="*/ 60641 h 89713"/>
                      <a:gd name="connsiteX10" fmla="*/ 20494 w 294623"/>
                      <a:gd name="connsiteY10" fmla="*/ 41647 h 89713"/>
                      <a:gd name="connsiteX11" fmla="*/ 2820 w 294623"/>
                      <a:gd name="connsiteY11" fmla="*/ 62818 h 89713"/>
                      <a:gd name="connsiteX12" fmla="*/ 0 w 294623"/>
                      <a:gd name="connsiteY12" fmla="*/ 60469 h 89713"/>
                      <a:gd name="connsiteX13" fmla="*/ 20631 w 294623"/>
                      <a:gd name="connsiteY13" fmla="*/ 35759 h 89713"/>
                      <a:gd name="connsiteX14" fmla="*/ 34027 w 294623"/>
                      <a:gd name="connsiteY14" fmla="*/ 53458 h 89713"/>
                      <a:gd name="connsiteX15" fmla="*/ 45453 w 294623"/>
                      <a:gd name="connsiteY15" fmla="*/ 27762 h 89713"/>
                      <a:gd name="connsiteX16" fmla="*/ 56167 w 294623"/>
                      <a:gd name="connsiteY16" fmla="*/ 51872 h 89713"/>
                      <a:gd name="connsiteX17" fmla="*/ 72495 w 294623"/>
                      <a:gd name="connsiteY17" fmla="*/ 0 h 89713"/>
                      <a:gd name="connsiteX18" fmla="*/ 84160 w 294623"/>
                      <a:gd name="connsiteY18" fmla="*/ 61215 h 89713"/>
                      <a:gd name="connsiteX19" fmla="*/ 100659 w 294623"/>
                      <a:gd name="connsiteY19" fmla="*/ 41921 h 89713"/>
                      <a:gd name="connsiteX20" fmla="*/ 111682 w 294623"/>
                      <a:gd name="connsiteY20" fmla="*/ 61824 h 89713"/>
                      <a:gd name="connsiteX21" fmla="*/ 135707 w 294623"/>
                      <a:gd name="connsiteY21" fmla="*/ 26699 h 89713"/>
                      <a:gd name="connsiteX22" fmla="*/ 148975 w 294623"/>
                      <a:gd name="connsiteY22" fmla="*/ 56304 h 89713"/>
                      <a:gd name="connsiteX23" fmla="*/ 160657 w 294623"/>
                      <a:gd name="connsiteY23" fmla="*/ 81280 h 89713"/>
                      <a:gd name="connsiteX24" fmla="*/ 174097 w 294623"/>
                      <a:gd name="connsiteY24" fmla="*/ 54401 h 89713"/>
                      <a:gd name="connsiteX25" fmla="*/ 191436 w 294623"/>
                      <a:gd name="connsiteY25" fmla="*/ 14622 h 89713"/>
                      <a:gd name="connsiteX26" fmla="*/ 210730 w 294623"/>
                      <a:gd name="connsiteY26" fmla="*/ 64206 h 89713"/>
                      <a:gd name="connsiteX27" fmla="*/ 219541 w 294623"/>
                      <a:gd name="connsiteY27" fmla="*/ 44373 h 89713"/>
                      <a:gd name="connsiteX28" fmla="*/ 234369 w 294623"/>
                      <a:gd name="connsiteY28" fmla="*/ 68929 h 89713"/>
                      <a:gd name="connsiteX29" fmla="*/ 257468 w 294623"/>
                      <a:gd name="connsiteY29" fmla="*/ 25491 h 89713"/>
                      <a:gd name="connsiteX30" fmla="*/ 277044 w 294623"/>
                      <a:gd name="connsiteY30" fmla="*/ 65578 h 89713"/>
                      <a:gd name="connsiteX31" fmla="*/ 291753 w 294623"/>
                      <a:gd name="connsiteY31" fmla="*/ 47193 h 89713"/>
                      <a:gd name="connsiteX32" fmla="*/ 294624 w 294623"/>
                      <a:gd name="connsiteY32" fmla="*/ 49481 h 89713"/>
                      <a:gd name="connsiteX33" fmla="*/ 276299 w 294623"/>
                      <a:gd name="connsiteY33" fmla="*/ 72392 h 89713"/>
                      <a:gd name="connsiteX34" fmla="*/ 257339 w 294623"/>
                      <a:gd name="connsiteY34" fmla="*/ 33565 h 89713"/>
                      <a:gd name="connsiteX35" fmla="*/ 234566 w 294623"/>
                      <a:gd name="connsiteY35" fmla="*/ 76369 h 89713"/>
                      <a:gd name="connsiteX36" fmla="*/ 220029 w 294623"/>
                      <a:gd name="connsiteY36" fmla="*/ 52301 h 89713"/>
                      <a:gd name="connsiteX37" fmla="*/ 210498 w 294623"/>
                      <a:gd name="connsiteY37" fmla="*/ 73755 h 89713"/>
                      <a:gd name="connsiteX38" fmla="*/ 191248 w 294623"/>
                      <a:gd name="connsiteY38" fmla="*/ 24248 h 89713"/>
                      <a:gd name="connsiteX39" fmla="*/ 177422 w 294623"/>
                      <a:gd name="connsiteY39" fmla="*/ 55952 h 89713"/>
                      <a:gd name="connsiteX40" fmla="*/ 160537 w 294623"/>
                      <a:gd name="connsiteY40" fmla="*/ 89714 h 8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4623" h="89713">
                        <a:moveTo>
                          <a:pt x="160537" y="89714"/>
                        </a:moveTo>
                        <a:lnTo>
                          <a:pt x="145632" y="57829"/>
                        </a:lnTo>
                        <a:lnTo>
                          <a:pt x="135038" y="34182"/>
                        </a:lnTo>
                        <a:lnTo>
                          <a:pt x="111348" y="68800"/>
                        </a:lnTo>
                        <a:lnTo>
                          <a:pt x="100008" y="48333"/>
                        </a:lnTo>
                        <a:lnTo>
                          <a:pt x="81983" y="69409"/>
                        </a:lnTo>
                        <a:lnTo>
                          <a:pt x="71620" y="15017"/>
                        </a:lnTo>
                        <a:lnTo>
                          <a:pt x="56758" y="62235"/>
                        </a:lnTo>
                        <a:lnTo>
                          <a:pt x="45453" y="36796"/>
                        </a:lnTo>
                        <a:lnTo>
                          <a:pt x="34850" y="60641"/>
                        </a:lnTo>
                        <a:lnTo>
                          <a:pt x="20494" y="41647"/>
                        </a:lnTo>
                        <a:lnTo>
                          <a:pt x="2820" y="62818"/>
                        </a:lnTo>
                        <a:lnTo>
                          <a:pt x="0" y="60469"/>
                        </a:lnTo>
                        <a:lnTo>
                          <a:pt x="20631" y="35759"/>
                        </a:lnTo>
                        <a:lnTo>
                          <a:pt x="34027" y="53458"/>
                        </a:lnTo>
                        <a:lnTo>
                          <a:pt x="45453" y="27762"/>
                        </a:lnTo>
                        <a:lnTo>
                          <a:pt x="56167" y="51872"/>
                        </a:lnTo>
                        <a:lnTo>
                          <a:pt x="72495" y="0"/>
                        </a:lnTo>
                        <a:lnTo>
                          <a:pt x="84160" y="61215"/>
                        </a:lnTo>
                        <a:lnTo>
                          <a:pt x="100659" y="41921"/>
                        </a:lnTo>
                        <a:lnTo>
                          <a:pt x="111682" y="61824"/>
                        </a:lnTo>
                        <a:lnTo>
                          <a:pt x="135707" y="26699"/>
                        </a:lnTo>
                        <a:lnTo>
                          <a:pt x="148975" y="56304"/>
                        </a:lnTo>
                        <a:lnTo>
                          <a:pt x="160657" y="81280"/>
                        </a:lnTo>
                        <a:lnTo>
                          <a:pt x="174097" y="54401"/>
                        </a:lnTo>
                        <a:lnTo>
                          <a:pt x="191436" y="14622"/>
                        </a:lnTo>
                        <a:lnTo>
                          <a:pt x="210730" y="64206"/>
                        </a:lnTo>
                        <a:lnTo>
                          <a:pt x="219541" y="44373"/>
                        </a:lnTo>
                        <a:lnTo>
                          <a:pt x="234369" y="68929"/>
                        </a:lnTo>
                        <a:lnTo>
                          <a:pt x="257468" y="25491"/>
                        </a:lnTo>
                        <a:lnTo>
                          <a:pt x="277044" y="65578"/>
                        </a:lnTo>
                        <a:lnTo>
                          <a:pt x="291753" y="47193"/>
                        </a:lnTo>
                        <a:lnTo>
                          <a:pt x="294624" y="49481"/>
                        </a:lnTo>
                        <a:lnTo>
                          <a:pt x="276299" y="72392"/>
                        </a:lnTo>
                        <a:lnTo>
                          <a:pt x="257339" y="33565"/>
                        </a:lnTo>
                        <a:lnTo>
                          <a:pt x="234566" y="76369"/>
                        </a:lnTo>
                        <a:lnTo>
                          <a:pt x="220029" y="52301"/>
                        </a:lnTo>
                        <a:lnTo>
                          <a:pt x="210498" y="73755"/>
                        </a:lnTo>
                        <a:lnTo>
                          <a:pt x="191248" y="24248"/>
                        </a:lnTo>
                        <a:lnTo>
                          <a:pt x="177422" y="55952"/>
                        </a:lnTo>
                        <a:lnTo>
                          <a:pt x="160537" y="89714"/>
                        </a:lnTo>
                        <a:close/>
                      </a:path>
                    </a:pathLst>
                  </a:custGeom>
                  <a:solidFill>
                    <a:srgbClr val="FBB0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9" name="Freeform: Shape 13458">
                    <a:extLst>
                      <a:ext uri="{FF2B5EF4-FFF2-40B4-BE49-F238E27FC236}">
                        <a16:creationId xmlns:a16="http://schemas.microsoft.com/office/drawing/2014/main" id="{D7339678-A654-DC35-C0A3-000130B8FD8F}"/>
                      </a:ext>
                    </a:extLst>
                  </p:cNvPr>
                  <p:cNvSpPr/>
                  <p:nvPr/>
                </p:nvSpPr>
                <p:spPr>
                  <a:xfrm>
                    <a:off x="-908514" y="3224618"/>
                    <a:ext cx="64369" cy="39341"/>
                  </a:xfrm>
                  <a:custGeom>
                    <a:avLst/>
                    <a:gdLst>
                      <a:gd name="connsiteX0" fmla="*/ 64369 w 64369"/>
                      <a:gd name="connsiteY0" fmla="*/ 32245 h 39341"/>
                      <a:gd name="connsiteX1" fmla="*/ 54041 w 64369"/>
                      <a:gd name="connsiteY1" fmla="*/ 39342 h 39341"/>
                      <a:gd name="connsiteX2" fmla="*/ 9600 w 64369"/>
                      <a:gd name="connsiteY2" fmla="*/ 39342 h 39341"/>
                      <a:gd name="connsiteX3" fmla="*/ 0 w 64369"/>
                      <a:gd name="connsiteY3" fmla="*/ 32245 h 39341"/>
                      <a:gd name="connsiteX4" fmla="*/ 0 w 64369"/>
                      <a:gd name="connsiteY4" fmla="*/ 8597 h 39341"/>
                      <a:gd name="connsiteX5" fmla="*/ 9600 w 64369"/>
                      <a:gd name="connsiteY5" fmla="*/ 0 h 39341"/>
                      <a:gd name="connsiteX6" fmla="*/ 54041 w 64369"/>
                      <a:gd name="connsiteY6" fmla="*/ 0 h 39341"/>
                      <a:gd name="connsiteX7" fmla="*/ 64369 w 64369"/>
                      <a:gd name="connsiteY7" fmla="*/ 8597 h 39341"/>
                      <a:gd name="connsiteX8" fmla="*/ 64369 w 64369"/>
                      <a:gd name="connsiteY8" fmla="*/ 32245 h 3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69" h="39341">
                        <a:moveTo>
                          <a:pt x="64369" y="32245"/>
                        </a:moveTo>
                        <a:cubicBezTo>
                          <a:pt x="64369" y="36187"/>
                          <a:pt x="58995" y="39342"/>
                          <a:pt x="54041" y="39342"/>
                        </a:cubicBezTo>
                        <a:lnTo>
                          <a:pt x="9600" y="39342"/>
                        </a:lnTo>
                        <a:cubicBezTo>
                          <a:pt x="4637" y="39342"/>
                          <a:pt x="0" y="36187"/>
                          <a:pt x="0" y="32245"/>
                        </a:cubicBezTo>
                        <a:lnTo>
                          <a:pt x="0" y="8597"/>
                        </a:lnTo>
                        <a:cubicBezTo>
                          <a:pt x="0" y="4654"/>
                          <a:pt x="4645" y="0"/>
                          <a:pt x="9600" y="0"/>
                        </a:cubicBezTo>
                        <a:lnTo>
                          <a:pt x="54041" y="0"/>
                        </a:lnTo>
                        <a:cubicBezTo>
                          <a:pt x="58995" y="0"/>
                          <a:pt x="64369" y="4654"/>
                          <a:pt x="64369" y="8597"/>
                        </a:cubicBezTo>
                        <a:lnTo>
                          <a:pt x="64369" y="32245"/>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0" name="Freeform: Shape 13459">
                    <a:extLst>
                      <a:ext uri="{FF2B5EF4-FFF2-40B4-BE49-F238E27FC236}">
                        <a16:creationId xmlns:a16="http://schemas.microsoft.com/office/drawing/2014/main" id="{21177DE2-2CEB-6ACB-92FB-EBA19E8BE0D1}"/>
                      </a:ext>
                    </a:extLst>
                  </p:cNvPr>
                  <p:cNvSpPr/>
                  <p:nvPr/>
                </p:nvSpPr>
                <p:spPr>
                  <a:xfrm>
                    <a:off x="-908514" y="3156667"/>
                    <a:ext cx="64369" cy="35767"/>
                  </a:xfrm>
                  <a:custGeom>
                    <a:avLst/>
                    <a:gdLst>
                      <a:gd name="connsiteX0" fmla="*/ 64369 w 64369"/>
                      <a:gd name="connsiteY0" fmla="*/ 30462 h 35767"/>
                      <a:gd name="connsiteX1" fmla="*/ 54041 w 64369"/>
                      <a:gd name="connsiteY1" fmla="*/ 35767 h 35767"/>
                      <a:gd name="connsiteX2" fmla="*/ 9600 w 64369"/>
                      <a:gd name="connsiteY2" fmla="*/ 35767 h 35767"/>
                      <a:gd name="connsiteX3" fmla="*/ 0 w 64369"/>
                      <a:gd name="connsiteY3" fmla="*/ 30462 h 35767"/>
                      <a:gd name="connsiteX4" fmla="*/ 0 w 64369"/>
                      <a:gd name="connsiteY4" fmla="*/ 6814 h 35767"/>
                      <a:gd name="connsiteX5" fmla="*/ 9600 w 64369"/>
                      <a:gd name="connsiteY5" fmla="*/ 0 h 35767"/>
                      <a:gd name="connsiteX6" fmla="*/ 54041 w 64369"/>
                      <a:gd name="connsiteY6" fmla="*/ 0 h 35767"/>
                      <a:gd name="connsiteX7" fmla="*/ 64369 w 64369"/>
                      <a:gd name="connsiteY7" fmla="*/ 6814 h 35767"/>
                      <a:gd name="connsiteX8" fmla="*/ 64369 w 64369"/>
                      <a:gd name="connsiteY8" fmla="*/ 30462 h 3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69" h="35767">
                        <a:moveTo>
                          <a:pt x="64369" y="30462"/>
                        </a:moveTo>
                        <a:cubicBezTo>
                          <a:pt x="64369" y="34404"/>
                          <a:pt x="58995" y="35767"/>
                          <a:pt x="54041" y="35767"/>
                        </a:cubicBezTo>
                        <a:lnTo>
                          <a:pt x="9600" y="35767"/>
                        </a:lnTo>
                        <a:cubicBezTo>
                          <a:pt x="4637" y="35767"/>
                          <a:pt x="0" y="34404"/>
                          <a:pt x="0" y="30462"/>
                        </a:cubicBezTo>
                        <a:lnTo>
                          <a:pt x="0" y="6814"/>
                        </a:lnTo>
                        <a:cubicBezTo>
                          <a:pt x="0" y="2871"/>
                          <a:pt x="4645" y="0"/>
                          <a:pt x="9600" y="0"/>
                        </a:cubicBezTo>
                        <a:lnTo>
                          <a:pt x="54041" y="0"/>
                        </a:lnTo>
                        <a:cubicBezTo>
                          <a:pt x="58995" y="0"/>
                          <a:pt x="64369" y="2871"/>
                          <a:pt x="64369" y="6814"/>
                        </a:cubicBezTo>
                        <a:lnTo>
                          <a:pt x="64369" y="30462"/>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1" name="Freeform: Shape 13460">
                    <a:extLst>
                      <a:ext uri="{FF2B5EF4-FFF2-40B4-BE49-F238E27FC236}">
                        <a16:creationId xmlns:a16="http://schemas.microsoft.com/office/drawing/2014/main" id="{F06BD767-41F9-1E91-219F-FDA63D0774C9}"/>
                      </a:ext>
                    </a:extLst>
                  </p:cNvPr>
                  <p:cNvSpPr/>
                  <p:nvPr/>
                </p:nvSpPr>
                <p:spPr>
                  <a:xfrm>
                    <a:off x="-908514" y="3081566"/>
                    <a:ext cx="64369" cy="39341"/>
                  </a:xfrm>
                  <a:custGeom>
                    <a:avLst/>
                    <a:gdLst>
                      <a:gd name="connsiteX0" fmla="*/ 64369 w 64369"/>
                      <a:gd name="connsiteY0" fmla="*/ 32159 h 39341"/>
                      <a:gd name="connsiteX1" fmla="*/ 54041 w 64369"/>
                      <a:gd name="connsiteY1" fmla="*/ 39341 h 39341"/>
                      <a:gd name="connsiteX2" fmla="*/ 9600 w 64369"/>
                      <a:gd name="connsiteY2" fmla="*/ 39341 h 39341"/>
                      <a:gd name="connsiteX3" fmla="*/ 0 w 64369"/>
                      <a:gd name="connsiteY3" fmla="*/ 32159 h 39341"/>
                      <a:gd name="connsiteX4" fmla="*/ 0 w 64369"/>
                      <a:gd name="connsiteY4" fmla="*/ 8511 h 39341"/>
                      <a:gd name="connsiteX5" fmla="*/ 9600 w 64369"/>
                      <a:gd name="connsiteY5" fmla="*/ 0 h 39341"/>
                      <a:gd name="connsiteX6" fmla="*/ 54041 w 64369"/>
                      <a:gd name="connsiteY6" fmla="*/ 0 h 39341"/>
                      <a:gd name="connsiteX7" fmla="*/ 64369 w 64369"/>
                      <a:gd name="connsiteY7" fmla="*/ 8511 h 39341"/>
                      <a:gd name="connsiteX8" fmla="*/ 64369 w 64369"/>
                      <a:gd name="connsiteY8" fmla="*/ 32159 h 3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69" h="39341">
                        <a:moveTo>
                          <a:pt x="64369" y="32159"/>
                        </a:moveTo>
                        <a:cubicBezTo>
                          <a:pt x="64369" y="36102"/>
                          <a:pt x="58995" y="39341"/>
                          <a:pt x="54041" y="39341"/>
                        </a:cubicBezTo>
                        <a:lnTo>
                          <a:pt x="9600" y="39341"/>
                        </a:lnTo>
                        <a:cubicBezTo>
                          <a:pt x="4637" y="39341"/>
                          <a:pt x="0" y="36102"/>
                          <a:pt x="0" y="32159"/>
                        </a:cubicBezTo>
                        <a:lnTo>
                          <a:pt x="0" y="8511"/>
                        </a:lnTo>
                        <a:cubicBezTo>
                          <a:pt x="0" y="4568"/>
                          <a:pt x="4645" y="0"/>
                          <a:pt x="9600" y="0"/>
                        </a:cubicBezTo>
                        <a:lnTo>
                          <a:pt x="54041" y="0"/>
                        </a:lnTo>
                        <a:cubicBezTo>
                          <a:pt x="58995" y="0"/>
                          <a:pt x="64369" y="4568"/>
                          <a:pt x="64369" y="8511"/>
                        </a:cubicBezTo>
                        <a:lnTo>
                          <a:pt x="64369" y="32159"/>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2" name="Freeform: Shape 13461">
                    <a:extLst>
                      <a:ext uri="{FF2B5EF4-FFF2-40B4-BE49-F238E27FC236}">
                        <a16:creationId xmlns:a16="http://schemas.microsoft.com/office/drawing/2014/main" id="{7EBAF33A-0A57-E3F7-5F86-DA887C941938}"/>
                      </a:ext>
                    </a:extLst>
                  </p:cNvPr>
                  <p:cNvSpPr/>
                  <p:nvPr/>
                </p:nvSpPr>
                <p:spPr>
                  <a:xfrm>
                    <a:off x="-1225851" y="3137827"/>
                    <a:ext cx="294623" cy="89705"/>
                  </a:xfrm>
                  <a:custGeom>
                    <a:avLst/>
                    <a:gdLst>
                      <a:gd name="connsiteX0" fmla="*/ 160537 w 294623"/>
                      <a:gd name="connsiteY0" fmla="*/ 89705 h 89705"/>
                      <a:gd name="connsiteX1" fmla="*/ 145632 w 294623"/>
                      <a:gd name="connsiteY1" fmla="*/ 57829 h 89705"/>
                      <a:gd name="connsiteX2" fmla="*/ 135038 w 294623"/>
                      <a:gd name="connsiteY2" fmla="*/ 34182 h 89705"/>
                      <a:gd name="connsiteX3" fmla="*/ 111347 w 294623"/>
                      <a:gd name="connsiteY3" fmla="*/ 68800 h 89705"/>
                      <a:gd name="connsiteX4" fmla="*/ 100008 w 294623"/>
                      <a:gd name="connsiteY4" fmla="*/ 48324 h 89705"/>
                      <a:gd name="connsiteX5" fmla="*/ 81983 w 294623"/>
                      <a:gd name="connsiteY5" fmla="*/ 69409 h 89705"/>
                      <a:gd name="connsiteX6" fmla="*/ 71620 w 294623"/>
                      <a:gd name="connsiteY6" fmla="*/ 15008 h 89705"/>
                      <a:gd name="connsiteX7" fmla="*/ 56758 w 294623"/>
                      <a:gd name="connsiteY7" fmla="*/ 62226 h 89705"/>
                      <a:gd name="connsiteX8" fmla="*/ 45453 w 294623"/>
                      <a:gd name="connsiteY8" fmla="*/ 36787 h 89705"/>
                      <a:gd name="connsiteX9" fmla="*/ 34850 w 294623"/>
                      <a:gd name="connsiteY9" fmla="*/ 60641 h 89705"/>
                      <a:gd name="connsiteX10" fmla="*/ 20493 w 294623"/>
                      <a:gd name="connsiteY10" fmla="*/ 41647 h 89705"/>
                      <a:gd name="connsiteX11" fmla="*/ 2811 w 294623"/>
                      <a:gd name="connsiteY11" fmla="*/ 62809 h 89705"/>
                      <a:gd name="connsiteX12" fmla="*/ 0 w 294623"/>
                      <a:gd name="connsiteY12" fmla="*/ 60461 h 89705"/>
                      <a:gd name="connsiteX13" fmla="*/ 20631 w 294623"/>
                      <a:gd name="connsiteY13" fmla="*/ 35750 h 89705"/>
                      <a:gd name="connsiteX14" fmla="*/ 34027 w 294623"/>
                      <a:gd name="connsiteY14" fmla="*/ 53458 h 89705"/>
                      <a:gd name="connsiteX15" fmla="*/ 45453 w 294623"/>
                      <a:gd name="connsiteY15" fmla="*/ 27762 h 89705"/>
                      <a:gd name="connsiteX16" fmla="*/ 56167 w 294623"/>
                      <a:gd name="connsiteY16" fmla="*/ 51872 h 89705"/>
                      <a:gd name="connsiteX17" fmla="*/ 72494 w 294623"/>
                      <a:gd name="connsiteY17" fmla="*/ 0 h 89705"/>
                      <a:gd name="connsiteX18" fmla="*/ 84160 w 294623"/>
                      <a:gd name="connsiteY18" fmla="*/ 61206 h 89705"/>
                      <a:gd name="connsiteX19" fmla="*/ 100651 w 294623"/>
                      <a:gd name="connsiteY19" fmla="*/ 41913 h 89705"/>
                      <a:gd name="connsiteX20" fmla="*/ 111673 w 294623"/>
                      <a:gd name="connsiteY20" fmla="*/ 61815 h 89705"/>
                      <a:gd name="connsiteX21" fmla="*/ 135698 w 294623"/>
                      <a:gd name="connsiteY21" fmla="*/ 26699 h 89705"/>
                      <a:gd name="connsiteX22" fmla="*/ 148975 w 294623"/>
                      <a:gd name="connsiteY22" fmla="*/ 56295 h 89705"/>
                      <a:gd name="connsiteX23" fmla="*/ 160648 w 294623"/>
                      <a:gd name="connsiteY23" fmla="*/ 81280 h 89705"/>
                      <a:gd name="connsiteX24" fmla="*/ 174097 w 294623"/>
                      <a:gd name="connsiteY24" fmla="*/ 54392 h 89705"/>
                      <a:gd name="connsiteX25" fmla="*/ 191436 w 294623"/>
                      <a:gd name="connsiteY25" fmla="*/ 14614 h 89705"/>
                      <a:gd name="connsiteX26" fmla="*/ 210721 w 294623"/>
                      <a:gd name="connsiteY26" fmla="*/ 64206 h 89705"/>
                      <a:gd name="connsiteX27" fmla="*/ 219541 w 294623"/>
                      <a:gd name="connsiteY27" fmla="*/ 44373 h 89705"/>
                      <a:gd name="connsiteX28" fmla="*/ 234360 w 294623"/>
                      <a:gd name="connsiteY28" fmla="*/ 68929 h 89705"/>
                      <a:gd name="connsiteX29" fmla="*/ 257468 w 294623"/>
                      <a:gd name="connsiteY29" fmla="*/ 25482 h 89705"/>
                      <a:gd name="connsiteX30" fmla="*/ 277044 w 294623"/>
                      <a:gd name="connsiteY30" fmla="*/ 65569 h 89705"/>
                      <a:gd name="connsiteX31" fmla="*/ 291752 w 294623"/>
                      <a:gd name="connsiteY31" fmla="*/ 47184 h 89705"/>
                      <a:gd name="connsiteX32" fmla="*/ 294624 w 294623"/>
                      <a:gd name="connsiteY32" fmla="*/ 49481 h 89705"/>
                      <a:gd name="connsiteX33" fmla="*/ 276299 w 294623"/>
                      <a:gd name="connsiteY33" fmla="*/ 72383 h 89705"/>
                      <a:gd name="connsiteX34" fmla="*/ 257339 w 294623"/>
                      <a:gd name="connsiteY34" fmla="*/ 33565 h 89705"/>
                      <a:gd name="connsiteX35" fmla="*/ 234566 w 294623"/>
                      <a:gd name="connsiteY35" fmla="*/ 76369 h 89705"/>
                      <a:gd name="connsiteX36" fmla="*/ 220029 w 294623"/>
                      <a:gd name="connsiteY36" fmla="*/ 52292 h 89705"/>
                      <a:gd name="connsiteX37" fmla="*/ 210498 w 294623"/>
                      <a:gd name="connsiteY37" fmla="*/ 73754 h 89705"/>
                      <a:gd name="connsiteX38" fmla="*/ 191239 w 294623"/>
                      <a:gd name="connsiteY38" fmla="*/ 24248 h 89705"/>
                      <a:gd name="connsiteX39" fmla="*/ 177422 w 294623"/>
                      <a:gd name="connsiteY39" fmla="*/ 55944 h 89705"/>
                      <a:gd name="connsiteX40" fmla="*/ 160537 w 294623"/>
                      <a:gd name="connsiteY40" fmla="*/ 89705 h 8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4623" h="89705">
                        <a:moveTo>
                          <a:pt x="160537" y="89705"/>
                        </a:moveTo>
                        <a:lnTo>
                          <a:pt x="145632" y="57829"/>
                        </a:lnTo>
                        <a:lnTo>
                          <a:pt x="135038" y="34182"/>
                        </a:lnTo>
                        <a:lnTo>
                          <a:pt x="111347" y="68800"/>
                        </a:lnTo>
                        <a:lnTo>
                          <a:pt x="100008" y="48324"/>
                        </a:lnTo>
                        <a:lnTo>
                          <a:pt x="81983" y="69409"/>
                        </a:lnTo>
                        <a:lnTo>
                          <a:pt x="71620" y="15008"/>
                        </a:lnTo>
                        <a:lnTo>
                          <a:pt x="56758" y="62226"/>
                        </a:lnTo>
                        <a:lnTo>
                          <a:pt x="45453" y="36787"/>
                        </a:lnTo>
                        <a:lnTo>
                          <a:pt x="34850" y="60641"/>
                        </a:lnTo>
                        <a:lnTo>
                          <a:pt x="20493" y="41647"/>
                        </a:lnTo>
                        <a:lnTo>
                          <a:pt x="2811" y="62809"/>
                        </a:lnTo>
                        <a:lnTo>
                          <a:pt x="0" y="60461"/>
                        </a:lnTo>
                        <a:lnTo>
                          <a:pt x="20631" y="35750"/>
                        </a:lnTo>
                        <a:lnTo>
                          <a:pt x="34027" y="53458"/>
                        </a:lnTo>
                        <a:lnTo>
                          <a:pt x="45453" y="27762"/>
                        </a:lnTo>
                        <a:lnTo>
                          <a:pt x="56167" y="51872"/>
                        </a:lnTo>
                        <a:lnTo>
                          <a:pt x="72494" y="0"/>
                        </a:lnTo>
                        <a:lnTo>
                          <a:pt x="84160" y="61206"/>
                        </a:lnTo>
                        <a:lnTo>
                          <a:pt x="100651" y="41913"/>
                        </a:lnTo>
                        <a:lnTo>
                          <a:pt x="111673" y="61815"/>
                        </a:lnTo>
                        <a:lnTo>
                          <a:pt x="135698" y="26699"/>
                        </a:lnTo>
                        <a:lnTo>
                          <a:pt x="148975" y="56295"/>
                        </a:lnTo>
                        <a:lnTo>
                          <a:pt x="160648" y="81280"/>
                        </a:lnTo>
                        <a:lnTo>
                          <a:pt x="174097" y="54392"/>
                        </a:lnTo>
                        <a:lnTo>
                          <a:pt x="191436" y="14614"/>
                        </a:lnTo>
                        <a:lnTo>
                          <a:pt x="210721" y="64206"/>
                        </a:lnTo>
                        <a:lnTo>
                          <a:pt x="219541" y="44373"/>
                        </a:lnTo>
                        <a:lnTo>
                          <a:pt x="234360" y="68929"/>
                        </a:lnTo>
                        <a:lnTo>
                          <a:pt x="257468" y="25482"/>
                        </a:lnTo>
                        <a:lnTo>
                          <a:pt x="277044" y="65569"/>
                        </a:lnTo>
                        <a:lnTo>
                          <a:pt x="291752" y="47184"/>
                        </a:lnTo>
                        <a:lnTo>
                          <a:pt x="294624" y="49481"/>
                        </a:lnTo>
                        <a:lnTo>
                          <a:pt x="276299" y="72383"/>
                        </a:lnTo>
                        <a:lnTo>
                          <a:pt x="257339" y="33565"/>
                        </a:lnTo>
                        <a:lnTo>
                          <a:pt x="234566" y="76369"/>
                        </a:lnTo>
                        <a:lnTo>
                          <a:pt x="220029" y="52292"/>
                        </a:lnTo>
                        <a:lnTo>
                          <a:pt x="210498" y="73754"/>
                        </a:lnTo>
                        <a:lnTo>
                          <a:pt x="191239" y="24248"/>
                        </a:lnTo>
                        <a:lnTo>
                          <a:pt x="177422" y="55944"/>
                        </a:lnTo>
                        <a:lnTo>
                          <a:pt x="160537" y="89705"/>
                        </a:lnTo>
                        <a:close/>
                      </a:path>
                    </a:pathLst>
                  </a:custGeom>
                  <a:solidFill>
                    <a:srgbClr val="8CC6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3" name="Freeform: Shape 13462">
                    <a:extLst>
                      <a:ext uri="{FF2B5EF4-FFF2-40B4-BE49-F238E27FC236}">
                        <a16:creationId xmlns:a16="http://schemas.microsoft.com/office/drawing/2014/main" id="{17EB360A-83A5-AE3E-291D-43E989EBE6CE}"/>
                      </a:ext>
                    </a:extLst>
                  </p:cNvPr>
                  <p:cNvSpPr/>
                  <p:nvPr/>
                </p:nvSpPr>
                <p:spPr>
                  <a:xfrm>
                    <a:off x="-1225851" y="3225904"/>
                    <a:ext cx="294623" cy="89714"/>
                  </a:xfrm>
                  <a:custGeom>
                    <a:avLst/>
                    <a:gdLst>
                      <a:gd name="connsiteX0" fmla="*/ 160537 w 294623"/>
                      <a:gd name="connsiteY0" fmla="*/ 89714 h 89714"/>
                      <a:gd name="connsiteX1" fmla="*/ 145632 w 294623"/>
                      <a:gd name="connsiteY1" fmla="*/ 57838 h 89714"/>
                      <a:gd name="connsiteX2" fmla="*/ 135038 w 294623"/>
                      <a:gd name="connsiteY2" fmla="*/ 34182 h 89714"/>
                      <a:gd name="connsiteX3" fmla="*/ 111347 w 294623"/>
                      <a:gd name="connsiteY3" fmla="*/ 68809 h 89714"/>
                      <a:gd name="connsiteX4" fmla="*/ 100008 w 294623"/>
                      <a:gd name="connsiteY4" fmla="*/ 48333 h 89714"/>
                      <a:gd name="connsiteX5" fmla="*/ 81983 w 294623"/>
                      <a:gd name="connsiteY5" fmla="*/ 69409 h 89714"/>
                      <a:gd name="connsiteX6" fmla="*/ 71620 w 294623"/>
                      <a:gd name="connsiteY6" fmla="*/ 15017 h 89714"/>
                      <a:gd name="connsiteX7" fmla="*/ 56758 w 294623"/>
                      <a:gd name="connsiteY7" fmla="*/ 62235 h 89714"/>
                      <a:gd name="connsiteX8" fmla="*/ 45453 w 294623"/>
                      <a:gd name="connsiteY8" fmla="*/ 36796 h 89714"/>
                      <a:gd name="connsiteX9" fmla="*/ 34850 w 294623"/>
                      <a:gd name="connsiteY9" fmla="*/ 60649 h 89714"/>
                      <a:gd name="connsiteX10" fmla="*/ 20493 w 294623"/>
                      <a:gd name="connsiteY10" fmla="*/ 41656 h 89714"/>
                      <a:gd name="connsiteX11" fmla="*/ 2811 w 294623"/>
                      <a:gd name="connsiteY11" fmla="*/ 62818 h 89714"/>
                      <a:gd name="connsiteX12" fmla="*/ 0 w 294623"/>
                      <a:gd name="connsiteY12" fmla="*/ 60469 h 89714"/>
                      <a:gd name="connsiteX13" fmla="*/ 20631 w 294623"/>
                      <a:gd name="connsiteY13" fmla="*/ 35759 h 89714"/>
                      <a:gd name="connsiteX14" fmla="*/ 34027 w 294623"/>
                      <a:gd name="connsiteY14" fmla="*/ 53467 h 89714"/>
                      <a:gd name="connsiteX15" fmla="*/ 45453 w 294623"/>
                      <a:gd name="connsiteY15" fmla="*/ 27771 h 89714"/>
                      <a:gd name="connsiteX16" fmla="*/ 56167 w 294623"/>
                      <a:gd name="connsiteY16" fmla="*/ 51881 h 89714"/>
                      <a:gd name="connsiteX17" fmla="*/ 72494 w 294623"/>
                      <a:gd name="connsiteY17" fmla="*/ 0 h 89714"/>
                      <a:gd name="connsiteX18" fmla="*/ 84160 w 294623"/>
                      <a:gd name="connsiteY18" fmla="*/ 61215 h 89714"/>
                      <a:gd name="connsiteX19" fmla="*/ 100651 w 294623"/>
                      <a:gd name="connsiteY19" fmla="*/ 41921 h 89714"/>
                      <a:gd name="connsiteX20" fmla="*/ 111673 w 294623"/>
                      <a:gd name="connsiteY20" fmla="*/ 61824 h 89714"/>
                      <a:gd name="connsiteX21" fmla="*/ 135698 w 294623"/>
                      <a:gd name="connsiteY21" fmla="*/ 26708 h 89714"/>
                      <a:gd name="connsiteX22" fmla="*/ 148975 w 294623"/>
                      <a:gd name="connsiteY22" fmla="*/ 56304 h 89714"/>
                      <a:gd name="connsiteX23" fmla="*/ 160648 w 294623"/>
                      <a:gd name="connsiteY23" fmla="*/ 81289 h 89714"/>
                      <a:gd name="connsiteX24" fmla="*/ 174097 w 294623"/>
                      <a:gd name="connsiteY24" fmla="*/ 54401 h 89714"/>
                      <a:gd name="connsiteX25" fmla="*/ 191436 w 294623"/>
                      <a:gd name="connsiteY25" fmla="*/ 14622 h 89714"/>
                      <a:gd name="connsiteX26" fmla="*/ 210721 w 294623"/>
                      <a:gd name="connsiteY26" fmla="*/ 64206 h 89714"/>
                      <a:gd name="connsiteX27" fmla="*/ 219541 w 294623"/>
                      <a:gd name="connsiteY27" fmla="*/ 44381 h 89714"/>
                      <a:gd name="connsiteX28" fmla="*/ 234360 w 294623"/>
                      <a:gd name="connsiteY28" fmla="*/ 68938 h 89714"/>
                      <a:gd name="connsiteX29" fmla="*/ 257468 w 294623"/>
                      <a:gd name="connsiteY29" fmla="*/ 25491 h 89714"/>
                      <a:gd name="connsiteX30" fmla="*/ 277044 w 294623"/>
                      <a:gd name="connsiteY30" fmla="*/ 65578 h 89714"/>
                      <a:gd name="connsiteX31" fmla="*/ 291752 w 294623"/>
                      <a:gd name="connsiteY31" fmla="*/ 47193 h 89714"/>
                      <a:gd name="connsiteX32" fmla="*/ 294624 w 294623"/>
                      <a:gd name="connsiteY32" fmla="*/ 49490 h 89714"/>
                      <a:gd name="connsiteX33" fmla="*/ 276299 w 294623"/>
                      <a:gd name="connsiteY33" fmla="*/ 72392 h 89714"/>
                      <a:gd name="connsiteX34" fmla="*/ 257339 w 294623"/>
                      <a:gd name="connsiteY34" fmla="*/ 33573 h 89714"/>
                      <a:gd name="connsiteX35" fmla="*/ 234566 w 294623"/>
                      <a:gd name="connsiteY35" fmla="*/ 76377 h 89714"/>
                      <a:gd name="connsiteX36" fmla="*/ 220029 w 294623"/>
                      <a:gd name="connsiteY36" fmla="*/ 52301 h 89714"/>
                      <a:gd name="connsiteX37" fmla="*/ 210498 w 294623"/>
                      <a:gd name="connsiteY37" fmla="*/ 73755 h 89714"/>
                      <a:gd name="connsiteX38" fmla="*/ 191239 w 294623"/>
                      <a:gd name="connsiteY38" fmla="*/ 24248 h 89714"/>
                      <a:gd name="connsiteX39" fmla="*/ 177422 w 294623"/>
                      <a:gd name="connsiteY39" fmla="*/ 55952 h 89714"/>
                      <a:gd name="connsiteX40" fmla="*/ 160537 w 294623"/>
                      <a:gd name="connsiteY40" fmla="*/ 89714 h 8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4623" h="89714">
                        <a:moveTo>
                          <a:pt x="160537" y="89714"/>
                        </a:moveTo>
                        <a:lnTo>
                          <a:pt x="145632" y="57838"/>
                        </a:lnTo>
                        <a:lnTo>
                          <a:pt x="135038" y="34182"/>
                        </a:lnTo>
                        <a:lnTo>
                          <a:pt x="111347" y="68809"/>
                        </a:lnTo>
                        <a:lnTo>
                          <a:pt x="100008" y="48333"/>
                        </a:lnTo>
                        <a:lnTo>
                          <a:pt x="81983" y="69409"/>
                        </a:lnTo>
                        <a:lnTo>
                          <a:pt x="71620" y="15017"/>
                        </a:lnTo>
                        <a:lnTo>
                          <a:pt x="56758" y="62235"/>
                        </a:lnTo>
                        <a:lnTo>
                          <a:pt x="45453" y="36796"/>
                        </a:lnTo>
                        <a:lnTo>
                          <a:pt x="34850" y="60649"/>
                        </a:lnTo>
                        <a:lnTo>
                          <a:pt x="20493" y="41656"/>
                        </a:lnTo>
                        <a:lnTo>
                          <a:pt x="2811" y="62818"/>
                        </a:lnTo>
                        <a:lnTo>
                          <a:pt x="0" y="60469"/>
                        </a:lnTo>
                        <a:lnTo>
                          <a:pt x="20631" y="35759"/>
                        </a:lnTo>
                        <a:lnTo>
                          <a:pt x="34027" y="53467"/>
                        </a:lnTo>
                        <a:lnTo>
                          <a:pt x="45453" y="27771"/>
                        </a:lnTo>
                        <a:lnTo>
                          <a:pt x="56167" y="51881"/>
                        </a:lnTo>
                        <a:lnTo>
                          <a:pt x="72494" y="0"/>
                        </a:lnTo>
                        <a:lnTo>
                          <a:pt x="84160" y="61215"/>
                        </a:lnTo>
                        <a:lnTo>
                          <a:pt x="100651" y="41921"/>
                        </a:lnTo>
                        <a:lnTo>
                          <a:pt x="111673" y="61824"/>
                        </a:lnTo>
                        <a:lnTo>
                          <a:pt x="135698" y="26708"/>
                        </a:lnTo>
                        <a:lnTo>
                          <a:pt x="148975" y="56304"/>
                        </a:lnTo>
                        <a:lnTo>
                          <a:pt x="160648" y="81289"/>
                        </a:lnTo>
                        <a:lnTo>
                          <a:pt x="174097" y="54401"/>
                        </a:lnTo>
                        <a:lnTo>
                          <a:pt x="191436" y="14622"/>
                        </a:lnTo>
                        <a:lnTo>
                          <a:pt x="210721" y="64206"/>
                        </a:lnTo>
                        <a:lnTo>
                          <a:pt x="219541" y="44381"/>
                        </a:lnTo>
                        <a:lnTo>
                          <a:pt x="234360" y="68938"/>
                        </a:lnTo>
                        <a:lnTo>
                          <a:pt x="257468" y="25491"/>
                        </a:lnTo>
                        <a:lnTo>
                          <a:pt x="277044" y="65578"/>
                        </a:lnTo>
                        <a:lnTo>
                          <a:pt x="291752" y="47193"/>
                        </a:lnTo>
                        <a:lnTo>
                          <a:pt x="294624" y="49490"/>
                        </a:lnTo>
                        <a:lnTo>
                          <a:pt x="276299" y="72392"/>
                        </a:lnTo>
                        <a:lnTo>
                          <a:pt x="257339" y="33573"/>
                        </a:lnTo>
                        <a:lnTo>
                          <a:pt x="234566" y="76377"/>
                        </a:lnTo>
                        <a:lnTo>
                          <a:pt x="220029" y="52301"/>
                        </a:lnTo>
                        <a:lnTo>
                          <a:pt x="210498" y="73755"/>
                        </a:lnTo>
                        <a:lnTo>
                          <a:pt x="191239" y="24248"/>
                        </a:lnTo>
                        <a:lnTo>
                          <a:pt x="177422" y="55952"/>
                        </a:lnTo>
                        <a:lnTo>
                          <a:pt x="160537" y="89714"/>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64" name="Freeform: Shape 13463">
                    <a:extLst>
                      <a:ext uri="{FF2B5EF4-FFF2-40B4-BE49-F238E27FC236}">
                        <a16:creationId xmlns:a16="http://schemas.microsoft.com/office/drawing/2014/main" id="{D795FA15-7614-0C44-1178-B2C98BCEE98A}"/>
                      </a:ext>
                    </a:extLst>
                  </p:cNvPr>
                  <p:cNvSpPr/>
                  <p:nvPr/>
                </p:nvSpPr>
                <p:spPr>
                  <a:xfrm>
                    <a:off x="-1386302" y="3283268"/>
                    <a:ext cx="79711" cy="112541"/>
                  </a:xfrm>
                  <a:custGeom>
                    <a:avLst/>
                    <a:gdLst>
                      <a:gd name="connsiteX0" fmla="*/ 78366 w 79711"/>
                      <a:gd name="connsiteY0" fmla="*/ 611 h 112541"/>
                      <a:gd name="connsiteX1" fmla="*/ 30522 w 79711"/>
                      <a:gd name="connsiteY1" fmla="*/ 17128 h 112541"/>
                      <a:gd name="connsiteX2" fmla="*/ 0 w 79711"/>
                      <a:gd name="connsiteY2" fmla="*/ 107047 h 112541"/>
                      <a:gd name="connsiteX3" fmla="*/ 39710 w 79711"/>
                      <a:gd name="connsiteY3" fmla="*/ 112541 h 112541"/>
                      <a:gd name="connsiteX4" fmla="*/ 62767 w 79711"/>
                      <a:gd name="connsiteY4" fmla="*/ 64749 h 112541"/>
                      <a:gd name="connsiteX5" fmla="*/ 79711 w 79711"/>
                      <a:gd name="connsiteY5" fmla="*/ 64749 h 112541"/>
                      <a:gd name="connsiteX6" fmla="*/ 78357 w 79711"/>
                      <a:gd name="connsiteY6" fmla="*/ 611 h 11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11" h="112541">
                        <a:moveTo>
                          <a:pt x="78366" y="611"/>
                        </a:moveTo>
                        <a:cubicBezTo>
                          <a:pt x="78366" y="611"/>
                          <a:pt x="47827" y="-4892"/>
                          <a:pt x="30522" y="17128"/>
                        </a:cubicBezTo>
                        <a:cubicBezTo>
                          <a:pt x="13217" y="39147"/>
                          <a:pt x="0" y="107047"/>
                          <a:pt x="0" y="107047"/>
                        </a:cubicBezTo>
                        <a:lnTo>
                          <a:pt x="39710" y="112541"/>
                        </a:lnTo>
                        <a:cubicBezTo>
                          <a:pt x="39710" y="112541"/>
                          <a:pt x="47167" y="67406"/>
                          <a:pt x="62767" y="64749"/>
                        </a:cubicBezTo>
                        <a:cubicBezTo>
                          <a:pt x="78366" y="62092"/>
                          <a:pt x="79711" y="64749"/>
                          <a:pt x="79711" y="64749"/>
                        </a:cubicBezTo>
                        <a:lnTo>
                          <a:pt x="78357" y="611"/>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3441" name="Graphic 5">
                <a:extLst>
                  <a:ext uri="{FF2B5EF4-FFF2-40B4-BE49-F238E27FC236}">
                    <a16:creationId xmlns:a16="http://schemas.microsoft.com/office/drawing/2014/main" id="{2FA71536-DA9B-EACB-6C99-F5BAB965BDCF}"/>
                  </a:ext>
                </a:extLst>
              </p:cNvPr>
              <p:cNvGrpSpPr/>
              <p:nvPr/>
            </p:nvGrpSpPr>
            <p:grpSpPr>
              <a:xfrm>
                <a:off x="-1306582" y="3616473"/>
                <a:ext cx="545123" cy="277310"/>
                <a:chOff x="-1306582" y="3616473"/>
                <a:chExt cx="545123" cy="277310"/>
              </a:xfrm>
            </p:grpSpPr>
            <p:sp>
              <p:nvSpPr>
                <p:cNvPr id="13444" name="Freeform: Shape 13443">
                  <a:extLst>
                    <a:ext uri="{FF2B5EF4-FFF2-40B4-BE49-F238E27FC236}">
                      <a16:creationId xmlns:a16="http://schemas.microsoft.com/office/drawing/2014/main" id="{3FE9A34A-54F5-E258-9E0D-26EF5AF08219}"/>
                    </a:ext>
                  </a:extLst>
                </p:cNvPr>
                <p:cNvSpPr/>
                <p:nvPr/>
              </p:nvSpPr>
              <p:spPr>
                <a:xfrm>
                  <a:off x="-1306582" y="3616473"/>
                  <a:ext cx="545123" cy="277310"/>
                </a:xfrm>
                <a:custGeom>
                  <a:avLst/>
                  <a:gdLst>
                    <a:gd name="connsiteX0" fmla="*/ 545123 w 545123"/>
                    <a:gd name="connsiteY0" fmla="*/ 248854 h 277310"/>
                    <a:gd name="connsiteX1" fmla="*/ 498505 w 545123"/>
                    <a:gd name="connsiteY1" fmla="*/ 277310 h 277310"/>
                    <a:gd name="connsiteX2" fmla="*/ 46618 w 545123"/>
                    <a:gd name="connsiteY2" fmla="*/ 277310 h 277310"/>
                    <a:gd name="connsiteX3" fmla="*/ 0 w 545123"/>
                    <a:gd name="connsiteY3" fmla="*/ 248854 h 277310"/>
                    <a:gd name="connsiteX4" fmla="*/ 0 w 545123"/>
                    <a:gd name="connsiteY4" fmla="*/ 28456 h 277310"/>
                    <a:gd name="connsiteX5" fmla="*/ 46618 w 545123"/>
                    <a:gd name="connsiteY5" fmla="*/ 0 h 277310"/>
                    <a:gd name="connsiteX6" fmla="*/ 498505 w 545123"/>
                    <a:gd name="connsiteY6" fmla="*/ 0 h 277310"/>
                    <a:gd name="connsiteX7" fmla="*/ 545123 w 545123"/>
                    <a:gd name="connsiteY7" fmla="*/ 28456 h 277310"/>
                    <a:gd name="connsiteX8" fmla="*/ 545123 w 545123"/>
                    <a:gd name="connsiteY8" fmla="*/ 248854 h 27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123" h="277310">
                      <a:moveTo>
                        <a:pt x="545123" y="248854"/>
                      </a:moveTo>
                      <a:cubicBezTo>
                        <a:pt x="545123" y="264573"/>
                        <a:pt x="524253" y="277310"/>
                        <a:pt x="498505" y="277310"/>
                      </a:cubicBezTo>
                      <a:lnTo>
                        <a:pt x="46618" y="277310"/>
                      </a:lnTo>
                      <a:cubicBezTo>
                        <a:pt x="20871" y="277310"/>
                        <a:pt x="0" y="264565"/>
                        <a:pt x="0" y="248854"/>
                      </a:cubicBezTo>
                      <a:lnTo>
                        <a:pt x="0" y="28456"/>
                      </a:lnTo>
                      <a:cubicBezTo>
                        <a:pt x="0" y="12737"/>
                        <a:pt x="20871" y="0"/>
                        <a:pt x="46618" y="0"/>
                      </a:cubicBezTo>
                      <a:lnTo>
                        <a:pt x="498505" y="0"/>
                      </a:lnTo>
                      <a:cubicBezTo>
                        <a:pt x="524253" y="0"/>
                        <a:pt x="545123" y="12745"/>
                        <a:pt x="545123" y="28456"/>
                      </a:cubicBezTo>
                      <a:lnTo>
                        <a:pt x="545123" y="248854"/>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5" name="Freeform: Shape 13444">
                  <a:extLst>
                    <a:ext uri="{FF2B5EF4-FFF2-40B4-BE49-F238E27FC236}">
                      <a16:creationId xmlns:a16="http://schemas.microsoft.com/office/drawing/2014/main" id="{0A23F300-1D1F-9243-39E5-7DCC7A7BDFCC}"/>
                    </a:ext>
                  </a:extLst>
                </p:cNvPr>
                <p:cNvSpPr/>
                <p:nvPr/>
              </p:nvSpPr>
              <p:spPr>
                <a:xfrm>
                  <a:off x="-1268732" y="3621101"/>
                  <a:ext cx="476991" cy="244954"/>
                </a:xfrm>
                <a:custGeom>
                  <a:avLst/>
                  <a:gdLst>
                    <a:gd name="connsiteX0" fmla="*/ 476991 w 476991"/>
                    <a:gd name="connsiteY0" fmla="*/ 219952 h 244954"/>
                    <a:gd name="connsiteX1" fmla="*/ 436030 w 476991"/>
                    <a:gd name="connsiteY1" fmla="*/ 244954 h 244954"/>
                    <a:gd name="connsiteX2" fmla="*/ 40961 w 476991"/>
                    <a:gd name="connsiteY2" fmla="*/ 244954 h 244954"/>
                    <a:gd name="connsiteX3" fmla="*/ 0 w 476991"/>
                    <a:gd name="connsiteY3" fmla="*/ 219952 h 244954"/>
                    <a:gd name="connsiteX4" fmla="*/ 0 w 476991"/>
                    <a:gd name="connsiteY4" fmla="*/ 25002 h 244954"/>
                    <a:gd name="connsiteX5" fmla="*/ 40961 w 476991"/>
                    <a:gd name="connsiteY5" fmla="*/ 0 h 244954"/>
                    <a:gd name="connsiteX6" fmla="*/ 436030 w 476991"/>
                    <a:gd name="connsiteY6" fmla="*/ 0 h 244954"/>
                    <a:gd name="connsiteX7" fmla="*/ 476991 w 476991"/>
                    <a:gd name="connsiteY7" fmla="*/ 25002 h 244954"/>
                    <a:gd name="connsiteX8" fmla="*/ 476991 w 476991"/>
                    <a:gd name="connsiteY8" fmla="*/ 219952 h 24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991" h="244954">
                      <a:moveTo>
                        <a:pt x="476991" y="219952"/>
                      </a:moveTo>
                      <a:cubicBezTo>
                        <a:pt x="476991" y="233760"/>
                        <a:pt x="458649" y="244954"/>
                        <a:pt x="436030" y="244954"/>
                      </a:cubicBezTo>
                      <a:lnTo>
                        <a:pt x="40961" y="244954"/>
                      </a:lnTo>
                      <a:cubicBezTo>
                        <a:pt x="18342" y="244954"/>
                        <a:pt x="0" y="233760"/>
                        <a:pt x="0" y="219952"/>
                      </a:cubicBezTo>
                      <a:lnTo>
                        <a:pt x="0" y="25002"/>
                      </a:lnTo>
                      <a:cubicBezTo>
                        <a:pt x="0" y="11194"/>
                        <a:pt x="18342" y="0"/>
                        <a:pt x="40961" y="0"/>
                      </a:cubicBezTo>
                      <a:lnTo>
                        <a:pt x="436030" y="0"/>
                      </a:lnTo>
                      <a:cubicBezTo>
                        <a:pt x="458649" y="0"/>
                        <a:pt x="476991" y="11194"/>
                        <a:pt x="476991" y="25002"/>
                      </a:cubicBezTo>
                      <a:lnTo>
                        <a:pt x="476991" y="219952"/>
                      </a:lnTo>
                      <a:close/>
                    </a:path>
                  </a:pathLst>
                </a:custGeom>
                <a:solidFill>
                  <a:srgbClr val="1A1A1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6" name="Freeform: Shape 13445">
                  <a:extLst>
                    <a:ext uri="{FF2B5EF4-FFF2-40B4-BE49-F238E27FC236}">
                      <a16:creationId xmlns:a16="http://schemas.microsoft.com/office/drawing/2014/main" id="{52451D16-E6FF-4FE3-12AD-A9BEA94DA743}"/>
                    </a:ext>
                  </a:extLst>
                </p:cNvPr>
                <p:cNvSpPr/>
                <p:nvPr/>
              </p:nvSpPr>
              <p:spPr>
                <a:xfrm>
                  <a:off x="-879260" y="3808921"/>
                  <a:ext cx="61429" cy="37507"/>
                </a:xfrm>
                <a:custGeom>
                  <a:avLst/>
                  <a:gdLst>
                    <a:gd name="connsiteX0" fmla="*/ 61429 w 61429"/>
                    <a:gd name="connsiteY0" fmla="*/ 18754 h 37507"/>
                    <a:gd name="connsiteX1" fmla="*/ 30710 w 61429"/>
                    <a:gd name="connsiteY1" fmla="*/ 37507 h 37507"/>
                    <a:gd name="connsiteX2" fmla="*/ 0 w 61429"/>
                    <a:gd name="connsiteY2" fmla="*/ 18754 h 37507"/>
                    <a:gd name="connsiteX3" fmla="*/ 30710 w 61429"/>
                    <a:gd name="connsiteY3" fmla="*/ 0 h 37507"/>
                    <a:gd name="connsiteX4" fmla="*/ 61429 w 61429"/>
                    <a:gd name="connsiteY4" fmla="*/ 18754 h 37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429" h="37507">
                      <a:moveTo>
                        <a:pt x="61429" y="18754"/>
                      </a:moveTo>
                      <a:cubicBezTo>
                        <a:pt x="61429" y="29107"/>
                        <a:pt x="47681" y="37507"/>
                        <a:pt x="30710" y="37507"/>
                      </a:cubicBezTo>
                      <a:cubicBezTo>
                        <a:pt x="13740" y="37507"/>
                        <a:pt x="0" y="29107"/>
                        <a:pt x="0" y="18754"/>
                      </a:cubicBezTo>
                      <a:cubicBezTo>
                        <a:pt x="0" y="8400"/>
                        <a:pt x="13748" y="0"/>
                        <a:pt x="30710" y="0"/>
                      </a:cubicBezTo>
                      <a:cubicBezTo>
                        <a:pt x="47673" y="0"/>
                        <a:pt x="61429" y="8391"/>
                        <a:pt x="61429" y="18754"/>
                      </a:cubicBezTo>
                      <a:close/>
                    </a:path>
                  </a:pathLst>
                </a:custGeom>
                <a:solidFill>
                  <a:srgbClr val="B3B3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7" name="Freeform: Shape 13446">
                  <a:extLst>
                    <a:ext uri="{FF2B5EF4-FFF2-40B4-BE49-F238E27FC236}">
                      <a16:creationId xmlns:a16="http://schemas.microsoft.com/office/drawing/2014/main" id="{269B0084-7B74-1ED1-BEFB-5EDF55CFF346}"/>
                    </a:ext>
                  </a:extLst>
                </p:cNvPr>
                <p:cNvSpPr/>
                <p:nvPr/>
              </p:nvSpPr>
              <p:spPr>
                <a:xfrm>
                  <a:off x="-1234053" y="3646558"/>
                  <a:ext cx="311868" cy="57975"/>
                </a:xfrm>
                <a:custGeom>
                  <a:avLst/>
                  <a:gdLst>
                    <a:gd name="connsiteX0" fmla="*/ 169940 w 311868"/>
                    <a:gd name="connsiteY0" fmla="*/ 57975 h 57975"/>
                    <a:gd name="connsiteX1" fmla="*/ 154160 w 311868"/>
                    <a:gd name="connsiteY1" fmla="*/ 37370 h 57975"/>
                    <a:gd name="connsiteX2" fmla="*/ 142941 w 311868"/>
                    <a:gd name="connsiteY2" fmla="*/ 22096 h 57975"/>
                    <a:gd name="connsiteX3" fmla="*/ 117870 w 311868"/>
                    <a:gd name="connsiteY3" fmla="*/ 44467 h 57975"/>
                    <a:gd name="connsiteX4" fmla="*/ 105862 w 311868"/>
                    <a:gd name="connsiteY4" fmla="*/ 31233 h 57975"/>
                    <a:gd name="connsiteX5" fmla="*/ 86783 w 311868"/>
                    <a:gd name="connsiteY5" fmla="*/ 44853 h 57975"/>
                    <a:gd name="connsiteX6" fmla="*/ 75812 w 311868"/>
                    <a:gd name="connsiteY6" fmla="*/ 9703 h 57975"/>
                    <a:gd name="connsiteX7" fmla="*/ 60075 w 311868"/>
                    <a:gd name="connsiteY7" fmla="*/ 40216 h 57975"/>
                    <a:gd name="connsiteX8" fmla="*/ 48110 w 311868"/>
                    <a:gd name="connsiteY8" fmla="*/ 23785 h 57975"/>
                    <a:gd name="connsiteX9" fmla="*/ 36890 w 311868"/>
                    <a:gd name="connsiteY9" fmla="*/ 39196 h 57975"/>
                    <a:gd name="connsiteX10" fmla="*/ 21685 w 311868"/>
                    <a:gd name="connsiteY10" fmla="*/ 26913 h 57975"/>
                    <a:gd name="connsiteX11" fmla="*/ 2983 w 311868"/>
                    <a:gd name="connsiteY11" fmla="*/ 40593 h 57975"/>
                    <a:gd name="connsiteX12" fmla="*/ 0 w 311868"/>
                    <a:gd name="connsiteY12" fmla="*/ 39076 h 57975"/>
                    <a:gd name="connsiteX13" fmla="*/ 21839 w 311868"/>
                    <a:gd name="connsiteY13" fmla="*/ 23108 h 57975"/>
                    <a:gd name="connsiteX14" fmla="*/ 36024 w 311868"/>
                    <a:gd name="connsiteY14" fmla="*/ 34550 h 57975"/>
                    <a:gd name="connsiteX15" fmla="*/ 48110 w 311868"/>
                    <a:gd name="connsiteY15" fmla="*/ 17948 h 57975"/>
                    <a:gd name="connsiteX16" fmla="*/ 59458 w 311868"/>
                    <a:gd name="connsiteY16" fmla="*/ 33522 h 57975"/>
                    <a:gd name="connsiteX17" fmla="*/ 76737 w 311868"/>
                    <a:gd name="connsiteY17" fmla="*/ 0 h 57975"/>
                    <a:gd name="connsiteX18" fmla="*/ 89088 w 311868"/>
                    <a:gd name="connsiteY18" fmla="*/ 39564 h 57975"/>
                    <a:gd name="connsiteX19" fmla="*/ 106548 w 311868"/>
                    <a:gd name="connsiteY19" fmla="*/ 27093 h 57975"/>
                    <a:gd name="connsiteX20" fmla="*/ 118221 w 311868"/>
                    <a:gd name="connsiteY20" fmla="*/ 39950 h 57975"/>
                    <a:gd name="connsiteX21" fmla="*/ 143652 w 311868"/>
                    <a:gd name="connsiteY21" fmla="*/ 17262 h 57975"/>
                    <a:gd name="connsiteX22" fmla="*/ 157691 w 311868"/>
                    <a:gd name="connsiteY22" fmla="*/ 36385 h 57975"/>
                    <a:gd name="connsiteX23" fmla="*/ 170060 w 311868"/>
                    <a:gd name="connsiteY23" fmla="*/ 52532 h 57975"/>
                    <a:gd name="connsiteX24" fmla="*/ 184296 w 311868"/>
                    <a:gd name="connsiteY24" fmla="*/ 35159 h 57975"/>
                    <a:gd name="connsiteX25" fmla="*/ 202647 w 311868"/>
                    <a:gd name="connsiteY25" fmla="*/ 9454 h 57975"/>
                    <a:gd name="connsiteX26" fmla="*/ 223063 w 311868"/>
                    <a:gd name="connsiteY26" fmla="*/ 41493 h 57975"/>
                    <a:gd name="connsiteX27" fmla="*/ 232389 w 311868"/>
                    <a:gd name="connsiteY27" fmla="*/ 28679 h 57975"/>
                    <a:gd name="connsiteX28" fmla="*/ 248091 w 311868"/>
                    <a:gd name="connsiteY28" fmla="*/ 44544 h 57975"/>
                    <a:gd name="connsiteX29" fmla="*/ 272545 w 311868"/>
                    <a:gd name="connsiteY29" fmla="*/ 16474 h 57975"/>
                    <a:gd name="connsiteX30" fmla="*/ 293269 w 311868"/>
                    <a:gd name="connsiteY30" fmla="*/ 42376 h 57975"/>
                    <a:gd name="connsiteX31" fmla="*/ 308843 w 311868"/>
                    <a:gd name="connsiteY31" fmla="*/ 30496 h 57975"/>
                    <a:gd name="connsiteX32" fmla="*/ 311869 w 311868"/>
                    <a:gd name="connsiteY32" fmla="*/ 31979 h 57975"/>
                    <a:gd name="connsiteX33" fmla="*/ 292472 w 311868"/>
                    <a:gd name="connsiteY33" fmla="*/ 46781 h 57975"/>
                    <a:gd name="connsiteX34" fmla="*/ 272399 w 311868"/>
                    <a:gd name="connsiteY34" fmla="*/ 21694 h 57975"/>
                    <a:gd name="connsiteX35" fmla="*/ 248297 w 311868"/>
                    <a:gd name="connsiteY35" fmla="*/ 49353 h 57975"/>
                    <a:gd name="connsiteX36" fmla="*/ 232912 w 311868"/>
                    <a:gd name="connsiteY36" fmla="*/ 33796 h 57975"/>
                    <a:gd name="connsiteX37" fmla="*/ 222823 w 311868"/>
                    <a:gd name="connsiteY37" fmla="*/ 47664 h 57975"/>
                    <a:gd name="connsiteX38" fmla="*/ 202441 w 311868"/>
                    <a:gd name="connsiteY38" fmla="*/ 15677 h 57975"/>
                    <a:gd name="connsiteX39" fmla="*/ 187810 w 311868"/>
                    <a:gd name="connsiteY39" fmla="*/ 36162 h 57975"/>
                    <a:gd name="connsiteX40" fmla="*/ 169940 w 311868"/>
                    <a:gd name="connsiteY40" fmla="*/ 57975 h 5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1868" h="57975">
                      <a:moveTo>
                        <a:pt x="169940" y="57975"/>
                      </a:moveTo>
                      <a:lnTo>
                        <a:pt x="154160" y="37370"/>
                      </a:lnTo>
                      <a:lnTo>
                        <a:pt x="142941" y="22096"/>
                      </a:lnTo>
                      <a:lnTo>
                        <a:pt x="117870" y="44467"/>
                      </a:lnTo>
                      <a:lnTo>
                        <a:pt x="105862" y="31233"/>
                      </a:lnTo>
                      <a:lnTo>
                        <a:pt x="86783" y="44853"/>
                      </a:lnTo>
                      <a:lnTo>
                        <a:pt x="75812" y="9703"/>
                      </a:lnTo>
                      <a:lnTo>
                        <a:pt x="60075" y="40216"/>
                      </a:lnTo>
                      <a:lnTo>
                        <a:pt x="48110" y="23785"/>
                      </a:lnTo>
                      <a:lnTo>
                        <a:pt x="36890" y="39196"/>
                      </a:lnTo>
                      <a:lnTo>
                        <a:pt x="21685" y="26913"/>
                      </a:lnTo>
                      <a:lnTo>
                        <a:pt x="2983" y="40593"/>
                      </a:lnTo>
                      <a:lnTo>
                        <a:pt x="0" y="39076"/>
                      </a:lnTo>
                      <a:lnTo>
                        <a:pt x="21839" y="23108"/>
                      </a:lnTo>
                      <a:lnTo>
                        <a:pt x="36024" y="34550"/>
                      </a:lnTo>
                      <a:lnTo>
                        <a:pt x="48110" y="17948"/>
                      </a:lnTo>
                      <a:lnTo>
                        <a:pt x="59458" y="33522"/>
                      </a:lnTo>
                      <a:lnTo>
                        <a:pt x="76737" y="0"/>
                      </a:lnTo>
                      <a:lnTo>
                        <a:pt x="89088" y="39564"/>
                      </a:lnTo>
                      <a:lnTo>
                        <a:pt x="106548" y="27093"/>
                      </a:lnTo>
                      <a:lnTo>
                        <a:pt x="118221" y="39950"/>
                      </a:lnTo>
                      <a:lnTo>
                        <a:pt x="143652" y="17262"/>
                      </a:lnTo>
                      <a:lnTo>
                        <a:pt x="157691" y="36385"/>
                      </a:lnTo>
                      <a:lnTo>
                        <a:pt x="170060" y="52532"/>
                      </a:lnTo>
                      <a:lnTo>
                        <a:pt x="184296" y="35159"/>
                      </a:lnTo>
                      <a:lnTo>
                        <a:pt x="202647" y="9454"/>
                      </a:lnTo>
                      <a:lnTo>
                        <a:pt x="223063" y="41493"/>
                      </a:lnTo>
                      <a:lnTo>
                        <a:pt x="232389" y="28679"/>
                      </a:lnTo>
                      <a:lnTo>
                        <a:pt x="248091" y="44544"/>
                      </a:lnTo>
                      <a:lnTo>
                        <a:pt x="272545" y="16474"/>
                      </a:lnTo>
                      <a:lnTo>
                        <a:pt x="293269" y="42376"/>
                      </a:lnTo>
                      <a:lnTo>
                        <a:pt x="308843" y="30496"/>
                      </a:lnTo>
                      <a:lnTo>
                        <a:pt x="311869" y="31979"/>
                      </a:lnTo>
                      <a:lnTo>
                        <a:pt x="292472" y="46781"/>
                      </a:lnTo>
                      <a:lnTo>
                        <a:pt x="272399" y="21694"/>
                      </a:lnTo>
                      <a:lnTo>
                        <a:pt x="248297" y="49353"/>
                      </a:lnTo>
                      <a:lnTo>
                        <a:pt x="232912" y="33796"/>
                      </a:lnTo>
                      <a:lnTo>
                        <a:pt x="222823" y="47664"/>
                      </a:lnTo>
                      <a:lnTo>
                        <a:pt x="202441" y="15677"/>
                      </a:lnTo>
                      <a:lnTo>
                        <a:pt x="187810" y="36162"/>
                      </a:lnTo>
                      <a:lnTo>
                        <a:pt x="169940" y="57975"/>
                      </a:lnTo>
                      <a:close/>
                    </a:path>
                  </a:pathLst>
                </a:custGeom>
                <a:solidFill>
                  <a:srgbClr val="FBB0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8" name="Freeform: Shape 13447">
                  <a:extLst>
                    <a:ext uri="{FF2B5EF4-FFF2-40B4-BE49-F238E27FC236}">
                      <a16:creationId xmlns:a16="http://schemas.microsoft.com/office/drawing/2014/main" id="{5A70874F-F52D-27AD-D949-5AAE7A8BE382}"/>
                    </a:ext>
                  </a:extLst>
                </p:cNvPr>
                <p:cNvSpPr/>
                <p:nvPr/>
              </p:nvSpPr>
              <p:spPr>
                <a:xfrm>
                  <a:off x="-882594" y="3766682"/>
                  <a:ext cx="68140" cy="25421"/>
                </a:xfrm>
                <a:custGeom>
                  <a:avLst/>
                  <a:gdLst>
                    <a:gd name="connsiteX0" fmla="*/ 68140 w 68140"/>
                    <a:gd name="connsiteY0" fmla="*/ 20836 h 25421"/>
                    <a:gd name="connsiteX1" fmla="*/ 57204 w 68140"/>
                    <a:gd name="connsiteY1" fmla="*/ 25422 h 25421"/>
                    <a:gd name="connsiteX2" fmla="*/ 10165 w 68140"/>
                    <a:gd name="connsiteY2" fmla="*/ 25422 h 25421"/>
                    <a:gd name="connsiteX3" fmla="*/ 0 w 68140"/>
                    <a:gd name="connsiteY3" fmla="*/ 20836 h 25421"/>
                    <a:gd name="connsiteX4" fmla="*/ 0 w 68140"/>
                    <a:gd name="connsiteY4" fmla="*/ 5554 h 25421"/>
                    <a:gd name="connsiteX5" fmla="*/ 10165 w 68140"/>
                    <a:gd name="connsiteY5" fmla="*/ 0 h 25421"/>
                    <a:gd name="connsiteX6" fmla="*/ 57204 w 68140"/>
                    <a:gd name="connsiteY6" fmla="*/ 0 h 25421"/>
                    <a:gd name="connsiteX7" fmla="*/ 68140 w 68140"/>
                    <a:gd name="connsiteY7" fmla="*/ 5554 h 25421"/>
                    <a:gd name="connsiteX8" fmla="*/ 68140 w 68140"/>
                    <a:gd name="connsiteY8" fmla="*/ 20836 h 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40" h="25421">
                      <a:moveTo>
                        <a:pt x="68140" y="20836"/>
                      </a:moveTo>
                      <a:cubicBezTo>
                        <a:pt x="68140" y="23382"/>
                        <a:pt x="62449" y="25422"/>
                        <a:pt x="57204" y="25422"/>
                      </a:cubicBezTo>
                      <a:lnTo>
                        <a:pt x="10165" y="25422"/>
                      </a:lnTo>
                      <a:cubicBezTo>
                        <a:pt x="4920" y="25422"/>
                        <a:pt x="0" y="23382"/>
                        <a:pt x="0" y="20836"/>
                      </a:cubicBezTo>
                      <a:lnTo>
                        <a:pt x="0" y="5554"/>
                      </a:lnTo>
                      <a:cubicBezTo>
                        <a:pt x="0" y="3008"/>
                        <a:pt x="4920" y="0"/>
                        <a:pt x="10165" y="0"/>
                      </a:cubicBezTo>
                      <a:lnTo>
                        <a:pt x="57204" y="0"/>
                      </a:lnTo>
                      <a:cubicBezTo>
                        <a:pt x="62449" y="0"/>
                        <a:pt x="68140" y="3008"/>
                        <a:pt x="68140" y="5554"/>
                      </a:cubicBezTo>
                      <a:lnTo>
                        <a:pt x="68140" y="2083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9" name="Freeform: Shape 13448">
                  <a:extLst>
                    <a:ext uri="{FF2B5EF4-FFF2-40B4-BE49-F238E27FC236}">
                      <a16:creationId xmlns:a16="http://schemas.microsoft.com/office/drawing/2014/main" id="{85BC2BF6-5CC1-140B-4282-0D2D3930588E}"/>
                    </a:ext>
                  </a:extLst>
                </p:cNvPr>
                <p:cNvSpPr/>
                <p:nvPr/>
              </p:nvSpPr>
              <p:spPr>
                <a:xfrm>
                  <a:off x="-882594" y="3722781"/>
                  <a:ext cx="68140" cy="23107"/>
                </a:xfrm>
                <a:custGeom>
                  <a:avLst/>
                  <a:gdLst>
                    <a:gd name="connsiteX0" fmla="*/ 68140 w 68140"/>
                    <a:gd name="connsiteY0" fmla="*/ 19679 h 23107"/>
                    <a:gd name="connsiteX1" fmla="*/ 57204 w 68140"/>
                    <a:gd name="connsiteY1" fmla="*/ 23108 h 23107"/>
                    <a:gd name="connsiteX2" fmla="*/ 10165 w 68140"/>
                    <a:gd name="connsiteY2" fmla="*/ 23108 h 23107"/>
                    <a:gd name="connsiteX3" fmla="*/ 0 w 68140"/>
                    <a:gd name="connsiteY3" fmla="*/ 19679 h 23107"/>
                    <a:gd name="connsiteX4" fmla="*/ 0 w 68140"/>
                    <a:gd name="connsiteY4" fmla="*/ 4397 h 23107"/>
                    <a:gd name="connsiteX5" fmla="*/ 10165 w 68140"/>
                    <a:gd name="connsiteY5" fmla="*/ 0 h 23107"/>
                    <a:gd name="connsiteX6" fmla="*/ 57204 w 68140"/>
                    <a:gd name="connsiteY6" fmla="*/ 0 h 23107"/>
                    <a:gd name="connsiteX7" fmla="*/ 68140 w 68140"/>
                    <a:gd name="connsiteY7" fmla="*/ 4397 h 23107"/>
                    <a:gd name="connsiteX8" fmla="*/ 68140 w 68140"/>
                    <a:gd name="connsiteY8" fmla="*/ 19679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40" h="23107">
                      <a:moveTo>
                        <a:pt x="68140" y="19679"/>
                      </a:moveTo>
                      <a:cubicBezTo>
                        <a:pt x="68140" y="22225"/>
                        <a:pt x="62449" y="23108"/>
                        <a:pt x="57204" y="23108"/>
                      </a:cubicBezTo>
                      <a:lnTo>
                        <a:pt x="10165" y="23108"/>
                      </a:lnTo>
                      <a:cubicBezTo>
                        <a:pt x="4920" y="23108"/>
                        <a:pt x="0" y="22225"/>
                        <a:pt x="0" y="19679"/>
                      </a:cubicBezTo>
                      <a:lnTo>
                        <a:pt x="0" y="4397"/>
                      </a:lnTo>
                      <a:cubicBezTo>
                        <a:pt x="0" y="1851"/>
                        <a:pt x="4920" y="0"/>
                        <a:pt x="10165" y="0"/>
                      </a:cubicBezTo>
                      <a:lnTo>
                        <a:pt x="57204" y="0"/>
                      </a:lnTo>
                      <a:cubicBezTo>
                        <a:pt x="62449" y="0"/>
                        <a:pt x="68140" y="1851"/>
                        <a:pt x="68140" y="4397"/>
                      </a:cubicBezTo>
                      <a:lnTo>
                        <a:pt x="68140" y="19679"/>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0" name="Freeform: Shape 13449">
                  <a:extLst>
                    <a:ext uri="{FF2B5EF4-FFF2-40B4-BE49-F238E27FC236}">
                      <a16:creationId xmlns:a16="http://schemas.microsoft.com/office/drawing/2014/main" id="{9D3C4466-1B88-C843-4196-875081BBDEFD}"/>
                    </a:ext>
                  </a:extLst>
                </p:cNvPr>
                <p:cNvSpPr/>
                <p:nvPr/>
              </p:nvSpPr>
              <p:spPr>
                <a:xfrm>
                  <a:off x="-882594" y="3674251"/>
                  <a:ext cx="68140" cy="25413"/>
                </a:xfrm>
                <a:custGeom>
                  <a:avLst/>
                  <a:gdLst>
                    <a:gd name="connsiteX0" fmla="*/ 68140 w 68140"/>
                    <a:gd name="connsiteY0" fmla="*/ 20776 h 25413"/>
                    <a:gd name="connsiteX1" fmla="*/ 57204 w 68140"/>
                    <a:gd name="connsiteY1" fmla="*/ 25413 h 25413"/>
                    <a:gd name="connsiteX2" fmla="*/ 10165 w 68140"/>
                    <a:gd name="connsiteY2" fmla="*/ 25413 h 25413"/>
                    <a:gd name="connsiteX3" fmla="*/ 0 w 68140"/>
                    <a:gd name="connsiteY3" fmla="*/ 20776 h 25413"/>
                    <a:gd name="connsiteX4" fmla="*/ 0 w 68140"/>
                    <a:gd name="connsiteY4" fmla="*/ 5494 h 25413"/>
                    <a:gd name="connsiteX5" fmla="*/ 10165 w 68140"/>
                    <a:gd name="connsiteY5" fmla="*/ 0 h 25413"/>
                    <a:gd name="connsiteX6" fmla="*/ 57204 w 68140"/>
                    <a:gd name="connsiteY6" fmla="*/ 0 h 25413"/>
                    <a:gd name="connsiteX7" fmla="*/ 68140 w 68140"/>
                    <a:gd name="connsiteY7" fmla="*/ 5494 h 25413"/>
                    <a:gd name="connsiteX8" fmla="*/ 68140 w 68140"/>
                    <a:gd name="connsiteY8" fmla="*/ 20776 h 2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40" h="25413">
                      <a:moveTo>
                        <a:pt x="68140" y="20776"/>
                      </a:moveTo>
                      <a:cubicBezTo>
                        <a:pt x="68140" y="23322"/>
                        <a:pt x="62449" y="25413"/>
                        <a:pt x="57204" y="25413"/>
                      </a:cubicBezTo>
                      <a:lnTo>
                        <a:pt x="10165" y="25413"/>
                      </a:lnTo>
                      <a:cubicBezTo>
                        <a:pt x="4920" y="25413"/>
                        <a:pt x="0" y="23322"/>
                        <a:pt x="0" y="20776"/>
                      </a:cubicBezTo>
                      <a:lnTo>
                        <a:pt x="0" y="5494"/>
                      </a:lnTo>
                      <a:cubicBezTo>
                        <a:pt x="0" y="2948"/>
                        <a:pt x="4920" y="0"/>
                        <a:pt x="10165" y="0"/>
                      </a:cubicBezTo>
                      <a:lnTo>
                        <a:pt x="57204" y="0"/>
                      </a:lnTo>
                      <a:cubicBezTo>
                        <a:pt x="62449" y="0"/>
                        <a:pt x="68140" y="2948"/>
                        <a:pt x="68140" y="5494"/>
                      </a:cubicBezTo>
                      <a:lnTo>
                        <a:pt x="68140" y="2077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1" name="Freeform: Shape 13450">
                  <a:extLst>
                    <a:ext uri="{FF2B5EF4-FFF2-40B4-BE49-F238E27FC236}">
                      <a16:creationId xmlns:a16="http://schemas.microsoft.com/office/drawing/2014/main" id="{8027661B-8D39-C60E-8874-1E93699A8AC4}"/>
                    </a:ext>
                  </a:extLst>
                </p:cNvPr>
                <p:cNvSpPr/>
                <p:nvPr/>
              </p:nvSpPr>
              <p:spPr>
                <a:xfrm>
                  <a:off x="-1218514" y="3710601"/>
                  <a:ext cx="311877" cy="57966"/>
                </a:xfrm>
                <a:custGeom>
                  <a:avLst/>
                  <a:gdLst>
                    <a:gd name="connsiteX0" fmla="*/ 169940 w 311877"/>
                    <a:gd name="connsiteY0" fmla="*/ 57967 h 57966"/>
                    <a:gd name="connsiteX1" fmla="*/ 154160 w 311877"/>
                    <a:gd name="connsiteY1" fmla="*/ 37370 h 57966"/>
                    <a:gd name="connsiteX2" fmla="*/ 142949 w 311877"/>
                    <a:gd name="connsiteY2" fmla="*/ 22088 h 57966"/>
                    <a:gd name="connsiteX3" fmla="*/ 117870 w 311877"/>
                    <a:gd name="connsiteY3" fmla="*/ 44459 h 57966"/>
                    <a:gd name="connsiteX4" fmla="*/ 105871 w 311877"/>
                    <a:gd name="connsiteY4" fmla="*/ 31225 h 57966"/>
                    <a:gd name="connsiteX5" fmla="*/ 86783 w 311877"/>
                    <a:gd name="connsiteY5" fmla="*/ 44853 h 57966"/>
                    <a:gd name="connsiteX6" fmla="*/ 75820 w 311877"/>
                    <a:gd name="connsiteY6" fmla="*/ 9694 h 57966"/>
                    <a:gd name="connsiteX7" fmla="*/ 60084 w 311877"/>
                    <a:gd name="connsiteY7" fmla="*/ 40207 h 57966"/>
                    <a:gd name="connsiteX8" fmla="*/ 48110 w 311877"/>
                    <a:gd name="connsiteY8" fmla="*/ 23776 h 57966"/>
                    <a:gd name="connsiteX9" fmla="*/ 36890 w 311877"/>
                    <a:gd name="connsiteY9" fmla="*/ 39187 h 57966"/>
                    <a:gd name="connsiteX10" fmla="*/ 21694 w 311877"/>
                    <a:gd name="connsiteY10" fmla="*/ 26913 h 57966"/>
                    <a:gd name="connsiteX11" fmla="*/ 2983 w 311877"/>
                    <a:gd name="connsiteY11" fmla="*/ 40593 h 57966"/>
                    <a:gd name="connsiteX12" fmla="*/ 0 w 311877"/>
                    <a:gd name="connsiteY12" fmla="*/ 39067 h 57966"/>
                    <a:gd name="connsiteX13" fmla="*/ 21839 w 311877"/>
                    <a:gd name="connsiteY13" fmla="*/ 23099 h 57966"/>
                    <a:gd name="connsiteX14" fmla="*/ 36016 w 311877"/>
                    <a:gd name="connsiteY14" fmla="*/ 34542 h 57966"/>
                    <a:gd name="connsiteX15" fmla="*/ 48110 w 311877"/>
                    <a:gd name="connsiteY15" fmla="*/ 17940 h 57966"/>
                    <a:gd name="connsiteX16" fmla="*/ 59458 w 311877"/>
                    <a:gd name="connsiteY16" fmla="*/ 33513 h 57966"/>
                    <a:gd name="connsiteX17" fmla="*/ 76746 w 311877"/>
                    <a:gd name="connsiteY17" fmla="*/ 0 h 57966"/>
                    <a:gd name="connsiteX18" fmla="*/ 89088 w 311877"/>
                    <a:gd name="connsiteY18" fmla="*/ 39556 h 57966"/>
                    <a:gd name="connsiteX19" fmla="*/ 106548 w 311877"/>
                    <a:gd name="connsiteY19" fmla="*/ 27085 h 57966"/>
                    <a:gd name="connsiteX20" fmla="*/ 118222 w 311877"/>
                    <a:gd name="connsiteY20" fmla="*/ 39942 h 57966"/>
                    <a:gd name="connsiteX21" fmla="*/ 143652 w 311877"/>
                    <a:gd name="connsiteY21" fmla="*/ 17254 h 57966"/>
                    <a:gd name="connsiteX22" fmla="*/ 157700 w 311877"/>
                    <a:gd name="connsiteY22" fmla="*/ 36376 h 57966"/>
                    <a:gd name="connsiteX23" fmla="*/ 170060 w 311877"/>
                    <a:gd name="connsiteY23" fmla="*/ 52524 h 57966"/>
                    <a:gd name="connsiteX24" fmla="*/ 184296 w 311877"/>
                    <a:gd name="connsiteY24" fmla="*/ 35150 h 57966"/>
                    <a:gd name="connsiteX25" fmla="*/ 202647 w 311877"/>
                    <a:gd name="connsiteY25" fmla="*/ 9445 h 57966"/>
                    <a:gd name="connsiteX26" fmla="*/ 223063 w 311877"/>
                    <a:gd name="connsiteY26" fmla="*/ 41484 h 57966"/>
                    <a:gd name="connsiteX27" fmla="*/ 232398 w 311877"/>
                    <a:gd name="connsiteY27" fmla="*/ 28671 h 57966"/>
                    <a:gd name="connsiteX28" fmla="*/ 248083 w 311877"/>
                    <a:gd name="connsiteY28" fmla="*/ 44536 h 57966"/>
                    <a:gd name="connsiteX29" fmla="*/ 272553 w 311877"/>
                    <a:gd name="connsiteY29" fmla="*/ 16465 h 57966"/>
                    <a:gd name="connsiteX30" fmla="*/ 293270 w 311877"/>
                    <a:gd name="connsiteY30" fmla="*/ 42367 h 57966"/>
                    <a:gd name="connsiteX31" fmla="*/ 308835 w 311877"/>
                    <a:gd name="connsiteY31" fmla="*/ 30488 h 57966"/>
                    <a:gd name="connsiteX32" fmla="*/ 311878 w 311877"/>
                    <a:gd name="connsiteY32" fmla="*/ 31970 h 57966"/>
                    <a:gd name="connsiteX33" fmla="*/ 292472 w 311877"/>
                    <a:gd name="connsiteY33" fmla="*/ 46773 h 57966"/>
                    <a:gd name="connsiteX34" fmla="*/ 272407 w 311877"/>
                    <a:gd name="connsiteY34" fmla="*/ 21685 h 57966"/>
                    <a:gd name="connsiteX35" fmla="*/ 248306 w 311877"/>
                    <a:gd name="connsiteY35" fmla="*/ 49353 h 57966"/>
                    <a:gd name="connsiteX36" fmla="*/ 232912 w 311877"/>
                    <a:gd name="connsiteY36" fmla="*/ 33788 h 57966"/>
                    <a:gd name="connsiteX37" fmla="*/ 222824 w 311877"/>
                    <a:gd name="connsiteY37" fmla="*/ 47656 h 57966"/>
                    <a:gd name="connsiteX38" fmla="*/ 202441 w 311877"/>
                    <a:gd name="connsiteY38" fmla="*/ 15668 h 57966"/>
                    <a:gd name="connsiteX39" fmla="*/ 187811 w 311877"/>
                    <a:gd name="connsiteY39" fmla="*/ 36153 h 57966"/>
                    <a:gd name="connsiteX40" fmla="*/ 169940 w 311877"/>
                    <a:gd name="connsiteY40" fmla="*/ 57967 h 5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1877" h="57966">
                      <a:moveTo>
                        <a:pt x="169940" y="57967"/>
                      </a:moveTo>
                      <a:lnTo>
                        <a:pt x="154160" y="37370"/>
                      </a:lnTo>
                      <a:lnTo>
                        <a:pt x="142949" y="22088"/>
                      </a:lnTo>
                      <a:lnTo>
                        <a:pt x="117870" y="44459"/>
                      </a:lnTo>
                      <a:lnTo>
                        <a:pt x="105871" y="31225"/>
                      </a:lnTo>
                      <a:lnTo>
                        <a:pt x="86783" y="44853"/>
                      </a:lnTo>
                      <a:lnTo>
                        <a:pt x="75820" y="9694"/>
                      </a:lnTo>
                      <a:lnTo>
                        <a:pt x="60084" y="40207"/>
                      </a:lnTo>
                      <a:lnTo>
                        <a:pt x="48110" y="23776"/>
                      </a:lnTo>
                      <a:lnTo>
                        <a:pt x="36890" y="39187"/>
                      </a:lnTo>
                      <a:lnTo>
                        <a:pt x="21694" y="26913"/>
                      </a:lnTo>
                      <a:lnTo>
                        <a:pt x="2983" y="40593"/>
                      </a:lnTo>
                      <a:lnTo>
                        <a:pt x="0" y="39067"/>
                      </a:lnTo>
                      <a:lnTo>
                        <a:pt x="21839" y="23099"/>
                      </a:lnTo>
                      <a:lnTo>
                        <a:pt x="36016" y="34542"/>
                      </a:lnTo>
                      <a:lnTo>
                        <a:pt x="48110" y="17940"/>
                      </a:lnTo>
                      <a:lnTo>
                        <a:pt x="59458" y="33513"/>
                      </a:lnTo>
                      <a:lnTo>
                        <a:pt x="76746" y="0"/>
                      </a:lnTo>
                      <a:lnTo>
                        <a:pt x="89088" y="39556"/>
                      </a:lnTo>
                      <a:lnTo>
                        <a:pt x="106548" y="27085"/>
                      </a:lnTo>
                      <a:lnTo>
                        <a:pt x="118222" y="39942"/>
                      </a:lnTo>
                      <a:lnTo>
                        <a:pt x="143652" y="17254"/>
                      </a:lnTo>
                      <a:lnTo>
                        <a:pt x="157700" y="36376"/>
                      </a:lnTo>
                      <a:lnTo>
                        <a:pt x="170060" y="52524"/>
                      </a:lnTo>
                      <a:lnTo>
                        <a:pt x="184296" y="35150"/>
                      </a:lnTo>
                      <a:lnTo>
                        <a:pt x="202647" y="9445"/>
                      </a:lnTo>
                      <a:lnTo>
                        <a:pt x="223063" y="41484"/>
                      </a:lnTo>
                      <a:lnTo>
                        <a:pt x="232398" y="28671"/>
                      </a:lnTo>
                      <a:lnTo>
                        <a:pt x="248083" y="44536"/>
                      </a:lnTo>
                      <a:lnTo>
                        <a:pt x="272553" y="16465"/>
                      </a:lnTo>
                      <a:lnTo>
                        <a:pt x="293270" y="42367"/>
                      </a:lnTo>
                      <a:lnTo>
                        <a:pt x="308835" y="30488"/>
                      </a:lnTo>
                      <a:lnTo>
                        <a:pt x="311878" y="31970"/>
                      </a:lnTo>
                      <a:lnTo>
                        <a:pt x="292472" y="46773"/>
                      </a:lnTo>
                      <a:lnTo>
                        <a:pt x="272407" y="21685"/>
                      </a:lnTo>
                      <a:lnTo>
                        <a:pt x="248306" y="49353"/>
                      </a:lnTo>
                      <a:lnTo>
                        <a:pt x="232912" y="33788"/>
                      </a:lnTo>
                      <a:lnTo>
                        <a:pt x="222824" y="47656"/>
                      </a:lnTo>
                      <a:lnTo>
                        <a:pt x="202441" y="15668"/>
                      </a:lnTo>
                      <a:lnTo>
                        <a:pt x="187811" y="36153"/>
                      </a:lnTo>
                      <a:lnTo>
                        <a:pt x="169940" y="57967"/>
                      </a:lnTo>
                      <a:close/>
                    </a:path>
                  </a:pathLst>
                </a:custGeom>
                <a:solidFill>
                  <a:srgbClr val="8CC6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52" name="Freeform: Shape 13451">
                  <a:extLst>
                    <a:ext uri="{FF2B5EF4-FFF2-40B4-BE49-F238E27FC236}">
                      <a16:creationId xmlns:a16="http://schemas.microsoft.com/office/drawing/2014/main" id="{5B29DFB2-926C-C5ED-19E2-FC1F6646A003}"/>
                    </a:ext>
                  </a:extLst>
                </p:cNvPr>
                <p:cNvSpPr/>
                <p:nvPr/>
              </p:nvSpPr>
              <p:spPr>
                <a:xfrm>
                  <a:off x="-1218514" y="3767522"/>
                  <a:ext cx="311877" cy="57966"/>
                </a:xfrm>
                <a:custGeom>
                  <a:avLst/>
                  <a:gdLst>
                    <a:gd name="connsiteX0" fmla="*/ 169940 w 311877"/>
                    <a:gd name="connsiteY0" fmla="*/ 57966 h 57966"/>
                    <a:gd name="connsiteX1" fmla="*/ 154160 w 311877"/>
                    <a:gd name="connsiteY1" fmla="*/ 37370 h 57966"/>
                    <a:gd name="connsiteX2" fmla="*/ 142949 w 311877"/>
                    <a:gd name="connsiteY2" fmla="*/ 22088 h 57966"/>
                    <a:gd name="connsiteX3" fmla="*/ 117870 w 311877"/>
                    <a:gd name="connsiteY3" fmla="*/ 44458 h 57966"/>
                    <a:gd name="connsiteX4" fmla="*/ 105871 w 311877"/>
                    <a:gd name="connsiteY4" fmla="*/ 31225 h 57966"/>
                    <a:gd name="connsiteX5" fmla="*/ 86783 w 311877"/>
                    <a:gd name="connsiteY5" fmla="*/ 44844 h 57966"/>
                    <a:gd name="connsiteX6" fmla="*/ 75820 w 311877"/>
                    <a:gd name="connsiteY6" fmla="*/ 9694 h 57966"/>
                    <a:gd name="connsiteX7" fmla="*/ 60084 w 311877"/>
                    <a:gd name="connsiteY7" fmla="*/ 40216 h 57966"/>
                    <a:gd name="connsiteX8" fmla="*/ 48110 w 311877"/>
                    <a:gd name="connsiteY8" fmla="*/ 23776 h 57966"/>
                    <a:gd name="connsiteX9" fmla="*/ 36890 w 311877"/>
                    <a:gd name="connsiteY9" fmla="*/ 39187 h 57966"/>
                    <a:gd name="connsiteX10" fmla="*/ 21694 w 311877"/>
                    <a:gd name="connsiteY10" fmla="*/ 26913 h 57966"/>
                    <a:gd name="connsiteX11" fmla="*/ 2983 w 311877"/>
                    <a:gd name="connsiteY11" fmla="*/ 40593 h 57966"/>
                    <a:gd name="connsiteX12" fmla="*/ 0 w 311877"/>
                    <a:gd name="connsiteY12" fmla="*/ 39067 h 57966"/>
                    <a:gd name="connsiteX13" fmla="*/ 21839 w 311877"/>
                    <a:gd name="connsiteY13" fmla="*/ 23099 h 57966"/>
                    <a:gd name="connsiteX14" fmla="*/ 36016 w 311877"/>
                    <a:gd name="connsiteY14" fmla="*/ 34542 h 57966"/>
                    <a:gd name="connsiteX15" fmla="*/ 48110 w 311877"/>
                    <a:gd name="connsiteY15" fmla="*/ 17939 h 57966"/>
                    <a:gd name="connsiteX16" fmla="*/ 59458 w 311877"/>
                    <a:gd name="connsiteY16" fmla="*/ 33522 h 57966"/>
                    <a:gd name="connsiteX17" fmla="*/ 76746 w 311877"/>
                    <a:gd name="connsiteY17" fmla="*/ 0 h 57966"/>
                    <a:gd name="connsiteX18" fmla="*/ 89088 w 311877"/>
                    <a:gd name="connsiteY18" fmla="*/ 39556 h 57966"/>
                    <a:gd name="connsiteX19" fmla="*/ 106548 w 311877"/>
                    <a:gd name="connsiteY19" fmla="*/ 27085 h 57966"/>
                    <a:gd name="connsiteX20" fmla="*/ 118222 w 311877"/>
                    <a:gd name="connsiteY20" fmla="*/ 39941 h 57966"/>
                    <a:gd name="connsiteX21" fmla="*/ 143652 w 311877"/>
                    <a:gd name="connsiteY21" fmla="*/ 17254 h 57966"/>
                    <a:gd name="connsiteX22" fmla="*/ 157700 w 311877"/>
                    <a:gd name="connsiteY22" fmla="*/ 36376 h 57966"/>
                    <a:gd name="connsiteX23" fmla="*/ 170060 w 311877"/>
                    <a:gd name="connsiteY23" fmla="*/ 52524 h 57966"/>
                    <a:gd name="connsiteX24" fmla="*/ 184296 w 311877"/>
                    <a:gd name="connsiteY24" fmla="*/ 35150 h 57966"/>
                    <a:gd name="connsiteX25" fmla="*/ 202647 w 311877"/>
                    <a:gd name="connsiteY25" fmla="*/ 9445 h 57966"/>
                    <a:gd name="connsiteX26" fmla="*/ 223063 w 311877"/>
                    <a:gd name="connsiteY26" fmla="*/ 41484 h 57966"/>
                    <a:gd name="connsiteX27" fmla="*/ 232398 w 311877"/>
                    <a:gd name="connsiteY27" fmla="*/ 28670 h 57966"/>
                    <a:gd name="connsiteX28" fmla="*/ 248083 w 311877"/>
                    <a:gd name="connsiteY28" fmla="*/ 44544 h 57966"/>
                    <a:gd name="connsiteX29" fmla="*/ 272553 w 311877"/>
                    <a:gd name="connsiteY29" fmla="*/ 16465 h 57966"/>
                    <a:gd name="connsiteX30" fmla="*/ 293270 w 311877"/>
                    <a:gd name="connsiteY30" fmla="*/ 42367 h 57966"/>
                    <a:gd name="connsiteX31" fmla="*/ 308835 w 311877"/>
                    <a:gd name="connsiteY31" fmla="*/ 30488 h 57966"/>
                    <a:gd name="connsiteX32" fmla="*/ 311878 w 311877"/>
                    <a:gd name="connsiteY32" fmla="*/ 31970 h 57966"/>
                    <a:gd name="connsiteX33" fmla="*/ 292472 w 311877"/>
                    <a:gd name="connsiteY33" fmla="*/ 46773 h 57966"/>
                    <a:gd name="connsiteX34" fmla="*/ 272407 w 311877"/>
                    <a:gd name="connsiteY34" fmla="*/ 21685 h 57966"/>
                    <a:gd name="connsiteX35" fmla="*/ 248306 w 311877"/>
                    <a:gd name="connsiteY35" fmla="*/ 49352 h 57966"/>
                    <a:gd name="connsiteX36" fmla="*/ 232912 w 311877"/>
                    <a:gd name="connsiteY36" fmla="*/ 33787 h 57966"/>
                    <a:gd name="connsiteX37" fmla="*/ 222824 w 311877"/>
                    <a:gd name="connsiteY37" fmla="*/ 47655 h 57966"/>
                    <a:gd name="connsiteX38" fmla="*/ 202441 w 311877"/>
                    <a:gd name="connsiteY38" fmla="*/ 15668 h 57966"/>
                    <a:gd name="connsiteX39" fmla="*/ 187811 w 311877"/>
                    <a:gd name="connsiteY39" fmla="*/ 36153 h 57966"/>
                    <a:gd name="connsiteX40" fmla="*/ 169940 w 311877"/>
                    <a:gd name="connsiteY40" fmla="*/ 57966 h 5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1877" h="57966">
                      <a:moveTo>
                        <a:pt x="169940" y="57966"/>
                      </a:moveTo>
                      <a:lnTo>
                        <a:pt x="154160" y="37370"/>
                      </a:lnTo>
                      <a:lnTo>
                        <a:pt x="142949" y="22088"/>
                      </a:lnTo>
                      <a:lnTo>
                        <a:pt x="117870" y="44458"/>
                      </a:lnTo>
                      <a:lnTo>
                        <a:pt x="105871" y="31225"/>
                      </a:lnTo>
                      <a:lnTo>
                        <a:pt x="86783" y="44844"/>
                      </a:lnTo>
                      <a:lnTo>
                        <a:pt x="75820" y="9694"/>
                      </a:lnTo>
                      <a:lnTo>
                        <a:pt x="60084" y="40216"/>
                      </a:lnTo>
                      <a:lnTo>
                        <a:pt x="48110" y="23776"/>
                      </a:lnTo>
                      <a:lnTo>
                        <a:pt x="36890" y="39187"/>
                      </a:lnTo>
                      <a:lnTo>
                        <a:pt x="21694" y="26913"/>
                      </a:lnTo>
                      <a:lnTo>
                        <a:pt x="2983" y="40593"/>
                      </a:lnTo>
                      <a:lnTo>
                        <a:pt x="0" y="39067"/>
                      </a:lnTo>
                      <a:lnTo>
                        <a:pt x="21839" y="23099"/>
                      </a:lnTo>
                      <a:lnTo>
                        <a:pt x="36016" y="34542"/>
                      </a:lnTo>
                      <a:lnTo>
                        <a:pt x="48110" y="17939"/>
                      </a:lnTo>
                      <a:lnTo>
                        <a:pt x="59458" y="33522"/>
                      </a:lnTo>
                      <a:lnTo>
                        <a:pt x="76746" y="0"/>
                      </a:lnTo>
                      <a:lnTo>
                        <a:pt x="89088" y="39556"/>
                      </a:lnTo>
                      <a:lnTo>
                        <a:pt x="106548" y="27085"/>
                      </a:lnTo>
                      <a:lnTo>
                        <a:pt x="118222" y="39941"/>
                      </a:lnTo>
                      <a:lnTo>
                        <a:pt x="143652" y="17254"/>
                      </a:lnTo>
                      <a:lnTo>
                        <a:pt x="157700" y="36376"/>
                      </a:lnTo>
                      <a:lnTo>
                        <a:pt x="170060" y="52524"/>
                      </a:lnTo>
                      <a:lnTo>
                        <a:pt x="184296" y="35150"/>
                      </a:lnTo>
                      <a:lnTo>
                        <a:pt x="202647" y="9445"/>
                      </a:lnTo>
                      <a:lnTo>
                        <a:pt x="223063" y="41484"/>
                      </a:lnTo>
                      <a:lnTo>
                        <a:pt x="232398" y="28670"/>
                      </a:lnTo>
                      <a:lnTo>
                        <a:pt x="248083" y="44544"/>
                      </a:lnTo>
                      <a:lnTo>
                        <a:pt x="272553" y="16465"/>
                      </a:lnTo>
                      <a:lnTo>
                        <a:pt x="293270" y="42367"/>
                      </a:lnTo>
                      <a:lnTo>
                        <a:pt x="308835" y="30488"/>
                      </a:lnTo>
                      <a:lnTo>
                        <a:pt x="311878" y="31970"/>
                      </a:lnTo>
                      <a:lnTo>
                        <a:pt x="292472" y="46773"/>
                      </a:lnTo>
                      <a:lnTo>
                        <a:pt x="272407" y="21685"/>
                      </a:lnTo>
                      <a:lnTo>
                        <a:pt x="248306" y="49352"/>
                      </a:lnTo>
                      <a:lnTo>
                        <a:pt x="232912" y="33787"/>
                      </a:lnTo>
                      <a:lnTo>
                        <a:pt x="222824" y="47655"/>
                      </a:lnTo>
                      <a:lnTo>
                        <a:pt x="202441" y="15668"/>
                      </a:lnTo>
                      <a:lnTo>
                        <a:pt x="187811" y="36153"/>
                      </a:lnTo>
                      <a:lnTo>
                        <a:pt x="169940" y="57966"/>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42" name="Freeform: Shape 13441">
                <a:extLst>
                  <a:ext uri="{FF2B5EF4-FFF2-40B4-BE49-F238E27FC236}">
                    <a16:creationId xmlns:a16="http://schemas.microsoft.com/office/drawing/2014/main" id="{AFEA4AD6-59E8-E2D0-FB49-5EF7B64034BD}"/>
                  </a:ext>
                </a:extLst>
              </p:cNvPr>
              <p:cNvSpPr/>
              <p:nvPr/>
            </p:nvSpPr>
            <p:spPr>
              <a:xfrm>
                <a:off x="-1288162" y="4028890"/>
                <a:ext cx="217405" cy="321248"/>
              </a:xfrm>
              <a:custGeom>
                <a:avLst/>
                <a:gdLst>
                  <a:gd name="connsiteX0" fmla="*/ 29793 w 217405"/>
                  <a:gd name="connsiteY0" fmla="*/ 0 h 321248"/>
                  <a:gd name="connsiteX1" fmla="*/ 62312 w 217405"/>
                  <a:gd name="connsiteY1" fmla="*/ 319283 h 321248"/>
                  <a:gd name="connsiteX2" fmla="*/ 217406 w 217405"/>
                  <a:gd name="connsiteY2" fmla="*/ 169014 h 321248"/>
                  <a:gd name="connsiteX3" fmla="*/ 177242 w 217405"/>
                  <a:gd name="connsiteY3" fmla="*/ 169014 h 321248"/>
                  <a:gd name="connsiteX4" fmla="*/ 69648 w 217405"/>
                  <a:gd name="connsiteY4" fmla="*/ 277739 h 321248"/>
                  <a:gd name="connsiteX5" fmla="*/ 69503 w 217405"/>
                  <a:gd name="connsiteY5" fmla="*/ 5503 h 321248"/>
                  <a:gd name="connsiteX6" fmla="*/ 29793 w 217405"/>
                  <a:gd name="connsiteY6" fmla="*/ 9 h 32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405" h="321248">
                    <a:moveTo>
                      <a:pt x="29793" y="0"/>
                    </a:moveTo>
                    <a:cubicBezTo>
                      <a:pt x="29793" y="0"/>
                      <a:pt x="-55387" y="297118"/>
                      <a:pt x="62312" y="319283"/>
                    </a:cubicBezTo>
                    <a:cubicBezTo>
                      <a:pt x="180010" y="341439"/>
                      <a:pt x="217406" y="169014"/>
                      <a:pt x="217406" y="169014"/>
                    </a:cubicBezTo>
                    <a:lnTo>
                      <a:pt x="177242" y="169014"/>
                    </a:lnTo>
                    <a:cubicBezTo>
                      <a:pt x="177242" y="169014"/>
                      <a:pt x="138346" y="305252"/>
                      <a:pt x="69648" y="277739"/>
                    </a:cubicBezTo>
                    <a:cubicBezTo>
                      <a:pt x="951" y="250225"/>
                      <a:pt x="69503" y="5503"/>
                      <a:pt x="69503" y="5503"/>
                    </a:cubicBezTo>
                    <a:lnTo>
                      <a:pt x="29793" y="9"/>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43" name="Freeform: Shape 13442">
                <a:extLst>
                  <a:ext uri="{FF2B5EF4-FFF2-40B4-BE49-F238E27FC236}">
                    <a16:creationId xmlns:a16="http://schemas.microsoft.com/office/drawing/2014/main" id="{14442768-2C99-BC31-3D31-546CE7C43943}"/>
                  </a:ext>
                </a:extLst>
              </p:cNvPr>
              <p:cNvSpPr/>
              <p:nvPr/>
            </p:nvSpPr>
            <p:spPr>
              <a:xfrm>
                <a:off x="-1158098" y="3960381"/>
                <a:ext cx="124065" cy="237522"/>
              </a:xfrm>
              <a:custGeom>
                <a:avLst/>
                <a:gdLst>
                  <a:gd name="connsiteX0" fmla="*/ 42035 w 124065"/>
                  <a:gd name="connsiteY0" fmla="*/ 237523 h 237522"/>
                  <a:gd name="connsiteX1" fmla="*/ 2522 w 124065"/>
                  <a:gd name="connsiteY1" fmla="*/ 180328 h 237522"/>
                  <a:gd name="connsiteX2" fmla="*/ 2522 w 124065"/>
                  <a:gd name="connsiteY2" fmla="*/ 24590 h 237522"/>
                  <a:gd name="connsiteX3" fmla="*/ 47109 w 124065"/>
                  <a:gd name="connsiteY3" fmla="*/ 0 h 237522"/>
                  <a:gd name="connsiteX4" fmla="*/ 86853 w 124065"/>
                  <a:gd name="connsiteY4" fmla="*/ 0 h 237522"/>
                  <a:gd name="connsiteX5" fmla="*/ 121944 w 124065"/>
                  <a:gd name="connsiteY5" fmla="*/ 24590 h 237522"/>
                  <a:gd name="connsiteX6" fmla="*/ 121944 w 124065"/>
                  <a:gd name="connsiteY6" fmla="*/ 182059 h 237522"/>
                  <a:gd name="connsiteX7" fmla="*/ 86853 w 124065"/>
                  <a:gd name="connsiteY7" fmla="*/ 237523 h 237522"/>
                  <a:gd name="connsiteX8" fmla="*/ 42035 w 124065"/>
                  <a:gd name="connsiteY8" fmla="*/ 237523 h 2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65" h="237522">
                    <a:moveTo>
                      <a:pt x="42035" y="237523"/>
                    </a:moveTo>
                    <a:cubicBezTo>
                      <a:pt x="42035" y="237523"/>
                      <a:pt x="4116" y="206324"/>
                      <a:pt x="2522" y="180328"/>
                    </a:cubicBezTo>
                    <a:cubicBezTo>
                      <a:pt x="928" y="154332"/>
                      <a:pt x="-2252" y="42178"/>
                      <a:pt x="2522" y="24590"/>
                    </a:cubicBezTo>
                    <a:cubicBezTo>
                      <a:pt x="7296" y="7003"/>
                      <a:pt x="47109" y="0"/>
                      <a:pt x="47109" y="0"/>
                    </a:cubicBezTo>
                    <a:lnTo>
                      <a:pt x="86853" y="0"/>
                    </a:lnTo>
                    <a:cubicBezTo>
                      <a:pt x="86853" y="0"/>
                      <a:pt x="117170" y="10980"/>
                      <a:pt x="121944" y="24590"/>
                    </a:cubicBezTo>
                    <a:cubicBezTo>
                      <a:pt x="126718" y="38201"/>
                      <a:pt x="121944" y="164728"/>
                      <a:pt x="121944" y="182059"/>
                    </a:cubicBezTo>
                    <a:cubicBezTo>
                      <a:pt x="121944" y="199390"/>
                      <a:pt x="86853" y="237523"/>
                      <a:pt x="86853" y="237523"/>
                    </a:cubicBezTo>
                    <a:lnTo>
                      <a:pt x="42035" y="237523"/>
                    </a:lnTo>
                    <a:close/>
                  </a:path>
                </a:pathLst>
              </a:custGeom>
              <a:solidFill>
                <a:srgbClr val="98D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427" name="Graphic 5">
              <a:extLst>
                <a:ext uri="{FF2B5EF4-FFF2-40B4-BE49-F238E27FC236}">
                  <a16:creationId xmlns:a16="http://schemas.microsoft.com/office/drawing/2014/main" id="{ADEED7A8-5934-AE0D-2324-44D85D992242}"/>
                </a:ext>
              </a:extLst>
            </p:cNvPr>
            <p:cNvGrpSpPr/>
            <p:nvPr/>
          </p:nvGrpSpPr>
          <p:grpSpPr>
            <a:xfrm>
              <a:off x="8887077" y="4234461"/>
              <a:ext cx="1665663" cy="1414765"/>
              <a:chOff x="-2790938" y="3949521"/>
              <a:chExt cx="1439742" cy="1222576"/>
            </a:xfrm>
          </p:grpSpPr>
          <p:grpSp>
            <p:nvGrpSpPr>
              <p:cNvPr id="13428" name="Graphic 5">
                <a:extLst>
                  <a:ext uri="{FF2B5EF4-FFF2-40B4-BE49-F238E27FC236}">
                    <a16:creationId xmlns:a16="http://schemas.microsoft.com/office/drawing/2014/main" id="{8DC06195-6ECA-37DF-CB31-7C7C7BE37680}"/>
                  </a:ext>
                </a:extLst>
              </p:cNvPr>
              <p:cNvGrpSpPr/>
              <p:nvPr/>
            </p:nvGrpSpPr>
            <p:grpSpPr>
              <a:xfrm>
                <a:off x="-2790938" y="3949521"/>
                <a:ext cx="1439742" cy="1222576"/>
                <a:chOff x="-2790938" y="3949521"/>
                <a:chExt cx="1439742" cy="1222576"/>
              </a:xfrm>
            </p:grpSpPr>
            <p:grpSp>
              <p:nvGrpSpPr>
                <p:cNvPr id="13430" name="Graphic 5">
                  <a:extLst>
                    <a:ext uri="{FF2B5EF4-FFF2-40B4-BE49-F238E27FC236}">
                      <a16:creationId xmlns:a16="http://schemas.microsoft.com/office/drawing/2014/main" id="{443F4C21-CC7A-D359-1434-EB88ABC3F793}"/>
                    </a:ext>
                  </a:extLst>
                </p:cNvPr>
                <p:cNvGrpSpPr/>
                <p:nvPr/>
              </p:nvGrpSpPr>
              <p:grpSpPr>
                <a:xfrm>
                  <a:off x="-2721434" y="4721205"/>
                  <a:ext cx="1308073" cy="450892"/>
                  <a:chOff x="-2721434" y="4721205"/>
                  <a:chExt cx="1308073" cy="450892"/>
                </a:xfrm>
                <a:solidFill>
                  <a:srgbClr val="4D4D4D"/>
                </a:solidFill>
              </p:grpSpPr>
              <p:sp>
                <p:nvSpPr>
                  <p:cNvPr id="13433" name="Freeform: Shape 13432">
                    <a:extLst>
                      <a:ext uri="{FF2B5EF4-FFF2-40B4-BE49-F238E27FC236}">
                        <a16:creationId xmlns:a16="http://schemas.microsoft.com/office/drawing/2014/main" id="{F90C153D-AFC7-76EC-EABC-A66A1EB3D845}"/>
                      </a:ext>
                    </a:extLst>
                  </p:cNvPr>
                  <p:cNvSpPr/>
                  <p:nvPr/>
                </p:nvSpPr>
                <p:spPr>
                  <a:xfrm>
                    <a:off x="-2721434" y="4943403"/>
                    <a:ext cx="89816" cy="213600"/>
                  </a:xfrm>
                  <a:custGeom>
                    <a:avLst/>
                    <a:gdLst>
                      <a:gd name="connsiteX0" fmla="*/ 60315 w 89816"/>
                      <a:gd name="connsiteY0" fmla="*/ 0 h 213600"/>
                      <a:gd name="connsiteX1" fmla="*/ 89817 w 89816"/>
                      <a:gd name="connsiteY1" fmla="*/ 29502 h 213600"/>
                      <a:gd name="connsiteX2" fmla="*/ 89817 w 89816"/>
                      <a:gd name="connsiteY2" fmla="*/ 184099 h 213600"/>
                      <a:gd name="connsiteX3" fmla="*/ 60315 w 89816"/>
                      <a:gd name="connsiteY3" fmla="*/ 213601 h 213600"/>
                      <a:gd name="connsiteX4" fmla="*/ 29502 w 89816"/>
                      <a:gd name="connsiteY4" fmla="*/ 213601 h 213600"/>
                      <a:gd name="connsiteX5" fmla="*/ 0 w 89816"/>
                      <a:gd name="connsiteY5" fmla="*/ 184099 h 213600"/>
                      <a:gd name="connsiteX6" fmla="*/ 0 w 89816"/>
                      <a:gd name="connsiteY6" fmla="*/ 29502 h 213600"/>
                      <a:gd name="connsiteX7" fmla="*/ 29502 w 89816"/>
                      <a:gd name="connsiteY7" fmla="*/ 0 h 2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16" h="213600">
                        <a:moveTo>
                          <a:pt x="60315" y="0"/>
                        </a:moveTo>
                        <a:cubicBezTo>
                          <a:pt x="76608" y="0"/>
                          <a:pt x="89817" y="13208"/>
                          <a:pt x="89817" y="29502"/>
                        </a:cubicBezTo>
                        <a:lnTo>
                          <a:pt x="89817" y="184099"/>
                        </a:lnTo>
                        <a:cubicBezTo>
                          <a:pt x="89817" y="200393"/>
                          <a:pt x="76608" y="213601"/>
                          <a:pt x="60315" y="213601"/>
                        </a:cubicBezTo>
                        <a:lnTo>
                          <a:pt x="29502" y="213601"/>
                        </a:lnTo>
                        <a:cubicBezTo>
                          <a:pt x="13208" y="213601"/>
                          <a:pt x="0" y="200393"/>
                          <a:pt x="0" y="184099"/>
                        </a:cubicBezTo>
                        <a:lnTo>
                          <a:pt x="0" y="29502"/>
                        </a:lnTo>
                        <a:cubicBezTo>
                          <a:pt x="0" y="13208"/>
                          <a:pt x="13208" y="0"/>
                          <a:pt x="29502" y="0"/>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4" name="Freeform: Shape 13433">
                    <a:extLst>
                      <a:ext uri="{FF2B5EF4-FFF2-40B4-BE49-F238E27FC236}">
                        <a16:creationId xmlns:a16="http://schemas.microsoft.com/office/drawing/2014/main" id="{A211981D-8E00-1277-BC6B-D07A571F4FE8}"/>
                      </a:ext>
                    </a:extLst>
                  </p:cNvPr>
                  <p:cNvSpPr/>
                  <p:nvPr/>
                </p:nvSpPr>
                <p:spPr>
                  <a:xfrm>
                    <a:off x="-1503178" y="4958496"/>
                    <a:ext cx="89816" cy="213600"/>
                  </a:xfrm>
                  <a:custGeom>
                    <a:avLst/>
                    <a:gdLst>
                      <a:gd name="connsiteX0" fmla="*/ 60315 w 89816"/>
                      <a:gd name="connsiteY0" fmla="*/ 0 h 213600"/>
                      <a:gd name="connsiteX1" fmla="*/ 89817 w 89816"/>
                      <a:gd name="connsiteY1" fmla="*/ 29502 h 213600"/>
                      <a:gd name="connsiteX2" fmla="*/ 89817 w 89816"/>
                      <a:gd name="connsiteY2" fmla="*/ 184099 h 213600"/>
                      <a:gd name="connsiteX3" fmla="*/ 60315 w 89816"/>
                      <a:gd name="connsiteY3" fmla="*/ 213601 h 213600"/>
                      <a:gd name="connsiteX4" fmla="*/ 29502 w 89816"/>
                      <a:gd name="connsiteY4" fmla="*/ 213601 h 213600"/>
                      <a:gd name="connsiteX5" fmla="*/ 0 w 89816"/>
                      <a:gd name="connsiteY5" fmla="*/ 184099 h 213600"/>
                      <a:gd name="connsiteX6" fmla="*/ 0 w 89816"/>
                      <a:gd name="connsiteY6" fmla="*/ 29502 h 213600"/>
                      <a:gd name="connsiteX7" fmla="*/ 29502 w 89816"/>
                      <a:gd name="connsiteY7" fmla="*/ 0 h 2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16" h="213600">
                        <a:moveTo>
                          <a:pt x="60315" y="0"/>
                        </a:moveTo>
                        <a:cubicBezTo>
                          <a:pt x="76608" y="0"/>
                          <a:pt x="89817" y="13208"/>
                          <a:pt x="89817" y="29502"/>
                        </a:cubicBezTo>
                        <a:lnTo>
                          <a:pt x="89817" y="184099"/>
                        </a:lnTo>
                        <a:cubicBezTo>
                          <a:pt x="89817" y="200393"/>
                          <a:pt x="76608" y="213601"/>
                          <a:pt x="60315" y="213601"/>
                        </a:cubicBezTo>
                        <a:lnTo>
                          <a:pt x="29502" y="213601"/>
                        </a:lnTo>
                        <a:cubicBezTo>
                          <a:pt x="13208" y="213601"/>
                          <a:pt x="0" y="200393"/>
                          <a:pt x="0" y="184099"/>
                        </a:cubicBezTo>
                        <a:lnTo>
                          <a:pt x="0" y="29502"/>
                        </a:lnTo>
                        <a:cubicBezTo>
                          <a:pt x="0" y="13208"/>
                          <a:pt x="13208" y="0"/>
                          <a:pt x="29502" y="0"/>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5" name="Freeform: Shape 13434">
                    <a:extLst>
                      <a:ext uri="{FF2B5EF4-FFF2-40B4-BE49-F238E27FC236}">
                        <a16:creationId xmlns:a16="http://schemas.microsoft.com/office/drawing/2014/main" id="{BCC586CC-AD58-0BFF-5EA2-9806F4320AD6}"/>
                      </a:ext>
                    </a:extLst>
                  </p:cNvPr>
                  <p:cNvSpPr/>
                  <p:nvPr/>
                </p:nvSpPr>
                <p:spPr>
                  <a:xfrm>
                    <a:off x="-2631626" y="4721205"/>
                    <a:ext cx="38775" cy="363775"/>
                  </a:xfrm>
                  <a:custGeom>
                    <a:avLst/>
                    <a:gdLst>
                      <a:gd name="connsiteX0" fmla="*/ 21436 w 38775"/>
                      <a:gd name="connsiteY0" fmla="*/ 0 h 363775"/>
                      <a:gd name="connsiteX1" fmla="*/ 38776 w 38775"/>
                      <a:gd name="connsiteY1" fmla="*/ 17339 h 363775"/>
                      <a:gd name="connsiteX2" fmla="*/ 38776 w 38775"/>
                      <a:gd name="connsiteY2" fmla="*/ 346436 h 363775"/>
                      <a:gd name="connsiteX3" fmla="*/ 21436 w 38775"/>
                      <a:gd name="connsiteY3" fmla="*/ 363776 h 363775"/>
                      <a:gd name="connsiteX4" fmla="*/ 17339 w 38775"/>
                      <a:gd name="connsiteY4" fmla="*/ 363776 h 363775"/>
                      <a:gd name="connsiteX5" fmla="*/ 0 w 38775"/>
                      <a:gd name="connsiteY5" fmla="*/ 346436 h 363775"/>
                      <a:gd name="connsiteX6" fmla="*/ 0 w 38775"/>
                      <a:gd name="connsiteY6" fmla="*/ 17340 h 363775"/>
                      <a:gd name="connsiteX7" fmla="*/ 17339 w 38775"/>
                      <a:gd name="connsiteY7" fmla="*/ 0 h 36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75" h="363775">
                        <a:moveTo>
                          <a:pt x="21436" y="0"/>
                        </a:moveTo>
                        <a:cubicBezTo>
                          <a:pt x="31013" y="0"/>
                          <a:pt x="38776" y="7763"/>
                          <a:pt x="38776" y="17339"/>
                        </a:cubicBezTo>
                        <a:lnTo>
                          <a:pt x="38776" y="346436"/>
                        </a:lnTo>
                        <a:cubicBezTo>
                          <a:pt x="38776" y="356013"/>
                          <a:pt x="31013" y="363776"/>
                          <a:pt x="21436" y="363776"/>
                        </a:cubicBezTo>
                        <a:lnTo>
                          <a:pt x="17339" y="363776"/>
                        </a:lnTo>
                        <a:cubicBezTo>
                          <a:pt x="7763" y="363776"/>
                          <a:pt x="0" y="356013"/>
                          <a:pt x="0" y="346436"/>
                        </a:cubicBezTo>
                        <a:lnTo>
                          <a:pt x="0" y="17340"/>
                        </a:lnTo>
                        <a:cubicBezTo>
                          <a:pt x="0" y="7763"/>
                          <a:pt x="7763" y="0"/>
                          <a:pt x="17339" y="0"/>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6" name="Freeform: Shape 13435">
                    <a:extLst>
                      <a:ext uri="{FF2B5EF4-FFF2-40B4-BE49-F238E27FC236}">
                        <a16:creationId xmlns:a16="http://schemas.microsoft.com/office/drawing/2014/main" id="{357A0BB3-3D7A-B9EC-6319-C156D3A5FAC1}"/>
                      </a:ext>
                    </a:extLst>
                  </p:cNvPr>
                  <p:cNvSpPr/>
                  <p:nvPr/>
                </p:nvSpPr>
                <p:spPr>
                  <a:xfrm>
                    <a:off x="-1541954" y="4721205"/>
                    <a:ext cx="38775" cy="363775"/>
                  </a:xfrm>
                  <a:custGeom>
                    <a:avLst/>
                    <a:gdLst>
                      <a:gd name="connsiteX0" fmla="*/ 21436 w 38775"/>
                      <a:gd name="connsiteY0" fmla="*/ 0 h 363775"/>
                      <a:gd name="connsiteX1" fmla="*/ 38776 w 38775"/>
                      <a:gd name="connsiteY1" fmla="*/ 17339 h 363775"/>
                      <a:gd name="connsiteX2" fmla="*/ 38776 w 38775"/>
                      <a:gd name="connsiteY2" fmla="*/ 346436 h 363775"/>
                      <a:gd name="connsiteX3" fmla="*/ 21436 w 38775"/>
                      <a:gd name="connsiteY3" fmla="*/ 363776 h 363775"/>
                      <a:gd name="connsiteX4" fmla="*/ 17339 w 38775"/>
                      <a:gd name="connsiteY4" fmla="*/ 363776 h 363775"/>
                      <a:gd name="connsiteX5" fmla="*/ 0 w 38775"/>
                      <a:gd name="connsiteY5" fmla="*/ 346436 h 363775"/>
                      <a:gd name="connsiteX6" fmla="*/ 0 w 38775"/>
                      <a:gd name="connsiteY6" fmla="*/ 17340 h 363775"/>
                      <a:gd name="connsiteX7" fmla="*/ 17339 w 38775"/>
                      <a:gd name="connsiteY7" fmla="*/ 0 h 36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75" h="363775">
                        <a:moveTo>
                          <a:pt x="21436" y="0"/>
                        </a:moveTo>
                        <a:cubicBezTo>
                          <a:pt x="31013" y="0"/>
                          <a:pt x="38776" y="7763"/>
                          <a:pt x="38776" y="17339"/>
                        </a:cubicBezTo>
                        <a:lnTo>
                          <a:pt x="38776" y="346436"/>
                        </a:lnTo>
                        <a:cubicBezTo>
                          <a:pt x="38776" y="356013"/>
                          <a:pt x="31013" y="363776"/>
                          <a:pt x="21436" y="363776"/>
                        </a:cubicBezTo>
                        <a:lnTo>
                          <a:pt x="17339" y="363776"/>
                        </a:lnTo>
                        <a:cubicBezTo>
                          <a:pt x="7763" y="363776"/>
                          <a:pt x="0" y="356013"/>
                          <a:pt x="0" y="346436"/>
                        </a:cubicBezTo>
                        <a:lnTo>
                          <a:pt x="0" y="17340"/>
                        </a:lnTo>
                        <a:cubicBezTo>
                          <a:pt x="0" y="7763"/>
                          <a:pt x="7763" y="0"/>
                          <a:pt x="17339" y="0"/>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7" name="Freeform: Shape 13436">
                    <a:extLst>
                      <a:ext uri="{FF2B5EF4-FFF2-40B4-BE49-F238E27FC236}">
                        <a16:creationId xmlns:a16="http://schemas.microsoft.com/office/drawing/2014/main" id="{4005F8E7-AE15-4CB7-1BD5-5C9BB868216F}"/>
                      </a:ext>
                    </a:extLst>
                  </p:cNvPr>
                  <p:cNvSpPr/>
                  <p:nvPr/>
                </p:nvSpPr>
                <p:spPr>
                  <a:xfrm>
                    <a:off x="-2612238" y="4859209"/>
                    <a:ext cx="1089663" cy="84194"/>
                  </a:xfrm>
                  <a:custGeom>
                    <a:avLst/>
                    <a:gdLst>
                      <a:gd name="connsiteX0" fmla="*/ 0 w 1089663"/>
                      <a:gd name="connsiteY0" fmla="*/ 0 h 84194"/>
                      <a:gd name="connsiteX1" fmla="*/ 1089664 w 1089663"/>
                      <a:gd name="connsiteY1" fmla="*/ 0 h 84194"/>
                      <a:gd name="connsiteX2" fmla="*/ 1089664 w 1089663"/>
                      <a:gd name="connsiteY2" fmla="*/ 84194 h 84194"/>
                      <a:gd name="connsiteX3" fmla="*/ 0 w 1089663"/>
                      <a:gd name="connsiteY3" fmla="*/ 84194 h 84194"/>
                    </a:gdLst>
                    <a:ahLst/>
                    <a:cxnLst>
                      <a:cxn ang="0">
                        <a:pos x="connsiteX0" y="connsiteY0"/>
                      </a:cxn>
                      <a:cxn ang="0">
                        <a:pos x="connsiteX1" y="connsiteY1"/>
                      </a:cxn>
                      <a:cxn ang="0">
                        <a:pos x="connsiteX2" y="connsiteY2"/>
                      </a:cxn>
                      <a:cxn ang="0">
                        <a:pos x="connsiteX3" y="connsiteY3"/>
                      </a:cxn>
                    </a:cxnLst>
                    <a:rect l="l" t="t" r="r" b="b"/>
                    <a:pathLst>
                      <a:path w="1089663" h="84194">
                        <a:moveTo>
                          <a:pt x="0" y="0"/>
                        </a:moveTo>
                        <a:lnTo>
                          <a:pt x="1089664" y="0"/>
                        </a:lnTo>
                        <a:lnTo>
                          <a:pt x="1089664" y="84194"/>
                        </a:lnTo>
                        <a:lnTo>
                          <a:pt x="0" y="84194"/>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31" name="Freeform: Shape 13430">
                  <a:extLst>
                    <a:ext uri="{FF2B5EF4-FFF2-40B4-BE49-F238E27FC236}">
                      <a16:creationId xmlns:a16="http://schemas.microsoft.com/office/drawing/2014/main" id="{793FAEAE-79DB-BB65-AFB2-FEBB1DC97578}"/>
                    </a:ext>
                  </a:extLst>
                </p:cNvPr>
                <p:cNvSpPr/>
                <p:nvPr/>
              </p:nvSpPr>
              <p:spPr>
                <a:xfrm>
                  <a:off x="-2728574" y="4644811"/>
                  <a:ext cx="1315204" cy="112315"/>
                </a:xfrm>
                <a:custGeom>
                  <a:avLst/>
                  <a:gdLst>
                    <a:gd name="connsiteX0" fmla="*/ 0 w 1315204"/>
                    <a:gd name="connsiteY0" fmla="*/ 0 h 112315"/>
                    <a:gd name="connsiteX1" fmla="*/ 1315204 w 1315204"/>
                    <a:gd name="connsiteY1" fmla="*/ 0 h 112315"/>
                    <a:gd name="connsiteX2" fmla="*/ 1315204 w 1315204"/>
                    <a:gd name="connsiteY2" fmla="*/ 112316 h 112315"/>
                    <a:gd name="connsiteX3" fmla="*/ 0 w 1315204"/>
                    <a:gd name="connsiteY3" fmla="*/ 112316 h 112315"/>
                  </a:gdLst>
                  <a:ahLst/>
                  <a:cxnLst>
                    <a:cxn ang="0">
                      <a:pos x="connsiteX0" y="connsiteY0"/>
                    </a:cxn>
                    <a:cxn ang="0">
                      <a:pos x="connsiteX1" y="connsiteY1"/>
                    </a:cxn>
                    <a:cxn ang="0">
                      <a:pos x="connsiteX2" y="connsiteY2"/>
                    </a:cxn>
                    <a:cxn ang="0">
                      <a:pos x="connsiteX3" y="connsiteY3"/>
                    </a:cxn>
                  </a:cxnLst>
                  <a:rect l="l" t="t" r="r" b="b"/>
                  <a:pathLst>
                    <a:path w="1315204" h="112315">
                      <a:moveTo>
                        <a:pt x="0" y="0"/>
                      </a:moveTo>
                      <a:lnTo>
                        <a:pt x="1315204" y="0"/>
                      </a:lnTo>
                      <a:lnTo>
                        <a:pt x="1315204" y="112316"/>
                      </a:lnTo>
                      <a:lnTo>
                        <a:pt x="0" y="112316"/>
                      </a:lnTo>
                      <a:close/>
                    </a:path>
                  </a:pathLst>
                </a:custGeom>
                <a:solidFill>
                  <a:srgbClr val="CCCC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32" name="Freeform: Shape 13431">
                  <a:extLst>
                    <a:ext uri="{FF2B5EF4-FFF2-40B4-BE49-F238E27FC236}">
                      <a16:creationId xmlns:a16="http://schemas.microsoft.com/office/drawing/2014/main" id="{AC0CFAD1-EB35-850E-E99F-D1B45EEEC6B6}"/>
                    </a:ext>
                  </a:extLst>
                </p:cNvPr>
                <p:cNvSpPr/>
                <p:nvPr/>
              </p:nvSpPr>
              <p:spPr>
                <a:xfrm>
                  <a:off x="-2790938" y="3949521"/>
                  <a:ext cx="1439742" cy="695726"/>
                </a:xfrm>
                <a:custGeom>
                  <a:avLst/>
                  <a:gdLst>
                    <a:gd name="connsiteX0" fmla="*/ 1439743 w 1439742"/>
                    <a:gd name="connsiteY0" fmla="*/ 695727 h 695726"/>
                    <a:gd name="connsiteX1" fmla="*/ 0 w 1439742"/>
                    <a:gd name="connsiteY1" fmla="*/ 695727 h 695726"/>
                    <a:gd name="connsiteX2" fmla="*/ 0 w 1439742"/>
                    <a:gd name="connsiteY2" fmla="*/ 120767 h 695726"/>
                    <a:gd name="connsiteX3" fmla="*/ 120767 w 1439742"/>
                    <a:gd name="connsiteY3" fmla="*/ 0 h 695726"/>
                    <a:gd name="connsiteX4" fmla="*/ 1318976 w 1439742"/>
                    <a:gd name="connsiteY4" fmla="*/ 0 h 695726"/>
                    <a:gd name="connsiteX5" fmla="*/ 1439743 w 1439742"/>
                    <a:gd name="connsiteY5" fmla="*/ 120767 h 695726"/>
                    <a:gd name="connsiteX6" fmla="*/ 1439743 w 1439742"/>
                    <a:gd name="connsiteY6" fmla="*/ 695727 h 6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9742" h="695726">
                      <a:moveTo>
                        <a:pt x="1439743" y="695727"/>
                      </a:moveTo>
                      <a:lnTo>
                        <a:pt x="0" y="695727"/>
                      </a:lnTo>
                      <a:lnTo>
                        <a:pt x="0" y="120767"/>
                      </a:lnTo>
                      <a:cubicBezTo>
                        <a:pt x="0" y="54067"/>
                        <a:pt x="54067" y="0"/>
                        <a:pt x="120767" y="0"/>
                      </a:cubicBezTo>
                      <a:lnTo>
                        <a:pt x="1318976" y="0"/>
                      </a:lnTo>
                      <a:cubicBezTo>
                        <a:pt x="1385676" y="0"/>
                        <a:pt x="1439743" y="54067"/>
                        <a:pt x="1439743" y="120767"/>
                      </a:cubicBezTo>
                      <a:lnTo>
                        <a:pt x="1439743" y="695727"/>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429" name="Freeform: Shape 13428">
                <a:extLst>
                  <a:ext uri="{FF2B5EF4-FFF2-40B4-BE49-F238E27FC236}">
                    <a16:creationId xmlns:a16="http://schemas.microsoft.com/office/drawing/2014/main" id="{8888CDA8-81CD-A301-FB86-F0FE65039390}"/>
                  </a:ext>
                </a:extLst>
              </p:cNvPr>
              <p:cNvSpPr/>
              <p:nvPr/>
            </p:nvSpPr>
            <p:spPr>
              <a:xfrm>
                <a:off x="-2749805" y="3994545"/>
                <a:ext cx="1346557" cy="650702"/>
              </a:xfrm>
              <a:custGeom>
                <a:avLst/>
                <a:gdLst>
                  <a:gd name="connsiteX0" fmla="*/ 1346558 w 1346557"/>
                  <a:gd name="connsiteY0" fmla="*/ 650703 h 650702"/>
                  <a:gd name="connsiteX1" fmla="*/ 0 w 1346557"/>
                  <a:gd name="connsiteY1" fmla="*/ 650703 h 650702"/>
                  <a:gd name="connsiteX2" fmla="*/ 0 w 1346557"/>
                  <a:gd name="connsiteY2" fmla="*/ 120767 h 650702"/>
                  <a:gd name="connsiteX3" fmla="*/ 120767 w 1346557"/>
                  <a:gd name="connsiteY3" fmla="*/ 0 h 650702"/>
                  <a:gd name="connsiteX4" fmla="*/ 1225791 w 1346557"/>
                  <a:gd name="connsiteY4" fmla="*/ 0 h 650702"/>
                  <a:gd name="connsiteX5" fmla="*/ 1346558 w 1346557"/>
                  <a:gd name="connsiteY5" fmla="*/ 120767 h 650702"/>
                  <a:gd name="connsiteX6" fmla="*/ 1346558 w 1346557"/>
                  <a:gd name="connsiteY6" fmla="*/ 650703 h 65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6557" h="650702">
                    <a:moveTo>
                      <a:pt x="1346558" y="650703"/>
                    </a:moveTo>
                    <a:lnTo>
                      <a:pt x="0" y="650703"/>
                    </a:lnTo>
                    <a:lnTo>
                      <a:pt x="0" y="120767"/>
                    </a:lnTo>
                    <a:cubicBezTo>
                      <a:pt x="0" y="54067"/>
                      <a:pt x="54067" y="0"/>
                      <a:pt x="120767" y="0"/>
                    </a:cubicBezTo>
                    <a:lnTo>
                      <a:pt x="1225791" y="0"/>
                    </a:lnTo>
                    <a:cubicBezTo>
                      <a:pt x="1292491" y="0"/>
                      <a:pt x="1346558" y="54067"/>
                      <a:pt x="1346558" y="120767"/>
                    </a:cubicBezTo>
                    <a:lnTo>
                      <a:pt x="1346558" y="650703"/>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355" name="Graphic 5">
              <a:extLst>
                <a:ext uri="{FF2B5EF4-FFF2-40B4-BE49-F238E27FC236}">
                  <a16:creationId xmlns:a16="http://schemas.microsoft.com/office/drawing/2014/main" id="{CFC888FA-BAA1-5473-D055-BB21106E0FDA}"/>
                </a:ext>
              </a:extLst>
            </p:cNvPr>
            <p:cNvGrpSpPr/>
            <p:nvPr/>
          </p:nvGrpSpPr>
          <p:grpSpPr>
            <a:xfrm>
              <a:off x="8807828" y="3545215"/>
              <a:ext cx="27909" cy="45992"/>
              <a:chOff x="-2859438" y="3353905"/>
              <a:chExt cx="24123" cy="39744"/>
            </a:xfrm>
          </p:grpSpPr>
          <p:sp>
            <p:nvSpPr>
              <p:cNvPr id="13420" name="Freeform: Shape 13419">
                <a:extLst>
                  <a:ext uri="{FF2B5EF4-FFF2-40B4-BE49-F238E27FC236}">
                    <a16:creationId xmlns:a16="http://schemas.microsoft.com/office/drawing/2014/main" id="{386B4D26-227F-61CB-085B-D1946510CFE4}"/>
                  </a:ext>
                </a:extLst>
              </p:cNvPr>
              <p:cNvSpPr/>
              <p:nvPr/>
            </p:nvSpPr>
            <p:spPr>
              <a:xfrm>
                <a:off x="-2858512" y="3354814"/>
                <a:ext cx="22290" cy="37945"/>
              </a:xfrm>
              <a:custGeom>
                <a:avLst/>
                <a:gdLst>
                  <a:gd name="connsiteX0" fmla="*/ 17022 w 22290"/>
                  <a:gd name="connsiteY0" fmla="*/ 37250 h 37945"/>
                  <a:gd name="connsiteX1" fmla="*/ 2940 w 22290"/>
                  <a:gd name="connsiteY1" fmla="*/ 31962 h 37945"/>
                  <a:gd name="connsiteX2" fmla="*/ 0 w 22290"/>
                  <a:gd name="connsiteY2" fmla="*/ 1089 h 37945"/>
                  <a:gd name="connsiteX3" fmla="*/ 22011 w 22290"/>
                  <a:gd name="connsiteY3" fmla="*/ 0 h 37945"/>
                  <a:gd name="connsiteX4" fmla="*/ 17022 w 22290"/>
                  <a:gd name="connsiteY4" fmla="*/ 37241 h 37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0" h="37945">
                    <a:moveTo>
                      <a:pt x="17022" y="37250"/>
                    </a:moveTo>
                    <a:cubicBezTo>
                      <a:pt x="17022" y="37250"/>
                      <a:pt x="4697" y="40773"/>
                      <a:pt x="2940" y="31962"/>
                    </a:cubicBezTo>
                    <a:cubicBezTo>
                      <a:pt x="1174" y="23159"/>
                      <a:pt x="0" y="1089"/>
                      <a:pt x="0" y="1089"/>
                    </a:cubicBezTo>
                    <a:lnTo>
                      <a:pt x="22011" y="0"/>
                    </a:lnTo>
                    <a:cubicBezTo>
                      <a:pt x="22011" y="0"/>
                      <a:pt x="24068" y="32836"/>
                      <a:pt x="17022" y="37241"/>
                    </a:cubicBez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21" name="Freeform: Shape 13420">
                <a:extLst>
                  <a:ext uri="{FF2B5EF4-FFF2-40B4-BE49-F238E27FC236}">
                    <a16:creationId xmlns:a16="http://schemas.microsoft.com/office/drawing/2014/main" id="{4EC7CADC-D49E-4BB9-9B85-E6EFD6B63226}"/>
                  </a:ext>
                </a:extLst>
              </p:cNvPr>
              <p:cNvSpPr/>
              <p:nvPr/>
            </p:nvSpPr>
            <p:spPr>
              <a:xfrm>
                <a:off x="-2859438" y="3353905"/>
                <a:ext cx="24123" cy="39744"/>
              </a:xfrm>
              <a:custGeom>
                <a:avLst/>
                <a:gdLst>
                  <a:gd name="connsiteX0" fmla="*/ 3000 w 24123"/>
                  <a:gd name="connsiteY0" fmla="*/ 33050 h 39744"/>
                  <a:gd name="connsiteX1" fmla="*/ 51 w 24123"/>
                  <a:gd name="connsiteY1" fmla="*/ 2057 h 39744"/>
                  <a:gd name="connsiteX2" fmla="*/ 0 w 24123"/>
                  <a:gd name="connsiteY2" fmla="*/ 1174 h 39744"/>
                  <a:gd name="connsiteX3" fmla="*/ 23759 w 24123"/>
                  <a:gd name="connsiteY3" fmla="*/ 0 h 39744"/>
                  <a:gd name="connsiteX4" fmla="*/ 23810 w 24123"/>
                  <a:gd name="connsiteY4" fmla="*/ 866 h 39744"/>
                  <a:gd name="connsiteX5" fmla="*/ 18411 w 24123"/>
                  <a:gd name="connsiteY5" fmla="*/ 38913 h 39744"/>
                  <a:gd name="connsiteX6" fmla="*/ 18188 w 24123"/>
                  <a:gd name="connsiteY6" fmla="*/ 39016 h 39744"/>
                  <a:gd name="connsiteX7" fmla="*/ 12651 w 24123"/>
                  <a:gd name="connsiteY7" fmla="*/ 39744 h 39744"/>
                  <a:gd name="connsiteX8" fmla="*/ 12651 w 24123"/>
                  <a:gd name="connsiteY8" fmla="*/ 39744 h 39744"/>
                  <a:gd name="connsiteX9" fmla="*/ 2991 w 24123"/>
                  <a:gd name="connsiteY9" fmla="*/ 33050 h 39744"/>
                  <a:gd name="connsiteX10" fmla="*/ 22105 w 24123"/>
                  <a:gd name="connsiteY10" fmla="*/ 1843 h 39744"/>
                  <a:gd name="connsiteX11" fmla="*/ 1851 w 24123"/>
                  <a:gd name="connsiteY11" fmla="*/ 2846 h 39744"/>
                  <a:gd name="connsiteX12" fmla="*/ 4723 w 24123"/>
                  <a:gd name="connsiteY12" fmla="*/ 32707 h 39744"/>
                  <a:gd name="connsiteX13" fmla="*/ 12651 w 24123"/>
                  <a:gd name="connsiteY13" fmla="*/ 37979 h 39744"/>
                  <a:gd name="connsiteX14" fmla="*/ 17579 w 24123"/>
                  <a:gd name="connsiteY14" fmla="*/ 37344 h 39744"/>
                  <a:gd name="connsiteX15" fmla="*/ 22096 w 24123"/>
                  <a:gd name="connsiteY15" fmla="*/ 1843 h 39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23" h="39744">
                    <a:moveTo>
                      <a:pt x="3000" y="33050"/>
                    </a:moveTo>
                    <a:cubicBezTo>
                      <a:pt x="1251" y="24291"/>
                      <a:pt x="94" y="2966"/>
                      <a:pt x="51" y="2057"/>
                    </a:cubicBezTo>
                    <a:lnTo>
                      <a:pt x="0" y="1174"/>
                    </a:lnTo>
                    <a:lnTo>
                      <a:pt x="23759" y="0"/>
                    </a:lnTo>
                    <a:lnTo>
                      <a:pt x="23810" y="866"/>
                    </a:lnTo>
                    <a:cubicBezTo>
                      <a:pt x="24025" y="4277"/>
                      <a:pt x="25688" y="34362"/>
                      <a:pt x="18411" y="38913"/>
                    </a:cubicBezTo>
                    <a:lnTo>
                      <a:pt x="18188" y="39016"/>
                    </a:lnTo>
                    <a:cubicBezTo>
                      <a:pt x="18085" y="39042"/>
                      <a:pt x="15599" y="39744"/>
                      <a:pt x="12651" y="39744"/>
                    </a:cubicBezTo>
                    <a:lnTo>
                      <a:pt x="12651" y="39744"/>
                    </a:lnTo>
                    <a:cubicBezTo>
                      <a:pt x="7285" y="39744"/>
                      <a:pt x="3857" y="37370"/>
                      <a:pt x="2991" y="33050"/>
                    </a:cubicBezTo>
                    <a:close/>
                    <a:moveTo>
                      <a:pt x="22105" y="1843"/>
                    </a:moveTo>
                    <a:lnTo>
                      <a:pt x="1851" y="2846"/>
                    </a:lnTo>
                    <a:cubicBezTo>
                      <a:pt x="2091" y="7045"/>
                      <a:pt x="3197" y="25062"/>
                      <a:pt x="4723" y="32707"/>
                    </a:cubicBezTo>
                    <a:cubicBezTo>
                      <a:pt x="5417" y="36204"/>
                      <a:pt x="8091" y="37979"/>
                      <a:pt x="12651" y="37979"/>
                    </a:cubicBezTo>
                    <a:cubicBezTo>
                      <a:pt x="14991" y="37979"/>
                      <a:pt x="17065" y="37482"/>
                      <a:pt x="17579" y="37344"/>
                    </a:cubicBezTo>
                    <a:cubicBezTo>
                      <a:pt x="22722" y="33839"/>
                      <a:pt x="22619" y="11357"/>
                      <a:pt x="22096" y="1843"/>
                    </a:cubicBez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356" name="Graphic 5">
              <a:extLst>
                <a:ext uri="{FF2B5EF4-FFF2-40B4-BE49-F238E27FC236}">
                  <a16:creationId xmlns:a16="http://schemas.microsoft.com/office/drawing/2014/main" id="{9C4B0D78-99C1-6CBE-1428-42564838C9B0}"/>
                </a:ext>
              </a:extLst>
            </p:cNvPr>
            <p:cNvGrpSpPr/>
            <p:nvPr/>
          </p:nvGrpSpPr>
          <p:grpSpPr>
            <a:xfrm>
              <a:off x="8728073" y="3547427"/>
              <a:ext cx="21397" cy="32790"/>
              <a:chOff x="-2928376" y="3355817"/>
              <a:chExt cx="18495" cy="28336"/>
            </a:xfrm>
          </p:grpSpPr>
          <p:sp>
            <p:nvSpPr>
              <p:cNvPr id="13417" name="Freeform: Shape 13416">
                <a:extLst>
                  <a:ext uri="{FF2B5EF4-FFF2-40B4-BE49-F238E27FC236}">
                    <a16:creationId xmlns:a16="http://schemas.microsoft.com/office/drawing/2014/main" id="{1587110C-72C5-898E-9D4F-B8081056589B}"/>
                  </a:ext>
                </a:extLst>
              </p:cNvPr>
              <p:cNvSpPr/>
              <p:nvPr/>
            </p:nvSpPr>
            <p:spPr>
              <a:xfrm>
                <a:off x="-2927484" y="3356699"/>
                <a:ext cx="16708" cy="26571"/>
              </a:xfrm>
              <a:custGeom>
                <a:avLst/>
                <a:gdLst>
                  <a:gd name="connsiteX0" fmla="*/ 16551 w 16708"/>
                  <a:gd name="connsiteY0" fmla="*/ 146 h 26571"/>
                  <a:gd name="connsiteX1" fmla="*/ 10860 w 16708"/>
                  <a:gd name="connsiteY1" fmla="*/ 26562 h 26571"/>
                  <a:gd name="connsiteX2" fmla="*/ 1766 w 16708"/>
                  <a:gd name="connsiteY2" fmla="*/ 20982 h 26571"/>
                  <a:gd name="connsiteX3" fmla="*/ 0 w 16708"/>
                  <a:gd name="connsiteY3" fmla="*/ 0 h 26571"/>
                  <a:gd name="connsiteX4" fmla="*/ 16551 w 16708"/>
                  <a:gd name="connsiteY4" fmla="*/ 146 h 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08" h="26571">
                    <a:moveTo>
                      <a:pt x="16551" y="146"/>
                    </a:moveTo>
                    <a:cubicBezTo>
                      <a:pt x="16551" y="146"/>
                      <a:pt x="18196" y="27145"/>
                      <a:pt x="10860" y="26562"/>
                    </a:cubicBezTo>
                    <a:cubicBezTo>
                      <a:pt x="6840" y="26236"/>
                      <a:pt x="3540" y="28096"/>
                      <a:pt x="1766" y="20982"/>
                    </a:cubicBezTo>
                    <a:cubicBezTo>
                      <a:pt x="291" y="15111"/>
                      <a:pt x="0" y="0"/>
                      <a:pt x="0" y="0"/>
                    </a:cubicBezTo>
                    <a:lnTo>
                      <a:pt x="16551" y="146"/>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19" name="Freeform: Shape 13418">
                <a:extLst>
                  <a:ext uri="{FF2B5EF4-FFF2-40B4-BE49-F238E27FC236}">
                    <a16:creationId xmlns:a16="http://schemas.microsoft.com/office/drawing/2014/main" id="{B4AA6045-C53A-0357-A5D1-3B281BEA02BA}"/>
                  </a:ext>
                </a:extLst>
              </p:cNvPr>
              <p:cNvSpPr/>
              <p:nvPr/>
            </p:nvSpPr>
            <p:spPr>
              <a:xfrm>
                <a:off x="-2928376" y="3355817"/>
                <a:ext cx="18495" cy="28336"/>
              </a:xfrm>
              <a:custGeom>
                <a:avLst/>
                <a:gdLst>
                  <a:gd name="connsiteX0" fmla="*/ 11682 w 18495"/>
                  <a:gd name="connsiteY0" fmla="*/ 28328 h 28336"/>
                  <a:gd name="connsiteX1" fmla="*/ 9488 w 18495"/>
                  <a:gd name="connsiteY1" fmla="*/ 28310 h 28336"/>
                  <a:gd name="connsiteX2" fmla="*/ 1808 w 18495"/>
                  <a:gd name="connsiteY2" fmla="*/ 22088 h 28336"/>
                  <a:gd name="connsiteX3" fmla="*/ 17 w 18495"/>
                  <a:gd name="connsiteY3" fmla="*/ 909 h 28336"/>
                  <a:gd name="connsiteX4" fmla="*/ 0 w 18495"/>
                  <a:gd name="connsiteY4" fmla="*/ 0 h 28336"/>
                  <a:gd name="connsiteX5" fmla="*/ 18282 w 18495"/>
                  <a:gd name="connsiteY5" fmla="*/ 163 h 28336"/>
                  <a:gd name="connsiteX6" fmla="*/ 18334 w 18495"/>
                  <a:gd name="connsiteY6" fmla="*/ 977 h 28336"/>
                  <a:gd name="connsiteX7" fmla="*/ 14794 w 18495"/>
                  <a:gd name="connsiteY7" fmla="*/ 27042 h 28336"/>
                  <a:gd name="connsiteX8" fmla="*/ 12000 w 18495"/>
                  <a:gd name="connsiteY8" fmla="*/ 28336 h 28336"/>
                  <a:gd name="connsiteX9" fmla="*/ 12000 w 18495"/>
                  <a:gd name="connsiteY9" fmla="*/ 28336 h 28336"/>
                  <a:gd name="connsiteX10" fmla="*/ 11700 w 18495"/>
                  <a:gd name="connsiteY10" fmla="*/ 28328 h 28336"/>
                  <a:gd name="connsiteX11" fmla="*/ 1791 w 18495"/>
                  <a:gd name="connsiteY11" fmla="*/ 1774 h 28336"/>
                  <a:gd name="connsiteX12" fmla="*/ 3514 w 18495"/>
                  <a:gd name="connsiteY12" fmla="*/ 21651 h 28336"/>
                  <a:gd name="connsiteX13" fmla="*/ 9437 w 18495"/>
                  <a:gd name="connsiteY13" fmla="*/ 26536 h 28336"/>
                  <a:gd name="connsiteX14" fmla="*/ 11820 w 18495"/>
                  <a:gd name="connsiteY14" fmla="*/ 26562 h 28336"/>
                  <a:gd name="connsiteX15" fmla="*/ 11991 w 18495"/>
                  <a:gd name="connsiteY15" fmla="*/ 26562 h 28336"/>
                  <a:gd name="connsiteX16" fmla="*/ 13500 w 18495"/>
                  <a:gd name="connsiteY16" fmla="*/ 25833 h 28336"/>
                  <a:gd name="connsiteX17" fmla="*/ 16611 w 18495"/>
                  <a:gd name="connsiteY17" fmla="*/ 1903 h 28336"/>
                  <a:gd name="connsiteX18" fmla="*/ 1791 w 18495"/>
                  <a:gd name="connsiteY18" fmla="*/ 1774 h 2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495" h="28336">
                    <a:moveTo>
                      <a:pt x="11682" y="28328"/>
                    </a:moveTo>
                    <a:cubicBezTo>
                      <a:pt x="10911" y="28268"/>
                      <a:pt x="10182" y="28285"/>
                      <a:pt x="9488" y="28310"/>
                    </a:cubicBezTo>
                    <a:cubicBezTo>
                      <a:pt x="5828" y="28405"/>
                      <a:pt x="3248" y="27848"/>
                      <a:pt x="1808" y="22088"/>
                    </a:cubicBezTo>
                    <a:cubicBezTo>
                      <a:pt x="326" y="16182"/>
                      <a:pt x="34" y="1534"/>
                      <a:pt x="17" y="909"/>
                    </a:cubicBezTo>
                    <a:lnTo>
                      <a:pt x="0" y="0"/>
                    </a:lnTo>
                    <a:lnTo>
                      <a:pt x="18282" y="163"/>
                    </a:lnTo>
                    <a:lnTo>
                      <a:pt x="18334" y="977"/>
                    </a:lnTo>
                    <a:cubicBezTo>
                      <a:pt x="18385" y="1834"/>
                      <a:pt x="19551" y="21985"/>
                      <a:pt x="14794" y="27042"/>
                    </a:cubicBezTo>
                    <a:cubicBezTo>
                      <a:pt x="13988" y="27899"/>
                      <a:pt x="13045" y="28336"/>
                      <a:pt x="12000" y="28336"/>
                    </a:cubicBezTo>
                    <a:lnTo>
                      <a:pt x="12000" y="28336"/>
                    </a:lnTo>
                    <a:cubicBezTo>
                      <a:pt x="11897" y="28336"/>
                      <a:pt x="11802" y="28336"/>
                      <a:pt x="11700" y="28328"/>
                    </a:cubicBezTo>
                    <a:close/>
                    <a:moveTo>
                      <a:pt x="1791" y="1774"/>
                    </a:moveTo>
                    <a:cubicBezTo>
                      <a:pt x="1886" y="5108"/>
                      <a:pt x="2280" y="16765"/>
                      <a:pt x="3514" y="21651"/>
                    </a:cubicBezTo>
                    <a:cubicBezTo>
                      <a:pt x="4817" y="26888"/>
                      <a:pt x="6806" y="26605"/>
                      <a:pt x="9437" y="26536"/>
                    </a:cubicBezTo>
                    <a:cubicBezTo>
                      <a:pt x="10200" y="26519"/>
                      <a:pt x="10997" y="26493"/>
                      <a:pt x="11820" y="26562"/>
                    </a:cubicBezTo>
                    <a:lnTo>
                      <a:pt x="11991" y="26562"/>
                    </a:lnTo>
                    <a:cubicBezTo>
                      <a:pt x="12540" y="26570"/>
                      <a:pt x="13037" y="26330"/>
                      <a:pt x="13500" y="25833"/>
                    </a:cubicBezTo>
                    <a:cubicBezTo>
                      <a:pt x="16868" y="22259"/>
                      <a:pt x="16911" y="8066"/>
                      <a:pt x="16611" y="1903"/>
                    </a:cubicBezTo>
                    <a:lnTo>
                      <a:pt x="1791" y="1774"/>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357" name="Graphic 5">
              <a:extLst>
                <a:ext uri="{FF2B5EF4-FFF2-40B4-BE49-F238E27FC236}">
                  <a16:creationId xmlns:a16="http://schemas.microsoft.com/office/drawing/2014/main" id="{28CC1B44-FBA5-27BD-AB29-5F960B1951D4}"/>
                </a:ext>
              </a:extLst>
            </p:cNvPr>
            <p:cNvGrpSpPr/>
            <p:nvPr/>
          </p:nvGrpSpPr>
          <p:grpSpPr>
            <a:xfrm>
              <a:off x="8719209" y="3566678"/>
              <a:ext cx="38355" cy="101138"/>
              <a:chOff x="-2936038" y="3372453"/>
              <a:chExt cx="33153" cy="87399"/>
            </a:xfrm>
          </p:grpSpPr>
          <p:sp>
            <p:nvSpPr>
              <p:cNvPr id="13415" name="Freeform: Shape 13414">
                <a:extLst>
                  <a:ext uri="{FF2B5EF4-FFF2-40B4-BE49-F238E27FC236}">
                    <a16:creationId xmlns:a16="http://schemas.microsoft.com/office/drawing/2014/main" id="{C2B8562C-8A84-50A8-D8E0-41AA62D54F89}"/>
                  </a:ext>
                </a:extLst>
              </p:cNvPr>
              <p:cNvSpPr/>
              <p:nvPr/>
            </p:nvSpPr>
            <p:spPr>
              <a:xfrm>
                <a:off x="-2933030" y="3378479"/>
                <a:ext cx="30144" cy="81374"/>
              </a:xfrm>
              <a:custGeom>
                <a:avLst/>
                <a:gdLst>
                  <a:gd name="connsiteX0" fmla="*/ 0 w 30144"/>
                  <a:gd name="connsiteY0" fmla="*/ 68278 h 81374"/>
                  <a:gd name="connsiteX1" fmla="*/ 6068 w 30144"/>
                  <a:gd name="connsiteY1" fmla="*/ 81374 h 81374"/>
                  <a:gd name="connsiteX2" fmla="*/ 21188 w 30144"/>
                  <a:gd name="connsiteY2" fmla="*/ 81374 h 81374"/>
                  <a:gd name="connsiteX3" fmla="*/ 30145 w 30144"/>
                  <a:gd name="connsiteY3" fmla="*/ 68278 h 81374"/>
                  <a:gd name="connsiteX4" fmla="*/ 30145 w 30144"/>
                  <a:gd name="connsiteY4" fmla="*/ 9960 h 81374"/>
                  <a:gd name="connsiteX5" fmla="*/ 21188 w 30144"/>
                  <a:gd name="connsiteY5" fmla="*/ 0 h 81374"/>
                  <a:gd name="connsiteX6" fmla="*/ 6068 w 30144"/>
                  <a:gd name="connsiteY6" fmla="*/ 0 h 81374"/>
                  <a:gd name="connsiteX7" fmla="*/ 0 w 30144"/>
                  <a:gd name="connsiteY7" fmla="*/ 9960 h 81374"/>
                  <a:gd name="connsiteX8" fmla="*/ 0 w 30144"/>
                  <a:gd name="connsiteY8" fmla="*/ 68278 h 8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44" h="81374">
                    <a:moveTo>
                      <a:pt x="0" y="68278"/>
                    </a:moveTo>
                    <a:cubicBezTo>
                      <a:pt x="0" y="73566"/>
                      <a:pt x="1577" y="81374"/>
                      <a:pt x="6068" y="81374"/>
                    </a:cubicBezTo>
                    <a:lnTo>
                      <a:pt x="21188" y="81374"/>
                    </a:lnTo>
                    <a:cubicBezTo>
                      <a:pt x="25679" y="81374"/>
                      <a:pt x="30145" y="73566"/>
                      <a:pt x="30145" y="68278"/>
                    </a:cubicBezTo>
                    <a:lnTo>
                      <a:pt x="30145" y="9960"/>
                    </a:lnTo>
                    <a:cubicBezTo>
                      <a:pt x="30145" y="4671"/>
                      <a:pt x="25679" y="0"/>
                      <a:pt x="21188" y="0"/>
                    </a:cubicBezTo>
                    <a:lnTo>
                      <a:pt x="6068" y="0"/>
                    </a:lnTo>
                    <a:cubicBezTo>
                      <a:pt x="1577" y="0"/>
                      <a:pt x="0" y="4671"/>
                      <a:pt x="0" y="9960"/>
                    </a:cubicBezTo>
                    <a:lnTo>
                      <a:pt x="0" y="68278"/>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16" name="Freeform: Shape 13415">
                <a:extLst>
                  <a:ext uri="{FF2B5EF4-FFF2-40B4-BE49-F238E27FC236}">
                    <a16:creationId xmlns:a16="http://schemas.microsoft.com/office/drawing/2014/main" id="{0CBC4FEF-6D91-3E0D-5531-6971E45988F3}"/>
                  </a:ext>
                </a:extLst>
              </p:cNvPr>
              <p:cNvSpPr/>
              <p:nvPr/>
            </p:nvSpPr>
            <p:spPr>
              <a:xfrm>
                <a:off x="-2936038" y="3372453"/>
                <a:ext cx="33153" cy="87399"/>
              </a:xfrm>
              <a:custGeom>
                <a:avLst/>
                <a:gdLst>
                  <a:gd name="connsiteX0" fmla="*/ 0 w 33153"/>
                  <a:gd name="connsiteY0" fmla="*/ 74303 h 87399"/>
                  <a:gd name="connsiteX1" fmla="*/ 0 w 33153"/>
                  <a:gd name="connsiteY1" fmla="*/ 15985 h 87399"/>
                  <a:gd name="connsiteX2" fmla="*/ 9077 w 33153"/>
                  <a:gd name="connsiteY2" fmla="*/ 0 h 87399"/>
                  <a:gd name="connsiteX3" fmla="*/ 24196 w 33153"/>
                  <a:gd name="connsiteY3" fmla="*/ 0 h 87399"/>
                  <a:gd name="connsiteX4" fmla="*/ 33153 w 33153"/>
                  <a:gd name="connsiteY4" fmla="*/ 15985 h 87399"/>
                  <a:gd name="connsiteX5" fmla="*/ 33153 w 33153"/>
                  <a:gd name="connsiteY5" fmla="*/ 74303 h 87399"/>
                  <a:gd name="connsiteX6" fmla="*/ 24196 w 33153"/>
                  <a:gd name="connsiteY6" fmla="*/ 87400 h 87399"/>
                  <a:gd name="connsiteX7" fmla="*/ 9077 w 33153"/>
                  <a:gd name="connsiteY7" fmla="*/ 87400 h 87399"/>
                  <a:gd name="connsiteX8" fmla="*/ 0 w 33153"/>
                  <a:gd name="connsiteY8" fmla="*/ 74303 h 87399"/>
                  <a:gd name="connsiteX9" fmla="*/ 9077 w 33153"/>
                  <a:gd name="connsiteY9" fmla="*/ 6025 h 87399"/>
                  <a:gd name="connsiteX10" fmla="*/ 3008 w 33153"/>
                  <a:gd name="connsiteY10" fmla="*/ 15985 h 87399"/>
                  <a:gd name="connsiteX11" fmla="*/ 3008 w 33153"/>
                  <a:gd name="connsiteY11" fmla="*/ 74303 h 87399"/>
                  <a:gd name="connsiteX12" fmla="*/ 9077 w 33153"/>
                  <a:gd name="connsiteY12" fmla="*/ 84391 h 87399"/>
                  <a:gd name="connsiteX13" fmla="*/ 24196 w 33153"/>
                  <a:gd name="connsiteY13" fmla="*/ 84391 h 87399"/>
                  <a:gd name="connsiteX14" fmla="*/ 30136 w 33153"/>
                  <a:gd name="connsiteY14" fmla="*/ 74303 h 87399"/>
                  <a:gd name="connsiteX15" fmla="*/ 30136 w 33153"/>
                  <a:gd name="connsiteY15" fmla="*/ 15985 h 87399"/>
                  <a:gd name="connsiteX16" fmla="*/ 24196 w 33153"/>
                  <a:gd name="connsiteY16" fmla="*/ 6025 h 87399"/>
                  <a:gd name="connsiteX17" fmla="*/ 9077 w 33153"/>
                  <a:gd name="connsiteY17" fmla="*/ 6025 h 8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53" h="87399">
                    <a:moveTo>
                      <a:pt x="0" y="74303"/>
                    </a:moveTo>
                    <a:lnTo>
                      <a:pt x="0" y="15985"/>
                    </a:lnTo>
                    <a:cubicBezTo>
                      <a:pt x="0" y="10251"/>
                      <a:pt x="3411" y="0"/>
                      <a:pt x="9077" y="0"/>
                    </a:cubicBezTo>
                    <a:lnTo>
                      <a:pt x="24196" y="0"/>
                    </a:lnTo>
                    <a:cubicBezTo>
                      <a:pt x="29836" y="0"/>
                      <a:pt x="33153" y="9899"/>
                      <a:pt x="33153" y="15985"/>
                    </a:cubicBezTo>
                    <a:lnTo>
                      <a:pt x="33153" y="74303"/>
                    </a:lnTo>
                    <a:cubicBezTo>
                      <a:pt x="33153" y="79866"/>
                      <a:pt x="30093" y="87400"/>
                      <a:pt x="24196" y="87400"/>
                    </a:cubicBezTo>
                    <a:lnTo>
                      <a:pt x="9077" y="87400"/>
                    </a:lnTo>
                    <a:cubicBezTo>
                      <a:pt x="3643" y="87400"/>
                      <a:pt x="0" y="80371"/>
                      <a:pt x="0" y="74303"/>
                    </a:cubicBezTo>
                    <a:close/>
                    <a:moveTo>
                      <a:pt x="9077" y="6025"/>
                    </a:moveTo>
                    <a:cubicBezTo>
                      <a:pt x="5683" y="6025"/>
                      <a:pt x="3008" y="11374"/>
                      <a:pt x="3008" y="15985"/>
                    </a:cubicBezTo>
                    <a:lnTo>
                      <a:pt x="3008" y="74303"/>
                    </a:lnTo>
                    <a:cubicBezTo>
                      <a:pt x="3008" y="79197"/>
                      <a:pt x="5794" y="84391"/>
                      <a:pt x="9077" y="84391"/>
                    </a:cubicBezTo>
                    <a:lnTo>
                      <a:pt x="24196" y="84391"/>
                    </a:lnTo>
                    <a:cubicBezTo>
                      <a:pt x="27325" y="84391"/>
                      <a:pt x="30136" y="79249"/>
                      <a:pt x="30136" y="74303"/>
                    </a:cubicBezTo>
                    <a:lnTo>
                      <a:pt x="30136" y="15985"/>
                    </a:lnTo>
                    <a:cubicBezTo>
                      <a:pt x="30136" y="10842"/>
                      <a:pt x="27188" y="6025"/>
                      <a:pt x="24196" y="6025"/>
                    </a:cubicBezTo>
                    <a:lnTo>
                      <a:pt x="9077" y="6025"/>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358" name="Freeform: Shape 13357">
              <a:extLst>
                <a:ext uri="{FF2B5EF4-FFF2-40B4-BE49-F238E27FC236}">
                  <a16:creationId xmlns:a16="http://schemas.microsoft.com/office/drawing/2014/main" id="{B53A9C92-FC77-533F-6078-6CF9AB99F032}"/>
                </a:ext>
              </a:extLst>
            </p:cNvPr>
            <p:cNvSpPr/>
            <p:nvPr/>
          </p:nvSpPr>
          <p:spPr>
            <a:xfrm>
              <a:off x="8712228" y="3566678"/>
              <a:ext cx="52306" cy="20918"/>
            </a:xfrm>
            <a:custGeom>
              <a:avLst/>
              <a:gdLst>
                <a:gd name="connsiteX0" fmla="*/ 0 w 45212"/>
                <a:gd name="connsiteY0" fmla="*/ 10071 h 18076"/>
                <a:gd name="connsiteX1" fmla="*/ 4688 w 45212"/>
                <a:gd name="connsiteY1" fmla="*/ 18076 h 18076"/>
                <a:gd name="connsiteX2" fmla="*/ 40593 w 45212"/>
                <a:gd name="connsiteY2" fmla="*/ 18076 h 18076"/>
                <a:gd name="connsiteX3" fmla="*/ 45213 w 45212"/>
                <a:gd name="connsiteY3" fmla="*/ 10071 h 18076"/>
                <a:gd name="connsiteX4" fmla="*/ 45213 w 45212"/>
                <a:gd name="connsiteY4" fmla="*/ 9780 h 18076"/>
                <a:gd name="connsiteX5" fmla="*/ 40593 w 45212"/>
                <a:gd name="connsiteY5" fmla="*/ 0 h 18076"/>
                <a:gd name="connsiteX6" fmla="*/ 4688 w 45212"/>
                <a:gd name="connsiteY6" fmla="*/ 0 h 18076"/>
                <a:gd name="connsiteX7" fmla="*/ 0 w 45212"/>
                <a:gd name="connsiteY7" fmla="*/ 9780 h 18076"/>
                <a:gd name="connsiteX8" fmla="*/ 0 w 45212"/>
                <a:gd name="connsiteY8" fmla="*/ 10071 h 1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12" h="18076">
                  <a:moveTo>
                    <a:pt x="0" y="10071"/>
                  </a:moveTo>
                  <a:cubicBezTo>
                    <a:pt x="0" y="13388"/>
                    <a:pt x="1894" y="18076"/>
                    <a:pt x="4688" y="18076"/>
                  </a:cubicBezTo>
                  <a:lnTo>
                    <a:pt x="40593" y="18076"/>
                  </a:lnTo>
                  <a:cubicBezTo>
                    <a:pt x="43404" y="18076"/>
                    <a:pt x="45213" y="13388"/>
                    <a:pt x="45213" y="10071"/>
                  </a:cubicBezTo>
                  <a:lnTo>
                    <a:pt x="45213" y="9780"/>
                  </a:lnTo>
                  <a:cubicBezTo>
                    <a:pt x="45213" y="6454"/>
                    <a:pt x="43404" y="0"/>
                    <a:pt x="40593" y="0"/>
                  </a:cubicBezTo>
                  <a:lnTo>
                    <a:pt x="4688" y="0"/>
                  </a:lnTo>
                  <a:cubicBezTo>
                    <a:pt x="1886" y="0"/>
                    <a:pt x="0" y="6454"/>
                    <a:pt x="0" y="9780"/>
                  </a:cubicBezTo>
                  <a:lnTo>
                    <a:pt x="0" y="10071"/>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359" name="Graphic 5">
              <a:extLst>
                <a:ext uri="{FF2B5EF4-FFF2-40B4-BE49-F238E27FC236}">
                  <a16:creationId xmlns:a16="http://schemas.microsoft.com/office/drawing/2014/main" id="{1AEB5D0E-C83D-5C61-8EC3-53B9263E0BAC}"/>
                </a:ext>
              </a:extLst>
            </p:cNvPr>
            <p:cNvGrpSpPr/>
            <p:nvPr/>
          </p:nvGrpSpPr>
          <p:grpSpPr>
            <a:xfrm>
              <a:off x="8729576" y="3664336"/>
              <a:ext cx="18819" cy="13955"/>
              <a:chOff x="-2927077" y="3456845"/>
              <a:chExt cx="16266" cy="12059"/>
            </a:xfrm>
          </p:grpSpPr>
          <p:sp>
            <p:nvSpPr>
              <p:cNvPr id="13413" name="Freeform: Shape 13412">
                <a:extLst>
                  <a:ext uri="{FF2B5EF4-FFF2-40B4-BE49-F238E27FC236}">
                    <a16:creationId xmlns:a16="http://schemas.microsoft.com/office/drawing/2014/main" id="{C952E2EC-3ABB-DD33-B8BF-2611C280C1DB}"/>
                  </a:ext>
                </a:extLst>
              </p:cNvPr>
              <p:cNvSpPr/>
              <p:nvPr/>
            </p:nvSpPr>
            <p:spPr>
              <a:xfrm>
                <a:off x="-2925524" y="3459862"/>
                <a:ext cx="13173" cy="9042"/>
              </a:xfrm>
              <a:custGeom>
                <a:avLst/>
                <a:gdLst>
                  <a:gd name="connsiteX0" fmla="*/ 13160 w 13173"/>
                  <a:gd name="connsiteY0" fmla="*/ 0 h 9042"/>
                  <a:gd name="connsiteX1" fmla="*/ 9491 w 13173"/>
                  <a:gd name="connsiteY1" fmla="*/ 9042 h 9042"/>
                  <a:gd name="connsiteX2" fmla="*/ 2368 w 13173"/>
                  <a:gd name="connsiteY2" fmla="*/ 9042 h 9042"/>
                  <a:gd name="connsiteX3" fmla="*/ 97 w 13173"/>
                  <a:gd name="connsiteY3" fmla="*/ 0 h 9042"/>
                  <a:gd name="connsiteX4" fmla="*/ 13160 w 13173"/>
                  <a:gd name="connsiteY4" fmla="*/ 0 h 9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3" h="9042">
                    <a:moveTo>
                      <a:pt x="13160" y="0"/>
                    </a:moveTo>
                    <a:cubicBezTo>
                      <a:pt x="13160" y="0"/>
                      <a:pt x="13597" y="9042"/>
                      <a:pt x="9491" y="9042"/>
                    </a:cubicBezTo>
                    <a:lnTo>
                      <a:pt x="2368" y="9042"/>
                    </a:lnTo>
                    <a:cubicBezTo>
                      <a:pt x="-717" y="9042"/>
                      <a:pt x="97" y="0"/>
                      <a:pt x="97" y="0"/>
                    </a:cubicBezTo>
                    <a:lnTo>
                      <a:pt x="13160" y="0"/>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14" name="Freeform: Shape 13413">
                <a:extLst>
                  <a:ext uri="{FF2B5EF4-FFF2-40B4-BE49-F238E27FC236}">
                    <a16:creationId xmlns:a16="http://schemas.microsoft.com/office/drawing/2014/main" id="{644AF81D-8466-77FB-46A6-645FF8B8CF44}"/>
                  </a:ext>
                </a:extLst>
              </p:cNvPr>
              <p:cNvSpPr/>
              <p:nvPr/>
            </p:nvSpPr>
            <p:spPr>
              <a:xfrm>
                <a:off x="-2927077" y="3456845"/>
                <a:ext cx="16266" cy="12050"/>
              </a:xfrm>
              <a:custGeom>
                <a:avLst/>
                <a:gdLst>
                  <a:gd name="connsiteX0" fmla="*/ 1693 w 16266"/>
                  <a:gd name="connsiteY0" fmla="*/ 11357 h 12050"/>
                  <a:gd name="connsiteX1" fmla="*/ 107 w 16266"/>
                  <a:gd name="connsiteY1" fmla="*/ 1714 h 12050"/>
                  <a:gd name="connsiteX2" fmla="*/ 227 w 16266"/>
                  <a:gd name="connsiteY2" fmla="*/ 0 h 12050"/>
                  <a:gd name="connsiteX3" fmla="*/ 16178 w 16266"/>
                  <a:gd name="connsiteY3" fmla="*/ 0 h 12050"/>
                  <a:gd name="connsiteX4" fmla="*/ 16246 w 16266"/>
                  <a:gd name="connsiteY4" fmla="*/ 1543 h 12050"/>
                  <a:gd name="connsiteX5" fmla="*/ 13967 w 16266"/>
                  <a:gd name="connsiteY5" fmla="*/ 11228 h 12050"/>
                  <a:gd name="connsiteX6" fmla="*/ 11035 w 16266"/>
                  <a:gd name="connsiteY6" fmla="*/ 12051 h 12050"/>
                  <a:gd name="connsiteX7" fmla="*/ 3913 w 16266"/>
                  <a:gd name="connsiteY7" fmla="*/ 12051 h 12050"/>
                  <a:gd name="connsiteX8" fmla="*/ 1684 w 16266"/>
                  <a:gd name="connsiteY8" fmla="*/ 11348 h 12050"/>
                  <a:gd name="connsiteX9" fmla="*/ 3107 w 16266"/>
                  <a:gd name="connsiteY9" fmla="*/ 3017 h 12050"/>
                  <a:gd name="connsiteX10" fmla="*/ 3973 w 16266"/>
                  <a:gd name="connsiteY10" fmla="*/ 9042 h 12050"/>
                  <a:gd name="connsiteX11" fmla="*/ 11044 w 16266"/>
                  <a:gd name="connsiteY11" fmla="*/ 9042 h 12050"/>
                  <a:gd name="connsiteX12" fmla="*/ 11738 w 16266"/>
                  <a:gd name="connsiteY12" fmla="*/ 8803 h 12050"/>
                  <a:gd name="connsiteX13" fmla="*/ 13169 w 16266"/>
                  <a:gd name="connsiteY13" fmla="*/ 3017 h 12050"/>
                  <a:gd name="connsiteX14" fmla="*/ 3107 w 16266"/>
                  <a:gd name="connsiteY14" fmla="*/ 3017 h 1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66" h="12050">
                    <a:moveTo>
                      <a:pt x="1693" y="11357"/>
                    </a:moveTo>
                    <a:cubicBezTo>
                      <a:pt x="-433" y="9034"/>
                      <a:pt x="4" y="2966"/>
                      <a:pt x="107" y="1714"/>
                    </a:cubicBezTo>
                    <a:lnTo>
                      <a:pt x="227" y="0"/>
                    </a:lnTo>
                    <a:lnTo>
                      <a:pt x="16178" y="0"/>
                    </a:lnTo>
                    <a:lnTo>
                      <a:pt x="16246" y="1543"/>
                    </a:lnTo>
                    <a:cubicBezTo>
                      <a:pt x="16281" y="2246"/>
                      <a:pt x="16504" y="8580"/>
                      <a:pt x="13967" y="11228"/>
                    </a:cubicBezTo>
                    <a:cubicBezTo>
                      <a:pt x="13169" y="12068"/>
                      <a:pt x="12149" y="12051"/>
                      <a:pt x="11035" y="12051"/>
                    </a:cubicBezTo>
                    <a:lnTo>
                      <a:pt x="3913" y="12051"/>
                    </a:lnTo>
                    <a:cubicBezTo>
                      <a:pt x="3055" y="12051"/>
                      <a:pt x="2284" y="12008"/>
                      <a:pt x="1684" y="11348"/>
                    </a:cubicBezTo>
                    <a:close/>
                    <a:moveTo>
                      <a:pt x="3107" y="3017"/>
                    </a:moveTo>
                    <a:cubicBezTo>
                      <a:pt x="3013" y="6034"/>
                      <a:pt x="3373" y="9042"/>
                      <a:pt x="3973" y="9042"/>
                    </a:cubicBezTo>
                    <a:lnTo>
                      <a:pt x="11044" y="9042"/>
                    </a:lnTo>
                    <a:cubicBezTo>
                      <a:pt x="11241" y="9042"/>
                      <a:pt x="11464" y="9085"/>
                      <a:pt x="11738" y="8803"/>
                    </a:cubicBezTo>
                    <a:cubicBezTo>
                      <a:pt x="12681" y="7825"/>
                      <a:pt x="13101" y="6034"/>
                      <a:pt x="13169" y="3017"/>
                    </a:cubicBezTo>
                    <a:lnTo>
                      <a:pt x="3107" y="3017"/>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360" name="Freeform: Shape 13359">
              <a:extLst>
                <a:ext uri="{FF2B5EF4-FFF2-40B4-BE49-F238E27FC236}">
                  <a16:creationId xmlns:a16="http://schemas.microsoft.com/office/drawing/2014/main" id="{E10345CB-51EA-DE01-2C75-1C7427CF8005}"/>
                </a:ext>
              </a:extLst>
            </p:cNvPr>
            <p:cNvSpPr/>
            <p:nvPr/>
          </p:nvSpPr>
          <p:spPr>
            <a:xfrm>
              <a:off x="8383797" y="3901865"/>
              <a:ext cx="37453" cy="46445"/>
            </a:xfrm>
            <a:custGeom>
              <a:avLst/>
              <a:gdLst>
                <a:gd name="connsiteX0" fmla="*/ 9 w 32373"/>
                <a:gd name="connsiteY0" fmla="*/ 39393 h 40136"/>
                <a:gd name="connsiteX1" fmla="*/ 7423 w 32373"/>
                <a:gd name="connsiteY1" fmla="*/ 33530 h 40136"/>
                <a:gd name="connsiteX2" fmla="*/ 32373 w 32373"/>
                <a:gd name="connsiteY2" fmla="*/ 0 h 40136"/>
                <a:gd name="connsiteX3" fmla="*/ 0 w 32373"/>
                <a:gd name="connsiteY3" fmla="*/ 39393 h 40136"/>
              </a:gdLst>
              <a:ahLst/>
              <a:cxnLst>
                <a:cxn ang="0">
                  <a:pos x="connsiteX0" y="connsiteY0"/>
                </a:cxn>
                <a:cxn ang="0">
                  <a:pos x="connsiteX1" y="connsiteY1"/>
                </a:cxn>
                <a:cxn ang="0">
                  <a:pos x="connsiteX2" y="connsiteY2"/>
                </a:cxn>
                <a:cxn ang="0">
                  <a:pos x="connsiteX3" y="connsiteY3"/>
                </a:cxn>
              </a:cxnLst>
              <a:rect l="l" t="t" r="r" b="b"/>
              <a:pathLst>
                <a:path w="32373" h="40136">
                  <a:moveTo>
                    <a:pt x="9" y="39393"/>
                  </a:moveTo>
                  <a:cubicBezTo>
                    <a:pt x="9" y="39393"/>
                    <a:pt x="3026" y="43216"/>
                    <a:pt x="7423" y="33530"/>
                  </a:cubicBezTo>
                  <a:cubicBezTo>
                    <a:pt x="11820" y="23845"/>
                    <a:pt x="32373" y="0"/>
                    <a:pt x="32373" y="0"/>
                  </a:cubicBezTo>
                  <a:cubicBezTo>
                    <a:pt x="32373" y="0"/>
                    <a:pt x="6900" y="16457"/>
                    <a:pt x="0" y="39393"/>
                  </a:cubicBezTo>
                  <a:close/>
                </a:path>
              </a:pathLst>
            </a:custGeom>
            <a:solidFill>
              <a:srgbClr val="0071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361" name="Graphic 5">
              <a:extLst>
                <a:ext uri="{FF2B5EF4-FFF2-40B4-BE49-F238E27FC236}">
                  <a16:creationId xmlns:a16="http://schemas.microsoft.com/office/drawing/2014/main" id="{B5B72BDA-5705-0F8C-3FCF-760784205190}"/>
                </a:ext>
              </a:extLst>
            </p:cNvPr>
            <p:cNvGrpSpPr/>
            <p:nvPr/>
          </p:nvGrpSpPr>
          <p:grpSpPr>
            <a:xfrm>
              <a:off x="8362342" y="5202477"/>
              <a:ext cx="563791" cy="247386"/>
              <a:chOff x="-3244501" y="4786037"/>
              <a:chExt cx="487321" cy="213780"/>
            </a:xfrm>
          </p:grpSpPr>
          <p:sp>
            <p:nvSpPr>
              <p:cNvPr id="13396" name="Freeform: Shape 13395">
                <a:extLst>
                  <a:ext uri="{FF2B5EF4-FFF2-40B4-BE49-F238E27FC236}">
                    <a16:creationId xmlns:a16="http://schemas.microsoft.com/office/drawing/2014/main" id="{E1DDA016-6D3B-BBB6-6049-364BCC3F1BEB}"/>
                  </a:ext>
                </a:extLst>
              </p:cNvPr>
              <p:cNvSpPr/>
              <p:nvPr/>
            </p:nvSpPr>
            <p:spPr>
              <a:xfrm>
                <a:off x="-3212766" y="4818093"/>
                <a:ext cx="435550" cy="118341"/>
              </a:xfrm>
              <a:custGeom>
                <a:avLst/>
                <a:gdLst>
                  <a:gd name="connsiteX0" fmla="*/ 0 w 435550"/>
                  <a:gd name="connsiteY0" fmla="*/ 54761 h 118341"/>
                  <a:gd name="connsiteX1" fmla="*/ 218058 w 435550"/>
                  <a:gd name="connsiteY1" fmla="*/ 118342 h 118341"/>
                  <a:gd name="connsiteX2" fmla="*/ 435550 w 435550"/>
                  <a:gd name="connsiteY2" fmla="*/ 54761 h 118341"/>
                  <a:gd name="connsiteX3" fmla="*/ 217775 w 435550"/>
                  <a:gd name="connsiteY3" fmla="*/ 0 h 118341"/>
                  <a:gd name="connsiteX4" fmla="*/ 0 w 435550"/>
                  <a:gd name="connsiteY4" fmla="*/ 54761 h 118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550" h="118341">
                    <a:moveTo>
                      <a:pt x="0" y="54761"/>
                    </a:moveTo>
                    <a:cubicBezTo>
                      <a:pt x="0" y="85008"/>
                      <a:pt x="97779" y="118342"/>
                      <a:pt x="218058" y="118342"/>
                    </a:cubicBezTo>
                    <a:cubicBezTo>
                      <a:pt x="338337" y="118342"/>
                      <a:pt x="435550" y="85008"/>
                      <a:pt x="435550" y="54761"/>
                    </a:cubicBezTo>
                    <a:cubicBezTo>
                      <a:pt x="435550" y="24513"/>
                      <a:pt x="338054" y="0"/>
                      <a:pt x="217775" y="0"/>
                    </a:cubicBezTo>
                    <a:cubicBezTo>
                      <a:pt x="97497" y="0"/>
                      <a:pt x="0" y="24513"/>
                      <a:pt x="0" y="54761"/>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00" name="Freeform: Shape 13399">
                <a:extLst>
                  <a:ext uri="{FF2B5EF4-FFF2-40B4-BE49-F238E27FC236}">
                    <a16:creationId xmlns:a16="http://schemas.microsoft.com/office/drawing/2014/main" id="{8DE57F7E-0472-666A-1ED1-60022B0B9FB1}"/>
                  </a:ext>
                </a:extLst>
              </p:cNvPr>
              <p:cNvSpPr/>
              <p:nvPr/>
            </p:nvSpPr>
            <p:spPr>
              <a:xfrm>
                <a:off x="-3207074" y="4795311"/>
                <a:ext cx="422702" cy="120364"/>
              </a:xfrm>
              <a:custGeom>
                <a:avLst/>
                <a:gdLst>
                  <a:gd name="connsiteX0" fmla="*/ 0 w 422702"/>
                  <a:gd name="connsiteY0" fmla="*/ 60186 h 120364"/>
                  <a:gd name="connsiteX1" fmla="*/ 211355 w 422702"/>
                  <a:gd name="connsiteY1" fmla="*/ 120364 h 120364"/>
                  <a:gd name="connsiteX2" fmla="*/ 422702 w 422702"/>
                  <a:gd name="connsiteY2" fmla="*/ 60186 h 120364"/>
                  <a:gd name="connsiteX3" fmla="*/ 211355 w 422702"/>
                  <a:gd name="connsiteY3" fmla="*/ 0 h 120364"/>
                  <a:gd name="connsiteX4" fmla="*/ 0 w 422702"/>
                  <a:gd name="connsiteY4" fmla="*/ 60186 h 12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02" h="120364">
                    <a:moveTo>
                      <a:pt x="0" y="60186"/>
                    </a:moveTo>
                    <a:cubicBezTo>
                      <a:pt x="0" y="93425"/>
                      <a:pt x="94625" y="120364"/>
                      <a:pt x="211355" y="120364"/>
                    </a:cubicBezTo>
                    <a:cubicBezTo>
                      <a:pt x="328085" y="120364"/>
                      <a:pt x="422702" y="93417"/>
                      <a:pt x="422702" y="60186"/>
                    </a:cubicBezTo>
                    <a:cubicBezTo>
                      <a:pt x="422702" y="26956"/>
                      <a:pt x="328077" y="0"/>
                      <a:pt x="211355" y="0"/>
                    </a:cubicBezTo>
                    <a:cubicBezTo>
                      <a:pt x="94634" y="0"/>
                      <a:pt x="0" y="26948"/>
                      <a:pt x="0" y="60186"/>
                    </a:cubicBezTo>
                    <a:close/>
                  </a:path>
                </a:pathLst>
              </a:custGeom>
              <a:solidFill>
                <a:srgbClr val="0071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01" name="Freeform: Shape 13400">
                <a:extLst>
                  <a:ext uri="{FF2B5EF4-FFF2-40B4-BE49-F238E27FC236}">
                    <a16:creationId xmlns:a16="http://schemas.microsoft.com/office/drawing/2014/main" id="{1EB9BC5B-362D-A571-5D12-BEEB2F75363F}"/>
                  </a:ext>
                </a:extLst>
              </p:cNvPr>
              <p:cNvSpPr/>
              <p:nvPr/>
            </p:nvSpPr>
            <p:spPr>
              <a:xfrm>
                <a:off x="-3189195" y="4786037"/>
                <a:ext cx="388974" cy="110756"/>
              </a:xfrm>
              <a:custGeom>
                <a:avLst/>
                <a:gdLst>
                  <a:gd name="connsiteX0" fmla="*/ 0 w 388974"/>
                  <a:gd name="connsiteY0" fmla="*/ 55378 h 110756"/>
                  <a:gd name="connsiteX1" fmla="*/ 194487 w 388974"/>
                  <a:gd name="connsiteY1" fmla="*/ 110756 h 110756"/>
                  <a:gd name="connsiteX2" fmla="*/ 388975 w 388974"/>
                  <a:gd name="connsiteY2" fmla="*/ 55378 h 110756"/>
                  <a:gd name="connsiteX3" fmla="*/ 194487 w 388974"/>
                  <a:gd name="connsiteY3" fmla="*/ 0 h 110756"/>
                  <a:gd name="connsiteX4" fmla="*/ 0 w 388974"/>
                  <a:gd name="connsiteY4" fmla="*/ 55378 h 110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974" h="110756">
                    <a:moveTo>
                      <a:pt x="0" y="55378"/>
                    </a:moveTo>
                    <a:cubicBezTo>
                      <a:pt x="0" y="85960"/>
                      <a:pt x="87074" y="110756"/>
                      <a:pt x="194487" y="110756"/>
                    </a:cubicBezTo>
                    <a:cubicBezTo>
                      <a:pt x="301901" y="110756"/>
                      <a:pt x="388975" y="85960"/>
                      <a:pt x="388975" y="55378"/>
                    </a:cubicBezTo>
                    <a:cubicBezTo>
                      <a:pt x="388975" y="24796"/>
                      <a:pt x="301901" y="0"/>
                      <a:pt x="194487" y="0"/>
                    </a:cubicBezTo>
                    <a:cubicBezTo>
                      <a:pt x="87074" y="0"/>
                      <a:pt x="0" y="24796"/>
                      <a:pt x="0" y="55378"/>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02" name="Freeform: Shape 13401">
                <a:extLst>
                  <a:ext uri="{FF2B5EF4-FFF2-40B4-BE49-F238E27FC236}">
                    <a16:creationId xmlns:a16="http://schemas.microsoft.com/office/drawing/2014/main" id="{0C10CB5B-41CC-71B0-C76B-3B640169AC21}"/>
                  </a:ext>
                </a:extLst>
              </p:cNvPr>
              <p:cNvSpPr/>
              <p:nvPr/>
            </p:nvSpPr>
            <p:spPr>
              <a:xfrm>
                <a:off x="-3039603" y="4911775"/>
                <a:ext cx="88051" cy="88042"/>
              </a:xfrm>
              <a:custGeom>
                <a:avLst/>
                <a:gdLst>
                  <a:gd name="connsiteX0" fmla="*/ 0 w 88051"/>
                  <a:gd name="connsiteY0" fmla="*/ 44021 h 88042"/>
                  <a:gd name="connsiteX1" fmla="*/ 44021 w 88051"/>
                  <a:gd name="connsiteY1" fmla="*/ 88042 h 88042"/>
                  <a:gd name="connsiteX2" fmla="*/ 88051 w 88051"/>
                  <a:gd name="connsiteY2" fmla="*/ 44021 h 88042"/>
                  <a:gd name="connsiteX3" fmla="*/ 44021 w 88051"/>
                  <a:gd name="connsiteY3" fmla="*/ 0 h 88042"/>
                  <a:gd name="connsiteX4" fmla="*/ 0 w 88051"/>
                  <a:gd name="connsiteY4" fmla="*/ 44021 h 88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51" h="88042">
                    <a:moveTo>
                      <a:pt x="0" y="44021"/>
                    </a:moveTo>
                    <a:cubicBezTo>
                      <a:pt x="0" y="68338"/>
                      <a:pt x="19714" y="88042"/>
                      <a:pt x="44021" y="88042"/>
                    </a:cubicBezTo>
                    <a:cubicBezTo>
                      <a:pt x="68329" y="88042"/>
                      <a:pt x="88051" y="68338"/>
                      <a:pt x="88051" y="44021"/>
                    </a:cubicBezTo>
                    <a:cubicBezTo>
                      <a:pt x="88051" y="19705"/>
                      <a:pt x="68338" y="0"/>
                      <a:pt x="44021" y="0"/>
                    </a:cubicBezTo>
                    <a:cubicBezTo>
                      <a:pt x="19705" y="0"/>
                      <a:pt x="0" y="19714"/>
                      <a:pt x="0" y="44021"/>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03" name="Freeform: Shape 13402">
                <a:extLst>
                  <a:ext uri="{FF2B5EF4-FFF2-40B4-BE49-F238E27FC236}">
                    <a16:creationId xmlns:a16="http://schemas.microsoft.com/office/drawing/2014/main" id="{4447E64E-6C67-2C5A-EB64-114C632B9AC9}"/>
                  </a:ext>
                </a:extLst>
              </p:cNvPr>
              <p:cNvSpPr/>
              <p:nvPr/>
            </p:nvSpPr>
            <p:spPr>
              <a:xfrm rot="-36600">
                <a:off x="-3024507" y="4927057"/>
                <a:ext cx="56089" cy="56089"/>
              </a:xfrm>
              <a:custGeom>
                <a:avLst/>
                <a:gdLst>
                  <a:gd name="connsiteX0" fmla="*/ 56089 w 56089"/>
                  <a:gd name="connsiteY0" fmla="*/ 28045 h 56089"/>
                  <a:gd name="connsiteX1" fmla="*/ 28044 w 56089"/>
                  <a:gd name="connsiteY1" fmla="*/ 56090 h 56089"/>
                  <a:gd name="connsiteX2" fmla="*/ 0 w 56089"/>
                  <a:gd name="connsiteY2" fmla="*/ 28045 h 56089"/>
                  <a:gd name="connsiteX3" fmla="*/ 28044 w 56089"/>
                  <a:gd name="connsiteY3" fmla="*/ 0 h 56089"/>
                  <a:gd name="connsiteX4" fmla="*/ 56089 w 56089"/>
                  <a:gd name="connsiteY4" fmla="*/ 28045 h 56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89" h="56089">
                    <a:moveTo>
                      <a:pt x="56089" y="28045"/>
                    </a:moveTo>
                    <a:cubicBezTo>
                      <a:pt x="56089" y="43534"/>
                      <a:pt x="43533" y="56090"/>
                      <a:pt x="28044" y="56090"/>
                    </a:cubicBezTo>
                    <a:cubicBezTo>
                      <a:pt x="12556" y="56090"/>
                      <a:pt x="0" y="43534"/>
                      <a:pt x="0" y="28045"/>
                    </a:cubicBezTo>
                    <a:cubicBezTo>
                      <a:pt x="0" y="12556"/>
                      <a:pt x="12556" y="0"/>
                      <a:pt x="28044" y="0"/>
                    </a:cubicBezTo>
                    <a:cubicBezTo>
                      <a:pt x="43533" y="0"/>
                      <a:pt x="56089" y="12556"/>
                      <a:pt x="56089" y="28045"/>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404" name="Graphic 5">
                <a:extLst>
                  <a:ext uri="{FF2B5EF4-FFF2-40B4-BE49-F238E27FC236}">
                    <a16:creationId xmlns:a16="http://schemas.microsoft.com/office/drawing/2014/main" id="{7D774C8E-BE00-C40E-4380-E65AEB42E534}"/>
                  </a:ext>
                </a:extLst>
              </p:cNvPr>
              <p:cNvGrpSpPr/>
              <p:nvPr/>
            </p:nvGrpSpPr>
            <p:grpSpPr>
              <a:xfrm>
                <a:off x="-2791366" y="4852343"/>
                <a:ext cx="34186" cy="87408"/>
                <a:chOff x="-2791366" y="4852343"/>
                <a:chExt cx="34186" cy="87408"/>
              </a:xfrm>
            </p:grpSpPr>
            <p:sp>
              <p:nvSpPr>
                <p:cNvPr id="13411" name="Freeform: Shape 13410">
                  <a:extLst>
                    <a:ext uri="{FF2B5EF4-FFF2-40B4-BE49-F238E27FC236}">
                      <a16:creationId xmlns:a16="http://schemas.microsoft.com/office/drawing/2014/main" id="{9CF6DBE4-B6E5-AF7F-1FF6-CF4DAA263E2B}"/>
                    </a:ext>
                  </a:extLst>
                </p:cNvPr>
                <p:cNvSpPr/>
                <p:nvPr/>
              </p:nvSpPr>
              <p:spPr>
                <a:xfrm>
                  <a:off x="-2791366" y="4852343"/>
                  <a:ext cx="27127" cy="87408"/>
                </a:xfrm>
                <a:custGeom>
                  <a:avLst/>
                  <a:gdLst>
                    <a:gd name="connsiteX0" fmla="*/ 0 w 27127"/>
                    <a:gd name="connsiteY0" fmla="*/ 69066 h 87408"/>
                    <a:gd name="connsiteX1" fmla="*/ 13919 w 27127"/>
                    <a:gd name="connsiteY1" fmla="*/ 87408 h 87408"/>
                    <a:gd name="connsiteX2" fmla="*/ 14391 w 27127"/>
                    <a:gd name="connsiteY2" fmla="*/ 87408 h 87408"/>
                    <a:gd name="connsiteX3" fmla="*/ 27128 w 27127"/>
                    <a:gd name="connsiteY3" fmla="*/ 69066 h 87408"/>
                    <a:gd name="connsiteX4" fmla="*/ 27128 w 27127"/>
                    <a:gd name="connsiteY4" fmla="*/ 18754 h 87408"/>
                    <a:gd name="connsiteX5" fmla="*/ 14391 w 27127"/>
                    <a:gd name="connsiteY5" fmla="*/ 0 h 87408"/>
                    <a:gd name="connsiteX6" fmla="*/ 13919 w 27127"/>
                    <a:gd name="connsiteY6" fmla="*/ 0 h 87408"/>
                    <a:gd name="connsiteX7" fmla="*/ 0 w 27127"/>
                    <a:gd name="connsiteY7" fmla="*/ 18754 h 87408"/>
                    <a:gd name="connsiteX8" fmla="*/ 0 w 27127"/>
                    <a:gd name="connsiteY8" fmla="*/ 69066 h 8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27" h="87408">
                      <a:moveTo>
                        <a:pt x="0" y="69066"/>
                      </a:moveTo>
                      <a:cubicBezTo>
                        <a:pt x="0" y="77714"/>
                        <a:pt x="6266" y="87408"/>
                        <a:pt x="13919" y="87408"/>
                      </a:cubicBezTo>
                      <a:lnTo>
                        <a:pt x="14391" y="87408"/>
                      </a:lnTo>
                      <a:cubicBezTo>
                        <a:pt x="22045" y="87408"/>
                        <a:pt x="27128" y="77714"/>
                        <a:pt x="27128" y="69066"/>
                      </a:cubicBezTo>
                      <a:lnTo>
                        <a:pt x="27128" y="18754"/>
                      </a:lnTo>
                      <a:cubicBezTo>
                        <a:pt x="27128" y="10105"/>
                        <a:pt x="22045" y="0"/>
                        <a:pt x="14391" y="0"/>
                      </a:cubicBezTo>
                      <a:lnTo>
                        <a:pt x="13919" y="0"/>
                      </a:lnTo>
                      <a:cubicBezTo>
                        <a:pt x="6274" y="0"/>
                        <a:pt x="0" y="10097"/>
                        <a:pt x="0" y="18754"/>
                      </a:cubicBezTo>
                      <a:lnTo>
                        <a:pt x="0" y="69066"/>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12" name="Freeform: Shape 13411">
                  <a:extLst>
                    <a:ext uri="{FF2B5EF4-FFF2-40B4-BE49-F238E27FC236}">
                      <a16:creationId xmlns:a16="http://schemas.microsoft.com/office/drawing/2014/main" id="{0F302A77-A152-E6CF-90B6-95183C69E7F3}"/>
                    </a:ext>
                  </a:extLst>
                </p:cNvPr>
                <p:cNvSpPr/>
                <p:nvPr/>
              </p:nvSpPr>
              <p:spPr>
                <a:xfrm>
                  <a:off x="-2764239" y="4870077"/>
                  <a:ext cx="7059" cy="49926"/>
                </a:xfrm>
                <a:custGeom>
                  <a:avLst/>
                  <a:gdLst>
                    <a:gd name="connsiteX0" fmla="*/ 0 w 7059"/>
                    <a:gd name="connsiteY0" fmla="*/ 0 h 49926"/>
                    <a:gd name="connsiteX1" fmla="*/ 7045 w 7059"/>
                    <a:gd name="connsiteY1" fmla="*/ 23219 h 49926"/>
                    <a:gd name="connsiteX2" fmla="*/ 0 w 7059"/>
                    <a:gd name="connsiteY2" fmla="*/ 49927 h 49926"/>
                    <a:gd name="connsiteX3" fmla="*/ 0 w 7059"/>
                    <a:gd name="connsiteY3" fmla="*/ 0 h 49926"/>
                  </a:gdLst>
                  <a:ahLst/>
                  <a:cxnLst>
                    <a:cxn ang="0">
                      <a:pos x="connsiteX0" y="connsiteY0"/>
                    </a:cxn>
                    <a:cxn ang="0">
                      <a:pos x="connsiteX1" y="connsiteY1"/>
                    </a:cxn>
                    <a:cxn ang="0">
                      <a:pos x="connsiteX2" y="connsiteY2"/>
                    </a:cxn>
                    <a:cxn ang="0">
                      <a:pos x="connsiteX3" y="connsiteY3"/>
                    </a:cxn>
                  </a:cxnLst>
                  <a:rect l="l" t="t" r="r" b="b"/>
                  <a:pathLst>
                    <a:path w="7059" h="49926">
                      <a:moveTo>
                        <a:pt x="0" y="0"/>
                      </a:moveTo>
                      <a:cubicBezTo>
                        <a:pt x="0" y="0"/>
                        <a:pt x="6677" y="-103"/>
                        <a:pt x="7045" y="23219"/>
                      </a:cubicBezTo>
                      <a:cubicBezTo>
                        <a:pt x="7423" y="46704"/>
                        <a:pt x="0" y="49927"/>
                        <a:pt x="0" y="49927"/>
                      </a:cubicBezTo>
                      <a:lnTo>
                        <a:pt x="0" y="0"/>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405" name="Graphic 5">
                <a:extLst>
                  <a:ext uri="{FF2B5EF4-FFF2-40B4-BE49-F238E27FC236}">
                    <a16:creationId xmlns:a16="http://schemas.microsoft.com/office/drawing/2014/main" id="{164B11CD-8A06-8C46-A3FD-46E102C01158}"/>
                  </a:ext>
                </a:extLst>
              </p:cNvPr>
              <p:cNvGrpSpPr/>
              <p:nvPr/>
            </p:nvGrpSpPr>
            <p:grpSpPr>
              <a:xfrm>
                <a:off x="-3244501" y="4846309"/>
                <a:ext cx="34178" cy="81382"/>
                <a:chOff x="-3244501" y="4846309"/>
                <a:chExt cx="34178" cy="81382"/>
              </a:xfrm>
            </p:grpSpPr>
            <p:sp>
              <p:nvSpPr>
                <p:cNvPr id="13406" name="Freeform: Shape 13405">
                  <a:extLst>
                    <a:ext uri="{FF2B5EF4-FFF2-40B4-BE49-F238E27FC236}">
                      <a16:creationId xmlns:a16="http://schemas.microsoft.com/office/drawing/2014/main" id="{5F458942-16CB-757F-7C2D-09018013301B}"/>
                    </a:ext>
                  </a:extLst>
                </p:cNvPr>
                <p:cNvSpPr/>
                <p:nvPr/>
              </p:nvSpPr>
              <p:spPr>
                <a:xfrm>
                  <a:off x="-3237450" y="4846309"/>
                  <a:ext cx="27127" cy="81382"/>
                </a:xfrm>
                <a:custGeom>
                  <a:avLst/>
                  <a:gdLst>
                    <a:gd name="connsiteX0" fmla="*/ 27128 w 27127"/>
                    <a:gd name="connsiteY0" fmla="*/ 66289 h 81382"/>
                    <a:gd name="connsiteX1" fmla="*/ 14957 w 27127"/>
                    <a:gd name="connsiteY1" fmla="*/ 81383 h 81382"/>
                    <a:gd name="connsiteX2" fmla="*/ 14485 w 27127"/>
                    <a:gd name="connsiteY2" fmla="*/ 81383 h 81382"/>
                    <a:gd name="connsiteX3" fmla="*/ 0 w 27127"/>
                    <a:gd name="connsiteY3" fmla="*/ 66289 h 81382"/>
                    <a:gd name="connsiteX4" fmla="*/ 0 w 27127"/>
                    <a:gd name="connsiteY4" fmla="*/ 15977 h 81382"/>
                    <a:gd name="connsiteX5" fmla="*/ 14485 w 27127"/>
                    <a:gd name="connsiteY5" fmla="*/ 0 h 81382"/>
                    <a:gd name="connsiteX6" fmla="*/ 14957 w 27127"/>
                    <a:gd name="connsiteY6" fmla="*/ 0 h 81382"/>
                    <a:gd name="connsiteX7" fmla="*/ 27128 w 27127"/>
                    <a:gd name="connsiteY7" fmla="*/ 15977 h 81382"/>
                    <a:gd name="connsiteX8" fmla="*/ 27128 w 27127"/>
                    <a:gd name="connsiteY8" fmla="*/ 66289 h 8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27" h="81382">
                      <a:moveTo>
                        <a:pt x="27128" y="66289"/>
                      </a:moveTo>
                      <a:cubicBezTo>
                        <a:pt x="27128" y="74946"/>
                        <a:pt x="22611" y="81383"/>
                        <a:pt x="14957" y="81383"/>
                      </a:cubicBezTo>
                      <a:lnTo>
                        <a:pt x="14485" y="81383"/>
                      </a:lnTo>
                      <a:cubicBezTo>
                        <a:pt x="6831" y="81383"/>
                        <a:pt x="0" y="74946"/>
                        <a:pt x="0" y="66289"/>
                      </a:cubicBezTo>
                      <a:lnTo>
                        <a:pt x="0" y="15977"/>
                      </a:lnTo>
                      <a:cubicBezTo>
                        <a:pt x="0" y="7328"/>
                        <a:pt x="6831" y="0"/>
                        <a:pt x="14485" y="0"/>
                      </a:cubicBezTo>
                      <a:lnTo>
                        <a:pt x="14957" y="0"/>
                      </a:lnTo>
                      <a:cubicBezTo>
                        <a:pt x="22611" y="0"/>
                        <a:pt x="27128" y="7328"/>
                        <a:pt x="27128" y="15977"/>
                      </a:cubicBezTo>
                      <a:lnTo>
                        <a:pt x="27128" y="66289"/>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10" name="Freeform: Shape 13409">
                  <a:extLst>
                    <a:ext uri="{FF2B5EF4-FFF2-40B4-BE49-F238E27FC236}">
                      <a16:creationId xmlns:a16="http://schemas.microsoft.com/office/drawing/2014/main" id="{4EAD0290-7AA4-F4D1-0479-0D7EC78658C2}"/>
                    </a:ext>
                  </a:extLst>
                </p:cNvPr>
                <p:cNvSpPr/>
                <p:nvPr/>
              </p:nvSpPr>
              <p:spPr>
                <a:xfrm>
                  <a:off x="-3244501" y="4861274"/>
                  <a:ext cx="7059" cy="49926"/>
                </a:xfrm>
                <a:custGeom>
                  <a:avLst/>
                  <a:gdLst>
                    <a:gd name="connsiteX0" fmla="*/ 7059 w 7059"/>
                    <a:gd name="connsiteY0" fmla="*/ 0 h 49926"/>
                    <a:gd name="connsiteX1" fmla="*/ 14 w 7059"/>
                    <a:gd name="connsiteY1" fmla="*/ 23219 h 49926"/>
                    <a:gd name="connsiteX2" fmla="*/ 7059 w 7059"/>
                    <a:gd name="connsiteY2" fmla="*/ 49927 h 49926"/>
                    <a:gd name="connsiteX3" fmla="*/ 7059 w 7059"/>
                    <a:gd name="connsiteY3" fmla="*/ 0 h 49926"/>
                  </a:gdLst>
                  <a:ahLst/>
                  <a:cxnLst>
                    <a:cxn ang="0">
                      <a:pos x="connsiteX0" y="connsiteY0"/>
                    </a:cxn>
                    <a:cxn ang="0">
                      <a:pos x="connsiteX1" y="connsiteY1"/>
                    </a:cxn>
                    <a:cxn ang="0">
                      <a:pos x="connsiteX2" y="connsiteY2"/>
                    </a:cxn>
                    <a:cxn ang="0">
                      <a:pos x="connsiteX3" y="connsiteY3"/>
                    </a:cxn>
                  </a:cxnLst>
                  <a:rect l="l" t="t" r="r" b="b"/>
                  <a:pathLst>
                    <a:path w="7059" h="49926">
                      <a:moveTo>
                        <a:pt x="7059" y="0"/>
                      </a:moveTo>
                      <a:cubicBezTo>
                        <a:pt x="7059" y="0"/>
                        <a:pt x="391" y="-111"/>
                        <a:pt x="14" y="23219"/>
                      </a:cubicBezTo>
                      <a:cubicBezTo>
                        <a:pt x="-363" y="46696"/>
                        <a:pt x="7059" y="49927"/>
                        <a:pt x="7059" y="49927"/>
                      </a:cubicBezTo>
                      <a:lnTo>
                        <a:pt x="7059" y="0"/>
                      </a:ln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3364" name="Freeform: Shape 13363">
              <a:extLst>
                <a:ext uri="{FF2B5EF4-FFF2-40B4-BE49-F238E27FC236}">
                  <a16:creationId xmlns:a16="http://schemas.microsoft.com/office/drawing/2014/main" id="{34F435B8-26A6-29C5-201A-01BB1031E57D}"/>
                </a:ext>
              </a:extLst>
            </p:cNvPr>
            <p:cNvSpPr/>
            <p:nvPr/>
          </p:nvSpPr>
          <p:spPr>
            <a:xfrm>
              <a:off x="8690888" y="3381519"/>
              <a:ext cx="169145" cy="143757"/>
            </a:xfrm>
            <a:custGeom>
              <a:avLst/>
              <a:gdLst>
                <a:gd name="connsiteX0" fmla="*/ 138689 w 146203"/>
                <a:gd name="connsiteY0" fmla="*/ 0 h 124228"/>
                <a:gd name="connsiteX1" fmla="*/ 144560 w 146203"/>
                <a:gd name="connsiteY1" fmla="*/ 120476 h 124228"/>
                <a:gd name="connsiteX2" fmla="*/ 48298 w 146203"/>
                <a:gd name="connsiteY2" fmla="*/ 114433 h 124228"/>
                <a:gd name="connsiteX3" fmla="*/ 162 w 146203"/>
                <a:gd name="connsiteY3" fmla="*/ 120467 h 124228"/>
                <a:gd name="connsiteX4" fmla="*/ 3685 w 146203"/>
                <a:gd name="connsiteY4" fmla="*/ 1474 h 124228"/>
                <a:gd name="connsiteX5" fmla="*/ 138689 w 146203"/>
                <a:gd name="connsiteY5" fmla="*/ 9 h 12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203" h="124228">
                  <a:moveTo>
                    <a:pt x="138689" y="0"/>
                  </a:moveTo>
                  <a:cubicBezTo>
                    <a:pt x="138689" y="0"/>
                    <a:pt x="150431" y="121847"/>
                    <a:pt x="144560" y="120476"/>
                  </a:cubicBezTo>
                  <a:cubicBezTo>
                    <a:pt x="138689" y="119096"/>
                    <a:pt x="75297" y="107388"/>
                    <a:pt x="48298" y="114433"/>
                  </a:cubicBezTo>
                  <a:cubicBezTo>
                    <a:pt x="21299" y="121478"/>
                    <a:pt x="-2186" y="128910"/>
                    <a:pt x="162" y="120467"/>
                  </a:cubicBezTo>
                  <a:cubicBezTo>
                    <a:pt x="2511" y="112033"/>
                    <a:pt x="9076" y="20845"/>
                    <a:pt x="3685" y="1474"/>
                  </a:cubicBezTo>
                  <a:lnTo>
                    <a:pt x="138689" y="9"/>
                  </a:lnTo>
                  <a:close/>
                </a:path>
              </a:pathLst>
            </a:custGeom>
            <a:solidFill>
              <a:srgbClr val="C9E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66" name="Freeform: Shape 13365">
              <a:extLst>
                <a:ext uri="{FF2B5EF4-FFF2-40B4-BE49-F238E27FC236}">
                  <a16:creationId xmlns:a16="http://schemas.microsoft.com/office/drawing/2014/main" id="{B39B15F0-10C0-43B4-56FD-C9864D3A2C5B}"/>
                </a:ext>
              </a:extLst>
            </p:cNvPr>
            <p:cNvSpPr/>
            <p:nvPr/>
          </p:nvSpPr>
          <p:spPr>
            <a:xfrm>
              <a:off x="8628546" y="3141165"/>
              <a:ext cx="34865" cy="2124096"/>
            </a:xfrm>
            <a:custGeom>
              <a:avLst/>
              <a:gdLst>
                <a:gd name="connsiteX0" fmla="*/ 0 w 30136"/>
                <a:gd name="connsiteY0" fmla="*/ 0 h 1835548"/>
                <a:gd name="connsiteX1" fmla="*/ 30136 w 30136"/>
                <a:gd name="connsiteY1" fmla="*/ 0 h 1835548"/>
                <a:gd name="connsiteX2" fmla="*/ 30136 w 30136"/>
                <a:gd name="connsiteY2" fmla="*/ 1835549 h 1835548"/>
                <a:gd name="connsiteX3" fmla="*/ 0 w 30136"/>
                <a:gd name="connsiteY3" fmla="*/ 1835549 h 1835548"/>
              </a:gdLst>
              <a:ahLst/>
              <a:cxnLst>
                <a:cxn ang="0">
                  <a:pos x="connsiteX0" y="connsiteY0"/>
                </a:cxn>
                <a:cxn ang="0">
                  <a:pos x="connsiteX1" y="connsiteY1"/>
                </a:cxn>
                <a:cxn ang="0">
                  <a:pos x="connsiteX2" y="connsiteY2"/>
                </a:cxn>
                <a:cxn ang="0">
                  <a:pos x="connsiteX3" y="connsiteY3"/>
                </a:cxn>
              </a:cxnLst>
              <a:rect l="l" t="t" r="r" b="b"/>
              <a:pathLst>
                <a:path w="30136" h="1835548">
                  <a:moveTo>
                    <a:pt x="0" y="0"/>
                  </a:moveTo>
                  <a:lnTo>
                    <a:pt x="30136" y="0"/>
                  </a:lnTo>
                  <a:lnTo>
                    <a:pt x="30136" y="1835549"/>
                  </a:lnTo>
                  <a:lnTo>
                    <a:pt x="0" y="1835549"/>
                  </a:lnTo>
                  <a:close/>
                </a:path>
              </a:pathLst>
            </a:custGeom>
            <a:solidFill>
              <a:srgbClr val="33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67" name="Freeform: Shape 13366">
              <a:extLst>
                <a:ext uri="{FF2B5EF4-FFF2-40B4-BE49-F238E27FC236}">
                  <a16:creationId xmlns:a16="http://schemas.microsoft.com/office/drawing/2014/main" id="{3C6021B5-A4BE-8C40-4F3A-1297FC503E3C}"/>
                </a:ext>
              </a:extLst>
            </p:cNvPr>
            <p:cNvSpPr/>
            <p:nvPr/>
          </p:nvSpPr>
          <p:spPr>
            <a:xfrm>
              <a:off x="8649626" y="3138984"/>
              <a:ext cx="167357" cy="95185"/>
            </a:xfrm>
            <a:custGeom>
              <a:avLst/>
              <a:gdLst>
                <a:gd name="connsiteX0" fmla="*/ 102553 w 144658"/>
                <a:gd name="connsiteY0" fmla="*/ 82256 h 82255"/>
                <a:gd name="connsiteX1" fmla="*/ 115804 w 144658"/>
                <a:gd name="connsiteY1" fmla="*/ 80147 h 82255"/>
                <a:gd name="connsiteX2" fmla="*/ 144278 w 144658"/>
                <a:gd name="connsiteY2" fmla="*/ 33203 h 82255"/>
                <a:gd name="connsiteX3" fmla="*/ 133590 w 144658"/>
                <a:gd name="connsiteY3" fmla="*/ 15272 h 82255"/>
                <a:gd name="connsiteX4" fmla="*/ 0 w 144658"/>
                <a:gd name="connsiteY4" fmla="*/ 3856 h 82255"/>
                <a:gd name="connsiteX5" fmla="*/ 1191 w 144658"/>
                <a:gd name="connsiteY5" fmla="*/ 12581 h 82255"/>
                <a:gd name="connsiteX6" fmla="*/ 128198 w 144658"/>
                <a:gd name="connsiteY6" fmla="*/ 22232 h 82255"/>
                <a:gd name="connsiteX7" fmla="*/ 135527 w 144658"/>
                <a:gd name="connsiteY7" fmla="*/ 34223 h 82255"/>
                <a:gd name="connsiteX8" fmla="*/ 113053 w 144658"/>
                <a:gd name="connsiteY8" fmla="*/ 71782 h 82255"/>
                <a:gd name="connsiteX9" fmla="*/ 74654 w 144658"/>
                <a:gd name="connsiteY9" fmla="*/ 57348 h 82255"/>
                <a:gd name="connsiteX10" fmla="*/ 74817 w 144658"/>
                <a:gd name="connsiteY10" fmla="*/ 31275 h 82255"/>
                <a:gd name="connsiteX11" fmla="*/ 66015 w 144658"/>
                <a:gd name="connsiteY11" fmla="*/ 31215 h 82255"/>
                <a:gd name="connsiteX12" fmla="*/ 65835 w 144658"/>
                <a:gd name="connsiteY12" fmla="*/ 59688 h 82255"/>
                <a:gd name="connsiteX13" fmla="*/ 66426 w 144658"/>
                <a:gd name="connsiteY13" fmla="*/ 60716 h 82255"/>
                <a:gd name="connsiteX14" fmla="*/ 102553 w 144658"/>
                <a:gd name="connsiteY14" fmla="*/ 82247 h 8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658" h="82255">
                  <a:moveTo>
                    <a:pt x="102553" y="82256"/>
                  </a:moveTo>
                  <a:cubicBezTo>
                    <a:pt x="107165" y="82256"/>
                    <a:pt x="111665" y="81510"/>
                    <a:pt x="115804" y="80147"/>
                  </a:cubicBezTo>
                  <a:cubicBezTo>
                    <a:pt x="130881" y="75193"/>
                    <a:pt x="147389" y="59928"/>
                    <a:pt x="144278" y="33203"/>
                  </a:cubicBezTo>
                  <a:cubicBezTo>
                    <a:pt x="143463" y="26166"/>
                    <a:pt x="139864" y="20132"/>
                    <a:pt x="133590" y="15272"/>
                  </a:cubicBezTo>
                  <a:cubicBezTo>
                    <a:pt x="101465" y="-9644"/>
                    <a:pt x="4123" y="3290"/>
                    <a:pt x="0" y="3856"/>
                  </a:cubicBezTo>
                  <a:lnTo>
                    <a:pt x="1191" y="12581"/>
                  </a:lnTo>
                  <a:cubicBezTo>
                    <a:pt x="2169" y="12452"/>
                    <a:pt x="98988" y="-438"/>
                    <a:pt x="128198" y="22232"/>
                  </a:cubicBezTo>
                  <a:cubicBezTo>
                    <a:pt x="132587" y="25635"/>
                    <a:pt x="134987" y="29560"/>
                    <a:pt x="135527" y="34223"/>
                  </a:cubicBezTo>
                  <a:cubicBezTo>
                    <a:pt x="138021" y="55677"/>
                    <a:pt x="124984" y="67865"/>
                    <a:pt x="113053" y="71782"/>
                  </a:cubicBezTo>
                  <a:cubicBezTo>
                    <a:pt x="100668" y="75845"/>
                    <a:pt x="84143" y="72905"/>
                    <a:pt x="74654" y="57348"/>
                  </a:cubicBezTo>
                  <a:lnTo>
                    <a:pt x="74817" y="31275"/>
                  </a:lnTo>
                  <a:lnTo>
                    <a:pt x="66015" y="31215"/>
                  </a:lnTo>
                  <a:lnTo>
                    <a:pt x="65835" y="59688"/>
                  </a:lnTo>
                  <a:lnTo>
                    <a:pt x="66426" y="60716"/>
                  </a:lnTo>
                  <a:cubicBezTo>
                    <a:pt x="75212" y="76102"/>
                    <a:pt x="89311" y="82247"/>
                    <a:pt x="102553" y="82247"/>
                  </a:cubicBezTo>
                  <a:close/>
                </a:path>
              </a:pathLst>
            </a:custGeom>
            <a:solidFill>
              <a:srgbClr val="33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68" name="Freeform: Shape 13367">
              <a:extLst>
                <a:ext uri="{FF2B5EF4-FFF2-40B4-BE49-F238E27FC236}">
                  <a16:creationId xmlns:a16="http://schemas.microsoft.com/office/drawing/2014/main" id="{C31206C6-60CA-D4C0-0B05-CFE1A89A82B9}"/>
                </a:ext>
              </a:extLst>
            </p:cNvPr>
            <p:cNvSpPr/>
            <p:nvPr/>
          </p:nvSpPr>
          <p:spPr>
            <a:xfrm>
              <a:off x="8476120" y="3138994"/>
              <a:ext cx="167359" cy="95185"/>
            </a:xfrm>
            <a:custGeom>
              <a:avLst/>
              <a:gdLst>
                <a:gd name="connsiteX0" fmla="*/ 42114 w 144659"/>
                <a:gd name="connsiteY0" fmla="*/ 82247 h 82255"/>
                <a:gd name="connsiteX1" fmla="*/ 78233 w 144659"/>
                <a:gd name="connsiteY1" fmla="*/ 60716 h 82255"/>
                <a:gd name="connsiteX2" fmla="*/ 78824 w 144659"/>
                <a:gd name="connsiteY2" fmla="*/ 59688 h 82255"/>
                <a:gd name="connsiteX3" fmla="*/ 78644 w 144659"/>
                <a:gd name="connsiteY3" fmla="*/ 31215 h 82255"/>
                <a:gd name="connsiteX4" fmla="*/ 69842 w 144659"/>
                <a:gd name="connsiteY4" fmla="*/ 31275 h 82255"/>
                <a:gd name="connsiteX5" fmla="*/ 70004 w 144659"/>
                <a:gd name="connsiteY5" fmla="*/ 57348 h 82255"/>
                <a:gd name="connsiteX6" fmla="*/ 31606 w 144659"/>
                <a:gd name="connsiteY6" fmla="*/ 71782 h 82255"/>
                <a:gd name="connsiteX7" fmla="*/ 9132 w 144659"/>
                <a:gd name="connsiteY7" fmla="*/ 34223 h 82255"/>
                <a:gd name="connsiteX8" fmla="*/ 16461 w 144659"/>
                <a:gd name="connsiteY8" fmla="*/ 22232 h 82255"/>
                <a:gd name="connsiteX9" fmla="*/ 143468 w 144659"/>
                <a:gd name="connsiteY9" fmla="*/ 12581 h 82255"/>
                <a:gd name="connsiteX10" fmla="*/ 144659 w 144659"/>
                <a:gd name="connsiteY10" fmla="*/ 3856 h 82255"/>
                <a:gd name="connsiteX11" fmla="*/ 11061 w 144659"/>
                <a:gd name="connsiteY11" fmla="*/ 15272 h 82255"/>
                <a:gd name="connsiteX12" fmla="*/ 381 w 144659"/>
                <a:gd name="connsiteY12" fmla="*/ 33203 h 82255"/>
                <a:gd name="connsiteX13" fmla="*/ 28855 w 144659"/>
                <a:gd name="connsiteY13" fmla="*/ 80147 h 82255"/>
                <a:gd name="connsiteX14" fmla="*/ 42114 w 144659"/>
                <a:gd name="connsiteY14" fmla="*/ 82256 h 8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659" h="82255">
                  <a:moveTo>
                    <a:pt x="42114" y="82247"/>
                  </a:moveTo>
                  <a:cubicBezTo>
                    <a:pt x="55356" y="82247"/>
                    <a:pt x="69447" y="76102"/>
                    <a:pt x="78233" y="60716"/>
                  </a:cubicBezTo>
                  <a:lnTo>
                    <a:pt x="78824" y="59688"/>
                  </a:lnTo>
                  <a:lnTo>
                    <a:pt x="78644" y="31215"/>
                  </a:lnTo>
                  <a:lnTo>
                    <a:pt x="69842" y="31275"/>
                  </a:lnTo>
                  <a:lnTo>
                    <a:pt x="70004" y="57348"/>
                  </a:lnTo>
                  <a:cubicBezTo>
                    <a:pt x="60516" y="72905"/>
                    <a:pt x="43991" y="75853"/>
                    <a:pt x="31606" y="71782"/>
                  </a:cubicBezTo>
                  <a:cubicBezTo>
                    <a:pt x="19683" y="67865"/>
                    <a:pt x="6638" y="55677"/>
                    <a:pt x="9132" y="34223"/>
                  </a:cubicBezTo>
                  <a:cubicBezTo>
                    <a:pt x="9672" y="29560"/>
                    <a:pt x="12072" y="25635"/>
                    <a:pt x="16461" y="22232"/>
                  </a:cubicBezTo>
                  <a:cubicBezTo>
                    <a:pt x="45688" y="-447"/>
                    <a:pt x="142491" y="12452"/>
                    <a:pt x="143468" y="12581"/>
                  </a:cubicBezTo>
                  <a:lnTo>
                    <a:pt x="144659" y="3856"/>
                  </a:lnTo>
                  <a:cubicBezTo>
                    <a:pt x="140536" y="3290"/>
                    <a:pt x="43186" y="-9644"/>
                    <a:pt x="11061" y="15272"/>
                  </a:cubicBezTo>
                  <a:cubicBezTo>
                    <a:pt x="4795" y="20132"/>
                    <a:pt x="1196" y="26166"/>
                    <a:pt x="381" y="33203"/>
                  </a:cubicBezTo>
                  <a:cubicBezTo>
                    <a:pt x="-2730" y="59919"/>
                    <a:pt x="13778" y="75193"/>
                    <a:pt x="28855" y="80147"/>
                  </a:cubicBezTo>
                  <a:cubicBezTo>
                    <a:pt x="33003" y="81510"/>
                    <a:pt x="37503" y="82256"/>
                    <a:pt x="42114" y="82256"/>
                  </a:cubicBezTo>
                  <a:close/>
                </a:path>
              </a:pathLst>
            </a:custGeom>
            <a:solidFill>
              <a:srgbClr val="33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69" name="Freeform: Shape 13368">
              <a:extLst>
                <a:ext uri="{FF2B5EF4-FFF2-40B4-BE49-F238E27FC236}">
                  <a16:creationId xmlns:a16="http://schemas.microsoft.com/office/drawing/2014/main" id="{2274EAD1-1802-0B16-B4E8-96067CE88775}"/>
                </a:ext>
              </a:extLst>
            </p:cNvPr>
            <p:cNvSpPr/>
            <p:nvPr/>
          </p:nvSpPr>
          <p:spPr>
            <a:xfrm>
              <a:off x="8627910" y="3091606"/>
              <a:ext cx="32603" cy="53039"/>
            </a:xfrm>
            <a:custGeom>
              <a:avLst/>
              <a:gdLst>
                <a:gd name="connsiteX0" fmla="*/ 28182 w 28181"/>
                <a:gd name="connsiteY0" fmla="*/ 45835 h 45834"/>
                <a:gd name="connsiteX1" fmla="*/ 14091 w 28181"/>
                <a:gd name="connsiteY1" fmla="*/ 48 h 45834"/>
                <a:gd name="connsiteX2" fmla="*/ 0 w 28181"/>
                <a:gd name="connsiteY2" fmla="*/ 45835 h 45834"/>
                <a:gd name="connsiteX3" fmla="*/ 28173 w 28181"/>
                <a:gd name="connsiteY3" fmla="*/ 45835 h 45834"/>
              </a:gdLst>
              <a:ahLst/>
              <a:cxnLst>
                <a:cxn ang="0">
                  <a:pos x="connsiteX0" y="connsiteY0"/>
                </a:cxn>
                <a:cxn ang="0">
                  <a:pos x="connsiteX1" y="connsiteY1"/>
                </a:cxn>
                <a:cxn ang="0">
                  <a:pos x="connsiteX2" y="connsiteY2"/>
                </a:cxn>
                <a:cxn ang="0">
                  <a:pos x="connsiteX3" y="connsiteY3"/>
                </a:cxn>
              </a:cxnLst>
              <a:rect l="l" t="t" r="r" b="b"/>
              <a:pathLst>
                <a:path w="28181" h="45834">
                  <a:moveTo>
                    <a:pt x="28182" y="45835"/>
                  </a:moveTo>
                  <a:cubicBezTo>
                    <a:pt x="28182" y="45835"/>
                    <a:pt x="24659" y="-1718"/>
                    <a:pt x="14091" y="48"/>
                  </a:cubicBezTo>
                  <a:cubicBezTo>
                    <a:pt x="3531" y="1805"/>
                    <a:pt x="0" y="45835"/>
                    <a:pt x="0" y="45835"/>
                  </a:cubicBezTo>
                  <a:lnTo>
                    <a:pt x="28173" y="45835"/>
                  </a:lnTo>
                  <a:close/>
                </a:path>
              </a:pathLst>
            </a:custGeom>
            <a:solidFill>
              <a:srgbClr val="33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70" name="Freeform: Shape 13369">
              <a:extLst>
                <a:ext uri="{FF2B5EF4-FFF2-40B4-BE49-F238E27FC236}">
                  <a16:creationId xmlns:a16="http://schemas.microsoft.com/office/drawing/2014/main" id="{00DB2762-0F7E-58FC-1ACC-E5F79CF6F0F2}"/>
                </a:ext>
              </a:extLst>
            </p:cNvPr>
            <p:cNvSpPr/>
            <p:nvPr/>
          </p:nvSpPr>
          <p:spPr>
            <a:xfrm>
              <a:off x="8673231" y="3214751"/>
              <a:ext cx="203330" cy="335751"/>
            </a:xfrm>
            <a:custGeom>
              <a:avLst/>
              <a:gdLst>
                <a:gd name="connsiteX0" fmla="*/ 922 w 175751"/>
                <a:gd name="connsiteY0" fmla="*/ 282033 h 290141"/>
                <a:gd name="connsiteX1" fmla="*/ 1591 w 175751"/>
                <a:gd name="connsiteY1" fmla="*/ 240669 h 290141"/>
                <a:gd name="connsiteX2" fmla="*/ 4865 w 175751"/>
                <a:gd name="connsiteY2" fmla="*/ 166100 h 290141"/>
                <a:gd name="connsiteX3" fmla="*/ 3845 w 175751"/>
                <a:gd name="connsiteY3" fmla="*/ 96039 h 290141"/>
                <a:gd name="connsiteX4" fmla="*/ 5954 w 175751"/>
                <a:gd name="connsiteY4" fmla="*/ 46378 h 290141"/>
                <a:gd name="connsiteX5" fmla="*/ 56052 w 175751"/>
                <a:gd name="connsiteY5" fmla="*/ 27788 h 290141"/>
                <a:gd name="connsiteX6" fmla="*/ 61057 w 175751"/>
                <a:gd name="connsiteY6" fmla="*/ 10774 h 290141"/>
                <a:gd name="connsiteX7" fmla="*/ 83248 w 175751"/>
                <a:gd name="connsiteY7" fmla="*/ 26 h 290141"/>
                <a:gd name="connsiteX8" fmla="*/ 83565 w 175751"/>
                <a:gd name="connsiteY8" fmla="*/ 0 h 290141"/>
                <a:gd name="connsiteX9" fmla="*/ 83891 w 175751"/>
                <a:gd name="connsiteY9" fmla="*/ 51 h 290141"/>
                <a:gd name="connsiteX10" fmla="*/ 114001 w 175751"/>
                <a:gd name="connsiteY10" fmla="*/ 26999 h 290141"/>
                <a:gd name="connsiteX11" fmla="*/ 174188 w 175751"/>
                <a:gd name="connsiteY11" fmla="*/ 50012 h 290141"/>
                <a:gd name="connsiteX12" fmla="*/ 173596 w 175751"/>
                <a:gd name="connsiteY12" fmla="*/ 58815 h 290141"/>
                <a:gd name="connsiteX13" fmla="*/ 169516 w 175751"/>
                <a:gd name="connsiteY13" fmla="*/ 158369 h 290141"/>
                <a:gd name="connsiteX14" fmla="*/ 173528 w 175751"/>
                <a:gd name="connsiteY14" fmla="*/ 232732 h 290141"/>
                <a:gd name="connsiteX15" fmla="*/ 172216 w 175751"/>
                <a:gd name="connsiteY15" fmla="*/ 284913 h 290141"/>
                <a:gd name="connsiteX16" fmla="*/ 64863 w 175751"/>
                <a:gd name="connsiteY16" fmla="*/ 290141 h 290141"/>
                <a:gd name="connsiteX17" fmla="*/ 64863 w 175751"/>
                <a:gd name="connsiteY17" fmla="*/ 290141 h 290141"/>
                <a:gd name="connsiteX18" fmla="*/ 940 w 175751"/>
                <a:gd name="connsiteY18" fmla="*/ 282041 h 290141"/>
                <a:gd name="connsiteX19" fmla="*/ 168248 w 175751"/>
                <a:gd name="connsiteY19" fmla="*/ 232663 h 290141"/>
                <a:gd name="connsiteX20" fmla="*/ 164219 w 175751"/>
                <a:gd name="connsiteY20" fmla="*/ 158257 h 290141"/>
                <a:gd name="connsiteX21" fmla="*/ 164794 w 175751"/>
                <a:gd name="connsiteY21" fmla="*/ 65286 h 290141"/>
                <a:gd name="connsiteX22" fmla="*/ 165394 w 175751"/>
                <a:gd name="connsiteY22" fmla="*/ 58189 h 290141"/>
                <a:gd name="connsiteX23" fmla="*/ 107453 w 175751"/>
                <a:gd name="connsiteY23" fmla="*/ 33359 h 290141"/>
                <a:gd name="connsiteX24" fmla="*/ 70597 w 175751"/>
                <a:gd name="connsiteY24" fmla="*/ 32870 h 290141"/>
                <a:gd name="connsiteX25" fmla="*/ 102293 w 175751"/>
                <a:gd name="connsiteY25" fmla="*/ 28173 h 290141"/>
                <a:gd name="connsiteX26" fmla="*/ 83437 w 175751"/>
                <a:gd name="connsiteY26" fmla="*/ 5305 h 290141"/>
                <a:gd name="connsiteX27" fmla="*/ 65283 w 175751"/>
                <a:gd name="connsiteY27" fmla="*/ 13911 h 290141"/>
                <a:gd name="connsiteX28" fmla="*/ 61452 w 175751"/>
                <a:gd name="connsiteY28" fmla="*/ 32707 h 290141"/>
                <a:gd name="connsiteX29" fmla="*/ 67657 w 175751"/>
                <a:gd name="connsiteY29" fmla="*/ 31404 h 290141"/>
                <a:gd name="connsiteX30" fmla="*/ 59669 w 175751"/>
                <a:gd name="connsiteY30" fmla="*/ 35664 h 290141"/>
                <a:gd name="connsiteX31" fmla="*/ 12776 w 175751"/>
                <a:gd name="connsiteY31" fmla="*/ 56989 h 290141"/>
                <a:gd name="connsiteX32" fmla="*/ 9108 w 175751"/>
                <a:gd name="connsiteY32" fmla="*/ 95885 h 290141"/>
                <a:gd name="connsiteX33" fmla="*/ 10136 w 175751"/>
                <a:gd name="connsiteY33" fmla="*/ 166160 h 290141"/>
                <a:gd name="connsiteX34" fmla="*/ 6854 w 175751"/>
                <a:gd name="connsiteY34" fmla="*/ 241003 h 290141"/>
                <a:gd name="connsiteX35" fmla="*/ 5602 w 175751"/>
                <a:gd name="connsiteY35" fmla="*/ 278690 h 290141"/>
                <a:gd name="connsiteX36" fmla="*/ 75294 w 175751"/>
                <a:gd name="connsiteY36" fmla="*/ 268268 h 290141"/>
                <a:gd name="connsiteX37" fmla="*/ 165985 w 175751"/>
                <a:gd name="connsiteY37" fmla="*/ 277559 h 290141"/>
                <a:gd name="connsiteX38" fmla="*/ 168248 w 175751"/>
                <a:gd name="connsiteY38" fmla="*/ 232672 h 29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5751" h="290141">
                  <a:moveTo>
                    <a:pt x="922" y="282033"/>
                  </a:moveTo>
                  <a:cubicBezTo>
                    <a:pt x="-595" y="279007"/>
                    <a:pt x="-149" y="268782"/>
                    <a:pt x="1591" y="240669"/>
                  </a:cubicBezTo>
                  <a:cubicBezTo>
                    <a:pt x="2902" y="219523"/>
                    <a:pt x="4531" y="193202"/>
                    <a:pt x="4865" y="166100"/>
                  </a:cubicBezTo>
                  <a:cubicBezTo>
                    <a:pt x="5157" y="141509"/>
                    <a:pt x="4428" y="116293"/>
                    <a:pt x="3845" y="96039"/>
                  </a:cubicBezTo>
                  <a:cubicBezTo>
                    <a:pt x="2628" y="54298"/>
                    <a:pt x="2894" y="48264"/>
                    <a:pt x="5954" y="46378"/>
                  </a:cubicBezTo>
                  <a:cubicBezTo>
                    <a:pt x="12896" y="42101"/>
                    <a:pt x="47241" y="30676"/>
                    <a:pt x="56052" y="27788"/>
                  </a:cubicBezTo>
                  <a:cubicBezTo>
                    <a:pt x="55889" y="24188"/>
                    <a:pt x="56300" y="17039"/>
                    <a:pt x="61057" y="10774"/>
                  </a:cubicBezTo>
                  <a:cubicBezTo>
                    <a:pt x="65694" y="4671"/>
                    <a:pt x="73160" y="1054"/>
                    <a:pt x="83248" y="26"/>
                  </a:cubicBezTo>
                  <a:lnTo>
                    <a:pt x="83565" y="0"/>
                  </a:lnTo>
                  <a:lnTo>
                    <a:pt x="83891" y="51"/>
                  </a:lnTo>
                  <a:cubicBezTo>
                    <a:pt x="84148" y="86"/>
                    <a:pt x="109304" y="3960"/>
                    <a:pt x="114001" y="26999"/>
                  </a:cubicBezTo>
                  <a:cubicBezTo>
                    <a:pt x="173391" y="43730"/>
                    <a:pt x="173948" y="48135"/>
                    <a:pt x="174188" y="50012"/>
                  </a:cubicBezTo>
                  <a:cubicBezTo>
                    <a:pt x="174282" y="50715"/>
                    <a:pt x="174188" y="52035"/>
                    <a:pt x="173596" y="58815"/>
                  </a:cubicBezTo>
                  <a:cubicBezTo>
                    <a:pt x="172105" y="76026"/>
                    <a:pt x="168625" y="116447"/>
                    <a:pt x="169516" y="158369"/>
                  </a:cubicBezTo>
                  <a:cubicBezTo>
                    <a:pt x="170074" y="184305"/>
                    <a:pt x="171985" y="211252"/>
                    <a:pt x="173528" y="232732"/>
                  </a:cubicBezTo>
                  <a:cubicBezTo>
                    <a:pt x="176605" y="275613"/>
                    <a:pt x="176776" y="283773"/>
                    <a:pt x="172216" y="284913"/>
                  </a:cubicBezTo>
                  <a:cubicBezTo>
                    <a:pt x="165977" y="286473"/>
                    <a:pt x="109467" y="290141"/>
                    <a:pt x="64863" y="290141"/>
                  </a:cubicBezTo>
                  <a:lnTo>
                    <a:pt x="64863" y="290141"/>
                  </a:lnTo>
                  <a:cubicBezTo>
                    <a:pt x="4565" y="290141"/>
                    <a:pt x="2114" y="284390"/>
                    <a:pt x="940" y="282041"/>
                  </a:cubicBezTo>
                  <a:close/>
                  <a:moveTo>
                    <a:pt x="168248" y="232663"/>
                  </a:moveTo>
                  <a:cubicBezTo>
                    <a:pt x="166705" y="211124"/>
                    <a:pt x="164785" y="184322"/>
                    <a:pt x="164219" y="158257"/>
                  </a:cubicBezTo>
                  <a:cubicBezTo>
                    <a:pt x="163319" y="116053"/>
                    <a:pt x="163302" y="82583"/>
                    <a:pt x="164794" y="65286"/>
                  </a:cubicBezTo>
                  <a:cubicBezTo>
                    <a:pt x="165068" y="62149"/>
                    <a:pt x="165308" y="59364"/>
                    <a:pt x="165394" y="58189"/>
                  </a:cubicBezTo>
                  <a:cubicBezTo>
                    <a:pt x="161065" y="54907"/>
                    <a:pt x="133063" y="40541"/>
                    <a:pt x="107453" y="33359"/>
                  </a:cubicBezTo>
                  <a:lnTo>
                    <a:pt x="70597" y="32870"/>
                  </a:lnTo>
                  <a:lnTo>
                    <a:pt x="102293" y="28173"/>
                  </a:lnTo>
                  <a:cubicBezTo>
                    <a:pt x="99276" y="8605"/>
                    <a:pt x="86248" y="5794"/>
                    <a:pt x="83437" y="5305"/>
                  </a:cubicBezTo>
                  <a:cubicBezTo>
                    <a:pt x="75063" y="6223"/>
                    <a:pt x="68960" y="9120"/>
                    <a:pt x="65283" y="13911"/>
                  </a:cubicBezTo>
                  <a:cubicBezTo>
                    <a:pt x="60123" y="20648"/>
                    <a:pt x="61443" y="32630"/>
                    <a:pt x="61452" y="32707"/>
                  </a:cubicBezTo>
                  <a:lnTo>
                    <a:pt x="67657" y="31404"/>
                  </a:lnTo>
                  <a:lnTo>
                    <a:pt x="59669" y="35664"/>
                  </a:lnTo>
                  <a:cubicBezTo>
                    <a:pt x="47824" y="39521"/>
                    <a:pt x="19856" y="53030"/>
                    <a:pt x="12776" y="56989"/>
                  </a:cubicBezTo>
                  <a:cubicBezTo>
                    <a:pt x="11516" y="60803"/>
                    <a:pt x="8491" y="74586"/>
                    <a:pt x="9108" y="95885"/>
                  </a:cubicBezTo>
                  <a:cubicBezTo>
                    <a:pt x="9699" y="116190"/>
                    <a:pt x="10436" y="141458"/>
                    <a:pt x="10136" y="166160"/>
                  </a:cubicBezTo>
                  <a:cubicBezTo>
                    <a:pt x="9802" y="193399"/>
                    <a:pt x="8174" y="219798"/>
                    <a:pt x="6854" y="241003"/>
                  </a:cubicBezTo>
                  <a:cubicBezTo>
                    <a:pt x="5739" y="258908"/>
                    <a:pt x="4694" y="275819"/>
                    <a:pt x="5602" y="278690"/>
                  </a:cubicBezTo>
                  <a:cubicBezTo>
                    <a:pt x="6691" y="279590"/>
                    <a:pt x="25316" y="276427"/>
                    <a:pt x="75294" y="268268"/>
                  </a:cubicBezTo>
                  <a:cubicBezTo>
                    <a:pt x="118441" y="261222"/>
                    <a:pt x="157208" y="278930"/>
                    <a:pt x="165985" y="277559"/>
                  </a:cubicBezTo>
                  <a:cubicBezTo>
                    <a:pt x="167176" y="272947"/>
                    <a:pt x="169714" y="253234"/>
                    <a:pt x="168248" y="232672"/>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71" name="Freeform: Shape 13370">
              <a:extLst>
                <a:ext uri="{FF2B5EF4-FFF2-40B4-BE49-F238E27FC236}">
                  <a16:creationId xmlns:a16="http://schemas.microsoft.com/office/drawing/2014/main" id="{6F00EF98-5396-7D19-666E-B94B9AD6CDF4}"/>
                </a:ext>
              </a:extLst>
            </p:cNvPr>
            <p:cNvSpPr/>
            <p:nvPr/>
          </p:nvSpPr>
          <p:spPr>
            <a:xfrm>
              <a:off x="8492102" y="3319063"/>
              <a:ext cx="96343" cy="91673"/>
            </a:xfrm>
            <a:custGeom>
              <a:avLst/>
              <a:gdLst>
                <a:gd name="connsiteX0" fmla="*/ 78998 w 83276"/>
                <a:gd name="connsiteY0" fmla="*/ 0 h 79220"/>
                <a:gd name="connsiteX1" fmla="*/ 82341 w 83276"/>
                <a:gd name="connsiteY1" fmla="*/ 76832 h 79220"/>
                <a:gd name="connsiteX2" fmla="*/ 27511 w 83276"/>
                <a:gd name="connsiteY2" fmla="*/ 72975 h 79220"/>
                <a:gd name="connsiteX3" fmla="*/ 92 w 83276"/>
                <a:gd name="connsiteY3" fmla="*/ 76823 h 79220"/>
                <a:gd name="connsiteX4" fmla="*/ 2098 w 83276"/>
                <a:gd name="connsiteY4" fmla="*/ 934 h 79220"/>
                <a:gd name="connsiteX5" fmla="*/ 79007 w 83276"/>
                <a:gd name="connsiteY5" fmla="*/ 0 h 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76" h="79220">
                  <a:moveTo>
                    <a:pt x="78998" y="0"/>
                  </a:moveTo>
                  <a:cubicBezTo>
                    <a:pt x="78998" y="0"/>
                    <a:pt x="85684" y="77706"/>
                    <a:pt x="82341" y="76832"/>
                  </a:cubicBezTo>
                  <a:cubicBezTo>
                    <a:pt x="78998" y="75949"/>
                    <a:pt x="42888" y="68483"/>
                    <a:pt x="27511" y="72975"/>
                  </a:cubicBezTo>
                  <a:cubicBezTo>
                    <a:pt x="12126" y="77466"/>
                    <a:pt x="-1245" y="82206"/>
                    <a:pt x="92" y="76823"/>
                  </a:cubicBezTo>
                  <a:cubicBezTo>
                    <a:pt x="1429" y="71440"/>
                    <a:pt x="5167" y="13294"/>
                    <a:pt x="2098" y="934"/>
                  </a:cubicBezTo>
                  <a:lnTo>
                    <a:pt x="79007" y="0"/>
                  </a:lnTo>
                  <a:close/>
                </a:path>
              </a:pathLst>
            </a:custGeom>
            <a:solidFill>
              <a:srgbClr val="C9E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72" name="Freeform: Shape 13371">
              <a:extLst>
                <a:ext uri="{FF2B5EF4-FFF2-40B4-BE49-F238E27FC236}">
                  <a16:creationId xmlns:a16="http://schemas.microsoft.com/office/drawing/2014/main" id="{375FB0A5-0290-2DF3-A4F9-6F86BE2B5372}"/>
                </a:ext>
              </a:extLst>
            </p:cNvPr>
            <p:cNvSpPr/>
            <p:nvPr/>
          </p:nvSpPr>
          <p:spPr>
            <a:xfrm>
              <a:off x="8482039" y="3212687"/>
              <a:ext cx="115821" cy="213644"/>
            </a:xfrm>
            <a:custGeom>
              <a:avLst/>
              <a:gdLst>
                <a:gd name="connsiteX0" fmla="*/ 528 w 100112"/>
                <a:gd name="connsiteY0" fmla="*/ 179668 h 184622"/>
                <a:gd name="connsiteX1" fmla="*/ 906 w 100112"/>
                <a:gd name="connsiteY1" fmla="*/ 153492 h 184622"/>
                <a:gd name="connsiteX2" fmla="*/ 2765 w 100112"/>
                <a:gd name="connsiteY2" fmla="*/ 105931 h 184622"/>
                <a:gd name="connsiteX3" fmla="*/ 2183 w 100112"/>
                <a:gd name="connsiteY3" fmla="*/ 61249 h 184622"/>
                <a:gd name="connsiteX4" fmla="*/ 3383 w 100112"/>
                <a:gd name="connsiteY4" fmla="*/ 29579 h 184622"/>
                <a:gd name="connsiteX5" fmla="*/ 31924 w 100112"/>
                <a:gd name="connsiteY5" fmla="*/ 17717 h 184622"/>
                <a:gd name="connsiteX6" fmla="*/ 34779 w 100112"/>
                <a:gd name="connsiteY6" fmla="*/ 6874 h 184622"/>
                <a:gd name="connsiteX7" fmla="*/ 47421 w 100112"/>
                <a:gd name="connsiteY7" fmla="*/ 26 h 184622"/>
                <a:gd name="connsiteX8" fmla="*/ 47610 w 100112"/>
                <a:gd name="connsiteY8" fmla="*/ 0 h 184622"/>
                <a:gd name="connsiteX9" fmla="*/ 47798 w 100112"/>
                <a:gd name="connsiteY9" fmla="*/ 34 h 184622"/>
                <a:gd name="connsiteX10" fmla="*/ 64949 w 100112"/>
                <a:gd name="connsiteY10" fmla="*/ 17219 h 184622"/>
                <a:gd name="connsiteX11" fmla="*/ 99225 w 100112"/>
                <a:gd name="connsiteY11" fmla="*/ 31893 h 184622"/>
                <a:gd name="connsiteX12" fmla="*/ 98891 w 100112"/>
                <a:gd name="connsiteY12" fmla="*/ 37490 h 184622"/>
                <a:gd name="connsiteX13" fmla="*/ 96568 w 100112"/>
                <a:gd name="connsiteY13" fmla="*/ 100951 h 184622"/>
                <a:gd name="connsiteX14" fmla="*/ 98848 w 100112"/>
                <a:gd name="connsiteY14" fmla="*/ 148323 h 184622"/>
                <a:gd name="connsiteX15" fmla="*/ 98093 w 100112"/>
                <a:gd name="connsiteY15" fmla="*/ 181494 h 184622"/>
                <a:gd name="connsiteX16" fmla="*/ 36939 w 100112"/>
                <a:gd name="connsiteY16" fmla="*/ 184622 h 184622"/>
                <a:gd name="connsiteX17" fmla="*/ 36939 w 100112"/>
                <a:gd name="connsiteY17" fmla="*/ 184622 h 184622"/>
                <a:gd name="connsiteX18" fmla="*/ 528 w 100112"/>
                <a:gd name="connsiteY18" fmla="*/ 179659 h 184622"/>
                <a:gd name="connsiteX19" fmla="*/ 95839 w 100112"/>
                <a:gd name="connsiteY19" fmla="*/ 148392 h 184622"/>
                <a:gd name="connsiteX20" fmla="*/ 93542 w 100112"/>
                <a:gd name="connsiteY20" fmla="*/ 100942 h 184622"/>
                <a:gd name="connsiteX21" fmla="*/ 93877 w 100112"/>
                <a:gd name="connsiteY21" fmla="*/ 41656 h 184622"/>
                <a:gd name="connsiteX22" fmla="*/ 94211 w 100112"/>
                <a:gd name="connsiteY22" fmla="*/ 37139 h 184622"/>
                <a:gd name="connsiteX23" fmla="*/ 61212 w 100112"/>
                <a:gd name="connsiteY23" fmla="*/ 21299 h 184622"/>
                <a:gd name="connsiteX24" fmla="*/ 40221 w 100112"/>
                <a:gd name="connsiteY24" fmla="*/ 20991 h 184622"/>
                <a:gd name="connsiteX25" fmla="*/ 58272 w 100112"/>
                <a:gd name="connsiteY25" fmla="*/ 17991 h 184622"/>
                <a:gd name="connsiteX26" fmla="*/ 47532 w 100112"/>
                <a:gd name="connsiteY26" fmla="*/ 3403 h 184622"/>
                <a:gd name="connsiteX27" fmla="*/ 37196 w 100112"/>
                <a:gd name="connsiteY27" fmla="*/ 8888 h 184622"/>
                <a:gd name="connsiteX28" fmla="*/ 35010 w 100112"/>
                <a:gd name="connsiteY28" fmla="*/ 20871 h 184622"/>
                <a:gd name="connsiteX29" fmla="*/ 38541 w 100112"/>
                <a:gd name="connsiteY29" fmla="*/ 20048 h 184622"/>
                <a:gd name="connsiteX30" fmla="*/ 33990 w 100112"/>
                <a:gd name="connsiteY30" fmla="*/ 22765 h 184622"/>
                <a:gd name="connsiteX31" fmla="*/ 7282 w 100112"/>
                <a:gd name="connsiteY31" fmla="*/ 36359 h 184622"/>
                <a:gd name="connsiteX32" fmla="*/ 5200 w 100112"/>
                <a:gd name="connsiteY32" fmla="*/ 61164 h 184622"/>
                <a:gd name="connsiteX33" fmla="*/ 5783 w 100112"/>
                <a:gd name="connsiteY33" fmla="*/ 105973 h 184622"/>
                <a:gd name="connsiteX34" fmla="*/ 3914 w 100112"/>
                <a:gd name="connsiteY34" fmla="*/ 153697 h 184622"/>
                <a:gd name="connsiteX35" fmla="*/ 3203 w 100112"/>
                <a:gd name="connsiteY35" fmla="*/ 177739 h 184622"/>
                <a:gd name="connsiteX36" fmla="*/ 42896 w 100112"/>
                <a:gd name="connsiteY36" fmla="*/ 171097 h 184622"/>
                <a:gd name="connsiteX37" fmla="*/ 94554 w 100112"/>
                <a:gd name="connsiteY37" fmla="*/ 177019 h 184622"/>
                <a:gd name="connsiteX38" fmla="*/ 95839 w 100112"/>
                <a:gd name="connsiteY38" fmla="*/ 148392 h 18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112" h="184622">
                  <a:moveTo>
                    <a:pt x="528" y="179668"/>
                  </a:moveTo>
                  <a:cubicBezTo>
                    <a:pt x="-337" y="177739"/>
                    <a:pt x="-89" y="171431"/>
                    <a:pt x="906" y="153492"/>
                  </a:cubicBezTo>
                  <a:cubicBezTo>
                    <a:pt x="1651" y="140001"/>
                    <a:pt x="2586" y="123218"/>
                    <a:pt x="2765" y="105931"/>
                  </a:cubicBezTo>
                  <a:cubicBezTo>
                    <a:pt x="2928" y="90254"/>
                    <a:pt x="2517" y="74175"/>
                    <a:pt x="2183" y="61249"/>
                  </a:cubicBezTo>
                  <a:cubicBezTo>
                    <a:pt x="1497" y="34627"/>
                    <a:pt x="1634" y="30779"/>
                    <a:pt x="3383" y="29579"/>
                  </a:cubicBezTo>
                  <a:cubicBezTo>
                    <a:pt x="7342" y="26853"/>
                    <a:pt x="26910" y="19568"/>
                    <a:pt x="31924" y="17717"/>
                  </a:cubicBezTo>
                  <a:cubicBezTo>
                    <a:pt x="31830" y="15428"/>
                    <a:pt x="32062" y="10868"/>
                    <a:pt x="34779" y="6874"/>
                  </a:cubicBezTo>
                  <a:cubicBezTo>
                    <a:pt x="37427" y="2983"/>
                    <a:pt x="41670" y="677"/>
                    <a:pt x="47421" y="26"/>
                  </a:cubicBezTo>
                  <a:lnTo>
                    <a:pt x="47610" y="0"/>
                  </a:lnTo>
                  <a:lnTo>
                    <a:pt x="47798" y="34"/>
                  </a:lnTo>
                  <a:cubicBezTo>
                    <a:pt x="47944" y="60"/>
                    <a:pt x="62266" y="2529"/>
                    <a:pt x="64949" y="17219"/>
                  </a:cubicBezTo>
                  <a:cubicBezTo>
                    <a:pt x="98779" y="27882"/>
                    <a:pt x="99096" y="30693"/>
                    <a:pt x="99225" y="31893"/>
                  </a:cubicBezTo>
                  <a:cubicBezTo>
                    <a:pt x="99276" y="32339"/>
                    <a:pt x="99225" y="33170"/>
                    <a:pt x="98891" y="37490"/>
                  </a:cubicBezTo>
                  <a:cubicBezTo>
                    <a:pt x="98034" y="48470"/>
                    <a:pt x="96054" y="74217"/>
                    <a:pt x="96568" y="100951"/>
                  </a:cubicBezTo>
                  <a:cubicBezTo>
                    <a:pt x="96876" y="117484"/>
                    <a:pt x="97974" y="134627"/>
                    <a:pt x="98848" y="148323"/>
                  </a:cubicBezTo>
                  <a:cubicBezTo>
                    <a:pt x="100596" y="175665"/>
                    <a:pt x="100699" y="180765"/>
                    <a:pt x="98093" y="181494"/>
                  </a:cubicBezTo>
                  <a:cubicBezTo>
                    <a:pt x="94537" y="182496"/>
                    <a:pt x="62352" y="184622"/>
                    <a:pt x="36939" y="184622"/>
                  </a:cubicBezTo>
                  <a:lnTo>
                    <a:pt x="36939" y="184622"/>
                  </a:lnTo>
                  <a:cubicBezTo>
                    <a:pt x="2594" y="184622"/>
                    <a:pt x="1188" y="181151"/>
                    <a:pt x="528" y="179659"/>
                  </a:cubicBezTo>
                  <a:close/>
                  <a:moveTo>
                    <a:pt x="95839" y="148392"/>
                  </a:moveTo>
                  <a:cubicBezTo>
                    <a:pt x="94965" y="134661"/>
                    <a:pt x="93868" y="117561"/>
                    <a:pt x="93542" y="100942"/>
                  </a:cubicBezTo>
                  <a:cubicBezTo>
                    <a:pt x="93028" y="74020"/>
                    <a:pt x="93019" y="52687"/>
                    <a:pt x="93877" y="41656"/>
                  </a:cubicBezTo>
                  <a:cubicBezTo>
                    <a:pt x="94031" y="39659"/>
                    <a:pt x="94168" y="37876"/>
                    <a:pt x="94211" y="37139"/>
                  </a:cubicBezTo>
                  <a:cubicBezTo>
                    <a:pt x="91751" y="35047"/>
                    <a:pt x="75800" y="25885"/>
                    <a:pt x="61212" y="21299"/>
                  </a:cubicBezTo>
                  <a:lnTo>
                    <a:pt x="40221" y="20991"/>
                  </a:lnTo>
                  <a:lnTo>
                    <a:pt x="58272" y="17991"/>
                  </a:lnTo>
                  <a:cubicBezTo>
                    <a:pt x="56558" y="5511"/>
                    <a:pt x="49135" y="3711"/>
                    <a:pt x="47532" y="3403"/>
                  </a:cubicBezTo>
                  <a:cubicBezTo>
                    <a:pt x="42767" y="3986"/>
                    <a:pt x="39287" y="5828"/>
                    <a:pt x="37196" y="8888"/>
                  </a:cubicBezTo>
                  <a:cubicBezTo>
                    <a:pt x="34256" y="13191"/>
                    <a:pt x="35001" y="20828"/>
                    <a:pt x="35010" y="20871"/>
                  </a:cubicBezTo>
                  <a:lnTo>
                    <a:pt x="38541" y="20048"/>
                  </a:lnTo>
                  <a:lnTo>
                    <a:pt x="33990" y="22765"/>
                  </a:lnTo>
                  <a:cubicBezTo>
                    <a:pt x="27245" y="25225"/>
                    <a:pt x="11311" y="33839"/>
                    <a:pt x="7282" y="36359"/>
                  </a:cubicBezTo>
                  <a:cubicBezTo>
                    <a:pt x="6571" y="38793"/>
                    <a:pt x="4840" y="47578"/>
                    <a:pt x="5200" y="61164"/>
                  </a:cubicBezTo>
                  <a:cubicBezTo>
                    <a:pt x="5534" y="74114"/>
                    <a:pt x="5954" y="90220"/>
                    <a:pt x="5783" y="105973"/>
                  </a:cubicBezTo>
                  <a:cubicBezTo>
                    <a:pt x="5594" y="123339"/>
                    <a:pt x="4660" y="140181"/>
                    <a:pt x="3914" y="153697"/>
                  </a:cubicBezTo>
                  <a:cubicBezTo>
                    <a:pt x="3280" y="165114"/>
                    <a:pt x="2680" y="175905"/>
                    <a:pt x="3203" y="177739"/>
                  </a:cubicBezTo>
                  <a:cubicBezTo>
                    <a:pt x="3820" y="178305"/>
                    <a:pt x="14431" y="176291"/>
                    <a:pt x="42896" y="171097"/>
                  </a:cubicBezTo>
                  <a:cubicBezTo>
                    <a:pt x="67469" y="166606"/>
                    <a:pt x="89557" y="177894"/>
                    <a:pt x="94554" y="177019"/>
                  </a:cubicBezTo>
                  <a:cubicBezTo>
                    <a:pt x="95231" y="174080"/>
                    <a:pt x="96688" y="161506"/>
                    <a:pt x="95839" y="148392"/>
                  </a:cubicBezTo>
                  <a:close/>
                </a:path>
              </a:pathLst>
            </a:custGeom>
            <a:solidFill>
              <a:srgbClr val="29AB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73" name="Freeform: Shape 13372">
              <a:extLst>
                <a:ext uri="{FF2B5EF4-FFF2-40B4-BE49-F238E27FC236}">
                  <a16:creationId xmlns:a16="http://schemas.microsoft.com/office/drawing/2014/main" id="{C7E2F8A7-A209-90F8-9E0F-1733EB4AA009}"/>
                </a:ext>
              </a:extLst>
            </p:cNvPr>
            <p:cNvSpPr/>
            <p:nvPr/>
          </p:nvSpPr>
          <p:spPr>
            <a:xfrm>
              <a:off x="8509612" y="3279502"/>
              <a:ext cx="65574" cy="107363"/>
            </a:xfrm>
            <a:custGeom>
              <a:avLst/>
              <a:gdLst>
                <a:gd name="connsiteX0" fmla="*/ 56672 w 56680"/>
                <a:gd name="connsiteY0" fmla="*/ 2568 h 92778"/>
                <a:gd name="connsiteX1" fmla="*/ 2006 w 56680"/>
                <a:gd name="connsiteY1" fmla="*/ 2568 h 92778"/>
                <a:gd name="connsiteX2" fmla="*/ 480 w 56680"/>
                <a:gd name="connsiteY2" fmla="*/ 8105 h 92778"/>
                <a:gd name="connsiteX3" fmla="*/ 326 w 56680"/>
                <a:gd name="connsiteY3" fmla="*/ 18998 h 92778"/>
                <a:gd name="connsiteX4" fmla="*/ 34104 w 56680"/>
                <a:gd name="connsiteY4" fmla="*/ 22358 h 92778"/>
                <a:gd name="connsiteX5" fmla="*/ 257 w 56680"/>
                <a:gd name="connsiteY5" fmla="*/ 28890 h 92778"/>
                <a:gd name="connsiteX6" fmla="*/ 231 w 56680"/>
                <a:gd name="connsiteY6" fmla="*/ 34272 h 92778"/>
                <a:gd name="connsiteX7" fmla="*/ 197 w 56680"/>
                <a:gd name="connsiteY7" fmla="*/ 41300 h 92778"/>
                <a:gd name="connsiteX8" fmla="*/ 36444 w 56680"/>
                <a:gd name="connsiteY8" fmla="*/ 48783 h 92778"/>
                <a:gd name="connsiteX9" fmla="*/ 137 w 56680"/>
                <a:gd name="connsiteY9" fmla="*/ 54397 h 92778"/>
                <a:gd name="connsiteX10" fmla="*/ 41124 w 56680"/>
                <a:gd name="connsiteY10" fmla="*/ 67502 h 92778"/>
                <a:gd name="connsiteX11" fmla="*/ 51 w 56680"/>
                <a:gd name="connsiteY11" fmla="*/ 77985 h 92778"/>
                <a:gd name="connsiteX12" fmla="*/ 38450 w 56680"/>
                <a:gd name="connsiteY12" fmla="*/ 78362 h 92778"/>
                <a:gd name="connsiteX13" fmla="*/ 0 w 56680"/>
                <a:gd name="connsiteY13" fmla="*/ 92753 h 92778"/>
                <a:gd name="connsiteX14" fmla="*/ 54667 w 56680"/>
                <a:gd name="connsiteY14" fmla="*/ 92779 h 92778"/>
                <a:gd name="connsiteX15" fmla="*/ 6685 w 56680"/>
                <a:gd name="connsiteY15" fmla="*/ 89796 h 92778"/>
                <a:gd name="connsiteX16" fmla="*/ 54872 w 56680"/>
                <a:gd name="connsiteY16" fmla="*/ 83453 h 92778"/>
                <a:gd name="connsiteX17" fmla="*/ 47141 w 56680"/>
                <a:gd name="connsiteY17" fmla="*/ 75276 h 92778"/>
                <a:gd name="connsiteX18" fmla="*/ 55224 w 56680"/>
                <a:gd name="connsiteY18" fmla="*/ 67862 h 92778"/>
                <a:gd name="connsiteX19" fmla="*/ 28336 w 56680"/>
                <a:gd name="connsiteY19" fmla="*/ 57397 h 92778"/>
                <a:gd name="connsiteX20" fmla="*/ 55584 w 56680"/>
                <a:gd name="connsiteY20" fmla="*/ 51397 h 92778"/>
                <a:gd name="connsiteX21" fmla="*/ 12034 w 56680"/>
                <a:gd name="connsiteY21" fmla="*/ 38678 h 92778"/>
                <a:gd name="connsiteX22" fmla="*/ 55927 w 56680"/>
                <a:gd name="connsiteY22" fmla="*/ 36064 h 92778"/>
                <a:gd name="connsiteX23" fmla="*/ 15377 w 56680"/>
                <a:gd name="connsiteY23" fmla="*/ 28890 h 92778"/>
                <a:gd name="connsiteX24" fmla="*/ 56175 w 56680"/>
                <a:gd name="connsiteY24" fmla="*/ 25170 h 92778"/>
                <a:gd name="connsiteX25" fmla="*/ 56235 w 56680"/>
                <a:gd name="connsiteY25" fmla="*/ 22341 h 92778"/>
                <a:gd name="connsiteX26" fmla="*/ 56355 w 56680"/>
                <a:gd name="connsiteY26" fmla="*/ 17061 h 92778"/>
                <a:gd name="connsiteX27" fmla="*/ 10371 w 56680"/>
                <a:gd name="connsiteY27" fmla="*/ 9484 h 92778"/>
                <a:gd name="connsiteX28" fmla="*/ 56535 w 56680"/>
                <a:gd name="connsiteY28" fmla="*/ 9116 h 92778"/>
                <a:gd name="connsiteX29" fmla="*/ 56681 w 56680"/>
                <a:gd name="connsiteY29" fmla="*/ 2576 h 9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680" h="92778">
                  <a:moveTo>
                    <a:pt x="56672" y="2568"/>
                  </a:moveTo>
                  <a:cubicBezTo>
                    <a:pt x="56672" y="2568"/>
                    <a:pt x="7020" y="-3209"/>
                    <a:pt x="2006" y="2568"/>
                  </a:cubicBezTo>
                  <a:cubicBezTo>
                    <a:pt x="1380" y="3296"/>
                    <a:pt x="883" y="5242"/>
                    <a:pt x="480" y="8105"/>
                  </a:cubicBezTo>
                  <a:cubicBezTo>
                    <a:pt x="429" y="8473"/>
                    <a:pt x="377" y="12664"/>
                    <a:pt x="326" y="18998"/>
                  </a:cubicBezTo>
                  <a:cubicBezTo>
                    <a:pt x="317" y="20893"/>
                    <a:pt x="34122" y="20130"/>
                    <a:pt x="34104" y="22358"/>
                  </a:cubicBezTo>
                  <a:cubicBezTo>
                    <a:pt x="34096" y="23550"/>
                    <a:pt x="266" y="27629"/>
                    <a:pt x="257" y="28890"/>
                  </a:cubicBezTo>
                  <a:cubicBezTo>
                    <a:pt x="257" y="30621"/>
                    <a:pt x="240" y="32421"/>
                    <a:pt x="231" y="34272"/>
                  </a:cubicBezTo>
                  <a:cubicBezTo>
                    <a:pt x="223" y="36552"/>
                    <a:pt x="206" y="38901"/>
                    <a:pt x="197" y="41300"/>
                  </a:cubicBezTo>
                  <a:cubicBezTo>
                    <a:pt x="189" y="42980"/>
                    <a:pt x="36453" y="47069"/>
                    <a:pt x="36444" y="48783"/>
                  </a:cubicBezTo>
                  <a:cubicBezTo>
                    <a:pt x="36427" y="51449"/>
                    <a:pt x="146" y="51740"/>
                    <a:pt x="137" y="54397"/>
                  </a:cubicBezTo>
                  <a:cubicBezTo>
                    <a:pt x="120" y="58091"/>
                    <a:pt x="41141" y="63997"/>
                    <a:pt x="41124" y="67502"/>
                  </a:cubicBezTo>
                  <a:cubicBezTo>
                    <a:pt x="41107" y="72096"/>
                    <a:pt x="60" y="74179"/>
                    <a:pt x="51" y="77985"/>
                  </a:cubicBezTo>
                  <a:cubicBezTo>
                    <a:pt x="43" y="80642"/>
                    <a:pt x="38459" y="76305"/>
                    <a:pt x="38450" y="78362"/>
                  </a:cubicBezTo>
                  <a:cubicBezTo>
                    <a:pt x="38441" y="83110"/>
                    <a:pt x="0" y="92753"/>
                    <a:pt x="0" y="92753"/>
                  </a:cubicBezTo>
                  <a:lnTo>
                    <a:pt x="54667" y="92779"/>
                  </a:lnTo>
                  <a:lnTo>
                    <a:pt x="6685" y="89796"/>
                  </a:lnTo>
                  <a:lnTo>
                    <a:pt x="54872" y="83453"/>
                  </a:lnTo>
                  <a:lnTo>
                    <a:pt x="47141" y="75276"/>
                  </a:lnTo>
                  <a:lnTo>
                    <a:pt x="55224" y="67862"/>
                  </a:lnTo>
                  <a:lnTo>
                    <a:pt x="28336" y="57397"/>
                  </a:lnTo>
                  <a:lnTo>
                    <a:pt x="55584" y="51397"/>
                  </a:lnTo>
                  <a:lnTo>
                    <a:pt x="12034" y="38678"/>
                  </a:lnTo>
                  <a:lnTo>
                    <a:pt x="55927" y="36064"/>
                  </a:lnTo>
                  <a:lnTo>
                    <a:pt x="15377" y="28890"/>
                  </a:lnTo>
                  <a:lnTo>
                    <a:pt x="56175" y="25170"/>
                  </a:lnTo>
                  <a:lnTo>
                    <a:pt x="56235" y="22341"/>
                  </a:lnTo>
                  <a:lnTo>
                    <a:pt x="56355" y="17061"/>
                  </a:lnTo>
                  <a:lnTo>
                    <a:pt x="10371" y="9484"/>
                  </a:lnTo>
                  <a:lnTo>
                    <a:pt x="56535" y="9116"/>
                  </a:lnTo>
                  <a:lnTo>
                    <a:pt x="56681" y="2576"/>
                  </a:lnTo>
                  <a:close/>
                </a:path>
              </a:pathLst>
            </a:custGeom>
            <a:solidFill>
              <a:srgbClr val="C1272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374" name="Graphic 5">
              <a:extLst>
                <a:ext uri="{FF2B5EF4-FFF2-40B4-BE49-F238E27FC236}">
                  <a16:creationId xmlns:a16="http://schemas.microsoft.com/office/drawing/2014/main" id="{DBD374C3-E916-E690-9954-6745A65E24C8}"/>
                </a:ext>
              </a:extLst>
            </p:cNvPr>
            <p:cNvGrpSpPr/>
            <p:nvPr/>
          </p:nvGrpSpPr>
          <p:grpSpPr>
            <a:xfrm>
              <a:off x="8558677" y="3423495"/>
              <a:ext cx="15967" cy="29259"/>
              <a:chOff x="-3074796" y="3248721"/>
              <a:chExt cx="13801" cy="25284"/>
            </a:xfrm>
          </p:grpSpPr>
          <p:sp>
            <p:nvSpPr>
              <p:cNvPr id="13394" name="Freeform: Shape 13393">
                <a:extLst>
                  <a:ext uri="{FF2B5EF4-FFF2-40B4-BE49-F238E27FC236}">
                    <a16:creationId xmlns:a16="http://schemas.microsoft.com/office/drawing/2014/main" id="{529A5EDB-7258-2E4E-C9CA-ED05832E27BE}"/>
                  </a:ext>
                </a:extLst>
              </p:cNvPr>
              <p:cNvSpPr/>
              <p:nvPr/>
            </p:nvSpPr>
            <p:spPr>
              <a:xfrm>
                <a:off x="-3074239" y="3249269"/>
                <a:ext cx="12699" cy="24194"/>
              </a:xfrm>
              <a:custGeom>
                <a:avLst/>
                <a:gdLst>
                  <a:gd name="connsiteX0" fmla="*/ 9694 w 12699"/>
                  <a:gd name="connsiteY0" fmla="*/ 23751 h 24194"/>
                  <a:gd name="connsiteX1" fmla="*/ 1671 w 12699"/>
                  <a:gd name="connsiteY1" fmla="*/ 20382 h 24194"/>
                  <a:gd name="connsiteX2" fmla="*/ 0 w 12699"/>
                  <a:gd name="connsiteY2" fmla="*/ 694 h 24194"/>
                  <a:gd name="connsiteX3" fmla="*/ 12539 w 12699"/>
                  <a:gd name="connsiteY3" fmla="*/ 0 h 24194"/>
                  <a:gd name="connsiteX4" fmla="*/ 9694 w 12699"/>
                  <a:gd name="connsiteY4" fmla="*/ 23751 h 24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9" h="24194">
                    <a:moveTo>
                      <a:pt x="9694" y="23751"/>
                    </a:moveTo>
                    <a:cubicBezTo>
                      <a:pt x="9694" y="23751"/>
                      <a:pt x="2674" y="25996"/>
                      <a:pt x="1671" y="20382"/>
                    </a:cubicBezTo>
                    <a:cubicBezTo>
                      <a:pt x="668" y="14768"/>
                      <a:pt x="0" y="694"/>
                      <a:pt x="0" y="694"/>
                    </a:cubicBezTo>
                    <a:lnTo>
                      <a:pt x="12539" y="0"/>
                    </a:lnTo>
                    <a:cubicBezTo>
                      <a:pt x="12539" y="0"/>
                      <a:pt x="13714" y="20939"/>
                      <a:pt x="9694" y="23751"/>
                    </a:cubicBez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95" name="Freeform: Shape 13394">
                <a:extLst>
                  <a:ext uri="{FF2B5EF4-FFF2-40B4-BE49-F238E27FC236}">
                    <a16:creationId xmlns:a16="http://schemas.microsoft.com/office/drawing/2014/main" id="{96816DD2-93DB-DB26-D9A9-7AE330B5A0A2}"/>
                  </a:ext>
                </a:extLst>
              </p:cNvPr>
              <p:cNvSpPr/>
              <p:nvPr/>
            </p:nvSpPr>
            <p:spPr>
              <a:xfrm>
                <a:off x="-3074796" y="3248721"/>
                <a:ext cx="13801" cy="25284"/>
              </a:xfrm>
              <a:custGeom>
                <a:avLst/>
                <a:gdLst>
                  <a:gd name="connsiteX0" fmla="*/ 1706 w 13801"/>
                  <a:gd name="connsiteY0" fmla="*/ 21025 h 25284"/>
                  <a:gd name="connsiteX1" fmla="*/ 26 w 13801"/>
                  <a:gd name="connsiteY1" fmla="*/ 1269 h 25284"/>
                  <a:gd name="connsiteX2" fmla="*/ 0 w 13801"/>
                  <a:gd name="connsiteY2" fmla="*/ 746 h 25284"/>
                  <a:gd name="connsiteX3" fmla="*/ 13594 w 13801"/>
                  <a:gd name="connsiteY3" fmla="*/ 0 h 25284"/>
                  <a:gd name="connsiteX4" fmla="*/ 13620 w 13801"/>
                  <a:gd name="connsiteY4" fmla="*/ 531 h 25284"/>
                  <a:gd name="connsiteX5" fmla="*/ 10560 w 13801"/>
                  <a:gd name="connsiteY5" fmla="*/ 24745 h 25284"/>
                  <a:gd name="connsiteX6" fmla="*/ 10422 w 13801"/>
                  <a:gd name="connsiteY6" fmla="*/ 24813 h 25284"/>
                  <a:gd name="connsiteX7" fmla="*/ 7243 w 13801"/>
                  <a:gd name="connsiteY7" fmla="*/ 25285 h 25284"/>
                  <a:gd name="connsiteX8" fmla="*/ 7243 w 13801"/>
                  <a:gd name="connsiteY8" fmla="*/ 25285 h 25284"/>
                  <a:gd name="connsiteX9" fmla="*/ 1706 w 13801"/>
                  <a:gd name="connsiteY9" fmla="*/ 21034 h 25284"/>
                  <a:gd name="connsiteX10" fmla="*/ 12591 w 13801"/>
                  <a:gd name="connsiteY10" fmla="*/ 1114 h 25284"/>
                  <a:gd name="connsiteX11" fmla="*/ 1114 w 13801"/>
                  <a:gd name="connsiteY11" fmla="*/ 1749 h 25284"/>
                  <a:gd name="connsiteX12" fmla="*/ 2751 w 13801"/>
                  <a:gd name="connsiteY12" fmla="*/ 20836 h 25284"/>
                  <a:gd name="connsiteX13" fmla="*/ 7243 w 13801"/>
                  <a:gd name="connsiteY13" fmla="*/ 24213 h 25284"/>
                  <a:gd name="connsiteX14" fmla="*/ 10020 w 13801"/>
                  <a:gd name="connsiteY14" fmla="*/ 23819 h 25284"/>
                  <a:gd name="connsiteX15" fmla="*/ 12600 w 13801"/>
                  <a:gd name="connsiteY15" fmla="*/ 1114 h 2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01" h="25284">
                    <a:moveTo>
                      <a:pt x="1706" y="21025"/>
                    </a:moveTo>
                    <a:cubicBezTo>
                      <a:pt x="711" y="15445"/>
                      <a:pt x="60" y="1843"/>
                      <a:pt x="26" y="1269"/>
                    </a:cubicBezTo>
                    <a:lnTo>
                      <a:pt x="0" y="746"/>
                    </a:lnTo>
                    <a:lnTo>
                      <a:pt x="13594" y="0"/>
                    </a:lnTo>
                    <a:lnTo>
                      <a:pt x="13620" y="531"/>
                    </a:lnTo>
                    <a:cubicBezTo>
                      <a:pt x="13748" y="2700"/>
                      <a:pt x="14691" y="21856"/>
                      <a:pt x="10560" y="24745"/>
                    </a:cubicBezTo>
                    <a:lnTo>
                      <a:pt x="10422" y="24813"/>
                    </a:lnTo>
                    <a:cubicBezTo>
                      <a:pt x="10362" y="24831"/>
                      <a:pt x="8940" y="25285"/>
                      <a:pt x="7243" y="25285"/>
                    </a:cubicBezTo>
                    <a:lnTo>
                      <a:pt x="7243" y="25285"/>
                    </a:lnTo>
                    <a:cubicBezTo>
                      <a:pt x="4166" y="25285"/>
                      <a:pt x="2203" y="23776"/>
                      <a:pt x="1706" y="21034"/>
                    </a:cubicBezTo>
                    <a:close/>
                    <a:moveTo>
                      <a:pt x="12591" y="1114"/>
                    </a:moveTo>
                    <a:lnTo>
                      <a:pt x="1114" y="1749"/>
                    </a:lnTo>
                    <a:cubicBezTo>
                      <a:pt x="1243" y="4354"/>
                      <a:pt x="1877" y="15942"/>
                      <a:pt x="2751" y="20836"/>
                    </a:cubicBezTo>
                    <a:cubicBezTo>
                      <a:pt x="3154" y="23082"/>
                      <a:pt x="4663" y="24213"/>
                      <a:pt x="7243" y="24213"/>
                    </a:cubicBezTo>
                    <a:cubicBezTo>
                      <a:pt x="8545" y="24213"/>
                      <a:pt x="9711" y="23905"/>
                      <a:pt x="10020" y="23819"/>
                    </a:cubicBezTo>
                    <a:cubicBezTo>
                      <a:pt x="12960" y="21556"/>
                      <a:pt x="12899" y="7174"/>
                      <a:pt x="12600" y="1114"/>
                    </a:cubicBez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375" name="Graphic 5">
              <a:extLst>
                <a:ext uri="{FF2B5EF4-FFF2-40B4-BE49-F238E27FC236}">
                  <a16:creationId xmlns:a16="http://schemas.microsoft.com/office/drawing/2014/main" id="{BFAB18FE-50C4-8B8A-8FF7-389F66B586A4}"/>
                </a:ext>
              </a:extLst>
            </p:cNvPr>
            <p:cNvGrpSpPr/>
            <p:nvPr/>
          </p:nvGrpSpPr>
          <p:grpSpPr>
            <a:xfrm>
              <a:off x="8513251" y="3424894"/>
              <a:ext cx="12232" cy="20848"/>
              <a:chOff x="-3114060" y="3249929"/>
              <a:chExt cx="10573" cy="18016"/>
            </a:xfrm>
          </p:grpSpPr>
          <p:sp>
            <p:nvSpPr>
              <p:cNvPr id="13392" name="Freeform: Shape 13391">
                <a:extLst>
                  <a:ext uri="{FF2B5EF4-FFF2-40B4-BE49-F238E27FC236}">
                    <a16:creationId xmlns:a16="http://schemas.microsoft.com/office/drawing/2014/main" id="{7D646D6F-BA17-6B1D-E044-9F32A2DBE7FA}"/>
                  </a:ext>
                </a:extLst>
              </p:cNvPr>
              <p:cNvSpPr/>
              <p:nvPr/>
            </p:nvSpPr>
            <p:spPr>
              <a:xfrm>
                <a:off x="-3113529" y="3250460"/>
                <a:ext cx="9517" cy="16942"/>
              </a:xfrm>
              <a:custGeom>
                <a:avLst/>
                <a:gdLst>
                  <a:gd name="connsiteX0" fmla="*/ 9428 w 9517"/>
                  <a:gd name="connsiteY0" fmla="*/ 94 h 16942"/>
                  <a:gd name="connsiteX1" fmla="*/ 6188 w 9517"/>
                  <a:gd name="connsiteY1" fmla="*/ 16937 h 16942"/>
                  <a:gd name="connsiteX2" fmla="*/ 1003 w 9517"/>
                  <a:gd name="connsiteY2" fmla="*/ 13379 h 16942"/>
                  <a:gd name="connsiteX3" fmla="*/ 0 w 9517"/>
                  <a:gd name="connsiteY3" fmla="*/ 0 h 16942"/>
                  <a:gd name="connsiteX4" fmla="*/ 9428 w 9517"/>
                  <a:gd name="connsiteY4" fmla="*/ 94 h 16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 h="16942">
                    <a:moveTo>
                      <a:pt x="9428" y="94"/>
                    </a:moveTo>
                    <a:cubicBezTo>
                      <a:pt x="9428" y="94"/>
                      <a:pt x="10363" y="17314"/>
                      <a:pt x="6188" y="16937"/>
                    </a:cubicBezTo>
                    <a:cubicBezTo>
                      <a:pt x="3900" y="16731"/>
                      <a:pt x="2023" y="17922"/>
                      <a:pt x="1003" y="13379"/>
                    </a:cubicBezTo>
                    <a:cubicBezTo>
                      <a:pt x="163" y="9634"/>
                      <a:pt x="0" y="0"/>
                      <a:pt x="0" y="0"/>
                    </a:cubicBezTo>
                    <a:lnTo>
                      <a:pt x="9428" y="94"/>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93" name="Freeform: Shape 13392">
                <a:extLst>
                  <a:ext uri="{FF2B5EF4-FFF2-40B4-BE49-F238E27FC236}">
                    <a16:creationId xmlns:a16="http://schemas.microsoft.com/office/drawing/2014/main" id="{9CE5E144-F352-49F8-2F66-42253D901611}"/>
                  </a:ext>
                </a:extLst>
              </p:cNvPr>
              <p:cNvSpPr/>
              <p:nvPr/>
            </p:nvSpPr>
            <p:spPr>
              <a:xfrm>
                <a:off x="-3114060" y="3249929"/>
                <a:ext cx="10573" cy="18016"/>
              </a:xfrm>
              <a:custGeom>
                <a:avLst/>
                <a:gdLst>
                  <a:gd name="connsiteX0" fmla="*/ 6668 w 10573"/>
                  <a:gd name="connsiteY0" fmla="*/ 18008 h 18016"/>
                  <a:gd name="connsiteX1" fmla="*/ 5426 w 10573"/>
                  <a:gd name="connsiteY1" fmla="*/ 17999 h 18016"/>
                  <a:gd name="connsiteX2" fmla="*/ 1011 w 10573"/>
                  <a:gd name="connsiteY2" fmla="*/ 14040 h 18016"/>
                  <a:gd name="connsiteX3" fmla="*/ 0 w 10573"/>
                  <a:gd name="connsiteY3" fmla="*/ 549 h 18016"/>
                  <a:gd name="connsiteX4" fmla="*/ 0 w 10573"/>
                  <a:gd name="connsiteY4" fmla="*/ 0 h 18016"/>
                  <a:gd name="connsiteX5" fmla="*/ 10457 w 10573"/>
                  <a:gd name="connsiteY5" fmla="*/ 103 h 18016"/>
                  <a:gd name="connsiteX6" fmla="*/ 10482 w 10573"/>
                  <a:gd name="connsiteY6" fmla="*/ 600 h 18016"/>
                  <a:gd name="connsiteX7" fmla="*/ 8357 w 10573"/>
                  <a:gd name="connsiteY7" fmla="*/ 17314 h 18016"/>
                  <a:gd name="connsiteX8" fmla="*/ 6840 w 10573"/>
                  <a:gd name="connsiteY8" fmla="*/ 18017 h 18016"/>
                  <a:gd name="connsiteX9" fmla="*/ 6840 w 10573"/>
                  <a:gd name="connsiteY9" fmla="*/ 18017 h 18016"/>
                  <a:gd name="connsiteX10" fmla="*/ 6660 w 10573"/>
                  <a:gd name="connsiteY10" fmla="*/ 18008 h 18016"/>
                  <a:gd name="connsiteX11" fmla="*/ 1080 w 10573"/>
                  <a:gd name="connsiteY11" fmla="*/ 1080 h 18016"/>
                  <a:gd name="connsiteX12" fmla="*/ 2049 w 10573"/>
                  <a:gd name="connsiteY12" fmla="*/ 13817 h 18016"/>
                  <a:gd name="connsiteX13" fmla="*/ 4826 w 10573"/>
                  <a:gd name="connsiteY13" fmla="*/ 16962 h 18016"/>
                  <a:gd name="connsiteX14" fmla="*/ 5400 w 10573"/>
                  <a:gd name="connsiteY14" fmla="*/ 16971 h 18016"/>
                  <a:gd name="connsiteX15" fmla="*/ 6771 w 10573"/>
                  <a:gd name="connsiteY15" fmla="*/ 17031 h 18016"/>
                  <a:gd name="connsiteX16" fmla="*/ 6857 w 10573"/>
                  <a:gd name="connsiteY16" fmla="*/ 17031 h 18016"/>
                  <a:gd name="connsiteX17" fmla="*/ 7603 w 10573"/>
                  <a:gd name="connsiteY17" fmla="*/ 16620 h 18016"/>
                  <a:gd name="connsiteX18" fmla="*/ 9471 w 10573"/>
                  <a:gd name="connsiteY18" fmla="*/ 1157 h 18016"/>
                  <a:gd name="connsiteX19" fmla="*/ 1089 w 10573"/>
                  <a:gd name="connsiteY19" fmla="*/ 1080 h 1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573" h="18016">
                    <a:moveTo>
                      <a:pt x="6668" y="18008"/>
                    </a:moveTo>
                    <a:cubicBezTo>
                      <a:pt x="6240" y="17974"/>
                      <a:pt x="5820" y="17982"/>
                      <a:pt x="5426" y="17999"/>
                    </a:cubicBezTo>
                    <a:cubicBezTo>
                      <a:pt x="3334" y="18068"/>
                      <a:pt x="1834" y="17708"/>
                      <a:pt x="1011" y="14040"/>
                    </a:cubicBezTo>
                    <a:cubicBezTo>
                      <a:pt x="171" y="10285"/>
                      <a:pt x="9" y="943"/>
                      <a:pt x="0" y="549"/>
                    </a:cubicBezTo>
                    <a:lnTo>
                      <a:pt x="0" y="0"/>
                    </a:lnTo>
                    <a:cubicBezTo>
                      <a:pt x="0" y="0"/>
                      <a:pt x="10457" y="103"/>
                      <a:pt x="10457" y="103"/>
                    </a:cubicBezTo>
                    <a:lnTo>
                      <a:pt x="10482" y="600"/>
                    </a:lnTo>
                    <a:cubicBezTo>
                      <a:pt x="10508" y="1157"/>
                      <a:pt x="11194" y="14314"/>
                      <a:pt x="8357" y="17314"/>
                    </a:cubicBezTo>
                    <a:cubicBezTo>
                      <a:pt x="7911" y="17776"/>
                      <a:pt x="7405" y="18017"/>
                      <a:pt x="6840" y="18017"/>
                    </a:cubicBezTo>
                    <a:lnTo>
                      <a:pt x="6840" y="18017"/>
                    </a:lnTo>
                    <a:cubicBezTo>
                      <a:pt x="6780" y="18017"/>
                      <a:pt x="6720" y="18017"/>
                      <a:pt x="6660" y="18008"/>
                    </a:cubicBezTo>
                    <a:close/>
                    <a:moveTo>
                      <a:pt x="1080" y="1080"/>
                    </a:moveTo>
                    <a:cubicBezTo>
                      <a:pt x="1131" y="3163"/>
                      <a:pt x="1354" y="10671"/>
                      <a:pt x="2049" y="13817"/>
                    </a:cubicBezTo>
                    <a:cubicBezTo>
                      <a:pt x="2751" y="16954"/>
                      <a:pt x="3806" y="16962"/>
                      <a:pt x="4826" y="16962"/>
                    </a:cubicBezTo>
                    <a:cubicBezTo>
                      <a:pt x="5006" y="16962"/>
                      <a:pt x="5203" y="16979"/>
                      <a:pt x="5400" y="16971"/>
                    </a:cubicBezTo>
                    <a:cubicBezTo>
                      <a:pt x="5837" y="16962"/>
                      <a:pt x="6291" y="17031"/>
                      <a:pt x="6771" y="17031"/>
                    </a:cubicBezTo>
                    <a:lnTo>
                      <a:pt x="6857" y="17031"/>
                    </a:lnTo>
                    <a:cubicBezTo>
                      <a:pt x="7123" y="17031"/>
                      <a:pt x="7363" y="16868"/>
                      <a:pt x="7603" y="16620"/>
                    </a:cubicBezTo>
                    <a:cubicBezTo>
                      <a:pt x="9617" y="14502"/>
                      <a:pt x="9643" y="5160"/>
                      <a:pt x="9471" y="1157"/>
                    </a:cubicBezTo>
                    <a:lnTo>
                      <a:pt x="1089" y="1080"/>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376" name="Graphic 5">
              <a:extLst>
                <a:ext uri="{FF2B5EF4-FFF2-40B4-BE49-F238E27FC236}">
                  <a16:creationId xmlns:a16="http://schemas.microsoft.com/office/drawing/2014/main" id="{F6B2C934-0C0A-7D23-DA96-964CFA594EFA}"/>
                </a:ext>
              </a:extLst>
            </p:cNvPr>
            <p:cNvGrpSpPr/>
            <p:nvPr/>
          </p:nvGrpSpPr>
          <p:grpSpPr>
            <a:xfrm>
              <a:off x="8506499" y="3441120"/>
              <a:ext cx="24413" cy="59293"/>
              <a:chOff x="-3119897" y="3263951"/>
              <a:chExt cx="21102" cy="51238"/>
            </a:xfrm>
          </p:grpSpPr>
          <p:sp>
            <p:nvSpPr>
              <p:cNvPr id="13386" name="Freeform: Shape 13385">
                <a:extLst>
                  <a:ext uri="{FF2B5EF4-FFF2-40B4-BE49-F238E27FC236}">
                    <a16:creationId xmlns:a16="http://schemas.microsoft.com/office/drawing/2014/main" id="{64578918-17CF-B456-2DC1-DE94EA6C3117}"/>
                  </a:ext>
                </a:extLst>
              </p:cNvPr>
              <p:cNvSpPr/>
              <p:nvPr/>
            </p:nvSpPr>
            <p:spPr>
              <a:xfrm>
                <a:off x="-3116880" y="3266960"/>
                <a:ext cx="18085" cy="48229"/>
              </a:xfrm>
              <a:custGeom>
                <a:avLst/>
                <a:gdLst>
                  <a:gd name="connsiteX0" fmla="*/ 0 w 18085"/>
                  <a:gd name="connsiteY0" fmla="*/ 40944 h 48229"/>
                  <a:gd name="connsiteX1" fmla="*/ 3651 w 18085"/>
                  <a:gd name="connsiteY1" fmla="*/ 48230 h 48229"/>
                  <a:gd name="connsiteX2" fmla="*/ 12265 w 18085"/>
                  <a:gd name="connsiteY2" fmla="*/ 48230 h 48229"/>
                  <a:gd name="connsiteX3" fmla="*/ 18085 w 18085"/>
                  <a:gd name="connsiteY3" fmla="*/ 40944 h 48229"/>
                  <a:gd name="connsiteX4" fmla="*/ 18085 w 18085"/>
                  <a:gd name="connsiteY4" fmla="*/ 3745 h 48229"/>
                  <a:gd name="connsiteX5" fmla="*/ 12265 w 18085"/>
                  <a:gd name="connsiteY5" fmla="*/ 0 h 48229"/>
                  <a:gd name="connsiteX6" fmla="*/ 3651 w 18085"/>
                  <a:gd name="connsiteY6" fmla="*/ 0 h 48229"/>
                  <a:gd name="connsiteX7" fmla="*/ 0 w 18085"/>
                  <a:gd name="connsiteY7" fmla="*/ 3745 h 48229"/>
                  <a:gd name="connsiteX8" fmla="*/ 0 w 18085"/>
                  <a:gd name="connsiteY8" fmla="*/ 40944 h 4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85" h="48229">
                    <a:moveTo>
                      <a:pt x="0" y="40944"/>
                    </a:moveTo>
                    <a:cubicBezTo>
                      <a:pt x="0" y="44321"/>
                      <a:pt x="1097" y="48230"/>
                      <a:pt x="3651" y="48230"/>
                    </a:cubicBezTo>
                    <a:lnTo>
                      <a:pt x="12265" y="48230"/>
                    </a:lnTo>
                    <a:cubicBezTo>
                      <a:pt x="14819" y="48230"/>
                      <a:pt x="18085" y="44321"/>
                      <a:pt x="18085" y="40944"/>
                    </a:cubicBezTo>
                    <a:lnTo>
                      <a:pt x="18085" y="3745"/>
                    </a:lnTo>
                    <a:cubicBezTo>
                      <a:pt x="18085" y="368"/>
                      <a:pt x="14828" y="0"/>
                      <a:pt x="12265" y="0"/>
                    </a:cubicBezTo>
                    <a:lnTo>
                      <a:pt x="3651" y="0"/>
                    </a:lnTo>
                    <a:cubicBezTo>
                      <a:pt x="1097" y="0"/>
                      <a:pt x="0" y="368"/>
                      <a:pt x="0" y="3745"/>
                    </a:cubicBezTo>
                    <a:lnTo>
                      <a:pt x="0" y="40944"/>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87" name="Freeform: Shape 13386">
                <a:extLst>
                  <a:ext uri="{FF2B5EF4-FFF2-40B4-BE49-F238E27FC236}">
                    <a16:creationId xmlns:a16="http://schemas.microsoft.com/office/drawing/2014/main" id="{75AD22B2-15D1-57B6-846D-FCAF5AAE3836}"/>
                  </a:ext>
                </a:extLst>
              </p:cNvPr>
              <p:cNvSpPr/>
              <p:nvPr/>
            </p:nvSpPr>
            <p:spPr>
              <a:xfrm>
                <a:off x="-3119897" y="3263951"/>
                <a:ext cx="21102" cy="51238"/>
              </a:xfrm>
              <a:custGeom>
                <a:avLst/>
                <a:gdLst>
                  <a:gd name="connsiteX0" fmla="*/ 0 w 21102"/>
                  <a:gd name="connsiteY0" fmla="*/ 43953 h 51238"/>
                  <a:gd name="connsiteX1" fmla="*/ 0 w 21102"/>
                  <a:gd name="connsiteY1" fmla="*/ 6754 h 51238"/>
                  <a:gd name="connsiteX2" fmla="*/ 6668 w 21102"/>
                  <a:gd name="connsiteY2" fmla="*/ 0 h 51238"/>
                  <a:gd name="connsiteX3" fmla="*/ 15282 w 21102"/>
                  <a:gd name="connsiteY3" fmla="*/ 0 h 51238"/>
                  <a:gd name="connsiteX4" fmla="*/ 21102 w 21102"/>
                  <a:gd name="connsiteY4" fmla="*/ 6754 h 51238"/>
                  <a:gd name="connsiteX5" fmla="*/ 21102 w 21102"/>
                  <a:gd name="connsiteY5" fmla="*/ 43953 h 51238"/>
                  <a:gd name="connsiteX6" fmla="*/ 15282 w 21102"/>
                  <a:gd name="connsiteY6" fmla="*/ 51238 h 51238"/>
                  <a:gd name="connsiteX7" fmla="*/ 6668 w 21102"/>
                  <a:gd name="connsiteY7" fmla="*/ 51238 h 51238"/>
                  <a:gd name="connsiteX8" fmla="*/ 0 w 21102"/>
                  <a:gd name="connsiteY8" fmla="*/ 43953 h 51238"/>
                  <a:gd name="connsiteX9" fmla="*/ 6668 w 21102"/>
                  <a:gd name="connsiteY9" fmla="*/ 3008 h 51238"/>
                  <a:gd name="connsiteX10" fmla="*/ 3017 w 21102"/>
                  <a:gd name="connsiteY10" fmla="*/ 6754 h 51238"/>
                  <a:gd name="connsiteX11" fmla="*/ 3017 w 21102"/>
                  <a:gd name="connsiteY11" fmla="*/ 43953 h 51238"/>
                  <a:gd name="connsiteX12" fmla="*/ 6668 w 21102"/>
                  <a:gd name="connsiteY12" fmla="*/ 48221 h 51238"/>
                  <a:gd name="connsiteX13" fmla="*/ 15282 w 21102"/>
                  <a:gd name="connsiteY13" fmla="*/ 48221 h 51238"/>
                  <a:gd name="connsiteX14" fmla="*/ 18085 w 21102"/>
                  <a:gd name="connsiteY14" fmla="*/ 43953 h 51238"/>
                  <a:gd name="connsiteX15" fmla="*/ 18085 w 21102"/>
                  <a:gd name="connsiteY15" fmla="*/ 6754 h 51238"/>
                  <a:gd name="connsiteX16" fmla="*/ 15282 w 21102"/>
                  <a:gd name="connsiteY16" fmla="*/ 3008 h 51238"/>
                  <a:gd name="connsiteX17" fmla="*/ 6668 w 21102"/>
                  <a:gd name="connsiteY17" fmla="*/ 3008 h 51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02" h="51238">
                    <a:moveTo>
                      <a:pt x="0" y="43953"/>
                    </a:moveTo>
                    <a:lnTo>
                      <a:pt x="0" y="6754"/>
                    </a:lnTo>
                    <a:cubicBezTo>
                      <a:pt x="0" y="2494"/>
                      <a:pt x="3266" y="0"/>
                      <a:pt x="6668" y="0"/>
                    </a:cubicBezTo>
                    <a:lnTo>
                      <a:pt x="15282" y="0"/>
                    </a:lnTo>
                    <a:cubicBezTo>
                      <a:pt x="18711" y="0"/>
                      <a:pt x="21102" y="2503"/>
                      <a:pt x="21102" y="6754"/>
                    </a:cubicBezTo>
                    <a:lnTo>
                      <a:pt x="21102" y="43953"/>
                    </a:lnTo>
                    <a:cubicBezTo>
                      <a:pt x="21102" y="47955"/>
                      <a:pt x="18891" y="51238"/>
                      <a:pt x="15282" y="51238"/>
                    </a:cubicBezTo>
                    <a:lnTo>
                      <a:pt x="6668" y="51238"/>
                    </a:lnTo>
                    <a:cubicBezTo>
                      <a:pt x="3086" y="51238"/>
                      <a:pt x="0" y="47955"/>
                      <a:pt x="0" y="43953"/>
                    </a:cubicBezTo>
                    <a:close/>
                    <a:moveTo>
                      <a:pt x="6668" y="3008"/>
                    </a:moveTo>
                    <a:cubicBezTo>
                      <a:pt x="5143" y="3008"/>
                      <a:pt x="3017" y="4046"/>
                      <a:pt x="3017" y="6754"/>
                    </a:cubicBezTo>
                    <a:lnTo>
                      <a:pt x="3017" y="43953"/>
                    </a:lnTo>
                    <a:cubicBezTo>
                      <a:pt x="3017" y="46524"/>
                      <a:pt x="5040" y="48221"/>
                      <a:pt x="6668" y="48221"/>
                    </a:cubicBezTo>
                    <a:lnTo>
                      <a:pt x="15282" y="48221"/>
                    </a:lnTo>
                    <a:cubicBezTo>
                      <a:pt x="16945" y="48221"/>
                      <a:pt x="18085" y="46524"/>
                      <a:pt x="18085" y="43953"/>
                    </a:cubicBezTo>
                    <a:lnTo>
                      <a:pt x="18085" y="6754"/>
                    </a:lnTo>
                    <a:cubicBezTo>
                      <a:pt x="18085" y="4088"/>
                      <a:pt x="16808" y="3008"/>
                      <a:pt x="15282" y="3008"/>
                    </a:cubicBezTo>
                    <a:lnTo>
                      <a:pt x="6668" y="3008"/>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381" name="Freeform: Shape 13380">
              <a:extLst>
                <a:ext uri="{FF2B5EF4-FFF2-40B4-BE49-F238E27FC236}">
                  <a16:creationId xmlns:a16="http://schemas.microsoft.com/office/drawing/2014/main" id="{94B25985-48E9-C985-9F54-5CAA68A44592}"/>
                </a:ext>
              </a:extLst>
            </p:cNvPr>
            <p:cNvSpPr/>
            <p:nvPr/>
          </p:nvSpPr>
          <p:spPr>
            <a:xfrm>
              <a:off x="8503008" y="3441110"/>
              <a:ext cx="31384" cy="6982"/>
            </a:xfrm>
            <a:custGeom>
              <a:avLst/>
              <a:gdLst>
                <a:gd name="connsiteX0" fmla="*/ 0 w 27127"/>
                <a:gd name="connsiteY0" fmla="*/ 2991 h 6034"/>
                <a:gd name="connsiteX1" fmla="*/ 3746 w 27127"/>
                <a:gd name="connsiteY1" fmla="*/ 6034 h 6034"/>
                <a:gd name="connsiteX2" fmla="*/ 24196 w 27127"/>
                <a:gd name="connsiteY2" fmla="*/ 6034 h 6034"/>
                <a:gd name="connsiteX3" fmla="*/ 27128 w 27127"/>
                <a:gd name="connsiteY3" fmla="*/ 2991 h 6034"/>
                <a:gd name="connsiteX4" fmla="*/ 27128 w 27127"/>
                <a:gd name="connsiteY4" fmla="*/ 2803 h 6034"/>
                <a:gd name="connsiteX5" fmla="*/ 24196 w 27127"/>
                <a:gd name="connsiteY5" fmla="*/ 0 h 6034"/>
                <a:gd name="connsiteX6" fmla="*/ 3746 w 27127"/>
                <a:gd name="connsiteY6" fmla="*/ 0 h 6034"/>
                <a:gd name="connsiteX7" fmla="*/ 0 w 27127"/>
                <a:gd name="connsiteY7" fmla="*/ 2803 h 6034"/>
                <a:gd name="connsiteX8" fmla="*/ 0 w 27127"/>
                <a:gd name="connsiteY8" fmla="*/ 2991 h 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27" h="6034">
                  <a:moveTo>
                    <a:pt x="0" y="2991"/>
                  </a:moveTo>
                  <a:cubicBezTo>
                    <a:pt x="0" y="5108"/>
                    <a:pt x="2151" y="6034"/>
                    <a:pt x="3746" y="6034"/>
                  </a:cubicBezTo>
                  <a:lnTo>
                    <a:pt x="24196" y="6034"/>
                  </a:lnTo>
                  <a:cubicBezTo>
                    <a:pt x="25790" y="6034"/>
                    <a:pt x="27128" y="5117"/>
                    <a:pt x="27128" y="2991"/>
                  </a:cubicBezTo>
                  <a:lnTo>
                    <a:pt x="27128" y="2803"/>
                  </a:lnTo>
                  <a:cubicBezTo>
                    <a:pt x="27128" y="677"/>
                    <a:pt x="25799" y="0"/>
                    <a:pt x="24196" y="0"/>
                  </a:cubicBezTo>
                  <a:lnTo>
                    <a:pt x="3746" y="0"/>
                  </a:lnTo>
                  <a:cubicBezTo>
                    <a:pt x="2151" y="0"/>
                    <a:pt x="0" y="677"/>
                    <a:pt x="0" y="2803"/>
                  </a:cubicBezTo>
                  <a:lnTo>
                    <a:pt x="0" y="2991"/>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382" name="Graphic 5">
              <a:extLst>
                <a:ext uri="{FF2B5EF4-FFF2-40B4-BE49-F238E27FC236}">
                  <a16:creationId xmlns:a16="http://schemas.microsoft.com/office/drawing/2014/main" id="{45D3B2AF-FD9E-2F26-3879-973227A5F444}"/>
                </a:ext>
              </a:extLst>
            </p:cNvPr>
            <p:cNvGrpSpPr/>
            <p:nvPr/>
          </p:nvGrpSpPr>
          <p:grpSpPr>
            <a:xfrm>
              <a:off x="8513350" y="3500403"/>
              <a:ext cx="12281" cy="10463"/>
              <a:chOff x="-3113975" y="3315181"/>
              <a:chExt cx="10615" cy="9042"/>
            </a:xfrm>
          </p:grpSpPr>
          <p:sp>
            <p:nvSpPr>
              <p:cNvPr id="13384" name="Freeform: Shape 13383">
                <a:extLst>
                  <a:ext uri="{FF2B5EF4-FFF2-40B4-BE49-F238E27FC236}">
                    <a16:creationId xmlns:a16="http://schemas.microsoft.com/office/drawing/2014/main" id="{FCD7D0AC-4AEB-1B45-CE33-4BACE46127A3}"/>
                  </a:ext>
                </a:extLst>
              </p:cNvPr>
              <p:cNvSpPr/>
              <p:nvPr/>
            </p:nvSpPr>
            <p:spPr>
              <a:xfrm>
                <a:off x="-3112410" y="3318198"/>
                <a:ext cx="7502" cy="6025"/>
              </a:xfrm>
              <a:custGeom>
                <a:avLst/>
                <a:gdLst>
                  <a:gd name="connsiteX0" fmla="*/ 7495 w 7502"/>
                  <a:gd name="connsiteY0" fmla="*/ 0 h 6025"/>
                  <a:gd name="connsiteX1" fmla="*/ 5403 w 7502"/>
                  <a:gd name="connsiteY1" fmla="*/ 6026 h 6025"/>
                  <a:gd name="connsiteX2" fmla="*/ 1349 w 7502"/>
                  <a:gd name="connsiteY2" fmla="*/ 6026 h 6025"/>
                  <a:gd name="connsiteX3" fmla="*/ 55 w 7502"/>
                  <a:gd name="connsiteY3" fmla="*/ 0 h 6025"/>
                  <a:gd name="connsiteX4" fmla="*/ 7495 w 7502"/>
                  <a:gd name="connsiteY4" fmla="*/ 0 h 6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2" h="6025">
                    <a:moveTo>
                      <a:pt x="7495" y="0"/>
                    </a:moveTo>
                    <a:cubicBezTo>
                      <a:pt x="7495" y="0"/>
                      <a:pt x="7743" y="6026"/>
                      <a:pt x="5403" y="6026"/>
                    </a:cubicBezTo>
                    <a:lnTo>
                      <a:pt x="1349" y="6026"/>
                    </a:lnTo>
                    <a:cubicBezTo>
                      <a:pt x="-408" y="6026"/>
                      <a:pt x="55" y="0"/>
                      <a:pt x="55" y="0"/>
                    </a:cubicBezTo>
                    <a:lnTo>
                      <a:pt x="7495" y="0"/>
                    </a:lnTo>
                    <a:close/>
                  </a:path>
                </a:pathLst>
              </a:custGeom>
              <a:solidFill>
                <a:srgbClr val="FFE8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85" name="Freeform: Shape 13384">
                <a:extLst>
                  <a:ext uri="{FF2B5EF4-FFF2-40B4-BE49-F238E27FC236}">
                    <a16:creationId xmlns:a16="http://schemas.microsoft.com/office/drawing/2014/main" id="{AE952798-E27F-8587-16AB-B379B9BD9D21}"/>
                  </a:ext>
                </a:extLst>
              </p:cNvPr>
              <p:cNvSpPr/>
              <p:nvPr/>
            </p:nvSpPr>
            <p:spPr>
              <a:xfrm>
                <a:off x="-3113975" y="3315181"/>
                <a:ext cx="10615" cy="9042"/>
              </a:xfrm>
              <a:custGeom>
                <a:avLst/>
                <a:gdLst>
                  <a:gd name="connsiteX0" fmla="*/ 1218 w 10615"/>
                  <a:gd name="connsiteY0" fmla="*/ 8400 h 9042"/>
                  <a:gd name="connsiteX1" fmla="*/ 69 w 10615"/>
                  <a:gd name="connsiteY1" fmla="*/ 1423 h 9042"/>
                  <a:gd name="connsiteX2" fmla="*/ 181 w 10615"/>
                  <a:gd name="connsiteY2" fmla="*/ 0 h 9042"/>
                  <a:gd name="connsiteX3" fmla="*/ 10543 w 10615"/>
                  <a:gd name="connsiteY3" fmla="*/ 0 h 9042"/>
                  <a:gd name="connsiteX4" fmla="*/ 10603 w 10615"/>
                  <a:gd name="connsiteY4" fmla="*/ 1423 h 9042"/>
                  <a:gd name="connsiteX5" fmla="*/ 9009 w 10615"/>
                  <a:gd name="connsiteY5" fmla="*/ 8254 h 9042"/>
                  <a:gd name="connsiteX6" fmla="*/ 6960 w 10615"/>
                  <a:gd name="connsiteY6" fmla="*/ 9043 h 9042"/>
                  <a:gd name="connsiteX7" fmla="*/ 2906 w 10615"/>
                  <a:gd name="connsiteY7" fmla="*/ 9043 h 9042"/>
                  <a:gd name="connsiteX8" fmla="*/ 1218 w 10615"/>
                  <a:gd name="connsiteY8" fmla="*/ 8391 h 9042"/>
                  <a:gd name="connsiteX9" fmla="*/ 3103 w 10615"/>
                  <a:gd name="connsiteY9" fmla="*/ 3068 h 9042"/>
                  <a:gd name="connsiteX10" fmla="*/ 3395 w 10615"/>
                  <a:gd name="connsiteY10" fmla="*/ 6171 h 9042"/>
                  <a:gd name="connsiteX11" fmla="*/ 6772 w 10615"/>
                  <a:gd name="connsiteY11" fmla="*/ 6223 h 9042"/>
                  <a:gd name="connsiteX12" fmla="*/ 7492 w 10615"/>
                  <a:gd name="connsiteY12" fmla="*/ 3068 h 9042"/>
                  <a:gd name="connsiteX13" fmla="*/ 3103 w 10615"/>
                  <a:gd name="connsiteY13" fmla="*/ 3068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15" h="9042">
                    <a:moveTo>
                      <a:pt x="1218" y="8400"/>
                    </a:moveTo>
                    <a:cubicBezTo>
                      <a:pt x="-179" y="6891"/>
                      <a:pt x="-51" y="3051"/>
                      <a:pt x="69" y="1423"/>
                    </a:cubicBezTo>
                    <a:lnTo>
                      <a:pt x="181" y="0"/>
                    </a:lnTo>
                    <a:lnTo>
                      <a:pt x="10543" y="0"/>
                    </a:lnTo>
                    <a:lnTo>
                      <a:pt x="10603" y="1423"/>
                    </a:lnTo>
                    <a:cubicBezTo>
                      <a:pt x="10646" y="2597"/>
                      <a:pt x="10672" y="6523"/>
                      <a:pt x="9009" y="8254"/>
                    </a:cubicBezTo>
                    <a:cubicBezTo>
                      <a:pt x="8443" y="8837"/>
                      <a:pt x="7740" y="9043"/>
                      <a:pt x="6960" y="9043"/>
                    </a:cubicBezTo>
                    <a:lnTo>
                      <a:pt x="2906" y="9043"/>
                    </a:lnTo>
                    <a:cubicBezTo>
                      <a:pt x="2263" y="9043"/>
                      <a:pt x="1663" y="8880"/>
                      <a:pt x="1218" y="8391"/>
                    </a:cubicBezTo>
                    <a:close/>
                    <a:moveTo>
                      <a:pt x="3103" y="3068"/>
                    </a:moveTo>
                    <a:cubicBezTo>
                      <a:pt x="3103" y="4371"/>
                      <a:pt x="3206" y="5597"/>
                      <a:pt x="3395" y="6171"/>
                    </a:cubicBezTo>
                    <a:lnTo>
                      <a:pt x="6772" y="6223"/>
                    </a:lnTo>
                    <a:cubicBezTo>
                      <a:pt x="7115" y="5923"/>
                      <a:pt x="7406" y="4568"/>
                      <a:pt x="7492" y="3068"/>
                    </a:cubicBezTo>
                    <a:lnTo>
                      <a:pt x="3103" y="3068"/>
                    </a:lnTo>
                    <a:close/>
                  </a:path>
                </a:pathLst>
              </a:custGeom>
              <a:solidFill>
                <a:srgbClr val="9999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383" name="Freeform: Shape 13382">
              <a:extLst>
                <a:ext uri="{FF2B5EF4-FFF2-40B4-BE49-F238E27FC236}">
                  <a16:creationId xmlns:a16="http://schemas.microsoft.com/office/drawing/2014/main" id="{1920E896-9CF2-B12E-6A1B-210C2F34299D}"/>
                </a:ext>
              </a:extLst>
            </p:cNvPr>
            <p:cNvSpPr/>
            <p:nvPr/>
          </p:nvSpPr>
          <p:spPr>
            <a:xfrm>
              <a:off x="8721647" y="3319488"/>
              <a:ext cx="115116" cy="168328"/>
            </a:xfrm>
            <a:custGeom>
              <a:avLst/>
              <a:gdLst>
                <a:gd name="connsiteX0" fmla="*/ 99485 w 99502"/>
                <a:gd name="connsiteY0" fmla="*/ 4030 h 145462"/>
                <a:gd name="connsiteX1" fmla="*/ 3514 w 99502"/>
                <a:gd name="connsiteY1" fmla="*/ 4030 h 145462"/>
                <a:gd name="connsiteX2" fmla="*/ 840 w 99502"/>
                <a:gd name="connsiteY2" fmla="*/ 12704 h 145462"/>
                <a:gd name="connsiteX3" fmla="*/ 574 w 99502"/>
                <a:gd name="connsiteY3" fmla="*/ 29778 h 145462"/>
                <a:gd name="connsiteX4" fmla="*/ 59869 w 99502"/>
                <a:gd name="connsiteY4" fmla="*/ 35049 h 145462"/>
                <a:gd name="connsiteX5" fmla="*/ 454 w 99502"/>
                <a:gd name="connsiteY5" fmla="*/ 45292 h 145462"/>
                <a:gd name="connsiteX6" fmla="*/ 403 w 99502"/>
                <a:gd name="connsiteY6" fmla="*/ 53734 h 145462"/>
                <a:gd name="connsiteX7" fmla="*/ 334 w 99502"/>
                <a:gd name="connsiteY7" fmla="*/ 64748 h 145462"/>
                <a:gd name="connsiteX8" fmla="*/ 63975 w 99502"/>
                <a:gd name="connsiteY8" fmla="*/ 76482 h 145462"/>
                <a:gd name="connsiteX9" fmla="*/ 240 w 99502"/>
                <a:gd name="connsiteY9" fmla="*/ 85284 h 145462"/>
                <a:gd name="connsiteX10" fmla="*/ 72203 w 99502"/>
                <a:gd name="connsiteY10" fmla="*/ 105830 h 145462"/>
                <a:gd name="connsiteX11" fmla="*/ 86 w 99502"/>
                <a:gd name="connsiteY11" fmla="*/ 122269 h 145462"/>
                <a:gd name="connsiteX12" fmla="*/ 67506 w 99502"/>
                <a:gd name="connsiteY12" fmla="*/ 122852 h 145462"/>
                <a:gd name="connsiteX13" fmla="*/ 0 w 99502"/>
                <a:gd name="connsiteY13" fmla="*/ 145420 h 145462"/>
                <a:gd name="connsiteX14" fmla="*/ 95979 w 99502"/>
                <a:gd name="connsiteY14" fmla="*/ 145463 h 145462"/>
                <a:gd name="connsiteX15" fmla="*/ 11742 w 99502"/>
                <a:gd name="connsiteY15" fmla="*/ 140791 h 145462"/>
                <a:gd name="connsiteX16" fmla="*/ 96348 w 99502"/>
                <a:gd name="connsiteY16" fmla="*/ 130840 h 145462"/>
                <a:gd name="connsiteX17" fmla="*/ 82771 w 99502"/>
                <a:gd name="connsiteY17" fmla="*/ 118018 h 145462"/>
                <a:gd name="connsiteX18" fmla="*/ 96957 w 99502"/>
                <a:gd name="connsiteY18" fmla="*/ 106395 h 145462"/>
                <a:gd name="connsiteX19" fmla="*/ 49755 w 99502"/>
                <a:gd name="connsiteY19" fmla="*/ 89990 h 145462"/>
                <a:gd name="connsiteX20" fmla="*/ 97591 w 99502"/>
                <a:gd name="connsiteY20" fmla="*/ 80579 h 145462"/>
                <a:gd name="connsiteX21" fmla="*/ 21136 w 99502"/>
                <a:gd name="connsiteY21" fmla="*/ 60634 h 145462"/>
                <a:gd name="connsiteX22" fmla="*/ 98191 w 99502"/>
                <a:gd name="connsiteY22" fmla="*/ 56529 h 145462"/>
                <a:gd name="connsiteX23" fmla="*/ 27008 w 99502"/>
                <a:gd name="connsiteY23" fmla="*/ 45283 h 145462"/>
                <a:gd name="connsiteX24" fmla="*/ 98611 w 99502"/>
                <a:gd name="connsiteY24" fmla="*/ 39455 h 145462"/>
                <a:gd name="connsiteX25" fmla="*/ 98722 w 99502"/>
                <a:gd name="connsiteY25" fmla="*/ 35015 h 145462"/>
                <a:gd name="connsiteX26" fmla="*/ 98928 w 99502"/>
                <a:gd name="connsiteY26" fmla="*/ 26727 h 145462"/>
                <a:gd name="connsiteX27" fmla="*/ 18196 w 99502"/>
                <a:gd name="connsiteY27" fmla="*/ 14847 h 145462"/>
                <a:gd name="connsiteX28" fmla="*/ 99245 w 99502"/>
                <a:gd name="connsiteY28" fmla="*/ 14264 h 145462"/>
                <a:gd name="connsiteX29" fmla="*/ 99502 w 99502"/>
                <a:gd name="connsiteY29" fmla="*/ 4022 h 14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9502" h="145462">
                  <a:moveTo>
                    <a:pt x="99485" y="4030"/>
                  </a:moveTo>
                  <a:cubicBezTo>
                    <a:pt x="99485" y="4030"/>
                    <a:pt x="12317" y="-5038"/>
                    <a:pt x="3514" y="4030"/>
                  </a:cubicBezTo>
                  <a:cubicBezTo>
                    <a:pt x="2417" y="5162"/>
                    <a:pt x="1534" y="8222"/>
                    <a:pt x="840" y="12704"/>
                  </a:cubicBezTo>
                  <a:cubicBezTo>
                    <a:pt x="754" y="13287"/>
                    <a:pt x="660" y="19844"/>
                    <a:pt x="574" y="29778"/>
                  </a:cubicBezTo>
                  <a:cubicBezTo>
                    <a:pt x="549" y="32744"/>
                    <a:pt x="59895" y="31552"/>
                    <a:pt x="59869" y="35049"/>
                  </a:cubicBezTo>
                  <a:cubicBezTo>
                    <a:pt x="59861" y="36909"/>
                    <a:pt x="471" y="43312"/>
                    <a:pt x="454" y="45292"/>
                  </a:cubicBezTo>
                  <a:cubicBezTo>
                    <a:pt x="437" y="48009"/>
                    <a:pt x="420" y="50837"/>
                    <a:pt x="403" y="53734"/>
                  </a:cubicBezTo>
                  <a:cubicBezTo>
                    <a:pt x="377" y="57308"/>
                    <a:pt x="360" y="60994"/>
                    <a:pt x="334" y="64748"/>
                  </a:cubicBezTo>
                  <a:cubicBezTo>
                    <a:pt x="326" y="67380"/>
                    <a:pt x="63992" y="73799"/>
                    <a:pt x="63975" y="76482"/>
                  </a:cubicBezTo>
                  <a:cubicBezTo>
                    <a:pt x="63958" y="80656"/>
                    <a:pt x="257" y="81110"/>
                    <a:pt x="240" y="85284"/>
                  </a:cubicBezTo>
                  <a:cubicBezTo>
                    <a:pt x="214" y="91079"/>
                    <a:pt x="72220" y="100344"/>
                    <a:pt x="72203" y="105830"/>
                  </a:cubicBezTo>
                  <a:cubicBezTo>
                    <a:pt x="72177" y="113038"/>
                    <a:pt x="111" y="116295"/>
                    <a:pt x="86" y="122269"/>
                  </a:cubicBezTo>
                  <a:cubicBezTo>
                    <a:pt x="69" y="126434"/>
                    <a:pt x="67515" y="119629"/>
                    <a:pt x="67506" y="122852"/>
                  </a:cubicBezTo>
                  <a:cubicBezTo>
                    <a:pt x="67480" y="130291"/>
                    <a:pt x="0" y="145420"/>
                    <a:pt x="0" y="145420"/>
                  </a:cubicBezTo>
                  <a:lnTo>
                    <a:pt x="95979" y="145463"/>
                  </a:lnTo>
                  <a:lnTo>
                    <a:pt x="11742" y="140791"/>
                  </a:lnTo>
                  <a:lnTo>
                    <a:pt x="96348" y="130840"/>
                  </a:lnTo>
                  <a:lnTo>
                    <a:pt x="82771" y="118018"/>
                  </a:lnTo>
                  <a:lnTo>
                    <a:pt x="96957" y="106395"/>
                  </a:lnTo>
                  <a:lnTo>
                    <a:pt x="49755" y="89990"/>
                  </a:lnTo>
                  <a:lnTo>
                    <a:pt x="97591" y="80579"/>
                  </a:lnTo>
                  <a:lnTo>
                    <a:pt x="21136" y="60634"/>
                  </a:lnTo>
                  <a:lnTo>
                    <a:pt x="98191" y="56529"/>
                  </a:lnTo>
                  <a:lnTo>
                    <a:pt x="27008" y="45283"/>
                  </a:lnTo>
                  <a:lnTo>
                    <a:pt x="98611" y="39455"/>
                  </a:lnTo>
                  <a:lnTo>
                    <a:pt x="98722" y="35015"/>
                  </a:lnTo>
                  <a:lnTo>
                    <a:pt x="98928" y="26727"/>
                  </a:lnTo>
                  <a:lnTo>
                    <a:pt x="18196" y="14847"/>
                  </a:lnTo>
                  <a:lnTo>
                    <a:pt x="99245" y="14264"/>
                  </a:lnTo>
                  <a:lnTo>
                    <a:pt x="99502" y="4022"/>
                  </a:lnTo>
                  <a:close/>
                </a:path>
              </a:pathLst>
            </a:custGeom>
            <a:solidFill>
              <a:srgbClr val="0071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 name="Slide Number Placeholder 5">
            <a:extLst>
              <a:ext uri="{FF2B5EF4-FFF2-40B4-BE49-F238E27FC236}">
                <a16:creationId xmlns:a16="http://schemas.microsoft.com/office/drawing/2014/main" id="{4E57CE16-5AFB-8DBE-BB39-6045A24A0AA0}"/>
              </a:ext>
            </a:extLst>
          </p:cNvPr>
          <p:cNvSpPr>
            <a:spLocks noGrp="1"/>
          </p:cNvSpPr>
          <p:nvPr>
            <p:ph type="sldNum" sz="quarter" idx="4"/>
            <p:custDataLst>
              <p:tags r:id="rId9"/>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998020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05877E-CBDF-DA38-3FBF-AEC01C03C1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think-cell data - do not delete" hidden="1">
                        <a:extLst>
                          <a:ext uri="{FF2B5EF4-FFF2-40B4-BE49-F238E27FC236}">
                            <a16:creationId xmlns:a16="http://schemas.microsoft.com/office/drawing/2014/main" id="{7D05877E-CBDF-DA38-3FBF-AEC01C03C1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0268C7-9F49-4EE2-321C-445C38F90D4F}"/>
              </a:ext>
            </a:extLst>
          </p:cNvPr>
          <p:cNvSpPr>
            <a:spLocks noGrp="1"/>
          </p:cNvSpPr>
          <p:nvPr>
            <p:ph type="title"/>
            <p:custDataLst>
              <p:tags r:id="rId3"/>
            </p:custDataLst>
          </p:nvPr>
        </p:nvSpPr>
        <p:spPr/>
        <p:txBody>
          <a:bodyPr vert="horz"/>
          <a:lstStyle/>
          <a:p>
            <a:r>
              <a:rPr lang="en-US" dirty="0"/>
              <a:t>Appendix A</a:t>
            </a:r>
          </a:p>
        </p:txBody>
      </p:sp>
      <p:sp>
        <p:nvSpPr>
          <p:cNvPr id="4" name="Text Placeholder 3">
            <a:extLst>
              <a:ext uri="{FF2B5EF4-FFF2-40B4-BE49-F238E27FC236}">
                <a16:creationId xmlns:a16="http://schemas.microsoft.com/office/drawing/2014/main" id="{12159AB1-03F6-4FC7-E013-E6B2736AEFD3}"/>
              </a:ext>
            </a:extLst>
          </p:cNvPr>
          <p:cNvSpPr>
            <a:spLocks noGrp="1"/>
          </p:cNvSpPr>
          <p:nvPr>
            <p:ph type="body" sz="quarter" idx="11"/>
            <p:custDataLst>
              <p:tags r:id="rId4"/>
            </p:custDataLst>
          </p:nvPr>
        </p:nvSpPr>
        <p:spPr/>
        <p:txBody>
          <a:bodyPr/>
          <a:lstStyle/>
          <a:p>
            <a:r>
              <a:rPr lang="en-US" dirty="0"/>
              <a:t>Determining a Surrogate Decision-Maker</a:t>
            </a:r>
          </a:p>
        </p:txBody>
      </p:sp>
      <p:sp>
        <p:nvSpPr>
          <p:cNvPr id="5" name="Footer Placeholder 4">
            <a:extLst>
              <a:ext uri="{FF2B5EF4-FFF2-40B4-BE49-F238E27FC236}">
                <a16:creationId xmlns:a16="http://schemas.microsoft.com/office/drawing/2014/main" id="{5C91EBE0-CD4A-9078-75E0-9628D667738C}"/>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3" name="Slide Number Placeholder 2">
            <a:extLst>
              <a:ext uri="{FF2B5EF4-FFF2-40B4-BE49-F238E27FC236}">
                <a16:creationId xmlns:a16="http://schemas.microsoft.com/office/drawing/2014/main" id="{3A4958FE-A5D6-EFC2-D039-4B860D149DEE}"/>
              </a:ext>
            </a:extLst>
          </p:cNvPr>
          <p:cNvSpPr>
            <a:spLocks noGrp="1"/>
          </p:cNvSpPr>
          <p:nvPr>
            <p:ph type="sldNum" sz="quarter" idx="10"/>
            <p:custDataLst>
              <p:tags r:id="rId6"/>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2605577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FC76EB-6012-4EF0-B05D-6E81EA1D99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4" name="Object 3" hidden="1">
                        <a:extLst>
                          <a:ext uri="{FF2B5EF4-FFF2-40B4-BE49-F238E27FC236}">
                            <a16:creationId xmlns:a16="http://schemas.microsoft.com/office/drawing/2014/main" id="{0DFC76EB-6012-4EF0-B05D-6E81EA1D996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266700" y="235313"/>
            <a:ext cx="11658600" cy="877824"/>
          </a:xfrm>
        </p:spPr>
        <p:txBody>
          <a:bodyPr vert="horz"/>
          <a:lstStyle/>
          <a:p>
            <a:r>
              <a:rPr lang="en-US" dirty="0"/>
              <a:t>Capacity versus without Capacity</a:t>
            </a:r>
          </a:p>
        </p:txBody>
      </p:sp>
      <p:sp>
        <p:nvSpPr>
          <p:cNvPr id="3" name="Slide Number Placeholder 2">
            <a:extLst>
              <a:ext uri="{FF2B5EF4-FFF2-40B4-BE49-F238E27FC236}">
                <a16:creationId xmlns:a16="http://schemas.microsoft.com/office/drawing/2014/main" id="{19386384-99CF-1194-729D-BEA902047F05}"/>
              </a:ext>
            </a:extLst>
          </p:cNvPr>
          <p:cNvSpPr>
            <a:spLocks noGrp="1"/>
          </p:cNvSpPr>
          <p:nvPr>
            <p:ph type="sldNum" sz="quarter" idx="4"/>
            <p:custDataLst>
              <p:tags r:id="rId4"/>
            </p:custDataLst>
          </p:nvPr>
        </p:nvSpPr>
        <p:spPr>
          <a:xfrm>
            <a:off x="11441161" y="6192967"/>
            <a:ext cx="598439" cy="43643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 name="Footer Placeholder 1">
            <a:extLst>
              <a:ext uri="{FF2B5EF4-FFF2-40B4-BE49-F238E27FC236}">
                <a16:creationId xmlns:a16="http://schemas.microsoft.com/office/drawing/2014/main" id="{A983EC0C-311C-D205-9D17-767D94A7C12C}"/>
              </a:ext>
            </a:extLst>
          </p:cNvPr>
          <p:cNvSpPr>
            <a:spLocks noGrp="1"/>
          </p:cNvSpPr>
          <p:nvPr>
            <p:ph type="ftr" sz="quarter" idx="3"/>
            <p:custDataLst>
              <p:tags r:id="rId5"/>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grpSp>
        <p:nvGrpSpPr>
          <p:cNvPr id="7" name="Group 6">
            <a:extLst>
              <a:ext uri="{FF2B5EF4-FFF2-40B4-BE49-F238E27FC236}">
                <a16:creationId xmlns:a16="http://schemas.microsoft.com/office/drawing/2014/main" id="{AA7BB8A6-AF76-8025-DA63-5C73750A4C92}"/>
              </a:ext>
            </a:extLst>
          </p:cNvPr>
          <p:cNvGrpSpPr/>
          <p:nvPr>
            <p:custDataLst>
              <p:tags r:id="rId6"/>
            </p:custDataLst>
          </p:nvPr>
        </p:nvGrpSpPr>
        <p:grpSpPr>
          <a:xfrm>
            <a:off x="277015" y="1436641"/>
            <a:ext cx="11637970" cy="3984717"/>
            <a:chOff x="273050" y="2073183"/>
            <a:chExt cx="11637970" cy="3984717"/>
          </a:xfrm>
        </p:grpSpPr>
        <p:sp>
          <p:nvSpPr>
            <p:cNvPr id="23" name="Freeform 22"/>
            <p:cNvSpPr/>
            <p:nvPr/>
          </p:nvSpPr>
          <p:spPr bwMode="auto">
            <a:xfrm>
              <a:off x="273050" y="2530041"/>
              <a:ext cx="361979" cy="613353"/>
            </a:xfrm>
            <a:custGeom>
              <a:avLst/>
              <a:gdLst>
                <a:gd name="connsiteX0" fmla="*/ 0 w 310551"/>
                <a:gd name="connsiteY0" fmla="*/ 215660 h 526211"/>
                <a:gd name="connsiteX1" fmla="*/ 310551 w 310551"/>
                <a:gd name="connsiteY1" fmla="*/ 526211 h 526211"/>
                <a:gd name="connsiteX2" fmla="*/ 310551 w 310551"/>
                <a:gd name="connsiteY2" fmla="*/ 0 h 526211"/>
                <a:gd name="connsiteX3" fmla="*/ 0 w 310551"/>
                <a:gd name="connsiteY3" fmla="*/ 215660 h 526211"/>
              </a:gdLst>
              <a:ahLst/>
              <a:cxnLst>
                <a:cxn ang="0">
                  <a:pos x="connsiteX0" y="connsiteY0"/>
                </a:cxn>
                <a:cxn ang="0">
                  <a:pos x="connsiteX1" y="connsiteY1"/>
                </a:cxn>
                <a:cxn ang="0">
                  <a:pos x="connsiteX2" y="connsiteY2"/>
                </a:cxn>
                <a:cxn ang="0">
                  <a:pos x="connsiteX3" y="connsiteY3"/>
                </a:cxn>
              </a:cxnLst>
              <a:rect l="l" t="t" r="r" b="b"/>
              <a:pathLst>
                <a:path w="310551" h="526211">
                  <a:moveTo>
                    <a:pt x="0" y="215660"/>
                  </a:moveTo>
                  <a:lnTo>
                    <a:pt x="310551" y="526211"/>
                  </a:lnTo>
                  <a:lnTo>
                    <a:pt x="310551" y="0"/>
                  </a:lnTo>
                  <a:lnTo>
                    <a:pt x="0" y="215660"/>
                  </a:lnTo>
                  <a:close/>
                </a:path>
              </a:pathLst>
            </a:custGeom>
            <a:solidFill>
              <a:schemeClr val="accent2">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Calibri"/>
                <a:ea typeface="ヒラギノ明朝 ProN W3" pitchFamily="1" charset="-128"/>
                <a:cs typeface="+mn-cs"/>
                <a:sym typeface="Times New Roman" pitchFamily="18" charset="0"/>
              </a:endParaRPr>
            </a:p>
          </p:txBody>
        </p:sp>
        <p:sp>
          <p:nvSpPr>
            <p:cNvPr id="24" name="Freeform 23"/>
            <p:cNvSpPr/>
            <p:nvPr/>
          </p:nvSpPr>
          <p:spPr bwMode="auto">
            <a:xfrm>
              <a:off x="6321079" y="2530041"/>
              <a:ext cx="361979" cy="613353"/>
            </a:xfrm>
            <a:custGeom>
              <a:avLst/>
              <a:gdLst>
                <a:gd name="connsiteX0" fmla="*/ 0 w 310551"/>
                <a:gd name="connsiteY0" fmla="*/ 215660 h 526211"/>
                <a:gd name="connsiteX1" fmla="*/ 310551 w 310551"/>
                <a:gd name="connsiteY1" fmla="*/ 526211 h 526211"/>
                <a:gd name="connsiteX2" fmla="*/ 310551 w 310551"/>
                <a:gd name="connsiteY2" fmla="*/ 0 h 526211"/>
                <a:gd name="connsiteX3" fmla="*/ 0 w 310551"/>
                <a:gd name="connsiteY3" fmla="*/ 215660 h 526211"/>
              </a:gdLst>
              <a:ahLst/>
              <a:cxnLst>
                <a:cxn ang="0">
                  <a:pos x="connsiteX0" y="connsiteY0"/>
                </a:cxn>
                <a:cxn ang="0">
                  <a:pos x="connsiteX1" y="connsiteY1"/>
                </a:cxn>
                <a:cxn ang="0">
                  <a:pos x="connsiteX2" y="connsiteY2"/>
                </a:cxn>
                <a:cxn ang="0">
                  <a:pos x="connsiteX3" y="connsiteY3"/>
                </a:cxn>
              </a:cxnLst>
              <a:rect l="l" t="t" r="r" b="b"/>
              <a:pathLst>
                <a:path w="310551" h="526211">
                  <a:moveTo>
                    <a:pt x="0" y="215660"/>
                  </a:moveTo>
                  <a:lnTo>
                    <a:pt x="310551" y="526211"/>
                  </a:lnTo>
                  <a:lnTo>
                    <a:pt x="310551" y="0"/>
                  </a:lnTo>
                  <a:lnTo>
                    <a:pt x="0" y="215660"/>
                  </a:lnTo>
                  <a:close/>
                </a:path>
              </a:pathLst>
            </a:custGeom>
            <a:solidFill>
              <a:schemeClr val="accent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D8D8D8"/>
                </a:solidFill>
                <a:effectLst/>
                <a:uLnTx/>
                <a:uFillTx/>
                <a:latin typeface="Calibri"/>
                <a:ea typeface="ヒラギノ明朝 ProN W3" pitchFamily="1" charset="-128"/>
                <a:cs typeface="+mn-cs"/>
                <a:sym typeface="Times New Roman" pitchFamily="18" charset="0"/>
              </a:endParaRPr>
            </a:p>
          </p:txBody>
        </p:sp>
        <p:sp>
          <p:nvSpPr>
            <p:cNvPr id="20" name="Rectangle 19"/>
            <p:cNvSpPr/>
            <p:nvPr/>
          </p:nvSpPr>
          <p:spPr bwMode="auto">
            <a:xfrm>
              <a:off x="636050" y="2073183"/>
              <a:ext cx="5239512" cy="3984717"/>
            </a:xfrm>
            <a:prstGeom prst="rect">
              <a:avLst/>
            </a:prstGeom>
            <a:solidFill>
              <a:schemeClr val="bg1"/>
            </a:solidFill>
            <a:ln w="12700" cap="flat" cmpd="sng" algn="ctr">
              <a:solidFill>
                <a:schemeClr val="accent2"/>
              </a:solidFill>
              <a:prstDash val="solid"/>
              <a:round/>
              <a:headEnd type="none" w="med" len="med"/>
              <a:tailEnd type="none" w="med" len="med"/>
            </a:ln>
            <a:effectLst/>
          </p:spPr>
          <p:txBody>
            <a:bodyPr vert="horz" wrap="square" lIns="91440" tIns="822960" rIns="91440" bIns="4572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600"/>
                </a:spcBef>
                <a:spcAft>
                  <a:spcPts val="0"/>
                </a:spcAft>
                <a:buClrTx/>
                <a:buSzPct val="100000"/>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ctr" defTabSz="914400" rtl="0" eaLnBrk="1" fontAlgn="base"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rPr>
                <a:t>A conscious adult patient (18 or over or an emancipated minor) who can understand the nature and severity of their illness and the relative risks and alternatives and can make informed and deliberate choices relative to their illness and its treatment</a:t>
              </a:r>
            </a:p>
            <a:p>
              <a:pPr marL="228600" marR="0" lvl="0" indent="-228600" algn="l" defTabSz="914400"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21" name="Rectangle 20"/>
            <p:cNvSpPr/>
            <p:nvPr/>
          </p:nvSpPr>
          <p:spPr bwMode="auto">
            <a:xfrm>
              <a:off x="275376" y="2203102"/>
              <a:ext cx="4094695" cy="5838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a:ea typeface="+mn-ea"/>
                  <a:cs typeface="+mn-cs"/>
                </a:rPr>
                <a:t>With</a:t>
              </a:r>
              <a:r>
                <a:rPr kumimoji="0" lang="en-US" sz="2000" b="1" i="0" u="none" strike="noStrike" kern="1200" cap="none" spc="0" normalizeH="0" baseline="0" noProof="0" dirty="0">
                  <a:ln>
                    <a:noFill/>
                  </a:ln>
                  <a:solidFill>
                    <a:prstClr val="white"/>
                  </a:solidFill>
                  <a:effectLst/>
                  <a:uLnTx/>
                  <a:uFillTx/>
                  <a:latin typeface="Calibri"/>
                  <a:ea typeface="+mn-ea"/>
                  <a:cs typeface="+mn-cs"/>
                </a:rPr>
                <a:t> Decision-Making Capacity</a:t>
              </a:r>
            </a:p>
          </p:txBody>
        </p:sp>
        <p:sp>
          <p:nvSpPr>
            <p:cNvPr id="25" name="Rectangle 24"/>
            <p:cNvSpPr/>
            <p:nvPr/>
          </p:nvSpPr>
          <p:spPr bwMode="auto">
            <a:xfrm>
              <a:off x="6671508" y="2073183"/>
              <a:ext cx="5239512" cy="3984717"/>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822960" rIns="91440" bIns="4572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A patient who is either under 18 (but not an emancipated minor) or who is determined by an attending physician to be unable to understand the nature and severity of their illness and the relative risks and alternatives and is unable to make informed and deliberate choices relative to their illness and treatment</a:t>
              </a:r>
            </a:p>
          </p:txBody>
        </p:sp>
        <p:sp>
          <p:nvSpPr>
            <p:cNvPr id="26" name="Rectangle 25"/>
            <p:cNvSpPr/>
            <p:nvPr/>
          </p:nvSpPr>
          <p:spPr bwMode="auto">
            <a:xfrm>
              <a:off x="6319982" y="2203102"/>
              <a:ext cx="4328342" cy="583854"/>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a:ea typeface="+mn-ea"/>
                  <a:cs typeface="+mn-cs"/>
                </a:rPr>
                <a:t>Without</a:t>
              </a:r>
              <a:r>
                <a:rPr kumimoji="0" lang="en-US" sz="2000" b="1" i="0" u="none" strike="noStrike" kern="1200" cap="none" spc="0" normalizeH="0" baseline="0" noProof="0" dirty="0">
                  <a:ln>
                    <a:noFill/>
                  </a:ln>
                  <a:solidFill>
                    <a:prstClr val="white"/>
                  </a:solidFill>
                  <a:effectLst/>
                  <a:uLnTx/>
                  <a:uFillTx/>
                  <a:latin typeface="Calibri"/>
                  <a:ea typeface="+mn-ea"/>
                  <a:cs typeface="+mn-cs"/>
                </a:rPr>
                <a:t> Decision-Making Capacity</a:t>
              </a:r>
            </a:p>
          </p:txBody>
        </p:sp>
      </p:grpSp>
    </p:spTree>
    <p:custDataLst>
      <p:tags r:id="rId1"/>
    </p:custDataLst>
    <p:extLst>
      <p:ext uri="{BB962C8B-B14F-4D97-AF65-F5344CB8AC3E}">
        <p14:creationId xmlns:p14="http://schemas.microsoft.com/office/powerpoint/2010/main" val="781269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990FB8-69C6-32D2-A68E-DB84642219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4" name="think-cell data - do not delete" hidden="1">
                        <a:extLst>
                          <a:ext uri="{FF2B5EF4-FFF2-40B4-BE49-F238E27FC236}">
                            <a16:creationId xmlns:a16="http://schemas.microsoft.com/office/drawing/2014/main" id="{A7990FB8-69C6-32D2-A68E-DB84642219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4CC470ED-CB4C-C791-BC94-2A5367CAF7AC}"/>
              </a:ext>
            </a:extLst>
          </p:cNvPr>
          <p:cNvSpPr/>
          <p:nvPr>
            <p:custDataLst>
              <p:tags r:id="rId3"/>
            </p:custDataLst>
          </p:nvPr>
        </p:nvSpPr>
        <p:spPr>
          <a:xfrm>
            <a:off x="266700" y="1266630"/>
            <a:ext cx="11658600" cy="1140750"/>
          </a:xfrm>
          <a:custGeom>
            <a:avLst/>
            <a:gdLst>
              <a:gd name="connsiteX0" fmla="*/ 0 w 11658600"/>
              <a:gd name="connsiteY0" fmla="*/ 190129 h 1140750"/>
              <a:gd name="connsiteX1" fmla="*/ 190129 w 11658600"/>
              <a:gd name="connsiteY1" fmla="*/ 0 h 1140750"/>
              <a:gd name="connsiteX2" fmla="*/ 11468471 w 11658600"/>
              <a:gd name="connsiteY2" fmla="*/ 0 h 1140750"/>
              <a:gd name="connsiteX3" fmla="*/ 11658600 w 11658600"/>
              <a:gd name="connsiteY3" fmla="*/ 190129 h 1140750"/>
              <a:gd name="connsiteX4" fmla="*/ 11658600 w 11658600"/>
              <a:gd name="connsiteY4" fmla="*/ 950621 h 1140750"/>
              <a:gd name="connsiteX5" fmla="*/ 11468471 w 11658600"/>
              <a:gd name="connsiteY5" fmla="*/ 1140750 h 1140750"/>
              <a:gd name="connsiteX6" fmla="*/ 190129 w 11658600"/>
              <a:gd name="connsiteY6" fmla="*/ 1140750 h 1140750"/>
              <a:gd name="connsiteX7" fmla="*/ 0 w 11658600"/>
              <a:gd name="connsiteY7" fmla="*/ 950621 h 1140750"/>
              <a:gd name="connsiteX8" fmla="*/ 0 w 11658600"/>
              <a:gd name="connsiteY8" fmla="*/ 190129 h 114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8600" h="1140750">
                <a:moveTo>
                  <a:pt x="0" y="190129"/>
                </a:moveTo>
                <a:cubicBezTo>
                  <a:pt x="0" y="85124"/>
                  <a:pt x="85124" y="0"/>
                  <a:pt x="190129" y="0"/>
                </a:cubicBezTo>
                <a:lnTo>
                  <a:pt x="11468471" y="0"/>
                </a:lnTo>
                <a:cubicBezTo>
                  <a:pt x="11573476" y="0"/>
                  <a:pt x="11658600" y="85124"/>
                  <a:pt x="11658600" y="190129"/>
                </a:cubicBezTo>
                <a:lnTo>
                  <a:pt x="11658600" y="950621"/>
                </a:lnTo>
                <a:cubicBezTo>
                  <a:pt x="11658600" y="1055626"/>
                  <a:pt x="11573476" y="1140750"/>
                  <a:pt x="11468471" y="1140750"/>
                </a:cubicBezTo>
                <a:lnTo>
                  <a:pt x="190129" y="1140750"/>
                </a:lnTo>
                <a:cubicBezTo>
                  <a:pt x="85124" y="1140750"/>
                  <a:pt x="0" y="1055626"/>
                  <a:pt x="0" y="950621"/>
                </a:cubicBezTo>
                <a:lnTo>
                  <a:pt x="0" y="190129"/>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50937" tIns="150937" rIns="150937" bIns="150937" numCol="1" spcCol="1270" anchor="ctr" anchorCtr="0">
            <a:noAutofit/>
          </a:bodyPr>
          <a:lstStyle/>
          <a:p>
            <a:pPr marL="0" marR="0" lvl="0" indent="0" algn="ctr" defTabSz="1111250"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a:ea typeface="+mn-ea"/>
                <a:cs typeface="+mn-cs"/>
              </a:rPr>
              <a:t>Patients </a:t>
            </a:r>
            <a:r>
              <a:rPr kumimoji="0" lang="en-US" sz="2500" b="1" i="1" u="none" strike="noStrike" kern="1200" cap="none" spc="0" normalizeH="0" baseline="0" noProof="0" dirty="0">
                <a:ln>
                  <a:noFill/>
                </a:ln>
                <a:solidFill>
                  <a:prstClr val="white"/>
                </a:solidFill>
                <a:effectLst/>
                <a:uLnTx/>
                <a:uFillTx/>
                <a:latin typeface="Calibri"/>
                <a:ea typeface="+mn-ea"/>
                <a:cs typeface="+mn-cs"/>
              </a:rPr>
              <a:t>can</a:t>
            </a:r>
            <a:r>
              <a:rPr kumimoji="0" lang="en-US" sz="2500" b="0" i="0" u="none" strike="noStrike" kern="1200" cap="none" spc="0" normalizeH="0" baseline="0" noProof="0" dirty="0">
                <a:ln>
                  <a:noFill/>
                </a:ln>
                <a:solidFill>
                  <a:prstClr val="white"/>
                </a:solidFill>
                <a:effectLst/>
                <a:uLnTx/>
                <a:uFillTx/>
                <a:latin typeface="Calibri"/>
                <a:ea typeface="+mn-ea"/>
                <a:cs typeface="+mn-cs"/>
              </a:rPr>
              <a:t> have the capacity to name their surrogate medical decision-maker </a:t>
            </a:r>
          </a:p>
          <a:p>
            <a:pPr marL="0" marR="0" lvl="0" indent="0" algn="ctr" defTabSz="1111250"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a:ea typeface="+mn-ea"/>
                <a:cs typeface="+mn-cs"/>
              </a:rPr>
              <a:t>but </a:t>
            </a:r>
            <a:r>
              <a:rPr kumimoji="0" lang="en-US" sz="2500" b="1" i="1" u="none" strike="noStrike" kern="1200" cap="none" spc="0" normalizeH="0" baseline="0" noProof="0" dirty="0">
                <a:ln>
                  <a:noFill/>
                </a:ln>
                <a:solidFill>
                  <a:prstClr val="white"/>
                </a:solidFill>
                <a:effectLst/>
                <a:uLnTx/>
                <a:uFillTx/>
                <a:latin typeface="Calibri"/>
                <a:ea typeface="+mn-ea"/>
                <a:cs typeface="+mn-cs"/>
              </a:rPr>
              <a:t>not</a:t>
            </a:r>
            <a:r>
              <a:rPr kumimoji="0" lang="en-US" sz="2500" b="0" i="0" u="none" strike="noStrike" kern="1200" cap="none" spc="0" normalizeH="0" baseline="0" noProof="0" dirty="0">
                <a:ln>
                  <a:noFill/>
                </a:ln>
                <a:solidFill>
                  <a:prstClr val="white"/>
                </a:solidFill>
                <a:effectLst/>
                <a:uLnTx/>
                <a:uFillTx/>
                <a:latin typeface="Calibri"/>
                <a:ea typeface="+mn-ea"/>
                <a:cs typeface="+mn-cs"/>
              </a:rPr>
              <a:t> have the capacity for complex medical decision-making.</a:t>
            </a:r>
          </a:p>
        </p:txBody>
      </p:sp>
      <p:sp>
        <p:nvSpPr>
          <p:cNvPr id="9" name="Freeform: Shape 8">
            <a:extLst>
              <a:ext uri="{FF2B5EF4-FFF2-40B4-BE49-F238E27FC236}">
                <a16:creationId xmlns:a16="http://schemas.microsoft.com/office/drawing/2014/main" id="{70ACE635-1765-C417-38E3-2E0EA972600E}"/>
              </a:ext>
            </a:extLst>
          </p:cNvPr>
          <p:cNvSpPr/>
          <p:nvPr>
            <p:custDataLst>
              <p:tags r:id="rId4"/>
            </p:custDataLst>
          </p:nvPr>
        </p:nvSpPr>
        <p:spPr>
          <a:xfrm>
            <a:off x="266700" y="2475409"/>
            <a:ext cx="11658600" cy="1023872"/>
          </a:xfrm>
          <a:custGeom>
            <a:avLst/>
            <a:gdLst>
              <a:gd name="connsiteX0" fmla="*/ 0 w 11658600"/>
              <a:gd name="connsiteY0" fmla="*/ 0 h 1423125"/>
              <a:gd name="connsiteX1" fmla="*/ 11658600 w 11658600"/>
              <a:gd name="connsiteY1" fmla="*/ 0 h 1423125"/>
              <a:gd name="connsiteX2" fmla="*/ 11658600 w 11658600"/>
              <a:gd name="connsiteY2" fmla="*/ 1423125 h 1423125"/>
              <a:gd name="connsiteX3" fmla="*/ 0 w 11658600"/>
              <a:gd name="connsiteY3" fmla="*/ 1423125 h 1423125"/>
              <a:gd name="connsiteX4" fmla="*/ 0 w 11658600"/>
              <a:gd name="connsiteY4" fmla="*/ 0 h 142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600" h="1423125">
                <a:moveTo>
                  <a:pt x="0" y="0"/>
                </a:moveTo>
                <a:lnTo>
                  <a:pt x="11658600" y="0"/>
                </a:lnTo>
                <a:lnTo>
                  <a:pt x="11658600" y="1423125"/>
                </a:lnTo>
                <a:lnTo>
                  <a:pt x="0" y="14231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22860" rIns="91440" bIns="22860" numCol="1" spcCol="1270" anchor="t" anchorCtr="0">
            <a:noAutofit/>
          </a:bodyPr>
          <a:lstStyle/>
          <a:p>
            <a:pPr marL="285750" marR="0" lvl="1" indent="-285750" algn="l" defTabSz="8001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Usually, a patient is consistent in the appointment of their surrogate decision-maker </a:t>
            </a:r>
            <a:r>
              <a:rPr kumimoji="0" lang="en-US" sz="1800" b="1" i="1" u="none" strike="noStrike" kern="1200" cap="none" spc="0" normalizeH="0" baseline="0" noProof="0" dirty="0">
                <a:ln>
                  <a:noFill/>
                </a:ln>
                <a:solidFill>
                  <a:prstClr val="black"/>
                </a:solidFill>
                <a:effectLst/>
                <a:uLnTx/>
                <a:uFillTx/>
                <a:latin typeface="Calibri"/>
                <a:ea typeface="+mn-ea"/>
                <a:cs typeface="+mn-cs"/>
              </a:rPr>
              <a:t>and</a:t>
            </a:r>
            <a:r>
              <a:rPr kumimoji="0" lang="en-US" sz="1800" b="0" i="0" u="none" strike="noStrike" kern="1200" cap="none" spc="0" normalizeH="0" baseline="0" noProof="0" dirty="0">
                <a:ln>
                  <a:noFill/>
                </a:ln>
                <a:solidFill>
                  <a:prstClr val="black"/>
                </a:solidFill>
                <a:effectLst/>
                <a:uLnTx/>
                <a:uFillTx/>
                <a:latin typeface="Calibri"/>
                <a:ea typeface="+mn-ea"/>
                <a:cs typeface="+mn-cs"/>
              </a:rPr>
              <a:t> can elucidate why the individual was chosen.</a:t>
            </a:r>
          </a:p>
          <a:p>
            <a:pPr marL="285750" marR="0" lvl="1" indent="-285750" algn="l" defTabSz="8001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Verbal Decision (VD) should be documented in Epic.</a:t>
            </a:r>
          </a:p>
          <a:p>
            <a:pPr marL="285750" marR="0" lvl="1" indent="-2857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40CB2EED-6312-FBA6-A3A7-D1254E6CD6EF}"/>
              </a:ext>
            </a:extLst>
          </p:cNvPr>
          <p:cNvSpPr/>
          <p:nvPr>
            <p:custDataLst>
              <p:tags r:id="rId5"/>
            </p:custDataLst>
          </p:nvPr>
        </p:nvSpPr>
        <p:spPr>
          <a:xfrm>
            <a:off x="266700" y="3760225"/>
            <a:ext cx="11658600" cy="1140750"/>
          </a:xfrm>
          <a:custGeom>
            <a:avLst/>
            <a:gdLst>
              <a:gd name="connsiteX0" fmla="*/ 0 w 11658600"/>
              <a:gd name="connsiteY0" fmla="*/ 190129 h 1140750"/>
              <a:gd name="connsiteX1" fmla="*/ 190129 w 11658600"/>
              <a:gd name="connsiteY1" fmla="*/ 0 h 1140750"/>
              <a:gd name="connsiteX2" fmla="*/ 11468471 w 11658600"/>
              <a:gd name="connsiteY2" fmla="*/ 0 h 1140750"/>
              <a:gd name="connsiteX3" fmla="*/ 11658600 w 11658600"/>
              <a:gd name="connsiteY3" fmla="*/ 190129 h 1140750"/>
              <a:gd name="connsiteX4" fmla="*/ 11658600 w 11658600"/>
              <a:gd name="connsiteY4" fmla="*/ 950621 h 1140750"/>
              <a:gd name="connsiteX5" fmla="*/ 11468471 w 11658600"/>
              <a:gd name="connsiteY5" fmla="*/ 1140750 h 1140750"/>
              <a:gd name="connsiteX6" fmla="*/ 190129 w 11658600"/>
              <a:gd name="connsiteY6" fmla="*/ 1140750 h 1140750"/>
              <a:gd name="connsiteX7" fmla="*/ 0 w 11658600"/>
              <a:gd name="connsiteY7" fmla="*/ 950621 h 1140750"/>
              <a:gd name="connsiteX8" fmla="*/ 0 w 11658600"/>
              <a:gd name="connsiteY8" fmla="*/ 190129 h 114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8600" h="1140750">
                <a:moveTo>
                  <a:pt x="0" y="190129"/>
                </a:moveTo>
                <a:cubicBezTo>
                  <a:pt x="0" y="85124"/>
                  <a:pt x="85124" y="0"/>
                  <a:pt x="190129" y="0"/>
                </a:cubicBezTo>
                <a:lnTo>
                  <a:pt x="11468471" y="0"/>
                </a:lnTo>
                <a:cubicBezTo>
                  <a:pt x="11573476" y="0"/>
                  <a:pt x="11658600" y="85124"/>
                  <a:pt x="11658600" y="190129"/>
                </a:cubicBezTo>
                <a:lnTo>
                  <a:pt x="11658600" y="950621"/>
                </a:lnTo>
                <a:cubicBezTo>
                  <a:pt x="11658600" y="1055626"/>
                  <a:pt x="11573476" y="1140750"/>
                  <a:pt x="11468471" y="1140750"/>
                </a:cubicBezTo>
                <a:lnTo>
                  <a:pt x="190129" y="1140750"/>
                </a:lnTo>
                <a:cubicBezTo>
                  <a:pt x="85124" y="1140750"/>
                  <a:pt x="0" y="1055626"/>
                  <a:pt x="0" y="950621"/>
                </a:cubicBezTo>
                <a:lnTo>
                  <a:pt x="0" y="190129"/>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7065447"/>
              <a:satOff val="0"/>
              <a:lumOff val="981"/>
              <a:alphaOff val="0"/>
            </a:schemeClr>
          </a:effectRef>
          <a:fontRef idx="minor">
            <a:schemeClr val="lt1"/>
          </a:fontRef>
        </p:style>
        <p:txBody>
          <a:bodyPr spcFirstLastPara="0" vert="horz" wrap="square" lIns="150937" tIns="150937" rIns="150937" bIns="150937" numCol="1" spcCol="1270" anchor="ctr" anchorCtr="0">
            <a:noAutofit/>
          </a:bodyPr>
          <a:lstStyle/>
          <a:p>
            <a:pPr marL="0" marR="0" lvl="0" indent="0" algn="ctr" defTabSz="1111250"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a:ea typeface="+mn-ea"/>
                <a:cs typeface="+mn-cs"/>
              </a:rPr>
              <a:t>If there is concern about a patient’s capacity for medical decision-making, </a:t>
            </a:r>
          </a:p>
          <a:p>
            <a:pPr marL="0" marR="0" lvl="0" indent="0" algn="ctr" defTabSz="1111250"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a:ea typeface="+mn-ea"/>
                <a:cs typeface="+mn-cs"/>
              </a:rPr>
              <a:t>a physician can evaluate and document capacity in the EHR.</a:t>
            </a:r>
          </a:p>
        </p:txBody>
      </p:sp>
      <p:sp>
        <p:nvSpPr>
          <p:cNvPr id="11" name="Freeform: Shape 10">
            <a:extLst>
              <a:ext uri="{FF2B5EF4-FFF2-40B4-BE49-F238E27FC236}">
                <a16:creationId xmlns:a16="http://schemas.microsoft.com/office/drawing/2014/main" id="{575AD9EA-3A94-7093-6C85-1CECCD33CB75}"/>
              </a:ext>
            </a:extLst>
          </p:cNvPr>
          <p:cNvSpPr/>
          <p:nvPr>
            <p:custDataLst>
              <p:tags r:id="rId6"/>
            </p:custDataLst>
          </p:nvPr>
        </p:nvSpPr>
        <p:spPr>
          <a:xfrm>
            <a:off x="266700" y="4969003"/>
            <a:ext cx="11658600" cy="1070471"/>
          </a:xfrm>
          <a:custGeom>
            <a:avLst/>
            <a:gdLst>
              <a:gd name="connsiteX0" fmla="*/ 0 w 11658600"/>
              <a:gd name="connsiteY0" fmla="*/ 0 h 1138500"/>
              <a:gd name="connsiteX1" fmla="*/ 11658600 w 11658600"/>
              <a:gd name="connsiteY1" fmla="*/ 0 h 1138500"/>
              <a:gd name="connsiteX2" fmla="*/ 11658600 w 11658600"/>
              <a:gd name="connsiteY2" fmla="*/ 1138500 h 1138500"/>
              <a:gd name="connsiteX3" fmla="*/ 0 w 11658600"/>
              <a:gd name="connsiteY3" fmla="*/ 1138500 h 1138500"/>
              <a:gd name="connsiteX4" fmla="*/ 0 w 11658600"/>
              <a:gd name="connsiteY4" fmla="*/ 0 h 1138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600" h="1138500">
                <a:moveTo>
                  <a:pt x="0" y="0"/>
                </a:moveTo>
                <a:lnTo>
                  <a:pt x="11658600" y="0"/>
                </a:lnTo>
                <a:lnTo>
                  <a:pt x="11658600" y="1138500"/>
                </a:lnTo>
                <a:lnTo>
                  <a:pt x="0" y="11385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22860" rIns="91440" bIns="22860" numCol="1" spcCol="1270" anchor="t" anchorCtr="0">
            <a:noAutofit/>
          </a:bodyPr>
          <a:lstStyle/>
          <a:p>
            <a:pPr marL="285750" marR="0" lvl="1" indent="-285750" algn="l" defTabSz="8001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f the patient is lacking capacity, then a Durable Power of Attorney for Healthcare (verified with paperwork), guardian, or the NOK is asked to make medical decisions for the patient.</a:t>
            </a:r>
          </a:p>
          <a:p>
            <a:pPr marL="285750" marR="0" lvl="1" indent="-285750" algn="l" defTabSz="8001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medical team can determine </a:t>
            </a:r>
            <a:r>
              <a:rPr kumimoji="0" lang="en-US" sz="1800" b="1" i="1" u="none" strike="noStrike" kern="1200" cap="none" spc="0" normalizeH="0" baseline="0" noProof="0" dirty="0">
                <a:ln>
                  <a:noFill/>
                </a:ln>
                <a:solidFill>
                  <a:prstClr val="black"/>
                </a:solidFill>
                <a:effectLst/>
                <a:uLnTx/>
                <a:uFillTx/>
                <a:latin typeface="Calibri"/>
                <a:ea typeface="+mn-ea"/>
                <a:cs typeface="+mn-cs"/>
              </a:rPr>
              <a:t>capacity</a:t>
            </a:r>
            <a:r>
              <a:rPr kumimoji="0" lang="en-US" sz="1800" b="0" i="0" u="none" strike="noStrike" kern="1200" cap="none" spc="0" normalizeH="0" baseline="0" noProof="0" dirty="0">
                <a:ln>
                  <a:noFill/>
                </a:ln>
                <a:solidFill>
                  <a:prstClr val="black"/>
                </a:solidFill>
                <a:effectLst/>
                <a:uLnTx/>
                <a:uFillTx/>
                <a:latin typeface="Calibri"/>
                <a:ea typeface="+mn-ea"/>
                <a:cs typeface="+mn-cs"/>
              </a:rPr>
              <a:t>; a court determines </a:t>
            </a:r>
            <a:r>
              <a:rPr kumimoji="0" lang="en-US" sz="1800" b="1" i="1" u="none" strike="noStrike" kern="1200" cap="none" spc="0" normalizeH="0" baseline="0" noProof="0" dirty="0">
                <a:ln>
                  <a:noFill/>
                </a:ln>
                <a:solidFill>
                  <a:prstClr val="black"/>
                </a:solidFill>
                <a:effectLst/>
                <a:uLnTx/>
                <a:uFillTx/>
                <a:latin typeface="Calibri"/>
                <a:ea typeface="+mn-ea"/>
                <a:cs typeface="+mn-cs"/>
              </a:rPr>
              <a:t>competency</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 name="Title 1">
            <a:extLst>
              <a:ext uri="{FF2B5EF4-FFF2-40B4-BE49-F238E27FC236}">
                <a16:creationId xmlns:a16="http://schemas.microsoft.com/office/drawing/2014/main" id="{D21E8A34-5858-1D74-DCC4-E09C9B6E54FE}"/>
              </a:ext>
            </a:extLst>
          </p:cNvPr>
          <p:cNvSpPr>
            <a:spLocks noGrp="1"/>
          </p:cNvSpPr>
          <p:nvPr>
            <p:ph type="title"/>
            <p:custDataLst>
              <p:tags r:id="rId7"/>
            </p:custDataLst>
          </p:nvPr>
        </p:nvSpPr>
        <p:spPr>
          <a:xfrm>
            <a:off x="266700" y="235313"/>
            <a:ext cx="11658600" cy="877824"/>
          </a:xfrm>
        </p:spPr>
        <p:txBody>
          <a:bodyPr vert="horz" anchor="t">
            <a:normAutofit/>
          </a:bodyPr>
          <a:lstStyle/>
          <a:p>
            <a:r>
              <a:rPr lang="en-US" dirty="0"/>
              <a:t>Capacity’s Different Domains</a:t>
            </a:r>
          </a:p>
        </p:txBody>
      </p:sp>
      <p:sp>
        <p:nvSpPr>
          <p:cNvPr id="12" name="Slide Number Placeholder 11">
            <a:extLst>
              <a:ext uri="{FF2B5EF4-FFF2-40B4-BE49-F238E27FC236}">
                <a16:creationId xmlns:a16="http://schemas.microsoft.com/office/drawing/2014/main" id="{AE058498-700C-B51C-B1A2-CB73FC6E93C8}"/>
              </a:ext>
            </a:extLst>
          </p:cNvPr>
          <p:cNvSpPr>
            <a:spLocks noGrp="1"/>
          </p:cNvSpPr>
          <p:nvPr>
            <p:ph type="sldNum" sz="quarter" idx="4"/>
            <p:custDataLst>
              <p:tags r:id="rId8"/>
            </p:custDataLst>
          </p:nvPr>
        </p:nvSpPr>
        <p:spPr>
          <a:xfrm>
            <a:off x="11441161" y="6192967"/>
            <a:ext cx="598439" cy="43643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3" name="Footer Placeholder 2">
            <a:extLst>
              <a:ext uri="{FF2B5EF4-FFF2-40B4-BE49-F238E27FC236}">
                <a16:creationId xmlns:a16="http://schemas.microsoft.com/office/drawing/2014/main" id="{89783121-1003-67C5-FF27-371166DC581F}"/>
              </a:ext>
            </a:extLst>
          </p:cNvPr>
          <p:cNvSpPr>
            <a:spLocks noGrp="1"/>
          </p:cNvSpPr>
          <p:nvPr>
            <p:ph type="ftr" sz="quarter" idx="3"/>
            <p:custDataLst>
              <p:tags r:id="rId9"/>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Tree>
    <p:custDataLst>
      <p:tags r:id="rId1"/>
    </p:custDataLst>
    <p:extLst>
      <p:ext uri="{BB962C8B-B14F-4D97-AF65-F5344CB8AC3E}">
        <p14:creationId xmlns:p14="http://schemas.microsoft.com/office/powerpoint/2010/main" val="46440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0271F8-D630-B24F-DE5E-6FBC5E5B3761}"/>
              </a:ext>
            </a:extLst>
          </p:cNvPr>
          <p:cNvSpPr>
            <a:spLocks noGrp="1"/>
          </p:cNvSpPr>
          <p:nvPr>
            <p:ph idx="1"/>
          </p:nvPr>
        </p:nvSpPr>
        <p:spPr/>
        <p:txBody>
          <a:bodyPr>
            <a:normAutofit lnSpcReduction="10000"/>
          </a:bodyPr>
          <a:lstStyle/>
          <a:p>
            <a:r>
              <a:rPr lang="en-US" dirty="0"/>
              <a:t>Most patients/families want honest information about their disease and prognosis to help them plan and make informed decisions</a:t>
            </a:r>
          </a:p>
          <a:p>
            <a:r>
              <a:rPr lang="en-US" dirty="0"/>
              <a:t>Allows patients and families more time to process when prognosis is discussed throughout their ICU course</a:t>
            </a:r>
          </a:p>
          <a:p>
            <a:r>
              <a:rPr lang="en-US" b="0" i="0" dirty="0">
                <a:solidFill>
                  <a:srgbClr val="333333"/>
                </a:solidFill>
                <a:effectLst/>
                <a:latin typeface="Fira Sans" panose="020F0502020204030204" pitchFamily="34" charset="0"/>
              </a:rPr>
              <a:t>Improves family satisfaction with communication and trust in clinicians </a:t>
            </a:r>
          </a:p>
          <a:p>
            <a:r>
              <a:rPr lang="en-US" dirty="0">
                <a:solidFill>
                  <a:srgbClr val="333333"/>
                </a:solidFill>
                <a:latin typeface="Fira Sans" panose="020F0502020204030204" pitchFamily="34" charset="0"/>
              </a:rPr>
              <a:t>R</a:t>
            </a:r>
            <a:r>
              <a:rPr lang="en-US" b="0" i="0" dirty="0">
                <a:solidFill>
                  <a:srgbClr val="333333"/>
                </a:solidFill>
                <a:effectLst/>
                <a:latin typeface="Fira Sans" panose="020F0502020204030204" pitchFamily="34" charset="0"/>
              </a:rPr>
              <a:t>educes conflict between clinicians and family members </a:t>
            </a:r>
          </a:p>
          <a:p>
            <a:r>
              <a:rPr lang="en-US" dirty="0">
                <a:solidFill>
                  <a:srgbClr val="333333"/>
                </a:solidFill>
                <a:latin typeface="Fira Sans" panose="020F0502020204030204" pitchFamily="34" charset="0"/>
              </a:rPr>
              <a:t>Allows for earlier referrals to appropriate resources</a:t>
            </a:r>
          </a:p>
          <a:p>
            <a:pPr lvl="1"/>
            <a:r>
              <a:rPr lang="en-US" dirty="0">
                <a:solidFill>
                  <a:srgbClr val="333333"/>
                </a:solidFill>
                <a:latin typeface="Fira Sans" panose="020F0502020204030204" pitchFamily="34" charset="0"/>
              </a:rPr>
              <a:t>Palliative Care</a:t>
            </a:r>
          </a:p>
          <a:p>
            <a:pPr lvl="1"/>
            <a:r>
              <a:rPr lang="en-US" dirty="0">
                <a:solidFill>
                  <a:srgbClr val="333333"/>
                </a:solidFill>
                <a:latin typeface="Fira Sans" panose="020F0502020204030204" pitchFamily="34" charset="0"/>
              </a:rPr>
              <a:t>Hospice</a:t>
            </a:r>
          </a:p>
          <a:p>
            <a:pPr lvl="1"/>
            <a:r>
              <a:rPr lang="en-US" dirty="0">
                <a:solidFill>
                  <a:srgbClr val="333333"/>
                </a:solidFill>
                <a:latin typeface="Fira Sans" panose="020F0502020204030204" pitchFamily="34" charset="0"/>
              </a:rPr>
              <a:t>Spiritual Care</a:t>
            </a:r>
          </a:p>
          <a:p>
            <a:r>
              <a:rPr lang="en-US" dirty="0">
                <a:solidFill>
                  <a:srgbClr val="333333"/>
                </a:solidFill>
                <a:latin typeface="Fira Sans" panose="020F0502020204030204" pitchFamily="34" charset="0"/>
              </a:rPr>
              <a:t>Documenting conversations in a consistent place (ACP navigator) allows all care team members to be aware of the patient’s wishes</a:t>
            </a:r>
            <a:endParaRPr lang="en-US" dirty="0"/>
          </a:p>
        </p:txBody>
      </p:sp>
      <p:sp>
        <p:nvSpPr>
          <p:cNvPr id="3" name="Title 2">
            <a:extLst>
              <a:ext uri="{FF2B5EF4-FFF2-40B4-BE49-F238E27FC236}">
                <a16:creationId xmlns:a16="http://schemas.microsoft.com/office/drawing/2014/main" id="{1B1E2056-6843-710C-9925-C895472D9D14}"/>
              </a:ext>
            </a:extLst>
          </p:cNvPr>
          <p:cNvSpPr>
            <a:spLocks noGrp="1"/>
          </p:cNvSpPr>
          <p:nvPr>
            <p:ph type="title"/>
          </p:nvPr>
        </p:nvSpPr>
        <p:spPr>
          <a:xfrm>
            <a:off x="266700" y="228600"/>
            <a:ext cx="11658600" cy="877824"/>
          </a:xfrm>
        </p:spPr>
        <p:txBody>
          <a:bodyPr/>
          <a:lstStyle/>
          <a:p>
            <a:r>
              <a:rPr lang="en-US" dirty="0"/>
              <a:t>Why conduct earlier serious illness conversations?</a:t>
            </a:r>
          </a:p>
        </p:txBody>
      </p:sp>
      <p:sp>
        <p:nvSpPr>
          <p:cNvPr id="4" name="Slide Number Placeholder 3">
            <a:extLst>
              <a:ext uri="{FF2B5EF4-FFF2-40B4-BE49-F238E27FC236}">
                <a16:creationId xmlns:a16="http://schemas.microsoft.com/office/drawing/2014/main" id="{84A0051C-2670-275C-F00F-8C9A7EE805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US" sz="1600" b="0" i="0" u="none" strike="noStrike" kern="1200" cap="none" spc="0" normalizeH="0" baseline="0" noProof="0">
                <a:ln>
                  <a:noFill/>
                </a:ln>
                <a:solidFill>
                  <a:srgbClr val="000064"/>
                </a:solidFill>
                <a:effectLst/>
                <a:uLnTx/>
                <a:uFillTx/>
                <a:latin typeface="Calibri"/>
                <a:ea typeface="+mn-ea"/>
                <a:cs typeface="+mn-cs"/>
              </a:rPr>
              <a:t>   </a:t>
            </a:r>
            <a:endParaRPr kumimoji="0" lang="en-US" sz="1600" b="0" i="0" u="none" strike="noStrike" kern="1200" cap="none" spc="0" normalizeH="0" baseline="0" noProof="0" dirty="0">
              <a:ln>
                <a:noFill/>
              </a:ln>
              <a:solidFill>
                <a:srgbClr val="000064"/>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1D77790D-C490-E3F2-52E1-8040235572B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1195(pptx)-E2 6-24-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
        <p:nvSpPr>
          <p:cNvPr id="6" name="TextBox 5">
            <a:extLst>
              <a:ext uri="{FF2B5EF4-FFF2-40B4-BE49-F238E27FC236}">
                <a16:creationId xmlns:a16="http://schemas.microsoft.com/office/drawing/2014/main" id="{3E571A53-7EAC-A89F-7FA0-1481CE8D2CC2}"/>
              </a:ext>
            </a:extLst>
          </p:cNvPr>
          <p:cNvSpPr txBox="1"/>
          <p:nvPr/>
        </p:nvSpPr>
        <p:spPr>
          <a:xfrm>
            <a:off x="328107" y="6123579"/>
            <a:ext cx="6494033" cy="261610"/>
          </a:xfrm>
          <a:prstGeom prst="rect">
            <a:avLst/>
          </a:prstGeom>
          <a:noFill/>
        </p:spPr>
        <p:txBody>
          <a:bodyPr wrap="square" rtlCol="0">
            <a:spAutoFit/>
          </a:bodyPr>
          <a:lstStyle/>
          <a:p>
            <a:r>
              <a:rPr lang="en-US" sz="1100" dirty="0"/>
              <a:t>Guidelines for Family-Centered Care in the Neonatal, Pediatric, and Adult ICU. Critical Care Medicine. 2017</a:t>
            </a:r>
          </a:p>
        </p:txBody>
      </p:sp>
    </p:spTree>
    <p:extLst>
      <p:ext uri="{BB962C8B-B14F-4D97-AF65-F5344CB8AC3E}">
        <p14:creationId xmlns:p14="http://schemas.microsoft.com/office/powerpoint/2010/main" val="22667695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B6B54B9C-2B67-41A0-A10B-32EFB1ED48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50" name="Object 49" hidden="1">
                        <a:extLst>
                          <a:ext uri="{FF2B5EF4-FFF2-40B4-BE49-F238E27FC236}">
                            <a16:creationId xmlns:a16="http://schemas.microsoft.com/office/drawing/2014/main" id="{B6B54B9C-2B67-41A0-A10B-32EFB1ED488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BD16B7F3-58C5-4D59-84BE-FCC48CD8B285}"/>
              </a:ext>
            </a:extLst>
          </p:cNvPr>
          <p:cNvSpPr/>
          <p:nvPr>
            <p:custDataLst>
              <p:tags r:id="rId3"/>
            </p:custDataLst>
          </p:nvPr>
        </p:nvSpPr>
        <p:spPr>
          <a:xfrm>
            <a:off x="266700" y="1267433"/>
            <a:ext cx="11658600" cy="4501773"/>
          </a:xfrm>
          <a:custGeom>
            <a:avLst/>
            <a:gdLst>
              <a:gd name="connsiteX0" fmla="*/ 0 w 9696450"/>
              <a:gd name="connsiteY0" fmla="*/ 0 h 4848226"/>
              <a:gd name="connsiteX1" fmla="*/ 9696450 w 9696450"/>
              <a:gd name="connsiteY1" fmla="*/ 0 h 4848226"/>
              <a:gd name="connsiteX2" fmla="*/ 9696450 w 9696450"/>
              <a:gd name="connsiteY2" fmla="*/ 4848226 h 4848226"/>
              <a:gd name="connsiteX3" fmla="*/ 0 w 9696450"/>
              <a:gd name="connsiteY3" fmla="*/ 4848226 h 4848226"/>
              <a:gd name="connsiteX4" fmla="*/ 0 w 9696450"/>
              <a:gd name="connsiteY4" fmla="*/ 0 h 4848226"/>
              <a:gd name="connsiteX5" fmla="*/ 0 w 9696450"/>
              <a:gd name="connsiteY5" fmla="*/ 0 h 48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96450" h="4848226">
                <a:moveTo>
                  <a:pt x="0" y="0"/>
                </a:moveTo>
                <a:lnTo>
                  <a:pt x="9696450" y="0"/>
                </a:lnTo>
                <a:lnTo>
                  <a:pt x="9696450" y="4848226"/>
                </a:lnTo>
                <a:lnTo>
                  <a:pt x="0" y="4848226"/>
                </a:lnTo>
                <a:lnTo>
                  <a:pt x="0" y="0"/>
                </a:lnTo>
                <a:lnTo>
                  <a:pt x="0" y="0"/>
                </a:lnTo>
                <a:close/>
              </a:path>
            </a:pathLst>
          </a:custGeom>
          <a:solidFill>
            <a:srgbClr val="F8F8F8"/>
          </a:solidFill>
          <a:ln w="2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tle 4">
            <a:extLst>
              <a:ext uri="{FF2B5EF4-FFF2-40B4-BE49-F238E27FC236}">
                <a16:creationId xmlns:a16="http://schemas.microsoft.com/office/drawing/2014/main" id="{FDC02C21-76D0-4050-A3C9-1F0E029BC9FB}"/>
              </a:ext>
            </a:extLst>
          </p:cNvPr>
          <p:cNvSpPr>
            <a:spLocks noGrp="1"/>
          </p:cNvSpPr>
          <p:nvPr>
            <p:ph type="title"/>
            <p:custDataLst>
              <p:tags r:id="rId4"/>
            </p:custDataLst>
          </p:nvPr>
        </p:nvSpPr>
        <p:spPr/>
        <p:txBody>
          <a:bodyPr vert="horz"/>
          <a:lstStyle/>
          <a:p>
            <a:r>
              <a:rPr lang="en-US" dirty="0"/>
              <a:t>Verbally Designated Surrogate Decision-Maker</a:t>
            </a:r>
            <a:br>
              <a:rPr lang="en-US" dirty="0"/>
            </a:br>
            <a:endParaRPr lang="en-US" dirty="0"/>
          </a:p>
        </p:txBody>
      </p:sp>
      <p:sp>
        <p:nvSpPr>
          <p:cNvPr id="2" name="Footer Placeholder 1">
            <a:extLst>
              <a:ext uri="{FF2B5EF4-FFF2-40B4-BE49-F238E27FC236}">
                <a16:creationId xmlns:a16="http://schemas.microsoft.com/office/drawing/2014/main" id="{11D9D4A0-1E00-E37D-C0D0-A02CB1DDEA37}"/>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13" name="Freeform: Shape 12">
            <a:extLst>
              <a:ext uri="{FF2B5EF4-FFF2-40B4-BE49-F238E27FC236}">
                <a16:creationId xmlns:a16="http://schemas.microsoft.com/office/drawing/2014/main" id="{D785D951-4706-4EBF-8904-7499448864CF}"/>
              </a:ext>
            </a:extLst>
          </p:cNvPr>
          <p:cNvSpPr/>
          <p:nvPr>
            <p:custDataLst>
              <p:tags r:id="rId6"/>
            </p:custDataLst>
          </p:nvPr>
        </p:nvSpPr>
        <p:spPr>
          <a:xfrm>
            <a:off x="1723871" y="5270932"/>
            <a:ext cx="1697650" cy="119527"/>
          </a:xfrm>
          <a:custGeom>
            <a:avLst/>
            <a:gdLst>
              <a:gd name="connsiteX0" fmla="*/ 0 w 1619105"/>
              <a:gd name="connsiteY0" fmla="*/ 0 h 136327"/>
              <a:gd name="connsiteX1" fmla="*/ 0 w 1619105"/>
              <a:gd name="connsiteY1" fmla="*/ 136327 h 136327"/>
              <a:gd name="connsiteX2" fmla="*/ 1619105 w 1619105"/>
              <a:gd name="connsiteY2" fmla="*/ 0 h 136327"/>
              <a:gd name="connsiteX3" fmla="*/ 0 w 1619105"/>
              <a:gd name="connsiteY3" fmla="*/ 0 h 136327"/>
              <a:gd name="connsiteX4" fmla="*/ 0 w 1619105"/>
              <a:gd name="connsiteY4" fmla="*/ 0 h 136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105" h="136327">
                <a:moveTo>
                  <a:pt x="0" y="0"/>
                </a:moveTo>
                <a:lnTo>
                  <a:pt x="0" y="136327"/>
                </a:lnTo>
                <a:lnTo>
                  <a:pt x="1619105" y="0"/>
                </a:lnTo>
                <a:lnTo>
                  <a:pt x="0" y="0"/>
                </a:lnTo>
                <a:lnTo>
                  <a:pt x="0" y="0"/>
                </a:lnTo>
                <a:close/>
              </a:path>
            </a:pathLst>
          </a:custGeom>
          <a:solidFill>
            <a:schemeClr val="bg1">
              <a:lumMod val="85000"/>
            </a:schemeClr>
          </a:solidFill>
          <a:ln w="2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3E3244FD-4984-4096-8D75-3108C6AB245D}"/>
              </a:ext>
            </a:extLst>
          </p:cNvPr>
          <p:cNvSpPr/>
          <p:nvPr>
            <p:custDataLst>
              <p:tags r:id="rId7"/>
            </p:custDataLst>
          </p:nvPr>
        </p:nvSpPr>
        <p:spPr>
          <a:xfrm>
            <a:off x="3984087" y="5270932"/>
            <a:ext cx="1697650" cy="119527"/>
          </a:xfrm>
          <a:custGeom>
            <a:avLst/>
            <a:gdLst>
              <a:gd name="connsiteX0" fmla="*/ 1619105 w 1619105"/>
              <a:gd name="connsiteY0" fmla="*/ 0 h 136327"/>
              <a:gd name="connsiteX1" fmla="*/ 1619105 w 1619105"/>
              <a:gd name="connsiteY1" fmla="*/ 136327 h 136327"/>
              <a:gd name="connsiteX2" fmla="*/ 0 w 1619105"/>
              <a:gd name="connsiteY2" fmla="*/ 0 h 136327"/>
              <a:gd name="connsiteX3" fmla="*/ 1619105 w 1619105"/>
              <a:gd name="connsiteY3" fmla="*/ 0 h 136327"/>
              <a:gd name="connsiteX4" fmla="*/ 1619105 w 1619105"/>
              <a:gd name="connsiteY4" fmla="*/ 0 h 136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105" h="136327">
                <a:moveTo>
                  <a:pt x="1619105" y="0"/>
                </a:moveTo>
                <a:lnTo>
                  <a:pt x="1619105" y="136327"/>
                </a:lnTo>
                <a:lnTo>
                  <a:pt x="0" y="0"/>
                </a:lnTo>
                <a:lnTo>
                  <a:pt x="1619105" y="0"/>
                </a:lnTo>
                <a:lnTo>
                  <a:pt x="1619105" y="0"/>
                </a:lnTo>
                <a:close/>
              </a:path>
            </a:pathLst>
          </a:custGeom>
          <a:solidFill>
            <a:schemeClr val="bg1">
              <a:lumMod val="85000"/>
            </a:schemeClr>
          </a:solidFill>
          <a:ln w="2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9D826043-0505-441B-ACE6-F157859FB7E0}"/>
              </a:ext>
            </a:extLst>
          </p:cNvPr>
          <p:cNvSpPr/>
          <p:nvPr>
            <p:custDataLst>
              <p:tags r:id="rId8"/>
            </p:custDataLst>
          </p:nvPr>
        </p:nvSpPr>
        <p:spPr>
          <a:xfrm>
            <a:off x="6496742" y="5270932"/>
            <a:ext cx="1697648" cy="119527"/>
          </a:xfrm>
          <a:custGeom>
            <a:avLst/>
            <a:gdLst>
              <a:gd name="connsiteX0" fmla="*/ 0 w 1619104"/>
              <a:gd name="connsiteY0" fmla="*/ 0 h 136327"/>
              <a:gd name="connsiteX1" fmla="*/ 0 w 1619104"/>
              <a:gd name="connsiteY1" fmla="*/ 136327 h 136327"/>
              <a:gd name="connsiteX2" fmla="*/ 1619105 w 1619104"/>
              <a:gd name="connsiteY2" fmla="*/ 0 h 136327"/>
              <a:gd name="connsiteX3" fmla="*/ 0 w 1619104"/>
              <a:gd name="connsiteY3" fmla="*/ 0 h 136327"/>
              <a:gd name="connsiteX4" fmla="*/ 0 w 1619104"/>
              <a:gd name="connsiteY4" fmla="*/ 0 h 136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104" h="136327">
                <a:moveTo>
                  <a:pt x="0" y="0"/>
                </a:moveTo>
                <a:lnTo>
                  <a:pt x="0" y="136327"/>
                </a:lnTo>
                <a:lnTo>
                  <a:pt x="1619105" y="0"/>
                </a:lnTo>
                <a:lnTo>
                  <a:pt x="0" y="0"/>
                </a:lnTo>
                <a:lnTo>
                  <a:pt x="0" y="0"/>
                </a:lnTo>
                <a:close/>
              </a:path>
            </a:pathLst>
          </a:custGeom>
          <a:solidFill>
            <a:schemeClr val="tx2"/>
          </a:solidFill>
          <a:ln w="2886" cap="flat">
            <a:solidFill>
              <a:schemeClr val="bg1">
                <a:lumMod val="9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86BBE776-CB46-4A95-A24C-04CCA0FFC5CF}"/>
              </a:ext>
            </a:extLst>
          </p:cNvPr>
          <p:cNvSpPr/>
          <p:nvPr>
            <p:custDataLst>
              <p:tags r:id="rId9"/>
            </p:custDataLst>
          </p:nvPr>
        </p:nvSpPr>
        <p:spPr>
          <a:xfrm>
            <a:off x="8756954" y="5270932"/>
            <a:ext cx="1697650" cy="119527"/>
          </a:xfrm>
          <a:custGeom>
            <a:avLst/>
            <a:gdLst>
              <a:gd name="connsiteX0" fmla="*/ 1619105 w 1619105"/>
              <a:gd name="connsiteY0" fmla="*/ 0 h 136327"/>
              <a:gd name="connsiteX1" fmla="*/ 1619105 w 1619105"/>
              <a:gd name="connsiteY1" fmla="*/ 136327 h 136327"/>
              <a:gd name="connsiteX2" fmla="*/ 0 w 1619105"/>
              <a:gd name="connsiteY2" fmla="*/ 0 h 136327"/>
              <a:gd name="connsiteX3" fmla="*/ 1619105 w 1619105"/>
              <a:gd name="connsiteY3" fmla="*/ 0 h 136327"/>
              <a:gd name="connsiteX4" fmla="*/ 1619105 w 1619105"/>
              <a:gd name="connsiteY4" fmla="*/ 0 h 136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105" h="136327">
                <a:moveTo>
                  <a:pt x="1619105" y="0"/>
                </a:moveTo>
                <a:lnTo>
                  <a:pt x="1619105" y="136327"/>
                </a:lnTo>
                <a:lnTo>
                  <a:pt x="0" y="0"/>
                </a:lnTo>
                <a:lnTo>
                  <a:pt x="1619105" y="0"/>
                </a:lnTo>
                <a:lnTo>
                  <a:pt x="1619105" y="0"/>
                </a:lnTo>
                <a:close/>
              </a:path>
            </a:pathLst>
          </a:custGeom>
          <a:solidFill>
            <a:schemeClr val="tx2"/>
          </a:solidFill>
          <a:ln w="2886" cap="flat">
            <a:solidFill>
              <a:schemeClr val="bg1">
                <a:lumMod val="9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3F62E50C-DD20-4496-BCB0-72BB5BA13BBF}"/>
              </a:ext>
            </a:extLst>
          </p:cNvPr>
          <p:cNvSpPr/>
          <p:nvPr>
            <p:custDataLst>
              <p:tags r:id="rId10"/>
            </p:custDataLst>
          </p:nvPr>
        </p:nvSpPr>
        <p:spPr>
          <a:xfrm>
            <a:off x="1551731" y="1659119"/>
            <a:ext cx="4312494" cy="3611813"/>
          </a:xfrm>
          <a:custGeom>
            <a:avLst/>
            <a:gdLst>
              <a:gd name="connsiteX0" fmla="*/ 0 w 4112968"/>
              <a:gd name="connsiteY0" fmla="*/ 4119492 h 4119491"/>
              <a:gd name="connsiteX1" fmla="*/ 4112969 w 4112968"/>
              <a:gd name="connsiteY1" fmla="*/ 4119492 h 4119491"/>
              <a:gd name="connsiteX2" fmla="*/ 4112969 w 4112968"/>
              <a:gd name="connsiteY2" fmla="*/ 0 h 4119491"/>
              <a:gd name="connsiteX3" fmla="*/ 0 w 4112968"/>
              <a:gd name="connsiteY3" fmla="*/ 0 h 4119491"/>
              <a:gd name="connsiteX4" fmla="*/ 0 w 4112968"/>
              <a:gd name="connsiteY4" fmla="*/ 4119492 h 4119491"/>
              <a:gd name="connsiteX5" fmla="*/ 0 w 4112968"/>
              <a:gd name="connsiteY5" fmla="*/ 4119492 h 411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2968" h="4119491">
                <a:moveTo>
                  <a:pt x="0" y="4119492"/>
                </a:moveTo>
                <a:lnTo>
                  <a:pt x="4112969" y="4119492"/>
                </a:lnTo>
                <a:lnTo>
                  <a:pt x="4112969" y="0"/>
                </a:lnTo>
                <a:lnTo>
                  <a:pt x="0" y="0"/>
                </a:lnTo>
                <a:lnTo>
                  <a:pt x="0" y="4119492"/>
                </a:lnTo>
                <a:lnTo>
                  <a:pt x="0" y="4119492"/>
                </a:lnTo>
                <a:close/>
              </a:path>
            </a:pathLst>
          </a:custGeom>
          <a:solidFill>
            <a:srgbClr val="FFFFFF"/>
          </a:solidFill>
          <a:ln w="2886" cap="flat">
            <a:solidFill>
              <a:schemeClr val="accent3"/>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is is a person verbally authorized by a competent adult in conversation with a licensed healthcare provider whom that competent adult designates as a decision-maker to make medical decisions upon their incapac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E1F7702E-704C-4250-9213-4AEE19960DD5}"/>
              </a:ext>
            </a:extLst>
          </p:cNvPr>
          <p:cNvSpPr/>
          <p:nvPr>
            <p:custDataLst>
              <p:tags r:id="rId11"/>
            </p:custDataLst>
          </p:nvPr>
        </p:nvSpPr>
        <p:spPr>
          <a:xfrm>
            <a:off x="6324600" y="1659119"/>
            <a:ext cx="4312494" cy="3611813"/>
          </a:xfrm>
          <a:custGeom>
            <a:avLst/>
            <a:gdLst>
              <a:gd name="connsiteX0" fmla="*/ 0 w 4112968"/>
              <a:gd name="connsiteY0" fmla="*/ 4119492 h 4119491"/>
              <a:gd name="connsiteX1" fmla="*/ 4112969 w 4112968"/>
              <a:gd name="connsiteY1" fmla="*/ 4119492 h 4119491"/>
              <a:gd name="connsiteX2" fmla="*/ 4112969 w 4112968"/>
              <a:gd name="connsiteY2" fmla="*/ 0 h 4119491"/>
              <a:gd name="connsiteX3" fmla="*/ 0 w 4112968"/>
              <a:gd name="connsiteY3" fmla="*/ 0 h 4119491"/>
              <a:gd name="connsiteX4" fmla="*/ 0 w 4112968"/>
              <a:gd name="connsiteY4" fmla="*/ 4119492 h 4119491"/>
              <a:gd name="connsiteX5" fmla="*/ 0 w 4112968"/>
              <a:gd name="connsiteY5" fmla="*/ 4119492 h 411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2968" h="4119491">
                <a:moveTo>
                  <a:pt x="0" y="4119492"/>
                </a:moveTo>
                <a:lnTo>
                  <a:pt x="4112969" y="4119492"/>
                </a:lnTo>
                <a:lnTo>
                  <a:pt x="4112969" y="0"/>
                </a:lnTo>
                <a:lnTo>
                  <a:pt x="0" y="0"/>
                </a:lnTo>
                <a:lnTo>
                  <a:pt x="0" y="4119492"/>
                </a:lnTo>
                <a:lnTo>
                  <a:pt x="0" y="4119492"/>
                </a:lnTo>
                <a:close/>
              </a:path>
            </a:pathLst>
          </a:custGeom>
          <a:solidFill>
            <a:schemeClr val="bg1"/>
          </a:solidFill>
          <a:ln w="2886" cap="flat">
            <a:solidFill>
              <a:srgbClr val="0091E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is designation shall be acknowledged during all periods of patient incapacity unless it is revoked by the patient or superseded by a subsequent valid Advance Directive. This person must be willing to accept the responsibility and provide contact information to HFHS and will be listed on the face sheet as the Designated Decision-Maker/Surrogate.</a:t>
            </a:r>
            <a:r>
              <a:rPr kumimoji="0" lang="en-US" sz="1800" b="0" i="0" u="none" strike="noStrike" kern="1200" cap="none" spc="0" normalizeH="0" baseline="0" noProof="0" dirty="0">
                <a:ln>
                  <a:noFill/>
                </a:ln>
                <a:solidFill>
                  <a:prstClr val="white"/>
                </a:solidFill>
                <a:effectLst/>
                <a:uLnTx/>
                <a:uFillTx/>
                <a:latin typeface="Calibri"/>
                <a:ea typeface="+mn-ea"/>
                <a:cs typeface="+mn-cs"/>
              </a:rPr>
              <a:t>.</a:t>
            </a:r>
          </a:p>
        </p:txBody>
      </p:sp>
      <p:sp>
        <p:nvSpPr>
          <p:cNvPr id="11" name="Slide Number Placeholder 10">
            <a:extLst>
              <a:ext uri="{FF2B5EF4-FFF2-40B4-BE49-F238E27FC236}">
                <a16:creationId xmlns:a16="http://schemas.microsoft.com/office/drawing/2014/main" id="{990CC3D3-9F99-2C5B-4F03-6241ADD4478D}"/>
              </a:ext>
            </a:extLst>
          </p:cNvPr>
          <p:cNvSpPr>
            <a:spLocks noGrp="1"/>
          </p:cNvSpPr>
          <p:nvPr>
            <p:ph type="sldNum" sz="quarter" idx="4"/>
            <p:custDataLst>
              <p:tags r:id="rId1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39130818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1605A5F-45C7-F95F-7D9F-48844D08F0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6" name="think-cell data - do not delete" hidden="1">
                        <a:extLst>
                          <a:ext uri="{FF2B5EF4-FFF2-40B4-BE49-F238E27FC236}">
                            <a16:creationId xmlns:a16="http://schemas.microsoft.com/office/drawing/2014/main" id="{21605A5F-45C7-F95F-7D9F-48844D08F00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82" name="Rectangle 381">
            <a:extLst>
              <a:ext uri="{FF2B5EF4-FFF2-40B4-BE49-F238E27FC236}">
                <a16:creationId xmlns:a16="http://schemas.microsoft.com/office/drawing/2014/main" id="{85C8A377-63A2-0F60-7C6D-71CD315C4024}"/>
              </a:ext>
            </a:extLst>
          </p:cNvPr>
          <p:cNvSpPr/>
          <p:nvPr>
            <p:custDataLst>
              <p:tags r:id="rId3"/>
            </p:custDataLst>
          </p:nvPr>
        </p:nvSpPr>
        <p:spPr bwMode="auto">
          <a:xfrm>
            <a:off x="278574" y="1272911"/>
            <a:ext cx="11657075" cy="4571707"/>
          </a:xfrm>
          <a:prstGeom prst="rect">
            <a:avLst/>
          </a:prstGeom>
          <a:solidFill>
            <a:srgbClr val="C7C7C7">
              <a:lumMod val="20000"/>
              <a:lumOff val="80000"/>
            </a:srgbClr>
          </a:solidFill>
          <a:ln w="12700" cap="flat" cmpd="sng" algn="ctr">
            <a:noFill/>
            <a:prstDash val="solid"/>
            <a:round/>
            <a:headEnd type="none" w="med" len="med"/>
            <a:tailEnd type="none" w="med" len="med"/>
          </a:ln>
          <a:effectLst/>
        </p:spPr>
        <p:txBody>
          <a:bodyPr vert="horz" wrap="square" lIns="182880" tIns="91440" rIns="457200" bIns="45720" numCol="1" rtlCol="0" anchor="t" anchorCtr="0" compatLnSpc="1">
            <a:prstTxWarp prst="textNoShape">
              <a:avLst/>
            </a:prstTxWarp>
            <a:noAutofit/>
          </a:bodyPr>
          <a:lstStyle/>
          <a:p>
            <a:pPr marL="4859338" marR="0" lvl="0" indent="0" algn="l" defTabSz="914400" rtl="0" eaLnBrk="1" fontAlgn="base" latinLnBrk="0" hangingPunct="1">
              <a:lnSpc>
                <a:spcPct val="100000"/>
              </a:lnSpc>
              <a:spcBef>
                <a:spcPts val="400"/>
              </a:spcBef>
              <a:spcAft>
                <a:spcPct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4859338" marR="0" lvl="0" indent="0" algn="l" defTabSz="914400" rtl="0" eaLnBrk="1" fontAlgn="base" latinLnBrk="0" hangingPunct="1">
              <a:lnSpc>
                <a:spcPct val="100000"/>
              </a:lnSpc>
              <a:spcBef>
                <a:spcPts val="400"/>
              </a:spcBef>
              <a:spcAft>
                <a:spcPct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4402138" marR="0" lvl="0" indent="0" algn="l" defTabSz="914400" rtl="0" eaLnBrk="1" fontAlgn="base" latinLnBrk="0" hangingPunct="1">
              <a:lnSpc>
                <a:spcPct val="100000"/>
              </a:lnSpc>
              <a:spcBef>
                <a:spcPts val="400"/>
              </a:spcBef>
              <a:spcAft>
                <a:spcPct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rPr>
              <a:t>In the event the patient cannot verbally designate a surrogate medical decision-maker, and there is no DPOA-HC paperwork, Guardianship paperwork, or previously documented VD, HFH policy defaults to the NOK for decision-making.</a:t>
            </a:r>
          </a:p>
        </p:txBody>
      </p:sp>
      <p:sp>
        <p:nvSpPr>
          <p:cNvPr id="2" name="Title 1">
            <a:extLst>
              <a:ext uri="{FF2B5EF4-FFF2-40B4-BE49-F238E27FC236}">
                <a16:creationId xmlns:a16="http://schemas.microsoft.com/office/drawing/2014/main" id="{A7B0FF86-4B74-D289-7D42-BAE7F4D32C55}"/>
              </a:ext>
            </a:extLst>
          </p:cNvPr>
          <p:cNvSpPr>
            <a:spLocks noGrp="1"/>
          </p:cNvSpPr>
          <p:nvPr>
            <p:ph type="title"/>
            <p:custDataLst>
              <p:tags r:id="rId4"/>
            </p:custDataLst>
          </p:nvPr>
        </p:nvSpPr>
        <p:spPr/>
        <p:txBody>
          <a:bodyPr vert="horz">
            <a:normAutofit/>
          </a:bodyPr>
          <a:lstStyle/>
          <a:p>
            <a:r>
              <a:rPr lang="en-US" dirty="0">
                <a:solidFill>
                  <a:srgbClr val="000064"/>
                </a:solidFill>
                <a:cs typeface="Calibri Light"/>
              </a:rPr>
              <a:t>What if the patient </a:t>
            </a:r>
            <a:r>
              <a:rPr lang="en-US" dirty="0">
                <a:solidFill>
                  <a:schemeClr val="tx1"/>
                </a:solidFill>
                <a:cs typeface="Calibri Light"/>
              </a:rPr>
              <a:t>cannot </a:t>
            </a:r>
            <a:r>
              <a:rPr lang="en-US" dirty="0">
                <a:solidFill>
                  <a:srgbClr val="000064"/>
                </a:solidFill>
                <a:cs typeface="Calibri Light"/>
              </a:rPr>
              <a:t>verbally designate?</a:t>
            </a:r>
            <a:endParaRPr lang="en-US" sz="4000" dirty="0">
              <a:solidFill>
                <a:srgbClr val="000064"/>
              </a:solidFill>
            </a:endParaRPr>
          </a:p>
        </p:txBody>
      </p:sp>
      <p:grpSp>
        <p:nvGrpSpPr>
          <p:cNvPr id="15" name="Group 14">
            <a:extLst>
              <a:ext uri="{FF2B5EF4-FFF2-40B4-BE49-F238E27FC236}">
                <a16:creationId xmlns:a16="http://schemas.microsoft.com/office/drawing/2014/main" id="{63209C51-C1CB-4BE9-C9E8-570598EFA1CF}"/>
              </a:ext>
            </a:extLst>
          </p:cNvPr>
          <p:cNvGrpSpPr/>
          <p:nvPr>
            <p:custDataLst>
              <p:tags r:id="rId5"/>
            </p:custDataLst>
          </p:nvPr>
        </p:nvGrpSpPr>
        <p:grpSpPr>
          <a:xfrm>
            <a:off x="415265" y="1591920"/>
            <a:ext cx="4273693" cy="3933689"/>
            <a:chOff x="223879" y="1872739"/>
            <a:chExt cx="4954685" cy="4181519"/>
          </a:xfrm>
        </p:grpSpPr>
        <p:sp>
          <p:nvSpPr>
            <p:cNvPr id="17" name="Rectangle 16">
              <a:extLst>
                <a:ext uri="{FF2B5EF4-FFF2-40B4-BE49-F238E27FC236}">
                  <a16:creationId xmlns:a16="http://schemas.microsoft.com/office/drawing/2014/main" id="{6B384295-3E4B-5F4A-BC1C-DD4129D0FB3F}"/>
                </a:ext>
              </a:extLst>
            </p:cNvPr>
            <p:cNvSpPr/>
            <p:nvPr/>
          </p:nvSpPr>
          <p:spPr>
            <a:xfrm flipH="1">
              <a:off x="273190" y="1872739"/>
              <a:ext cx="4850460" cy="4181519"/>
            </a:xfrm>
            <a:prstGeom prst="rect">
              <a:avLst/>
            </a:prstGeom>
            <a:solidFill>
              <a:srgbClr val="7AB6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Rectangle: Rounded Corners 17">
              <a:extLst>
                <a:ext uri="{FF2B5EF4-FFF2-40B4-BE49-F238E27FC236}">
                  <a16:creationId xmlns:a16="http://schemas.microsoft.com/office/drawing/2014/main" id="{9FBFD222-6EFE-8824-596F-ECA25EE5582D}"/>
                </a:ext>
              </a:extLst>
            </p:cNvPr>
            <p:cNvSpPr/>
            <p:nvPr/>
          </p:nvSpPr>
          <p:spPr>
            <a:xfrm>
              <a:off x="1381940" y="3346418"/>
              <a:ext cx="25323" cy="236349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27A37547-DF06-7EAE-350D-A7577EE10153}"/>
                </a:ext>
              </a:extLst>
            </p:cNvPr>
            <p:cNvSpPr/>
            <p:nvPr/>
          </p:nvSpPr>
          <p:spPr>
            <a:xfrm>
              <a:off x="4298672"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26375BE5-9D8C-67F2-B3E7-E0F4933A80B5}"/>
                </a:ext>
              </a:extLst>
            </p:cNvPr>
            <p:cNvSpPr/>
            <p:nvPr/>
          </p:nvSpPr>
          <p:spPr>
            <a:xfrm>
              <a:off x="4516166"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5E84C7B9-E077-0348-2F90-DCF6AE35F2B5}"/>
                </a:ext>
              </a:extLst>
            </p:cNvPr>
            <p:cNvSpPr/>
            <p:nvPr/>
          </p:nvSpPr>
          <p:spPr>
            <a:xfrm>
              <a:off x="4733661"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655992DD-6186-1FBF-3CE5-FB4C3BD611EF}"/>
                </a:ext>
              </a:extLst>
            </p:cNvPr>
            <p:cNvSpPr/>
            <p:nvPr/>
          </p:nvSpPr>
          <p:spPr>
            <a:xfrm>
              <a:off x="4081177"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1D9EB4FC-240A-9A70-7071-BD32EF451C4D}"/>
                </a:ext>
              </a:extLst>
            </p:cNvPr>
            <p:cNvSpPr/>
            <p:nvPr/>
          </p:nvSpPr>
          <p:spPr>
            <a:xfrm>
              <a:off x="1685914" y="4734527"/>
              <a:ext cx="514358" cy="194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Rounded Corners 23">
              <a:extLst>
                <a:ext uri="{FF2B5EF4-FFF2-40B4-BE49-F238E27FC236}">
                  <a16:creationId xmlns:a16="http://schemas.microsoft.com/office/drawing/2014/main" id="{D991A48C-E83D-A5A9-4BBD-FF3CF2A5D2C6}"/>
                </a:ext>
              </a:extLst>
            </p:cNvPr>
            <p:cNvSpPr/>
            <p:nvPr/>
          </p:nvSpPr>
          <p:spPr>
            <a:xfrm>
              <a:off x="223879" y="2051575"/>
              <a:ext cx="4954685" cy="14337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Rectangle: Rounded Corners 24">
              <a:extLst>
                <a:ext uri="{FF2B5EF4-FFF2-40B4-BE49-F238E27FC236}">
                  <a16:creationId xmlns:a16="http://schemas.microsoft.com/office/drawing/2014/main" id="{9DB249E7-0ACD-5E66-641F-B439272D539A}"/>
                </a:ext>
              </a:extLst>
            </p:cNvPr>
            <p:cNvSpPr/>
            <p:nvPr/>
          </p:nvSpPr>
          <p:spPr>
            <a:xfrm flipH="1">
              <a:off x="4020284" y="5057124"/>
              <a:ext cx="759695"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116B4E3-F45E-2AE8-AF57-215DB759D7BD}"/>
                </a:ext>
              </a:extLst>
            </p:cNvPr>
            <p:cNvSpPr/>
            <p:nvPr/>
          </p:nvSpPr>
          <p:spPr>
            <a:xfrm flipH="1">
              <a:off x="3691755" y="5121377"/>
              <a:ext cx="930136" cy="162876"/>
            </a:xfrm>
            <a:prstGeom prst="roundRect">
              <a:avLst/>
            </a:pr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351615F6-BE22-1C9C-827F-552725CC0BF3}"/>
                </a:ext>
              </a:extLst>
            </p:cNvPr>
            <p:cNvSpPr/>
            <p:nvPr/>
          </p:nvSpPr>
          <p:spPr>
            <a:xfrm flipH="1">
              <a:off x="2187974" y="5250740"/>
              <a:ext cx="2016265" cy="183155"/>
            </a:xfrm>
            <a:custGeom>
              <a:avLst/>
              <a:gdLst>
                <a:gd name="connsiteX0" fmla="*/ 333834 w 2009378"/>
                <a:gd name="connsiteY0" fmla="*/ 0 h 182530"/>
                <a:gd name="connsiteX1" fmla="*/ 2009378 w 2009378"/>
                <a:gd name="connsiteY1" fmla="*/ 0 h 182530"/>
                <a:gd name="connsiteX2" fmla="*/ 2009378 w 2009378"/>
                <a:gd name="connsiteY2" fmla="*/ 182530 h 182530"/>
                <a:gd name="connsiteX3" fmla="*/ 0 w 2009378"/>
                <a:gd name="connsiteY3" fmla="*/ 182530 h 182530"/>
                <a:gd name="connsiteX4" fmla="*/ 0 w 2009378"/>
                <a:gd name="connsiteY4" fmla="*/ 103442 h 182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378" h="182530">
                  <a:moveTo>
                    <a:pt x="333834" y="0"/>
                  </a:moveTo>
                  <a:lnTo>
                    <a:pt x="2009378" y="0"/>
                  </a:lnTo>
                  <a:lnTo>
                    <a:pt x="2009378" y="182530"/>
                  </a:lnTo>
                  <a:lnTo>
                    <a:pt x="0" y="182530"/>
                  </a:lnTo>
                  <a:lnTo>
                    <a:pt x="0" y="103442"/>
                  </a:lnTo>
                  <a:close/>
                </a:path>
              </a:pathLst>
            </a:custGeom>
            <a:solidFill>
              <a:srgbClr val="5070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A60961FF-CB1E-6DDE-05D6-8D813FD7FB78}"/>
                </a:ext>
              </a:extLst>
            </p:cNvPr>
            <p:cNvSpPr/>
            <p:nvPr/>
          </p:nvSpPr>
          <p:spPr>
            <a:xfrm flipH="1">
              <a:off x="1774611" y="4295222"/>
              <a:ext cx="3002839" cy="439305"/>
            </a:xfrm>
            <a:custGeom>
              <a:avLst/>
              <a:gdLst>
                <a:gd name="connsiteX0" fmla="*/ 1756756 w 2992582"/>
                <a:gd name="connsiteY0" fmla="*/ 0 h 437804"/>
                <a:gd name="connsiteX1" fmla="*/ 11084 w 2992582"/>
                <a:gd name="connsiteY1" fmla="*/ 22168 h 437804"/>
                <a:gd name="connsiteX2" fmla="*/ 0 w 2992582"/>
                <a:gd name="connsiteY2" fmla="*/ 437804 h 437804"/>
                <a:gd name="connsiteX3" fmla="*/ 2992582 w 2992582"/>
                <a:gd name="connsiteY3" fmla="*/ 410095 h 437804"/>
                <a:gd name="connsiteX4" fmla="*/ 1756756 w 2992582"/>
                <a:gd name="connsiteY4" fmla="*/ 0 h 437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2582" h="437804">
                  <a:moveTo>
                    <a:pt x="1756756" y="0"/>
                  </a:moveTo>
                  <a:lnTo>
                    <a:pt x="11084" y="22168"/>
                  </a:lnTo>
                  <a:lnTo>
                    <a:pt x="0" y="437804"/>
                  </a:lnTo>
                  <a:lnTo>
                    <a:pt x="2992582" y="410095"/>
                  </a:lnTo>
                  <a:lnTo>
                    <a:pt x="175675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C3791DB5-5277-144C-D009-FDB818760BE7}"/>
                </a:ext>
              </a:extLst>
            </p:cNvPr>
            <p:cNvSpPr/>
            <p:nvPr/>
          </p:nvSpPr>
          <p:spPr>
            <a:xfrm flipH="1">
              <a:off x="2084893" y="4246681"/>
              <a:ext cx="2885013" cy="739823"/>
            </a:xfrm>
            <a:prstGeom prst="rect">
              <a:avLst/>
            </a:pr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EEAAEE83-6CA6-A160-74CF-379F25F11CFA}"/>
                </a:ext>
              </a:extLst>
            </p:cNvPr>
            <p:cNvSpPr/>
            <p:nvPr/>
          </p:nvSpPr>
          <p:spPr>
            <a:xfrm flipH="1">
              <a:off x="1338153" y="3793501"/>
              <a:ext cx="483614" cy="570488"/>
            </a:xfrm>
            <a:custGeom>
              <a:avLst/>
              <a:gdLst>
                <a:gd name="connsiteX0" fmla="*/ 267375 w 405447"/>
                <a:gd name="connsiteY0" fmla="*/ 17130 h 478280"/>
                <a:gd name="connsiteX1" fmla="*/ 329476 w 405447"/>
                <a:gd name="connsiteY1" fmla="*/ 308 h 478280"/>
                <a:gd name="connsiteX2" fmla="*/ 376007 w 405447"/>
                <a:gd name="connsiteY2" fmla="*/ 8406 h 478280"/>
                <a:gd name="connsiteX3" fmla="*/ 402002 w 405447"/>
                <a:gd name="connsiteY3" fmla="*/ 50552 h 478280"/>
                <a:gd name="connsiteX4" fmla="*/ 404776 w 405447"/>
                <a:gd name="connsiteY4" fmla="*/ 63080 h 478280"/>
                <a:gd name="connsiteX5" fmla="*/ 405447 w 405447"/>
                <a:gd name="connsiteY5" fmla="*/ 66167 h 478280"/>
                <a:gd name="connsiteX6" fmla="*/ 320796 w 405447"/>
                <a:gd name="connsiteY6" fmla="*/ 190503 h 478280"/>
                <a:gd name="connsiteX7" fmla="*/ 65636 w 405447"/>
                <a:gd name="connsiteY7" fmla="*/ 467677 h 478280"/>
                <a:gd name="connsiteX8" fmla="*/ 47157 w 405447"/>
                <a:gd name="connsiteY8" fmla="*/ 478281 h 478280"/>
                <a:gd name="connsiteX9" fmla="*/ 34585 w 405447"/>
                <a:gd name="connsiteY9" fmla="*/ 475507 h 478280"/>
                <a:gd name="connsiteX10" fmla="*/ 0 w 405447"/>
                <a:gd name="connsiteY10" fmla="*/ 384950 h 478280"/>
                <a:gd name="connsiteX11" fmla="*/ 626 w 405447"/>
                <a:gd name="connsiteY11" fmla="*/ 378552 h 478280"/>
                <a:gd name="connsiteX12" fmla="*/ 27605 w 405447"/>
                <a:gd name="connsiteY12" fmla="*/ 367053 h 478280"/>
                <a:gd name="connsiteX13" fmla="*/ 34406 w 405447"/>
                <a:gd name="connsiteY13" fmla="*/ 333721 h 478280"/>
                <a:gd name="connsiteX14" fmla="*/ 71944 w 405447"/>
                <a:gd name="connsiteY14" fmla="*/ 331618 h 478280"/>
                <a:gd name="connsiteX15" fmla="*/ 120578 w 405447"/>
                <a:gd name="connsiteY15" fmla="*/ 262001 h 478280"/>
                <a:gd name="connsiteX16" fmla="*/ 162680 w 405447"/>
                <a:gd name="connsiteY16" fmla="*/ 216275 h 478280"/>
                <a:gd name="connsiteX17" fmla="*/ 158609 w 405447"/>
                <a:gd name="connsiteY17" fmla="*/ 197081 h 478280"/>
                <a:gd name="connsiteX18" fmla="*/ 177624 w 405447"/>
                <a:gd name="connsiteY18" fmla="*/ 154039 h 478280"/>
                <a:gd name="connsiteX19" fmla="*/ 161785 w 405447"/>
                <a:gd name="connsiteY19" fmla="*/ 132832 h 478280"/>
                <a:gd name="connsiteX20" fmla="*/ 156908 w 405447"/>
                <a:gd name="connsiteY20" fmla="*/ 102721 h 478280"/>
                <a:gd name="connsiteX21" fmla="*/ 148452 w 405447"/>
                <a:gd name="connsiteY21" fmla="*/ 85988 h 478280"/>
                <a:gd name="connsiteX22" fmla="*/ 267375 w 405447"/>
                <a:gd name="connsiteY22" fmla="*/ 17130 h 47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5447" h="478280">
                  <a:moveTo>
                    <a:pt x="267375" y="17130"/>
                  </a:moveTo>
                  <a:cubicBezTo>
                    <a:pt x="287374" y="9345"/>
                    <a:pt x="308313" y="3976"/>
                    <a:pt x="329476" y="308"/>
                  </a:cubicBezTo>
                  <a:cubicBezTo>
                    <a:pt x="345136" y="-319"/>
                    <a:pt x="362451" y="-900"/>
                    <a:pt x="376007" y="8406"/>
                  </a:cubicBezTo>
                  <a:cubicBezTo>
                    <a:pt x="389877" y="18338"/>
                    <a:pt x="397259" y="34624"/>
                    <a:pt x="402002" y="50552"/>
                  </a:cubicBezTo>
                  <a:cubicBezTo>
                    <a:pt x="402673" y="53684"/>
                    <a:pt x="404060" y="59948"/>
                    <a:pt x="404776" y="63080"/>
                  </a:cubicBezTo>
                  <a:lnTo>
                    <a:pt x="405447" y="66167"/>
                  </a:lnTo>
                  <a:cubicBezTo>
                    <a:pt x="393725" y="116993"/>
                    <a:pt x="354486" y="153368"/>
                    <a:pt x="320796" y="190503"/>
                  </a:cubicBezTo>
                  <a:cubicBezTo>
                    <a:pt x="236593" y="283655"/>
                    <a:pt x="151942" y="376449"/>
                    <a:pt x="65636" y="467677"/>
                  </a:cubicBezTo>
                  <a:cubicBezTo>
                    <a:pt x="60669" y="473046"/>
                    <a:pt x="54450" y="477162"/>
                    <a:pt x="47157" y="478281"/>
                  </a:cubicBezTo>
                  <a:cubicBezTo>
                    <a:pt x="43981" y="477610"/>
                    <a:pt x="37717" y="476223"/>
                    <a:pt x="34585" y="475507"/>
                  </a:cubicBezTo>
                  <a:cubicBezTo>
                    <a:pt x="39686" y="441503"/>
                    <a:pt x="22416" y="409200"/>
                    <a:pt x="0" y="384950"/>
                  </a:cubicBezTo>
                  <a:cubicBezTo>
                    <a:pt x="179" y="383339"/>
                    <a:pt x="492" y="380163"/>
                    <a:pt x="626" y="378552"/>
                  </a:cubicBezTo>
                  <a:cubicBezTo>
                    <a:pt x="9798" y="375644"/>
                    <a:pt x="20805" y="374525"/>
                    <a:pt x="27605" y="367053"/>
                  </a:cubicBezTo>
                  <a:cubicBezTo>
                    <a:pt x="32885" y="356808"/>
                    <a:pt x="32572" y="344817"/>
                    <a:pt x="34406" y="333721"/>
                  </a:cubicBezTo>
                  <a:cubicBezTo>
                    <a:pt x="46755" y="335242"/>
                    <a:pt x="61564" y="341730"/>
                    <a:pt x="71944" y="331618"/>
                  </a:cubicBezTo>
                  <a:cubicBezTo>
                    <a:pt x="92883" y="312469"/>
                    <a:pt x="116283" y="291709"/>
                    <a:pt x="120578" y="262001"/>
                  </a:cubicBezTo>
                  <a:cubicBezTo>
                    <a:pt x="139191" y="252113"/>
                    <a:pt x="156282" y="236990"/>
                    <a:pt x="162680" y="216275"/>
                  </a:cubicBezTo>
                  <a:cubicBezTo>
                    <a:pt x="161919" y="209743"/>
                    <a:pt x="160085" y="203389"/>
                    <a:pt x="158609" y="197081"/>
                  </a:cubicBezTo>
                  <a:cubicBezTo>
                    <a:pt x="165857" y="183390"/>
                    <a:pt x="179324" y="170594"/>
                    <a:pt x="177624" y="154039"/>
                  </a:cubicBezTo>
                  <a:cubicBezTo>
                    <a:pt x="172747" y="146612"/>
                    <a:pt x="166259" y="140438"/>
                    <a:pt x="161785" y="132832"/>
                  </a:cubicBezTo>
                  <a:cubicBezTo>
                    <a:pt x="158877" y="123034"/>
                    <a:pt x="158564" y="112698"/>
                    <a:pt x="156908" y="102721"/>
                  </a:cubicBezTo>
                  <a:cubicBezTo>
                    <a:pt x="155790" y="96412"/>
                    <a:pt x="151629" y="91222"/>
                    <a:pt x="148452" y="85988"/>
                  </a:cubicBezTo>
                  <a:cubicBezTo>
                    <a:pt x="184782" y="57756"/>
                    <a:pt x="224334" y="33640"/>
                    <a:pt x="267375" y="1713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79947D49-2B9A-31C1-1343-734D0E9684E1}"/>
                </a:ext>
              </a:extLst>
            </p:cNvPr>
            <p:cNvSpPr/>
            <p:nvPr/>
          </p:nvSpPr>
          <p:spPr>
            <a:xfrm flipH="1">
              <a:off x="1323904" y="3967779"/>
              <a:ext cx="397479" cy="487789"/>
            </a:xfrm>
            <a:custGeom>
              <a:avLst/>
              <a:gdLst>
                <a:gd name="connsiteX0" fmla="*/ 306524 w 333234"/>
                <a:gd name="connsiteY0" fmla="*/ 11241 h 408947"/>
                <a:gd name="connsiteX1" fmla="*/ 333234 w 333234"/>
                <a:gd name="connsiteY1" fmla="*/ 11 h 408947"/>
                <a:gd name="connsiteX2" fmla="*/ 330729 w 333234"/>
                <a:gd name="connsiteY2" fmla="*/ 160767 h 408947"/>
                <a:gd name="connsiteX3" fmla="*/ 271760 w 333234"/>
                <a:gd name="connsiteY3" fmla="*/ 178127 h 408947"/>
                <a:gd name="connsiteX4" fmla="*/ 57045 w 333234"/>
                <a:gd name="connsiteY4" fmla="*/ 408948 h 408947"/>
                <a:gd name="connsiteX5" fmla="*/ 37896 w 333234"/>
                <a:gd name="connsiteY5" fmla="*/ 379195 h 408947"/>
                <a:gd name="connsiteX6" fmla="*/ 0 w 333234"/>
                <a:gd name="connsiteY6" fmla="*/ 346757 h 408947"/>
                <a:gd name="connsiteX7" fmla="*/ 51453 w 333234"/>
                <a:gd name="connsiteY7" fmla="*/ 289041 h 408947"/>
                <a:gd name="connsiteX8" fmla="*/ 306524 w 333234"/>
                <a:gd name="connsiteY8" fmla="*/ 11241 h 40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234" h="408947">
                  <a:moveTo>
                    <a:pt x="306524" y="11241"/>
                  </a:moveTo>
                  <a:cubicBezTo>
                    <a:pt x="313056" y="3008"/>
                    <a:pt x="322989" y="-213"/>
                    <a:pt x="333234" y="11"/>
                  </a:cubicBezTo>
                  <a:cubicBezTo>
                    <a:pt x="331668" y="53567"/>
                    <a:pt x="334264" y="107256"/>
                    <a:pt x="330729" y="160767"/>
                  </a:cubicBezTo>
                  <a:cubicBezTo>
                    <a:pt x="309477" y="154458"/>
                    <a:pt x="286256" y="161572"/>
                    <a:pt x="271760" y="178127"/>
                  </a:cubicBezTo>
                  <a:cubicBezTo>
                    <a:pt x="200665" y="255484"/>
                    <a:pt x="127916" y="331411"/>
                    <a:pt x="57045" y="408948"/>
                  </a:cubicBezTo>
                  <a:cubicBezTo>
                    <a:pt x="51945" y="398255"/>
                    <a:pt x="45368" y="388322"/>
                    <a:pt x="37896" y="379195"/>
                  </a:cubicBezTo>
                  <a:cubicBezTo>
                    <a:pt x="27248" y="366264"/>
                    <a:pt x="14094" y="355661"/>
                    <a:pt x="0" y="346757"/>
                  </a:cubicBezTo>
                  <a:cubicBezTo>
                    <a:pt x="15838" y="326400"/>
                    <a:pt x="34406" y="308369"/>
                    <a:pt x="51453" y="289041"/>
                  </a:cubicBezTo>
                  <a:cubicBezTo>
                    <a:pt x="137043" y="196963"/>
                    <a:pt x="221112" y="103498"/>
                    <a:pt x="306524" y="1124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151B98AB-EC52-3B07-9CEF-5BCC470BB393}"/>
                </a:ext>
              </a:extLst>
            </p:cNvPr>
            <p:cNvSpPr/>
            <p:nvPr/>
          </p:nvSpPr>
          <p:spPr>
            <a:xfrm flipH="1">
              <a:off x="2289771" y="4402575"/>
              <a:ext cx="645396" cy="230813"/>
            </a:xfrm>
            <a:custGeom>
              <a:avLst/>
              <a:gdLst>
                <a:gd name="connsiteX0" fmla="*/ 16420 w 541080"/>
                <a:gd name="connsiteY0" fmla="*/ 19731 h 193506"/>
                <a:gd name="connsiteX1" fmla="*/ 80714 w 541080"/>
                <a:gd name="connsiteY1" fmla="*/ 313 h 193506"/>
                <a:gd name="connsiteX2" fmla="*/ 448802 w 541080"/>
                <a:gd name="connsiteY2" fmla="*/ 0 h 193506"/>
                <a:gd name="connsiteX3" fmla="*/ 443969 w 541080"/>
                <a:gd name="connsiteY3" fmla="*/ 55077 h 193506"/>
                <a:gd name="connsiteX4" fmla="*/ 396320 w 541080"/>
                <a:gd name="connsiteY4" fmla="*/ 66128 h 193506"/>
                <a:gd name="connsiteX5" fmla="*/ 398870 w 541080"/>
                <a:gd name="connsiteY5" fmla="*/ 90243 h 193506"/>
                <a:gd name="connsiteX6" fmla="*/ 474304 w 541080"/>
                <a:gd name="connsiteY6" fmla="*/ 103800 h 193506"/>
                <a:gd name="connsiteX7" fmla="*/ 540029 w 541080"/>
                <a:gd name="connsiteY7" fmla="*/ 103621 h 193506"/>
                <a:gd name="connsiteX8" fmla="*/ 540924 w 541080"/>
                <a:gd name="connsiteY8" fmla="*/ 193507 h 193506"/>
                <a:gd name="connsiteX9" fmla="*/ 86038 w 541080"/>
                <a:gd name="connsiteY9" fmla="*/ 192701 h 193506"/>
                <a:gd name="connsiteX10" fmla="*/ 0 w 541080"/>
                <a:gd name="connsiteY10" fmla="*/ 34988 h 193506"/>
                <a:gd name="connsiteX11" fmla="*/ 16420 w 541080"/>
                <a:gd name="connsiteY11" fmla="*/ 19731 h 19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080" h="193506">
                  <a:moveTo>
                    <a:pt x="16420" y="19731"/>
                  </a:moveTo>
                  <a:cubicBezTo>
                    <a:pt x="34898" y="6040"/>
                    <a:pt x="57851" y="-45"/>
                    <a:pt x="80714" y="313"/>
                  </a:cubicBezTo>
                  <a:cubicBezTo>
                    <a:pt x="203395" y="-179"/>
                    <a:pt x="326121" y="268"/>
                    <a:pt x="448802" y="0"/>
                  </a:cubicBezTo>
                  <a:cubicBezTo>
                    <a:pt x="448533" y="18299"/>
                    <a:pt x="451262" y="37717"/>
                    <a:pt x="443969" y="55077"/>
                  </a:cubicBezTo>
                  <a:cubicBezTo>
                    <a:pt x="429384" y="63175"/>
                    <a:pt x="411845" y="61027"/>
                    <a:pt x="396320" y="66128"/>
                  </a:cubicBezTo>
                  <a:cubicBezTo>
                    <a:pt x="388445" y="72213"/>
                    <a:pt x="391711" y="84830"/>
                    <a:pt x="398870" y="90243"/>
                  </a:cubicBezTo>
                  <a:cubicBezTo>
                    <a:pt x="419093" y="108766"/>
                    <a:pt x="448891" y="108587"/>
                    <a:pt x="474304" y="103800"/>
                  </a:cubicBezTo>
                  <a:cubicBezTo>
                    <a:pt x="496004" y="99192"/>
                    <a:pt x="518196" y="100937"/>
                    <a:pt x="540029" y="103621"/>
                  </a:cubicBezTo>
                  <a:cubicBezTo>
                    <a:pt x="541148" y="133553"/>
                    <a:pt x="541238" y="163530"/>
                    <a:pt x="540924" y="193507"/>
                  </a:cubicBezTo>
                  <a:cubicBezTo>
                    <a:pt x="389340" y="191270"/>
                    <a:pt x="237667" y="192701"/>
                    <a:pt x="86038" y="192701"/>
                  </a:cubicBezTo>
                  <a:cubicBezTo>
                    <a:pt x="55301" y="141249"/>
                    <a:pt x="28232" y="87783"/>
                    <a:pt x="0" y="34988"/>
                  </a:cubicBezTo>
                  <a:cubicBezTo>
                    <a:pt x="5190" y="29574"/>
                    <a:pt x="10693" y="24518"/>
                    <a:pt x="16420" y="1973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1E75B44B-2EF3-DCC4-7454-DDFD33598EE0}"/>
                </a:ext>
              </a:extLst>
            </p:cNvPr>
            <p:cNvSpPr/>
            <p:nvPr/>
          </p:nvSpPr>
          <p:spPr>
            <a:xfrm flipH="1">
              <a:off x="1955240" y="4402015"/>
              <a:ext cx="294426" cy="102759"/>
            </a:xfrm>
            <a:custGeom>
              <a:avLst/>
              <a:gdLst>
                <a:gd name="connsiteX0" fmla="*/ 0 w 246838"/>
                <a:gd name="connsiteY0" fmla="*/ 426 h 86150"/>
                <a:gd name="connsiteX1" fmla="*/ 134582 w 246838"/>
                <a:gd name="connsiteY1" fmla="*/ 246 h 86150"/>
                <a:gd name="connsiteX2" fmla="*/ 171897 w 246838"/>
                <a:gd name="connsiteY2" fmla="*/ 64987 h 86150"/>
                <a:gd name="connsiteX3" fmla="*/ 215072 w 246838"/>
                <a:gd name="connsiteY3" fmla="*/ 45569 h 86150"/>
                <a:gd name="connsiteX4" fmla="*/ 223976 w 246838"/>
                <a:gd name="connsiteY4" fmla="*/ 69417 h 86150"/>
                <a:gd name="connsiteX5" fmla="*/ 242901 w 246838"/>
                <a:gd name="connsiteY5" fmla="*/ 79618 h 86150"/>
                <a:gd name="connsiteX6" fmla="*/ 246839 w 246838"/>
                <a:gd name="connsiteY6" fmla="*/ 86150 h 86150"/>
                <a:gd name="connsiteX7" fmla="*/ 128318 w 246838"/>
                <a:gd name="connsiteY7" fmla="*/ 67717 h 86150"/>
                <a:gd name="connsiteX8" fmla="*/ 1119 w 246838"/>
                <a:gd name="connsiteY8" fmla="*/ 41587 h 86150"/>
                <a:gd name="connsiteX9" fmla="*/ 0 w 246838"/>
                <a:gd name="connsiteY9" fmla="*/ 426 h 8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838" h="86150">
                  <a:moveTo>
                    <a:pt x="0" y="426"/>
                  </a:moveTo>
                  <a:cubicBezTo>
                    <a:pt x="44831" y="-604"/>
                    <a:pt x="89707" y="604"/>
                    <a:pt x="134582" y="246"/>
                  </a:cubicBezTo>
                  <a:cubicBezTo>
                    <a:pt x="143710" y="23512"/>
                    <a:pt x="155208" y="46151"/>
                    <a:pt x="171897" y="64987"/>
                  </a:cubicBezTo>
                  <a:cubicBezTo>
                    <a:pt x="188183" y="63690"/>
                    <a:pt x="201515" y="53668"/>
                    <a:pt x="215072" y="45569"/>
                  </a:cubicBezTo>
                  <a:cubicBezTo>
                    <a:pt x="216817" y="53847"/>
                    <a:pt x="217309" y="63242"/>
                    <a:pt x="223976" y="69417"/>
                  </a:cubicBezTo>
                  <a:cubicBezTo>
                    <a:pt x="230150" y="72862"/>
                    <a:pt x="236638" y="76128"/>
                    <a:pt x="242901" y="79618"/>
                  </a:cubicBezTo>
                  <a:cubicBezTo>
                    <a:pt x="243886" y="81229"/>
                    <a:pt x="245854" y="84539"/>
                    <a:pt x="246839" y="86150"/>
                  </a:cubicBezTo>
                  <a:cubicBezTo>
                    <a:pt x="206706" y="84673"/>
                    <a:pt x="167870" y="73399"/>
                    <a:pt x="128318" y="67717"/>
                  </a:cubicBezTo>
                  <a:cubicBezTo>
                    <a:pt x="85367" y="61587"/>
                    <a:pt x="42862" y="53489"/>
                    <a:pt x="1119" y="41587"/>
                  </a:cubicBezTo>
                  <a:cubicBezTo>
                    <a:pt x="1119" y="27852"/>
                    <a:pt x="582" y="14116"/>
                    <a:pt x="0" y="42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A7C9FC13-74D9-2FFB-5E31-2577AAFA1574}"/>
                </a:ext>
              </a:extLst>
            </p:cNvPr>
            <p:cNvSpPr/>
            <p:nvPr/>
          </p:nvSpPr>
          <p:spPr>
            <a:xfrm flipH="1">
              <a:off x="4101937"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9673CF82-7C7A-8FA0-1D2E-A2485BA1B665}"/>
                </a:ext>
              </a:extLst>
            </p:cNvPr>
            <p:cNvSpPr/>
            <p:nvPr/>
          </p:nvSpPr>
          <p:spPr>
            <a:xfrm flipH="1">
              <a:off x="2941145" y="3022179"/>
              <a:ext cx="54007" cy="102785"/>
            </a:xfrm>
            <a:custGeom>
              <a:avLst/>
              <a:gdLst>
                <a:gd name="connsiteX0" fmla="*/ 0 w 45278"/>
                <a:gd name="connsiteY0" fmla="*/ 2864 h 86172"/>
                <a:gd name="connsiteX1" fmla="*/ 10246 w 45278"/>
                <a:gd name="connsiteY1" fmla="*/ 0 h 86172"/>
                <a:gd name="connsiteX2" fmla="*/ 12751 w 45278"/>
                <a:gd name="connsiteY2" fmla="*/ 77850 h 86172"/>
                <a:gd name="connsiteX3" fmla="*/ 30469 w 45278"/>
                <a:gd name="connsiteY3" fmla="*/ 77850 h 86172"/>
                <a:gd name="connsiteX4" fmla="*/ 45278 w 45278"/>
                <a:gd name="connsiteY4" fmla="*/ 55614 h 86172"/>
                <a:gd name="connsiteX5" fmla="*/ 36017 w 45278"/>
                <a:gd name="connsiteY5" fmla="*/ 82503 h 86172"/>
                <a:gd name="connsiteX6" fmla="*/ 6622 w 45278"/>
                <a:gd name="connsiteY6" fmla="*/ 86172 h 86172"/>
                <a:gd name="connsiteX7" fmla="*/ 5369 w 45278"/>
                <a:gd name="connsiteY7" fmla="*/ 81519 h 86172"/>
                <a:gd name="connsiteX8" fmla="*/ 0 w 45278"/>
                <a:gd name="connsiteY8" fmla="*/ 2864 h 8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8" h="86172">
                  <a:moveTo>
                    <a:pt x="0" y="2864"/>
                  </a:moveTo>
                  <a:cubicBezTo>
                    <a:pt x="2550" y="2148"/>
                    <a:pt x="7696" y="716"/>
                    <a:pt x="10246" y="0"/>
                  </a:cubicBezTo>
                  <a:cubicBezTo>
                    <a:pt x="11856" y="25905"/>
                    <a:pt x="11767" y="51900"/>
                    <a:pt x="12751" y="77850"/>
                  </a:cubicBezTo>
                  <a:lnTo>
                    <a:pt x="30469" y="77850"/>
                  </a:lnTo>
                  <a:cubicBezTo>
                    <a:pt x="35570" y="70513"/>
                    <a:pt x="40581" y="63175"/>
                    <a:pt x="45278" y="55614"/>
                  </a:cubicBezTo>
                  <a:cubicBezTo>
                    <a:pt x="43623" y="64875"/>
                    <a:pt x="43220" y="75524"/>
                    <a:pt x="36017" y="82503"/>
                  </a:cubicBezTo>
                  <a:cubicBezTo>
                    <a:pt x="26890" y="86888"/>
                    <a:pt x="16420" y="85456"/>
                    <a:pt x="6622" y="86172"/>
                  </a:cubicBezTo>
                  <a:lnTo>
                    <a:pt x="5369" y="81519"/>
                  </a:lnTo>
                  <a:cubicBezTo>
                    <a:pt x="1208" y="55524"/>
                    <a:pt x="2595" y="29037"/>
                    <a:pt x="0" y="2864"/>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BA6A86A8-7A9C-545F-2CB5-E334E71D50F4}"/>
                </a:ext>
              </a:extLst>
            </p:cNvPr>
            <p:cNvSpPr/>
            <p:nvPr/>
          </p:nvSpPr>
          <p:spPr>
            <a:xfrm flipH="1">
              <a:off x="4297367"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879E3BDC-09F2-6661-2BEE-F32F5ADCDAB2}"/>
                </a:ext>
              </a:extLst>
            </p:cNvPr>
            <p:cNvSpPr/>
            <p:nvPr/>
          </p:nvSpPr>
          <p:spPr>
            <a:xfrm flipH="1">
              <a:off x="2772236" y="2209609"/>
              <a:ext cx="85814" cy="214524"/>
            </a:xfrm>
            <a:custGeom>
              <a:avLst/>
              <a:gdLst>
                <a:gd name="connsiteX0" fmla="*/ 7517 w 71944"/>
                <a:gd name="connsiteY0" fmla="*/ 1163 h 179850"/>
                <a:gd name="connsiteX1" fmla="*/ 71363 w 71944"/>
                <a:gd name="connsiteY1" fmla="*/ 0 h 179850"/>
                <a:gd name="connsiteX2" fmla="*/ 71944 w 71944"/>
                <a:gd name="connsiteY2" fmla="*/ 95970 h 179850"/>
                <a:gd name="connsiteX3" fmla="*/ 47605 w 71944"/>
                <a:gd name="connsiteY3" fmla="*/ 98207 h 179850"/>
                <a:gd name="connsiteX4" fmla="*/ 48097 w 71944"/>
                <a:gd name="connsiteY4" fmla="*/ 116999 h 179850"/>
                <a:gd name="connsiteX5" fmla="*/ 65412 w 71944"/>
                <a:gd name="connsiteY5" fmla="*/ 119102 h 179850"/>
                <a:gd name="connsiteX6" fmla="*/ 66217 w 71944"/>
                <a:gd name="connsiteY6" fmla="*/ 178026 h 179850"/>
                <a:gd name="connsiteX7" fmla="*/ 0 w 71944"/>
                <a:gd name="connsiteY7" fmla="*/ 178116 h 179850"/>
                <a:gd name="connsiteX8" fmla="*/ 47918 w 71944"/>
                <a:gd name="connsiteY8" fmla="*/ 176147 h 179850"/>
                <a:gd name="connsiteX9" fmla="*/ 48544 w 71944"/>
                <a:gd name="connsiteY9" fmla="*/ 122413 h 179850"/>
                <a:gd name="connsiteX10" fmla="*/ 8680 w 71944"/>
                <a:gd name="connsiteY10" fmla="*/ 116954 h 179850"/>
                <a:gd name="connsiteX11" fmla="*/ 7517 w 71944"/>
                <a:gd name="connsiteY11" fmla="*/ 1163 h 17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4" h="179850">
                  <a:moveTo>
                    <a:pt x="7517" y="1163"/>
                  </a:moveTo>
                  <a:cubicBezTo>
                    <a:pt x="28769" y="358"/>
                    <a:pt x="50066" y="0"/>
                    <a:pt x="71363" y="0"/>
                  </a:cubicBezTo>
                  <a:cubicBezTo>
                    <a:pt x="72168" y="31990"/>
                    <a:pt x="71855" y="63980"/>
                    <a:pt x="71944" y="95970"/>
                  </a:cubicBezTo>
                  <a:cubicBezTo>
                    <a:pt x="63801" y="96731"/>
                    <a:pt x="55703" y="97447"/>
                    <a:pt x="47605" y="98207"/>
                  </a:cubicBezTo>
                  <a:cubicBezTo>
                    <a:pt x="47784" y="104471"/>
                    <a:pt x="47918" y="110690"/>
                    <a:pt x="48097" y="116999"/>
                  </a:cubicBezTo>
                  <a:cubicBezTo>
                    <a:pt x="53824" y="117670"/>
                    <a:pt x="59596" y="118386"/>
                    <a:pt x="65412" y="119102"/>
                  </a:cubicBezTo>
                  <a:cubicBezTo>
                    <a:pt x="66486" y="138743"/>
                    <a:pt x="66754" y="158385"/>
                    <a:pt x="66217" y="178026"/>
                  </a:cubicBezTo>
                  <a:cubicBezTo>
                    <a:pt x="44160" y="179190"/>
                    <a:pt x="21968" y="181427"/>
                    <a:pt x="0" y="178116"/>
                  </a:cubicBezTo>
                  <a:cubicBezTo>
                    <a:pt x="15928" y="176997"/>
                    <a:pt x="31901" y="176594"/>
                    <a:pt x="47918" y="176147"/>
                  </a:cubicBezTo>
                  <a:cubicBezTo>
                    <a:pt x="48321" y="158206"/>
                    <a:pt x="48544" y="140309"/>
                    <a:pt x="48544" y="122413"/>
                  </a:cubicBezTo>
                  <a:cubicBezTo>
                    <a:pt x="35167" y="121294"/>
                    <a:pt x="21834" y="119639"/>
                    <a:pt x="8680" y="116954"/>
                  </a:cubicBezTo>
                  <a:cubicBezTo>
                    <a:pt x="7964" y="78387"/>
                    <a:pt x="8993" y="39775"/>
                    <a:pt x="7517" y="1163"/>
                  </a:cubicBezTo>
                  <a:close/>
                </a:path>
              </a:pathLst>
            </a:custGeom>
            <a:solidFill>
              <a:srgbClr val="A9C3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ED52E99D-E2B1-F27E-A2D2-7C429E528B68}"/>
                </a:ext>
              </a:extLst>
            </p:cNvPr>
            <p:cNvSpPr/>
            <p:nvPr/>
          </p:nvSpPr>
          <p:spPr>
            <a:xfrm flipH="1">
              <a:off x="2648373" y="2209379"/>
              <a:ext cx="176004" cy="333294"/>
            </a:xfrm>
            <a:custGeom>
              <a:avLst/>
              <a:gdLst>
                <a:gd name="connsiteX0" fmla="*/ 43131 w 147557"/>
                <a:gd name="connsiteY0" fmla="*/ 193 h 279424"/>
                <a:gd name="connsiteX1" fmla="*/ 104248 w 147557"/>
                <a:gd name="connsiteY1" fmla="*/ 2609 h 279424"/>
                <a:gd name="connsiteX2" fmla="*/ 102726 w 147557"/>
                <a:gd name="connsiteY2" fmla="*/ 115312 h 279424"/>
                <a:gd name="connsiteX3" fmla="*/ 52303 w 147557"/>
                <a:gd name="connsiteY3" fmla="*/ 119787 h 279424"/>
                <a:gd name="connsiteX4" fmla="*/ 52079 w 147557"/>
                <a:gd name="connsiteY4" fmla="*/ 177100 h 279424"/>
                <a:gd name="connsiteX5" fmla="*/ 138072 w 147557"/>
                <a:gd name="connsiteY5" fmla="*/ 181709 h 279424"/>
                <a:gd name="connsiteX6" fmla="*/ 147557 w 147557"/>
                <a:gd name="connsiteY6" fmla="*/ 193923 h 279424"/>
                <a:gd name="connsiteX7" fmla="*/ 126618 w 147557"/>
                <a:gd name="connsiteY7" fmla="*/ 210835 h 279424"/>
                <a:gd name="connsiteX8" fmla="*/ 117402 w 147557"/>
                <a:gd name="connsiteY8" fmla="*/ 200679 h 279424"/>
                <a:gd name="connsiteX9" fmla="*/ 51497 w 147557"/>
                <a:gd name="connsiteY9" fmla="*/ 200008 h 279424"/>
                <a:gd name="connsiteX10" fmla="*/ 51900 w 147557"/>
                <a:gd name="connsiteY10" fmla="*/ 255264 h 279424"/>
                <a:gd name="connsiteX11" fmla="*/ 106798 w 147557"/>
                <a:gd name="connsiteY11" fmla="*/ 254458 h 279424"/>
                <a:gd name="connsiteX12" fmla="*/ 110511 w 147557"/>
                <a:gd name="connsiteY12" fmla="*/ 255845 h 279424"/>
                <a:gd name="connsiteX13" fmla="*/ 109661 w 147557"/>
                <a:gd name="connsiteY13" fmla="*/ 279424 h 279424"/>
                <a:gd name="connsiteX14" fmla="*/ 2550 w 147557"/>
                <a:gd name="connsiteY14" fmla="*/ 277053 h 279424"/>
                <a:gd name="connsiteX15" fmla="*/ 0 w 147557"/>
                <a:gd name="connsiteY15" fmla="*/ 256830 h 279424"/>
                <a:gd name="connsiteX16" fmla="*/ 37538 w 147557"/>
                <a:gd name="connsiteY16" fmla="*/ 254593 h 279424"/>
                <a:gd name="connsiteX17" fmla="*/ 37672 w 147557"/>
                <a:gd name="connsiteY17" fmla="*/ 199292 h 279424"/>
                <a:gd name="connsiteX18" fmla="*/ 37985 w 147557"/>
                <a:gd name="connsiteY18" fmla="*/ 178219 h 279424"/>
                <a:gd name="connsiteX19" fmla="*/ 37180 w 147557"/>
                <a:gd name="connsiteY19" fmla="*/ 119294 h 279424"/>
                <a:gd name="connsiteX20" fmla="*/ 19865 w 147557"/>
                <a:gd name="connsiteY20" fmla="*/ 117192 h 279424"/>
                <a:gd name="connsiteX21" fmla="*/ 19373 w 147557"/>
                <a:gd name="connsiteY21" fmla="*/ 98400 h 279424"/>
                <a:gd name="connsiteX22" fmla="*/ 43712 w 147557"/>
                <a:gd name="connsiteY22" fmla="*/ 96163 h 279424"/>
                <a:gd name="connsiteX23" fmla="*/ 43131 w 147557"/>
                <a:gd name="connsiteY23" fmla="*/ 193 h 2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557" h="279424">
                  <a:moveTo>
                    <a:pt x="43131" y="193"/>
                  </a:moveTo>
                  <a:cubicBezTo>
                    <a:pt x="63533" y="-389"/>
                    <a:pt x="83935" y="327"/>
                    <a:pt x="104248" y="2609"/>
                  </a:cubicBezTo>
                  <a:cubicBezTo>
                    <a:pt x="102010" y="40147"/>
                    <a:pt x="105142" y="77774"/>
                    <a:pt x="102726" y="115312"/>
                  </a:cubicBezTo>
                  <a:cubicBezTo>
                    <a:pt x="85993" y="117728"/>
                    <a:pt x="69170" y="119205"/>
                    <a:pt x="52303" y="119787"/>
                  </a:cubicBezTo>
                  <a:cubicBezTo>
                    <a:pt x="51811" y="138891"/>
                    <a:pt x="51721" y="157996"/>
                    <a:pt x="52079" y="177100"/>
                  </a:cubicBezTo>
                  <a:cubicBezTo>
                    <a:pt x="80893" y="176653"/>
                    <a:pt x="109259" y="184930"/>
                    <a:pt x="138072" y="181709"/>
                  </a:cubicBezTo>
                  <a:cubicBezTo>
                    <a:pt x="141159" y="185825"/>
                    <a:pt x="144291" y="189807"/>
                    <a:pt x="147557" y="193923"/>
                  </a:cubicBezTo>
                  <a:cubicBezTo>
                    <a:pt x="141428" y="200545"/>
                    <a:pt x="134001" y="205735"/>
                    <a:pt x="126618" y="210835"/>
                  </a:cubicBezTo>
                  <a:cubicBezTo>
                    <a:pt x="124292" y="208285"/>
                    <a:pt x="119683" y="203185"/>
                    <a:pt x="117402" y="200679"/>
                  </a:cubicBezTo>
                  <a:cubicBezTo>
                    <a:pt x="95434" y="200321"/>
                    <a:pt x="73465" y="199695"/>
                    <a:pt x="51497" y="200008"/>
                  </a:cubicBezTo>
                  <a:cubicBezTo>
                    <a:pt x="51990" y="218397"/>
                    <a:pt x="52168" y="236830"/>
                    <a:pt x="51900" y="255264"/>
                  </a:cubicBezTo>
                  <a:cubicBezTo>
                    <a:pt x="70155" y="254950"/>
                    <a:pt x="88454" y="254414"/>
                    <a:pt x="106798" y="254458"/>
                  </a:cubicBezTo>
                  <a:lnTo>
                    <a:pt x="110511" y="255845"/>
                  </a:lnTo>
                  <a:cubicBezTo>
                    <a:pt x="110153" y="263720"/>
                    <a:pt x="109840" y="271550"/>
                    <a:pt x="109661" y="279424"/>
                  </a:cubicBezTo>
                  <a:cubicBezTo>
                    <a:pt x="73913" y="279021"/>
                    <a:pt x="38209" y="278305"/>
                    <a:pt x="2550" y="277053"/>
                  </a:cubicBezTo>
                  <a:cubicBezTo>
                    <a:pt x="1655" y="270297"/>
                    <a:pt x="850" y="263541"/>
                    <a:pt x="0" y="256830"/>
                  </a:cubicBezTo>
                  <a:cubicBezTo>
                    <a:pt x="12483" y="255666"/>
                    <a:pt x="25011" y="254861"/>
                    <a:pt x="37538" y="254593"/>
                  </a:cubicBezTo>
                  <a:cubicBezTo>
                    <a:pt x="37717" y="236159"/>
                    <a:pt x="37583" y="217726"/>
                    <a:pt x="37672" y="199292"/>
                  </a:cubicBezTo>
                  <a:cubicBezTo>
                    <a:pt x="37717" y="192268"/>
                    <a:pt x="37807" y="185199"/>
                    <a:pt x="37985" y="178219"/>
                  </a:cubicBezTo>
                  <a:cubicBezTo>
                    <a:pt x="38522" y="158577"/>
                    <a:pt x="38254" y="138936"/>
                    <a:pt x="37180" y="119294"/>
                  </a:cubicBezTo>
                  <a:cubicBezTo>
                    <a:pt x="31364" y="118579"/>
                    <a:pt x="25592" y="117863"/>
                    <a:pt x="19865" y="117192"/>
                  </a:cubicBezTo>
                  <a:cubicBezTo>
                    <a:pt x="19686" y="110883"/>
                    <a:pt x="19552" y="104664"/>
                    <a:pt x="19373" y="98400"/>
                  </a:cubicBezTo>
                  <a:cubicBezTo>
                    <a:pt x="27471" y="97640"/>
                    <a:pt x="35570" y="96924"/>
                    <a:pt x="43712" y="96163"/>
                  </a:cubicBezTo>
                  <a:cubicBezTo>
                    <a:pt x="43623" y="64173"/>
                    <a:pt x="43936" y="32183"/>
                    <a:pt x="43131" y="193"/>
                  </a:cubicBezTo>
                  <a:close/>
                </a:path>
              </a:pathLst>
            </a:custGeom>
            <a:solidFill>
              <a:srgbClr val="F3F7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A5C2C84F-357D-2A75-F72E-DD6F6F47AD40}"/>
                </a:ext>
              </a:extLst>
            </p:cNvPr>
            <p:cNvSpPr/>
            <p:nvPr/>
          </p:nvSpPr>
          <p:spPr>
            <a:xfrm flipH="1">
              <a:off x="4285679" y="2233411"/>
              <a:ext cx="131230" cy="113991"/>
            </a:xfrm>
            <a:custGeom>
              <a:avLst/>
              <a:gdLst>
                <a:gd name="connsiteX0" fmla="*/ 47381 w 110019"/>
                <a:gd name="connsiteY0" fmla="*/ 0 h 95567"/>
                <a:gd name="connsiteX1" fmla="*/ 60446 w 110019"/>
                <a:gd name="connsiteY1" fmla="*/ 3848 h 95567"/>
                <a:gd name="connsiteX2" fmla="*/ 61117 w 110019"/>
                <a:gd name="connsiteY2" fmla="*/ 39014 h 95567"/>
                <a:gd name="connsiteX3" fmla="*/ 64293 w 110019"/>
                <a:gd name="connsiteY3" fmla="*/ 39193 h 95567"/>
                <a:gd name="connsiteX4" fmla="*/ 110019 w 110019"/>
                <a:gd name="connsiteY4" fmla="*/ 41967 h 95567"/>
                <a:gd name="connsiteX5" fmla="*/ 106798 w 110019"/>
                <a:gd name="connsiteY5" fmla="*/ 47739 h 95567"/>
                <a:gd name="connsiteX6" fmla="*/ 60983 w 110019"/>
                <a:gd name="connsiteY6" fmla="*/ 49618 h 95567"/>
                <a:gd name="connsiteX7" fmla="*/ 58522 w 110019"/>
                <a:gd name="connsiteY7" fmla="*/ 49797 h 95567"/>
                <a:gd name="connsiteX8" fmla="*/ 56151 w 110019"/>
                <a:gd name="connsiteY8" fmla="*/ 95568 h 95567"/>
                <a:gd name="connsiteX9" fmla="*/ 45815 w 110019"/>
                <a:gd name="connsiteY9" fmla="*/ 95076 h 95567"/>
                <a:gd name="connsiteX10" fmla="*/ 45726 w 110019"/>
                <a:gd name="connsiteY10" fmla="*/ 48992 h 95567"/>
                <a:gd name="connsiteX11" fmla="*/ 2640 w 110019"/>
                <a:gd name="connsiteY11" fmla="*/ 46755 h 95567"/>
                <a:gd name="connsiteX12" fmla="*/ 0 w 110019"/>
                <a:gd name="connsiteY12" fmla="*/ 42683 h 95567"/>
                <a:gd name="connsiteX13" fmla="*/ 45457 w 110019"/>
                <a:gd name="connsiteY13" fmla="*/ 39730 h 95567"/>
                <a:gd name="connsiteX14" fmla="*/ 47381 w 110019"/>
                <a:gd name="connsiteY14" fmla="*/ 0 h 9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0019" h="95567">
                  <a:moveTo>
                    <a:pt x="47381" y="0"/>
                  </a:moveTo>
                  <a:cubicBezTo>
                    <a:pt x="50647" y="940"/>
                    <a:pt x="57180" y="2908"/>
                    <a:pt x="60446" y="3848"/>
                  </a:cubicBezTo>
                  <a:cubicBezTo>
                    <a:pt x="61788" y="15525"/>
                    <a:pt x="60938" y="27292"/>
                    <a:pt x="61117" y="39014"/>
                  </a:cubicBezTo>
                  <a:lnTo>
                    <a:pt x="64293" y="39193"/>
                  </a:lnTo>
                  <a:cubicBezTo>
                    <a:pt x="79550" y="39954"/>
                    <a:pt x="94986" y="38925"/>
                    <a:pt x="110019" y="41967"/>
                  </a:cubicBezTo>
                  <a:lnTo>
                    <a:pt x="106798" y="47739"/>
                  </a:lnTo>
                  <a:cubicBezTo>
                    <a:pt x="91630" y="49931"/>
                    <a:pt x="76239" y="48768"/>
                    <a:pt x="60983" y="49618"/>
                  </a:cubicBezTo>
                  <a:lnTo>
                    <a:pt x="58522" y="49797"/>
                  </a:lnTo>
                  <a:cubicBezTo>
                    <a:pt x="57314" y="65009"/>
                    <a:pt x="56956" y="80311"/>
                    <a:pt x="56151" y="95568"/>
                  </a:cubicBezTo>
                  <a:cubicBezTo>
                    <a:pt x="53556" y="95433"/>
                    <a:pt x="48366" y="95210"/>
                    <a:pt x="45815" y="95076"/>
                  </a:cubicBezTo>
                  <a:cubicBezTo>
                    <a:pt x="45592" y="79729"/>
                    <a:pt x="45592" y="64338"/>
                    <a:pt x="45726" y="48992"/>
                  </a:cubicBezTo>
                  <a:cubicBezTo>
                    <a:pt x="31364" y="48634"/>
                    <a:pt x="16868" y="49126"/>
                    <a:pt x="2640" y="46755"/>
                  </a:cubicBezTo>
                  <a:lnTo>
                    <a:pt x="0" y="42683"/>
                  </a:lnTo>
                  <a:cubicBezTo>
                    <a:pt x="12528" y="33735"/>
                    <a:pt x="30737" y="40804"/>
                    <a:pt x="45457" y="39730"/>
                  </a:cubicBezTo>
                  <a:cubicBezTo>
                    <a:pt x="46084" y="26487"/>
                    <a:pt x="46665" y="13199"/>
                    <a:pt x="47381" y="0"/>
                  </a:cubicBezTo>
                  <a:close/>
                </a:path>
              </a:pathLst>
            </a:custGeom>
            <a:solidFill>
              <a:srgbClr val="F8FC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Rectangle: Rounded Corners 39">
              <a:extLst>
                <a:ext uri="{FF2B5EF4-FFF2-40B4-BE49-F238E27FC236}">
                  <a16:creationId xmlns:a16="http://schemas.microsoft.com/office/drawing/2014/main" id="{2C861032-F386-988B-91A9-87FA07D7DA4D}"/>
                </a:ext>
              </a:extLst>
            </p:cNvPr>
            <p:cNvSpPr/>
            <p:nvPr/>
          </p:nvSpPr>
          <p:spPr>
            <a:xfrm flipH="1">
              <a:off x="4286689" y="2292595"/>
              <a:ext cx="127979" cy="223398"/>
            </a:xfrm>
            <a:prstGeom prst="roundRect">
              <a:avLst/>
            </a:prstGeom>
            <a:solidFill>
              <a:srgbClr val="E6E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44D8D91D-B100-2D62-9F8D-EFD0459FBB22}"/>
                </a:ext>
              </a:extLst>
            </p:cNvPr>
            <p:cNvSpPr/>
            <p:nvPr/>
          </p:nvSpPr>
          <p:spPr>
            <a:xfrm flipH="1">
              <a:off x="2311678" y="3178705"/>
              <a:ext cx="86080" cy="18359"/>
            </a:xfrm>
            <a:custGeom>
              <a:avLst/>
              <a:gdLst>
                <a:gd name="connsiteX0" fmla="*/ 0 w 72167"/>
                <a:gd name="connsiteY0" fmla="*/ 224 h 15391"/>
                <a:gd name="connsiteX1" fmla="*/ 55837 w 72167"/>
                <a:gd name="connsiteY1" fmla="*/ 4071 h 15391"/>
                <a:gd name="connsiteX2" fmla="*/ 70736 w 72167"/>
                <a:gd name="connsiteY2" fmla="*/ 0 h 15391"/>
                <a:gd name="connsiteX3" fmla="*/ 72168 w 72167"/>
                <a:gd name="connsiteY3" fmla="*/ 15391 h 15391"/>
                <a:gd name="connsiteX4" fmla="*/ 52079 w 72167"/>
                <a:gd name="connsiteY4" fmla="*/ 11946 h 15391"/>
                <a:gd name="connsiteX5" fmla="*/ 0 w 72167"/>
                <a:gd name="connsiteY5" fmla="*/ 224 h 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67" h="15391">
                  <a:moveTo>
                    <a:pt x="0" y="224"/>
                  </a:moveTo>
                  <a:cubicBezTo>
                    <a:pt x="18612" y="313"/>
                    <a:pt x="37717" y="-1477"/>
                    <a:pt x="55837" y="4071"/>
                  </a:cubicBezTo>
                  <a:cubicBezTo>
                    <a:pt x="59551" y="3042"/>
                    <a:pt x="67023" y="1029"/>
                    <a:pt x="70736" y="0"/>
                  </a:cubicBezTo>
                  <a:cubicBezTo>
                    <a:pt x="71184" y="5100"/>
                    <a:pt x="71631" y="10246"/>
                    <a:pt x="72168" y="15391"/>
                  </a:cubicBezTo>
                  <a:cubicBezTo>
                    <a:pt x="65412" y="14407"/>
                    <a:pt x="58656" y="13601"/>
                    <a:pt x="52079" y="11946"/>
                  </a:cubicBezTo>
                  <a:cubicBezTo>
                    <a:pt x="34988" y="6935"/>
                    <a:pt x="17628" y="2819"/>
                    <a:pt x="0" y="224"/>
                  </a:cubicBezTo>
                  <a:close/>
                </a:path>
              </a:pathLst>
            </a:custGeom>
            <a:solidFill>
              <a:srgbClr val="7FB7E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60A7BEFC-EBD4-7BC6-4F5B-BB1F0EC873F1}"/>
                </a:ext>
              </a:extLst>
            </p:cNvPr>
            <p:cNvSpPr/>
            <p:nvPr/>
          </p:nvSpPr>
          <p:spPr>
            <a:xfrm flipH="1">
              <a:off x="2863569" y="2413607"/>
              <a:ext cx="31937" cy="34567"/>
            </a:xfrm>
            <a:custGeom>
              <a:avLst/>
              <a:gdLst>
                <a:gd name="connsiteX0" fmla="*/ 1604 w 26775"/>
                <a:gd name="connsiteY0" fmla="*/ 7179 h 28980"/>
                <a:gd name="connsiteX1" fmla="*/ 24914 w 26775"/>
                <a:gd name="connsiteY1" fmla="*/ 468 h 28980"/>
                <a:gd name="connsiteX2" fmla="*/ 17487 w 26775"/>
                <a:gd name="connsiteY2" fmla="*/ 28208 h 28980"/>
                <a:gd name="connsiteX3" fmla="*/ 1604 w 26775"/>
                <a:gd name="connsiteY3" fmla="*/ 7179 h 28980"/>
              </a:gdLst>
              <a:ahLst/>
              <a:cxnLst>
                <a:cxn ang="0">
                  <a:pos x="connsiteX0" y="connsiteY0"/>
                </a:cxn>
                <a:cxn ang="0">
                  <a:pos x="connsiteX1" y="connsiteY1"/>
                </a:cxn>
                <a:cxn ang="0">
                  <a:pos x="connsiteX2" y="connsiteY2"/>
                </a:cxn>
                <a:cxn ang="0">
                  <a:pos x="connsiteX3" y="connsiteY3"/>
                </a:cxn>
              </a:cxnLst>
              <a:rect l="l" t="t" r="r" b="b"/>
              <a:pathLst>
                <a:path w="26775" h="28980">
                  <a:moveTo>
                    <a:pt x="1604" y="7179"/>
                  </a:moveTo>
                  <a:cubicBezTo>
                    <a:pt x="3886" y="-3693"/>
                    <a:pt x="17129" y="1229"/>
                    <a:pt x="24914" y="468"/>
                  </a:cubicBezTo>
                  <a:cubicBezTo>
                    <a:pt x="27733" y="9953"/>
                    <a:pt x="28762" y="23868"/>
                    <a:pt x="17487" y="28208"/>
                  </a:cubicBezTo>
                  <a:cubicBezTo>
                    <a:pt x="5765" y="32592"/>
                    <a:pt x="-3944" y="17336"/>
                    <a:pt x="1604" y="7179"/>
                  </a:cubicBezTo>
                  <a:close/>
                </a:path>
              </a:pathLst>
            </a:custGeom>
            <a:solidFill>
              <a:srgbClr val="BDD5E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E1A0E770-4E4E-80B4-8BBF-FE5FB87C9C89}"/>
                </a:ext>
              </a:extLst>
            </p:cNvPr>
            <p:cNvSpPr/>
            <p:nvPr/>
          </p:nvSpPr>
          <p:spPr>
            <a:xfrm flipH="1">
              <a:off x="2779068" y="2421957"/>
              <a:ext cx="80905" cy="26861"/>
            </a:xfrm>
            <a:custGeom>
              <a:avLst/>
              <a:gdLst>
                <a:gd name="connsiteX0" fmla="*/ 1611 w 67828"/>
                <a:gd name="connsiteY0" fmla="*/ 90 h 22519"/>
                <a:gd name="connsiteX1" fmla="*/ 67828 w 67828"/>
                <a:gd name="connsiteY1" fmla="*/ 0 h 22519"/>
                <a:gd name="connsiteX2" fmla="*/ 67515 w 67828"/>
                <a:gd name="connsiteY2" fmla="*/ 21073 h 22519"/>
                <a:gd name="connsiteX3" fmla="*/ 59551 w 67828"/>
                <a:gd name="connsiteY3" fmla="*/ 21744 h 22519"/>
                <a:gd name="connsiteX4" fmla="*/ 0 w 67828"/>
                <a:gd name="connsiteY4" fmla="*/ 21834 h 22519"/>
                <a:gd name="connsiteX5" fmla="*/ 1611 w 67828"/>
                <a:gd name="connsiteY5" fmla="*/ 90 h 2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828" h="22519">
                  <a:moveTo>
                    <a:pt x="1611" y="90"/>
                  </a:moveTo>
                  <a:cubicBezTo>
                    <a:pt x="23579" y="3400"/>
                    <a:pt x="45771" y="1163"/>
                    <a:pt x="67828" y="0"/>
                  </a:cubicBezTo>
                  <a:cubicBezTo>
                    <a:pt x="67649" y="6980"/>
                    <a:pt x="67560" y="14049"/>
                    <a:pt x="67515" y="21073"/>
                  </a:cubicBezTo>
                  <a:cubicBezTo>
                    <a:pt x="65546" y="21252"/>
                    <a:pt x="61520" y="21565"/>
                    <a:pt x="59551" y="21744"/>
                  </a:cubicBezTo>
                  <a:cubicBezTo>
                    <a:pt x="39730" y="23310"/>
                    <a:pt x="19865" y="22058"/>
                    <a:pt x="0" y="21834"/>
                  </a:cubicBezTo>
                  <a:cubicBezTo>
                    <a:pt x="805" y="14586"/>
                    <a:pt x="1387" y="7338"/>
                    <a:pt x="1611" y="90"/>
                  </a:cubicBezTo>
                  <a:close/>
                </a:path>
              </a:pathLst>
            </a:custGeom>
            <a:solidFill>
              <a:srgbClr val="BFD5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21CC1501-9AB0-E146-C2A4-5A6A0D4C7B09}"/>
                </a:ext>
              </a:extLst>
            </p:cNvPr>
            <p:cNvSpPr/>
            <p:nvPr/>
          </p:nvSpPr>
          <p:spPr>
            <a:xfrm flipH="1">
              <a:off x="2691109" y="2514549"/>
              <a:ext cx="181305" cy="115219"/>
            </a:xfrm>
            <a:custGeom>
              <a:avLst/>
              <a:gdLst>
                <a:gd name="connsiteX0" fmla="*/ 2243 w 152001"/>
                <a:gd name="connsiteY0" fmla="*/ 1208 h 96596"/>
                <a:gd name="connsiteX1" fmla="*/ 40273 w 152001"/>
                <a:gd name="connsiteY1" fmla="*/ 984 h 96596"/>
                <a:gd name="connsiteX2" fmla="*/ 42824 w 152001"/>
                <a:gd name="connsiteY2" fmla="*/ 21207 h 96596"/>
                <a:gd name="connsiteX3" fmla="*/ 149935 w 152001"/>
                <a:gd name="connsiteY3" fmla="*/ 23579 h 96596"/>
                <a:gd name="connsiteX4" fmla="*/ 150785 w 152001"/>
                <a:gd name="connsiteY4" fmla="*/ 0 h 96596"/>
                <a:gd name="connsiteX5" fmla="*/ 149666 w 152001"/>
                <a:gd name="connsiteY5" fmla="*/ 36196 h 96596"/>
                <a:gd name="connsiteX6" fmla="*/ 144566 w 152001"/>
                <a:gd name="connsiteY6" fmla="*/ 94494 h 96596"/>
                <a:gd name="connsiteX7" fmla="*/ 11102 w 152001"/>
                <a:gd name="connsiteY7" fmla="*/ 96597 h 96596"/>
                <a:gd name="connsiteX8" fmla="*/ 10162 w 152001"/>
                <a:gd name="connsiteY8" fmla="*/ 94986 h 96596"/>
                <a:gd name="connsiteX9" fmla="*/ 319 w 152001"/>
                <a:gd name="connsiteY9" fmla="*/ 63936 h 96596"/>
                <a:gd name="connsiteX10" fmla="*/ 2243 w 152001"/>
                <a:gd name="connsiteY10" fmla="*/ 1208 h 9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001" h="96596">
                  <a:moveTo>
                    <a:pt x="2243" y="1208"/>
                  </a:moveTo>
                  <a:cubicBezTo>
                    <a:pt x="14905" y="1521"/>
                    <a:pt x="27612" y="1879"/>
                    <a:pt x="40273" y="984"/>
                  </a:cubicBezTo>
                  <a:cubicBezTo>
                    <a:pt x="41124" y="7696"/>
                    <a:pt x="41929" y="14452"/>
                    <a:pt x="42824" y="21207"/>
                  </a:cubicBezTo>
                  <a:cubicBezTo>
                    <a:pt x="78483" y="22460"/>
                    <a:pt x="114186" y="23176"/>
                    <a:pt x="149935" y="23579"/>
                  </a:cubicBezTo>
                  <a:cubicBezTo>
                    <a:pt x="150114" y="15704"/>
                    <a:pt x="150427" y="7875"/>
                    <a:pt x="150785" y="0"/>
                  </a:cubicBezTo>
                  <a:cubicBezTo>
                    <a:pt x="152843" y="12035"/>
                    <a:pt x="152172" y="24295"/>
                    <a:pt x="149666" y="36196"/>
                  </a:cubicBezTo>
                  <a:cubicBezTo>
                    <a:pt x="145684" y="55390"/>
                    <a:pt x="145192" y="74987"/>
                    <a:pt x="144566" y="94494"/>
                  </a:cubicBezTo>
                  <a:cubicBezTo>
                    <a:pt x="100093" y="97357"/>
                    <a:pt x="55530" y="94494"/>
                    <a:pt x="11102" y="96597"/>
                  </a:cubicBezTo>
                  <a:lnTo>
                    <a:pt x="10162" y="94986"/>
                  </a:lnTo>
                  <a:cubicBezTo>
                    <a:pt x="5241" y="85232"/>
                    <a:pt x="1975" y="74718"/>
                    <a:pt x="319" y="63936"/>
                  </a:cubicBezTo>
                  <a:cubicBezTo>
                    <a:pt x="-441" y="42996"/>
                    <a:pt x="140" y="22058"/>
                    <a:pt x="2243" y="1208"/>
                  </a:cubicBezTo>
                  <a:close/>
                </a:path>
              </a:pathLst>
            </a:custGeom>
            <a:solidFill>
              <a:srgbClr val="C6D0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516CB909-FF7A-25D3-D249-B2891EDFEF46}"/>
                </a:ext>
              </a:extLst>
            </p:cNvPr>
            <p:cNvSpPr/>
            <p:nvPr/>
          </p:nvSpPr>
          <p:spPr>
            <a:xfrm flipH="1">
              <a:off x="4322290" y="2535363"/>
              <a:ext cx="46471" cy="214748"/>
            </a:xfrm>
            <a:custGeom>
              <a:avLst/>
              <a:gdLst>
                <a:gd name="connsiteX0" fmla="*/ 5047 w 38960"/>
                <a:gd name="connsiteY0" fmla="*/ 20805 h 180039"/>
                <a:gd name="connsiteX1" fmla="*/ 12116 w 38960"/>
                <a:gd name="connsiteY1" fmla="*/ 0 h 180039"/>
                <a:gd name="connsiteX2" fmla="*/ 17754 w 38960"/>
                <a:gd name="connsiteY2" fmla="*/ 19642 h 180039"/>
                <a:gd name="connsiteX3" fmla="*/ 38961 w 38960"/>
                <a:gd name="connsiteY3" fmla="*/ 19418 h 180039"/>
                <a:gd name="connsiteX4" fmla="*/ 38961 w 38960"/>
                <a:gd name="connsiteY4" fmla="*/ 22326 h 180039"/>
                <a:gd name="connsiteX5" fmla="*/ 13011 w 38960"/>
                <a:gd name="connsiteY5" fmla="*/ 22729 h 180039"/>
                <a:gd name="connsiteX6" fmla="*/ 13056 w 38960"/>
                <a:gd name="connsiteY6" fmla="*/ 176729 h 180039"/>
                <a:gd name="connsiteX7" fmla="*/ 13190 w 38960"/>
                <a:gd name="connsiteY7" fmla="*/ 178295 h 180039"/>
                <a:gd name="connsiteX8" fmla="*/ 931 w 38960"/>
                <a:gd name="connsiteY8" fmla="*/ 180040 h 180039"/>
                <a:gd name="connsiteX9" fmla="*/ 439 w 38960"/>
                <a:gd name="connsiteY9" fmla="*/ 112972 h 180039"/>
                <a:gd name="connsiteX10" fmla="*/ 528 w 38960"/>
                <a:gd name="connsiteY10" fmla="*/ 22326 h 180039"/>
                <a:gd name="connsiteX11" fmla="*/ 618 w 38960"/>
                <a:gd name="connsiteY11" fmla="*/ 18076 h 180039"/>
                <a:gd name="connsiteX12" fmla="*/ 5047 w 38960"/>
                <a:gd name="connsiteY12" fmla="*/ 20805 h 1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0" h="180039">
                  <a:moveTo>
                    <a:pt x="5047" y="20805"/>
                  </a:moveTo>
                  <a:cubicBezTo>
                    <a:pt x="7373" y="13870"/>
                    <a:pt x="9745" y="6890"/>
                    <a:pt x="12116" y="0"/>
                  </a:cubicBezTo>
                  <a:cubicBezTo>
                    <a:pt x="13995" y="6532"/>
                    <a:pt x="15874" y="13065"/>
                    <a:pt x="17754" y="19642"/>
                  </a:cubicBezTo>
                  <a:cubicBezTo>
                    <a:pt x="24778" y="19507"/>
                    <a:pt x="31847" y="19373"/>
                    <a:pt x="38961" y="19418"/>
                  </a:cubicBezTo>
                  <a:lnTo>
                    <a:pt x="38961" y="22326"/>
                  </a:lnTo>
                  <a:cubicBezTo>
                    <a:pt x="30281" y="22326"/>
                    <a:pt x="21646" y="22550"/>
                    <a:pt x="13011" y="22729"/>
                  </a:cubicBezTo>
                  <a:cubicBezTo>
                    <a:pt x="13816" y="74047"/>
                    <a:pt x="6434" y="125679"/>
                    <a:pt x="13056" y="176729"/>
                  </a:cubicBezTo>
                  <a:lnTo>
                    <a:pt x="13190" y="178295"/>
                  </a:lnTo>
                  <a:cubicBezTo>
                    <a:pt x="10148" y="178742"/>
                    <a:pt x="3973" y="179592"/>
                    <a:pt x="931" y="180040"/>
                  </a:cubicBezTo>
                  <a:cubicBezTo>
                    <a:pt x="1333" y="157669"/>
                    <a:pt x="841" y="135298"/>
                    <a:pt x="439" y="112972"/>
                  </a:cubicBezTo>
                  <a:cubicBezTo>
                    <a:pt x="260" y="82772"/>
                    <a:pt x="-501" y="52527"/>
                    <a:pt x="528" y="22326"/>
                  </a:cubicBezTo>
                  <a:lnTo>
                    <a:pt x="618" y="18076"/>
                  </a:lnTo>
                  <a:cubicBezTo>
                    <a:pt x="1736" y="18791"/>
                    <a:pt x="3928" y="20134"/>
                    <a:pt x="5047" y="20805"/>
                  </a:cubicBezTo>
                  <a:close/>
                </a:path>
              </a:pathLst>
            </a:custGeom>
            <a:solidFill>
              <a:srgbClr val="B9DBF2"/>
            </a:solidFill>
            <a:ln w="9525" cap="flat">
              <a:solidFill>
                <a:srgbClr val="B9DB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5DDA0556-F2B4-7D05-A76B-D009622D1AB7}"/>
                </a:ext>
              </a:extLst>
            </p:cNvPr>
            <p:cNvSpPr/>
            <p:nvPr/>
          </p:nvSpPr>
          <p:spPr>
            <a:xfrm flipH="1">
              <a:off x="2582945" y="2596655"/>
              <a:ext cx="100169" cy="23614"/>
            </a:xfrm>
            <a:custGeom>
              <a:avLst/>
              <a:gdLst>
                <a:gd name="connsiteX0" fmla="*/ 2506 w 83979"/>
                <a:gd name="connsiteY0" fmla="*/ 1052 h 19798"/>
                <a:gd name="connsiteX1" fmla="*/ 82906 w 83979"/>
                <a:gd name="connsiteY1" fmla="*/ 336 h 19798"/>
                <a:gd name="connsiteX2" fmla="*/ 83980 w 83979"/>
                <a:gd name="connsiteY2" fmla="*/ 19530 h 19798"/>
                <a:gd name="connsiteX3" fmla="*/ 0 w 83979"/>
                <a:gd name="connsiteY3" fmla="*/ 19798 h 19798"/>
                <a:gd name="connsiteX4" fmla="*/ 2506 w 83979"/>
                <a:gd name="connsiteY4" fmla="*/ 1052 h 19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979" h="19798">
                  <a:moveTo>
                    <a:pt x="2506" y="1052"/>
                  </a:moveTo>
                  <a:cubicBezTo>
                    <a:pt x="29306" y="-112"/>
                    <a:pt x="56106" y="-246"/>
                    <a:pt x="82906" y="336"/>
                  </a:cubicBezTo>
                  <a:cubicBezTo>
                    <a:pt x="83219" y="6734"/>
                    <a:pt x="83577" y="13132"/>
                    <a:pt x="83980" y="19530"/>
                  </a:cubicBezTo>
                  <a:cubicBezTo>
                    <a:pt x="55972" y="19798"/>
                    <a:pt x="27963" y="19441"/>
                    <a:pt x="0" y="19798"/>
                  </a:cubicBezTo>
                  <a:cubicBezTo>
                    <a:pt x="806" y="13490"/>
                    <a:pt x="1656" y="7271"/>
                    <a:pt x="2506" y="1052"/>
                  </a:cubicBezTo>
                  <a:close/>
                </a:path>
              </a:pathLst>
            </a:custGeom>
            <a:solidFill>
              <a:srgbClr val="F7FB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5EFC2F41-B941-8D85-8127-A94F1A2301BC}"/>
                </a:ext>
              </a:extLst>
            </p:cNvPr>
            <p:cNvSpPr/>
            <p:nvPr/>
          </p:nvSpPr>
          <p:spPr>
            <a:xfrm flipH="1">
              <a:off x="2859173" y="2627848"/>
              <a:ext cx="184383" cy="259577"/>
            </a:xfrm>
            <a:custGeom>
              <a:avLst/>
              <a:gdLst>
                <a:gd name="connsiteX0" fmla="*/ 761 w 154581"/>
                <a:gd name="connsiteY0" fmla="*/ 25816 h 217622"/>
                <a:gd name="connsiteX1" fmla="*/ 15525 w 154581"/>
                <a:gd name="connsiteY1" fmla="*/ 716 h 217622"/>
                <a:gd name="connsiteX2" fmla="*/ 153642 w 154581"/>
                <a:gd name="connsiteY2" fmla="*/ 0 h 217622"/>
                <a:gd name="connsiteX3" fmla="*/ 154582 w 154581"/>
                <a:gd name="connsiteY3" fmla="*/ 1611 h 217622"/>
                <a:gd name="connsiteX4" fmla="*/ 52661 w 154581"/>
                <a:gd name="connsiteY4" fmla="*/ 4071 h 217622"/>
                <a:gd name="connsiteX5" fmla="*/ 50737 w 154581"/>
                <a:gd name="connsiteY5" fmla="*/ 164828 h 217622"/>
                <a:gd name="connsiteX6" fmla="*/ 102637 w 154581"/>
                <a:gd name="connsiteY6" fmla="*/ 190643 h 217622"/>
                <a:gd name="connsiteX7" fmla="*/ 97357 w 154581"/>
                <a:gd name="connsiteY7" fmla="*/ 202321 h 217622"/>
                <a:gd name="connsiteX8" fmla="*/ 84964 w 154581"/>
                <a:gd name="connsiteY8" fmla="*/ 214938 h 217622"/>
                <a:gd name="connsiteX9" fmla="*/ 39686 w 154581"/>
                <a:gd name="connsiteY9" fmla="*/ 217622 h 217622"/>
                <a:gd name="connsiteX10" fmla="*/ 6756 w 154581"/>
                <a:gd name="connsiteY10" fmla="*/ 185364 h 217622"/>
                <a:gd name="connsiteX11" fmla="*/ 0 w 154581"/>
                <a:gd name="connsiteY11" fmla="*/ 180353 h 217622"/>
                <a:gd name="connsiteX12" fmla="*/ 179 w 154581"/>
                <a:gd name="connsiteY12" fmla="*/ 175968 h 217622"/>
                <a:gd name="connsiteX13" fmla="*/ 761 w 154581"/>
                <a:gd name="connsiteY13" fmla="*/ 25816 h 217622"/>
                <a:gd name="connsiteX14" fmla="*/ 30424 w 154581"/>
                <a:gd name="connsiteY14" fmla="*/ 27740 h 217622"/>
                <a:gd name="connsiteX15" fmla="*/ 31364 w 154581"/>
                <a:gd name="connsiteY15" fmla="*/ 157266 h 217622"/>
                <a:gd name="connsiteX16" fmla="*/ 44518 w 154581"/>
                <a:gd name="connsiteY16" fmla="*/ 164917 h 217622"/>
                <a:gd name="connsiteX17" fmla="*/ 44518 w 154581"/>
                <a:gd name="connsiteY17" fmla="*/ 27337 h 217622"/>
                <a:gd name="connsiteX18" fmla="*/ 30424 w 154581"/>
                <a:gd name="connsiteY18" fmla="*/ 27740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581" h="217622">
                  <a:moveTo>
                    <a:pt x="761" y="25816"/>
                  </a:moveTo>
                  <a:cubicBezTo>
                    <a:pt x="761" y="15928"/>
                    <a:pt x="1879" y="-268"/>
                    <a:pt x="15525" y="716"/>
                  </a:cubicBezTo>
                  <a:cubicBezTo>
                    <a:pt x="61520" y="-537"/>
                    <a:pt x="107603" y="403"/>
                    <a:pt x="153642" y="0"/>
                  </a:cubicBezTo>
                  <a:lnTo>
                    <a:pt x="154582" y="1611"/>
                  </a:lnTo>
                  <a:cubicBezTo>
                    <a:pt x="120578" y="2416"/>
                    <a:pt x="86575" y="1029"/>
                    <a:pt x="52661" y="4071"/>
                  </a:cubicBezTo>
                  <a:cubicBezTo>
                    <a:pt x="50110" y="57627"/>
                    <a:pt x="51453" y="111272"/>
                    <a:pt x="50737" y="164828"/>
                  </a:cubicBezTo>
                  <a:cubicBezTo>
                    <a:pt x="48410" y="192299"/>
                    <a:pt x="84427" y="188898"/>
                    <a:pt x="102637" y="190643"/>
                  </a:cubicBezTo>
                  <a:cubicBezTo>
                    <a:pt x="101339" y="193551"/>
                    <a:pt x="98700" y="199413"/>
                    <a:pt x="97357" y="202321"/>
                  </a:cubicBezTo>
                  <a:cubicBezTo>
                    <a:pt x="94181" y="207242"/>
                    <a:pt x="91944" y="214669"/>
                    <a:pt x="84964" y="214938"/>
                  </a:cubicBezTo>
                  <a:cubicBezTo>
                    <a:pt x="69976" y="217085"/>
                    <a:pt x="54763" y="216683"/>
                    <a:pt x="39686" y="217622"/>
                  </a:cubicBezTo>
                  <a:cubicBezTo>
                    <a:pt x="30693" y="205050"/>
                    <a:pt x="19194" y="194446"/>
                    <a:pt x="6756" y="185364"/>
                  </a:cubicBezTo>
                  <a:cubicBezTo>
                    <a:pt x="5056" y="184111"/>
                    <a:pt x="1700" y="181606"/>
                    <a:pt x="0" y="180353"/>
                  </a:cubicBezTo>
                  <a:cubicBezTo>
                    <a:pt x="45" y="179279"/>
                    <a:pt x="134" y="177087"/>
                    <a:pt x="179" y="175968"/>
                  </a:cubicBezTo>
                  <a:cubicBezTo>
                    <a:pt x="2685" y="125947"/>
                    <a:pt x="805" y="75837"/>
                    <a:pt x="761" y="25816"/>
                  </a:cubicBezTo>
                  <a:close/>
                  <a:moveTo>
                    <a:pt x="30424" y="27740"/>
                  </a:moveTo>
                  <a:cubicBezTo>
                    <a:pt x="28858" y="70870"/>
                    <a:pt x="29350" y="114180"/>
                    <a:pt x="31364" y="157266"/>
                  </a:cubicBezTo>
                  <a:cubicBezTo>
                    <a:pt x="34630" y="159190"/>
                    <a:pt x="41207" y="162993"/>
                    <a:pt x="44518" y="164917"/>
                  </a:cubicBezTo>
                  <a:cubicBezTo>
                    <a:pt x="48500" y="119191"/>
                    <a:pt x="44115" y="73152"/>
                    <a:pt x="44518" y="27337"/>
                  </a:cubicBezTo>
                  <a:cubicBezTo>
                    <a:pt x="39775" y="27516"/>
                    <a:pt x="35077" y="27650"/>
                    <a:pt x="30424" y="27740"/>
                  </a:cubicBezTo>
                  <a:close/>
                </a:path>
              </a:pathLst>
            </a:custGeom>
            <a:solidFill>
              <a:srgbClr val="B9CBD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EC4B9A11-3CB9-D2A0-C36A-93726CCE1400}"/>
                </a:ext>
              </a:extLst>
            </p:cNvPr>
            <p:cNvSpPr/>
            <p:nvPr/>
          </p:nvSpPr>
          <p:spPr>
            <a:xfrm flipH="1">
              <a:off x="2522639" y="2625570"/>
              <a:ext cx="460526" cy="229674"/>
            </a:xfrm>
            <a:custGeom>
              <a:avLst/>
              <a:gdLst>
                <a:gd name="connsiteX0" fmla="*/ 103953 w 386091"/>
                <a:gd name="connsiteY0" fmla="*/ 3520 h 192552"/>
                <a:gd name="connsiteX1" fmla="*/ 237416 w 386091"/>
                <a:gd name="connsiteY1" fmla="*/ 1417 h 192552"/>
                <a:gd name="connsiteX2" fmla="*/ 340232 w 386091"/>
                <a:gd name="connsiteY2" fmla="*/ 1552 h 192552"/>
                <a:gd name="connsiteX3" fmla="*/ 386092 w 386091"/>
                <a:gd name="connsiteY3" fmla="*/ 8308 h 192552"/>
                <a:gd name="connsiteX4" fmla="*/ 384302 w 386091"/>
                <a:gd name="connsiteY4" fmla="*/ 191882 h 192552"/>
                <a:gd name="connsiteX5" fmla="*/ 348554 w 386091"/>
                <a:gd name="connsiteY5" fmla="*/ 192016 h 192552"/>
                <a:gd name="connsiteX6" fmla="*/ 283903 w 386091"/>
                <a:gd name="connsiteY6" fmla="*/ 191479 h 192552"/>
                <a:gd name="connsiteX7" fmla="*/ 247036 w 386091"/>
                <a:gd name="connsiteY7" fmla="*/ 191255 h 192552"/>
                <a:gd name="connsiteX8" fmla="*/ 91291 w 386091"/>
                <a:gd name="connsiteY8" fmla="*/ 191658 h 192552"/>
                <a:gd name="connsiteX9" fmla="*/ 52008 w 386091"/>
                <a:gd name="connsiteY9" fmla="*/ 192553 h 192552"/>
                <a:gd name="connsiteX10" fmla="*/ 107 w 386091"/>
                <a:gd name="connsiteY10" fmla="*/ 166737 h 192552"/>
                <a:gd name="connsiteX11" fmla="*/ 2031 w 386091"/>
                <a:gd name="connsiteY11" fmla="*/ 5981 h 192552"/>
                <a:gd name="connsiteX12" fmla="*/ 103953 w 386091"/>
                <a:gd name="connsiteY12" fmla="*/ 3520 h 192552"/>
                <a:gd name="connsiteX13" fmla="*/ 66146 w 386091"/>
                <a:gd name="connsiteY13" fmla="*/ 56942 h 192552"/>
                <a:gd name="connsiteX14" fmla="*/ 40912 w 386091"/>
                <a:gd name="connsiteY14" fmla="*/ 101772 h 192552"/>
                <a:gd name="connsiteX15" fmla="*/ 97868 w 386091"/>
                <a:gd name="connsiteY15" fmla="*/ 102220 h 192552"/>
                <a:gd name="connsiteX16" fmla="*/ 70173 w 386091"/>
                <a:gd name="connsiteY16" fmla="*/ 55420 h 192552"/>
                <a:gd name="connsiteX17" fmla="*/ 66146 w 386091"/>
                <a:gd name="connsiteY17" fmla="*/ 56942 h 192552"/>
                <a:gd name="connsiteX18" fmla="*/ 172944 w 386091"/>
                <a:gd name="connsiteY18" fmla="*/ 60879 h 192552"/>
                <a:gd name="connsiteX19" fmla="*/ 172720 w 386091"/>
                <a:gd name="connsiteY19" fmla="*/ 59581 h 192552"/>
                <a:gd name="connsiteX20" fmla="*/ 168962 w 386091"/>
                <a:gd name="connsiteY20" fmla="*/ 76001 h 192552"/>
                <a:gd name="connsiteX21" fmla="*/ 157195 w 386091"/>
                <a:gd name="connsiteY21" fmla="*/ 83965 h 192552"/>
                <a:gd name="connsiteX22" fmla="*/ 170125 w 386091"/>
                <a:gd name="connsiteY22" fmla="*/ 96493 h 192552"/>
                <a:gd name="connsiteX23" fmla="*/ 216969 w 386091"/>
                <a:gd name="connsiteY23" fmla="*/ 95598 h 192552"/>
                <a:gd name="connsiteX24" fmla="*/ 214061 w 386091"/>
                <a:gd name="connsiteY24" fmla="*/ 75599 h 192552"/>
                <a:gd name="connsiteX25" fmla="*/ 213972 w 386091"/>
                <a:gd name="connsiteY25" fmla="*/ 56136 h 192552"/>
                <a:gd name="connsiteX26" fmla="*/ 172944 w 386091"/>
                <a:gd name="connsiteY26" fmla="*/ 60879 h 192552"/>
                <a:gd name="connsiteX27" fmla="*/ 236387 w 386091"/>
                <a:gd name="connsiteY27" fmla="*/ 79760 h 192552"/>
                <a:gd name="connsiteX28" fmla="*/ 237551 w 386091"/>
                <a:gd name="connsiteY28" fmla="*/ 98014 h 192552"/>
                <a:gd name="connsiteX29" fmla="*/ 352447 w 386091"/>
                <a:gd name="connsiteY29" fmla="*/ 97298 h 192552"/>
                <a:gd name="connsiteX30" fmla="*/ 351104 w 386091"/>
                <a:gd name="connsiteY30" fmla="*/ 79939 h 192552"/>
                <a:gd name="connsiteX31" fmla="*/ 236387 w 386091"/>
                <a:gd name="connsiteY31" fmla="*/ 79760 h 192552"/>
                <a:gd name="connsiteX32" fmla="*/ 39435 w 386091"/>
                <a:gd name="connsiteY32" fmla="*/ 110900 h 192552"/>
                <a:gd name="connsiteX33" fmla="*/ 32858 w 386091"/>
                <a:gd name="connsiteY33" fmla="*/ 124054 h 192552"/>
                <a:gd name="connsiteX34" fmla="*/ 103102 w 386091"/>
                <a:gd name="connsiteY34" fmla="*/ 124367 h 192552"/>
                <a:gd name="connsiteX35" fmla="*/ 104087 w 386091"/>
                <a:gd name="connsiteY35" fmla="*/ 109423 h 192552"/>
                <a:gd name="connsiteX36" fmla="*/ 39435 w 386091"/>
                <a:gd name="connsiteY36" fmla="*/ 110900 h 192552"/>
                <a:gd name="connsiteX37" fmla="*/ 146144 w 386091"/>
                <a:gd name="connsiteY37" fmla="*/ 108842 h 192552"/>
                <a:gd name="connsiteX38" fmla="*/ 146904 w 386091"/>
                <a:gd name="connsiteY38" fmla="*/ 123204 h 192552"/>
                <a:gd name="connsiteX39" fmla="*/ 216388 w 386091"/>
                <a:gd name="connsiteY39" fmla="*/ 123606 h 192552"/>
                <a:gd name="connsiteX40" fmla="*/ 218177 w 386091"/>
                <a:gd name="connsiteY40" fmla="*/ 110408 h 192552"/>
                <a:gd name="connsiteX41" fmla="*/ 146144 w 386091"/>
                <a:gd name="connsiteY41" fmla="*/ 108842 h 192552"/>
                <a:gd name="connsiteX42" fmla="*/ 232405 w 386091"/>
                <a:gd name="connsiteY42" fmla="*/ 116985 h 192552"/>
                <a:gd name="connsiteX43" fmla="*/ 273120 w 386091"/>
                <a:gd name="connsiteY43" fmla="*/ 123248 h 192552"/>
                <a:gd name="connsiteX44" fmla="*/ 355086 w 386091"/>
                <a:gd name="connsiteY44" fmla="*/ 120116 h 192552"/>
                <a:gd name="connsiteX45" fmla="*/ 308913 w 386091"/>
                <a:gd name="connsiteY45" fmla="*/ 113405 h 192552"/>
                <a:gd name="connsiteX46" fmla="*/ 232405 w 386091"/>
                <a:gd name="connsiteY46" fmla="*/ 116985 h 19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6091" h="192552">
                  <a:moveTo>
                    <a:pt x="103953" y="3520"/>
                  </a:moveTo>
                  <a:cubicBezTo>
                    <a:pt x="148381" y="1417"/>
                    <a:pt x="192943" y="4281"/>
                    <a:pt x="237416" y="1417"/>
                  </a:cubicBezTo>
                  <a:cubicBezTo>
                    <a:pt x="271644" y="-2296"/>
                    <a:pt x="305960" y="2581"/>
                    <a:pt x="340232" y="1552"/>
                  </a:cubicBezTo>
                  <a:cubicBezTo>
                    <a:pt x="355623" y="1865"/>
                    <a:pt x="372267" y="120"/>
                    <a:pt x="386092" y="8308"/>
                  </a:cubicBezTo>
                  <a:cubicBezTo>
                    <a:pt x="385153" y="69514"/>
                    <a:pt x="387076" y="130720"/>
                    <a:pt x="384302" y="191882"/>
                  </a:cubicBezTo>
                  <a:cubicBezTo>
                    <a:pt x="372356" y="191971"/>
                    <a:pt x="360455" y="192061"/>
                    <a:pt x="348554" y="192016"/>
                  </a:cubicBezTo>
                  <a:cubicBezTo>
                    <a:pt x="326989" y="191703"/>
                    <a:pt x="305423" y="191434"/>
                    <a:pt x="283903" y="191479"/>
                  </a:cubicBezTo>
                  <a:cubicBezTo>
                    <a:pt x="271599" y="191390"/>
                    <a:pt x="259295" y="191300"/>
                    <a:pt x="247036" y="191255"/>
                  </a:cubicBezTo>
                  <a:cubicBezTo>
                    <a:pt x="195135" y="190137"/>
                    <a:pt x="143191" y="191211"/>
                    <a:pt x="91291" y="191658"/>
                  </a:cubicBezTo>
                  <a:cubicBezTo>
                    <a:pt x="78181" y="191837"/>
                    <a:pt x="65072" y="192105"/>
                    <a:pt x="52008" y="192553"/>
                  </a:cubicBezTo>
                  <a:cubicBezTo>
                    <a:pt x="33798" y="190808"/>
                    <a:pt x="-2219" y="194208"/>
                    <a:pt x="107" y="166737"/>
                  </a:cubicBezTo>
                  <a:cubicBezTo>
                    <a:pt x="823" y="113182"/>
                    <a:pt x="-519" y="59536"/>
                    <a:pt x="2031" y="5981"/>
                  </a:cubicBezTo>
                  <a:cubicBezTo>
                    <a:pt x="35945" y="2939"/>
                    <a:pt x="69949" y="4326"/>
                    <a:pt x="103953" y="3520"/>
                  </a:cubicBezTo>
                  <a:close/>
                  <a:moveTo>
                    <a:pt x="66146" y="56942"/>
                  </a:moveTo>
                  <a:cubicBezTo>
                    <a:pt x="56482" y="71125"/>
                    <a:pt x="49457" y="86874"/>
                    <a:pt x="40912" y="101772"/>
                  </a:cubicBezTo>
                  <a:cubicBezTo>
                    <a:pt x="59882" y="102309"/>
                    <a:pt x="78897" y="101907"/>
                    <a:pt x="97868" y="102220"/>
                  </a:cubicBezTo>
                  <a:cubicBezTo>
                    <a:pt x="87488" y="87276"/>
                    <a:pt x="80374" y="70453"/>
                    <a:pt x="70173" y="55420"/>
                  </a:cubicBezTo>
                  <a:cubicBezTo>
                    <a:pt x="69188" y="55778"/>
                    <a:pt x="67130" y="56584"/>
                    <a:pt x="66146" y="56942"/>
                  </a:cubicBezTo>
                  <a:close/>
                  <a:moveTo>
                    <a:pt x="172944" y="60879"/>
                  </a:moveTo>
                  <a:lnTo>
                    <a:pt x="172720" y="59581"/>
                  </a:lnTo>
                  <a:cubicBezTo>
                    <a:pt x="171423" y="65040"/>
                    <a:pt x="170170" y="70498"/>
                    <a:pt x="168962" y="76001"/>
                  </a:cubicBezTo>
                  <a:cubicBezTo>
                    <a:pt x="164980" y="78641"/>
                    <a:pt x="161087" y="81281"/>
                    <a:pt x="157195" y="83965"/>
                  </a:cubicBezTo>
                  <a:cubicBezTo>
                    <a:pt x="160729" y="88663"/>
                    <a:pt x="163146" y="96269"/>
                    <a:pt x="170125" y="96493"/>
                  </a:cubicBezTo>
                  <a:cubicBezTo>
                    <a:pt x="185695" y="97880"/>
                    <a:pt x="201355" y="96001"/>
                    <a:pt x="216969" y="95598"/>
                  </a:cubicBezTo>
                  <a:cubicBezTo>
                    <a:pt x="215940" y="88887"/>
                    <a:pt x="215001" y="82220"/>
                    <a:pt x="214061" y="75599"/>
                  </a:cubicBezTo>
                  <a:cubicBezTo>
                    <a:pt x="213972" y="69111"/>
                    <a:pt x="213972" y="62624"/>
                    <a:pt x="213972" y="56136"/>
                  </a:cubicBezTo>
                  <a:cubicBezTo>
                    <a:pt x="200147" y="55912"/>
                    <a:pt x="186098" y="56047"/>
                    <a:pt x="172944" y="60879"/>
                  </a:cubicBezTo>
                  <a:close/>
                  <a:moveTo>
                    <a:pt x="236387" y="79760"/>
                  </a:moveTo>
                  <a:cubicBezTo>
                    <a:pt x="236745" y="85800"/>
                    <a:pt x="237148" y="91929"/>
                    <a:pt x="237551" y="98014"/>
                  </a:cubicBezTo>
                  <a:cubicBezTo>
                    <a:pt x="275849" y="98641"/>
                    <a:pt x="314192" y="98820"/>
                    <a:pt x="352447" y="97298"/>
                  </a:cubicBezTo>
                  <a:cubicBezTo>
                    <a:pt x="352133" y="92958"/>
                    <a:pt x="351462" y="84279"/>
                    <a:pt x="351104" y="79939"/>
                  </a:cubicBezTo>
                  <a:cubicBezTo>
                    <a:pt x="312895" y="79804"/>
                    <a:pt x="274641" y="79491"/>
                    <a:pt x="236387" y="79760"/>
                  </a:cubicBezTo>
                  <a:close/>
                  <a:moveTo>
                    <a:pt x="39435" y="110900"/>
                  </a:moveTo>
                  <a:cubicBezTo>
                    <a:pt x="32903" y="111392"/>
                    <a:pt x="34961" y="119759"/>
                    <a:pt x="32858" y="124054"/>
                  </a:cubicBezTo>
                  <a:cubicBezTo>
                    <a:pt x="56258" y="124904"/>
                    <a:pt x="79703" y="124591"/>
                    <a:pt x="103102" y="124367"/>
                  </a:cubicBezTo>
                  <a:cubicBezTo>
                    <a:pt x="103595" y="119356"/>
                    <a:pt x="103908" y="114390"/>
                    <a:pt x="104087" y="109423"/>
                  </a:cubicBezTo>
                  <a:cubicBezTo>
                    <a:pt x="82611" y="112376"/>
                    <a:pt x="60956" y="109781"/>
                    <a:pt x="39435" y="110900"/>
                  </a:cubicBezTo>
                  <a:close/>
                  <a:moveTo>
                    <a:pt x="146144" y="108842"/>
                  </a:moveTo>
                  <a:cubicBezTo>
                    <a:pt x="146323" y="112421"/>
                    <a:pt x="146725" y="119624"/>
                    <a:pt x="146904" y="123204"/>
                  </a:cubicBezTo>
                  <a:cubicBezTo>
                    <a:pt x="170036" y="123875"/>
                    <a:pt x="193212" y="123517"/>
                    <a:pt x="216388" y="123606"/>
                  </a:cubicBezTo>
                  <a:cubicBezTo>
                    <a:pt x="216880" y="119177"/>
                    <a:pt x="217461" y="114792"/>
                    <a:pt x="218177" y="110408"/>
                  </a:cubicBezTo>
                  <a:cubicBezTo>
                    <a:pt x="194151" y="109915"/>
                    <a:pt x="170125" y="109871"/>
                    <a:pt x="146144" y="108842"/>
                  </a:cubicBezTo>
                  <a:close/>
                  <a:moveTo>
                    <a:pt x="232405" y="116985"/>
                  </a:moveTo>
                  <a:cubicBezTo>
                    <a:pt x="244306" y="125530"/>
                    <a:pt x="259429" y="122667"/>
                    <a:pt x="273120" y="123248"/>
                  </a:cubicBezTo>
                  <a:cubicBezTo>
                    <a:pt x="300412" y="122398"/>
                    <a:pt x="328062" y="125799"/>
                    <a:pt x="355086" y="120116"/>
                  </a:cubicBezTo>
                  <a:cubicBezTo>
                    <a:pt x="342469" y="109021"/>
                    <a:pt x="324125" y="115105"/>
                    <a:pt x="308913" y="113405"/>
                  </a:cubicBezTo>
                  <a:cubicBezTo>
                    <a:pt x="283500" y="114926"/>
                    <a:pt x="257013" y="108707"/>
                    <a:pt x="232405" y="116985"/>
                  </a:cubicBezTo>
                  <a:close/>
                </a:path>
              </a:pathLst>
            </a:custGeom>
            <a:solidFill>
              <a:srgbClr val="E8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63D7E063-2F13-CFD8-E792-038E97F750E1}"/>
                </a:ext>
              </a:extLst>
            </p:cNvPr>
            <p:cNvSpPr/>
            <p:nvPr/>
          </p:nvSpPr>
          <p:spPr>
            <a:xfrm flipH="1">
              <a:off x="2036684" y="3111675"/>
              <a:ext cx="35641" cy="212135"/>
            </a:xfrm>
            <a:custGeom>
              <a:avLst/>
              <a:gdLst>
                <a:gd name="connsiteX0" fmla="*/ 0 w 29880"/>
                <a:gd name="connsiteY0" fmla="*/ 0 h 177847"/>
                <a:gd name="connsiteX1" fmla="*/ 13020 w 29880"/>
                <a:gd name="connsiteY1" fmla="*/ 6308 h 177847"/>
                <a:gd name="connsiteX2" fmla="*/ 22102 w 29880"/>
                <a:gd name="connsiteY2" fmla="*/ 1745 h 177847"/>
                <a:gd name="connsiteX3" fmla="*/ 28098 w 29880"/>
                <a:gd name="connsiteY3" fmla="*/ 24295 h 177847"/>
                <a:gd name="connsiteX4" fmla="*/ 28635 w 29880"/>
                <a:gd name="connsiteY4" fmla="*/ 175029 h 177847"/>
                <a:gd name="connsiteX5" fmla="*/ 21252 w 29880"/>
                <a:gd name="connsiteY5" fmla="*/ 175834 h 177847"/>
                <a:gd name="connsiteX6" fmla="*/ 21789 w 29880"/>
                <a:gd name="connsiteY6" fmla="*/ 20939 h 177847"/>
                <a:gd name="connsiteX7" fmla="*/ 9485 w 29880"/>
                <a:gd name="connsiteY7" fmla="*/ 18881 h 177847"/>
                <a:gd name="connsiteX8" fmla="*/ 10067 w 29880"/>
                <a:gd name="connsiteY8" fmla="*/ 176952 h 177847"/>
                <a:gd name="connsiteX9" fmla="*/ 448 w 29880"/>
                <a:gd name="connsiteY9" fmla="*/ 177847 h 177847"/>
                <a:gd name="connsiteX10" fmla="*/ 0 w 29880"/>
                <a:gd name="connsiteY10" fmla="*/ 0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80" h="177847">
                  <a:moveTo>
                    <a:pt x="0" y="0"/>
                  </a:moveTo>
                  <a:cubicBezTo>
                    <a:pt x="4250" y="2058"/>
                    <a:pt x="8680" y="4206"/>
                    <a:pt x="13020" y="6308"/>
                  </a:cubicBezTo>
                  <a:cubicBezTo>
                    <a:pt x="15973" y="4787"/>
                    <a:pt x="19015" y="3221"/>
                    <a:pt x="22102" y="1745"/>
                  </a:cubicBezTo>
                  <a:cubicBezTo>
                    <a:pt x="24116" y="9217"/>
                    <a:pt x="26263" y="16688"/>
                    <a:pt x="28098" y="24295"/>
                  </a:cubicBezTo>
                  <a:cubicBezTo>
                    <a:pt x="31632" y="74494"/>
                    <a:pt x="28858" y="124829"/>
                    <a:pt x="28635" y="175029"/>
                  </a:cubicBezTo>
                  <a:cubicBezTo>
                    <a:pt x="26800" y="175252"/>
                    <a:pt x="23087" y="175610"/>
                    <a:pt x="21252" y="175834"/>
                  </a:cubicBezTo>
                  <a:cubicBezTo>
                    <a:pt x="22237" y="124202"/>
                    <a:pt x="21834" y="72571"/>
                    <a:pt x="21789" y="20939"/>
                  </a:cubicBezTo>
                  <a:cubicBezTo>
                    <a:pt x="18747" y="20447"/>
                    <a:pt x="12572" y="19418"/>
                    <a:pt x="9485" y="18881"/>
                  </a:cubicBezTo>
                  <a:cubicBezTo>
                    <a:pt x="9709" y="71586"/>
                    <a:pt x="8948" y="124292"/>
                    <a:pt x="10067" y="176952"/>
                  </a:cubicBezTo>
                  <a:cubicBezTo>
                    <a:pt x="7696" y="177176"/>
                    <a:pt x="2864" y="177624"/>
                    <a:pt x="448" y="177847"/>
                  </a:cubicBezTo>
                  <a:cubicBezTo>
                    <a:pt x="-313" y="118565"/>
                    <a:pt x="537" y="59238"/>
                    <a:pt x="0" y="0"/>
                  </a:cubicBezTo>
                  <a:close/>
                </a:path>
              </a:pathLst>
            </a:custGeom>
            <a:solidFill>
              <a:srgbClr val="E8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3C929197-1C32-7F47-7FFB-DCD3FCE63FD0}"/>
                </a:ext>
              </a:extLst>
            </p:cNvPr>
            <p:cNvSpPr/>
            <p:nvPr/>
          </p:nvSpPr>
          <p:spPr>
            <a:xfrm flipH="1">
              <a:off x="2988448" y="2660456"/>
              <a:ext cx="19922" cy="164102"/>
            </a:xfrm>
            <a:custGeom>
              <a:avLst/>
              <a:gdLst>
                <a:gd name="connsiteX0" fmla="*/ 926 w 16702"/>
                <a:gd name="connsiteY0" fmla="*/ 403 h 137579"/>
                <a:gd name="connsiteX1" fmla="*/ 15019 w 16702"/>
                <a:gd name="connsiteY1" fmla="*/ 0 h 137579"/>
                <a:gd name="connsiteX2" fmla="*/ 15019 w 16702"/>
                <a:gd name="connsiteY2" fmla="*/ 137580 h 137579"/>
                <a:gd name="connsiteX3" fmla="*/ 1865 w 16702"/>
                <a:gd name="connsiteY3" fmla="*/ 129929 h 137579"/>
                <a:gd name="connsiteX4" fmla="*/ 926 w 16702"/>
                <a:gd name="connsiteY4" fmla="*/ 403 h 137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02" h="137579">
                  <a:moveTo>
                    <a:pt x="926" y="403"/>
                  </a:moveTo>
                  <a:cubicBezTo>
                    <a:pt x="5579" y="313"/>
                    <a:pt x="10277" y="179"/>
                    <a:pt x="15019" y="0"/>
                  </a:cubicBezTo>
                  <a:cubicBezTo>
                    <a:pt x="14617" y="45815"/>
                    <a:pt x="19001" y="91854"/>
                    <a:pt x="15019" y="137580"/>
                  </a:cubicBezTo>
                  <a:cubicBezTo>
                    <a:pt x="11708" y="135656"/>
                    <a:pt x="5131" y="131853"/>
                    <a:pt x="1865" y="129929"/>
                  </a:cubicBezTo>
                  <a:cubicBezTo>
                    <a:pt x="-148" y="86843"/>
                    <a:pt x="-640" y="43533"/>
                    <a:pt x="926" y="403"/>
                  </a:cubicBezTo>
                  <a:close/>
                </a:path>
              </a:pathLst>
            </a:custGeom>
            <a:solidFill>
              <a:srgbClr val="3179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5E3F45B0-7501-89B0-B6FE-502DE3297491}"/>
                </a:ext>
              </a:extLst>
            </p:cNvPr>
            <p:cNvSpPr/>
            <p:nvPr/>
          </p:nvSpPr>
          <p:spPr>
            <a:xfrm flipH="1">
              <a:off x="2866433" y="2691676"/>
              <a:ext cx="67935" cy="55821"/>
            </a:xfrm>
            <a:custGeom>
              <a:avLst/>
              <a:gdLst>
                <a:gd name="connsiteX0" fmla="*/ 25234 w 56955"/>
                <a:gd name="connsiteY0" fmla="*/ 1521 h 46799"/>
                <a:gd name="connsiteX1" fmla="*/ 29261 w 56955"/>
                <a:gd name="connsiteY1" fmla="*/ 0 h 46799"/>
                <a:gd name="connsiteX2" fmla="*/ 56956 w 56955"/>
                <a:gd name="connsiteY2" fmla="*/ 46800 h 46799"/>
                <a:gd name="connsiteX3" fmla="*/ 0 w 56955"/>
                <a:gd name="connsiteY3" fmla="*/ 46352 h 46799"/>
                <a:gd name="connsiteX4" fmla="*/ 25234 w 56955"/>
                <a:gd name="connsiteY4" fmla="*/ 1521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55" h="46799">
                  <a:moveTo>
                    <a:pt x="25234" y="1521"/>
                  </a:moveTo>
                  <a:cubicBezTo>
                    <a:pt x="26219" y="1163"/>
                    <a:pt x="28277" y="358"/>
                    <a:pt x="29261" y="0"/>
                  </a:cubicBezTo>
                  <a:cubicBezTo>
                    <a:pt x="39462" y="15033"/>
                    <a:pt x="46576" y="31856"/>
                    <a:pt x="56956" y="46800"/>
                  </a:cubicBezTo>
                  <a:cubicBezTo>
                    <a:pt x="37986" y="46486"/>
                    <a:pt x="18970" y="46889"/>
                    <a:pt x="0" y="46352"/>
                  </a:cubicBezTo>
                  <a:cubicBezTo>
                    <a:pt x="8546" y="31453"/>
                    <a:pt x="15570" y="15704"/>
                    <a:pt x="25234" y="1521"/>
                  </a:cubicBezTo>
                  <a:close/>
                </a:path>
              </a:pathLst>
            </a:custGeom>
            <a:solidFill>
              <a:srgbClr val="458A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13147ED1-2F22-8E12-6DA0-8A50C9D496F3}"/>
                </a:ext>
              </a:extLst>
            </p:cNvPr>
            <p:cNvSpPr/>
            <p:nvPr/>
          </p:nvSpPr>
          <p:spPr>
            <a:xfrm flipH="1">
              <a:off x="2727837" y="2692455"/>
              <a:ext cx="49044" cy="25316"/>
            </a:xfrm>
            <a:custGeom>
              <a:avLst/>
              <a:gdLst>
                <a:gd name="connsiteX0" fmla="*/ 0 w 41117"/>
                <a:gd name="connsiteY0" fmla="*/ 4805 h 21224"/>
                <a:gd name="connsiteX1" fmla="*/ 41028 w 41117"/>
                <a:gd name="connsiteY1" fmla="*/ 62 h 21224"/>
                <a:gd name="connsiteX2" fmla="*/ 41117 w 41117"/>
                <a:gd name="connsiteY2" fmla="*/ 19525 h 21224"/>
                <a:gd name="connsiteX3" fmla="*/ 3221 w 41117"/>
                <a:gd name="connsiteY3" fmla="*/ 21225 h 21224"/>
                <a:gd name="connsiteX4" fmla="*/ 0 w 41117"/>
                <a:gd name="connsiteY4" fmla="*/ 4805 h 2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7" h="21224">
                  <a:moveTo>
                    <a:pt x="0" y="4805"/>
                  </a:moveTo>
                  <a:cubicBezTo>
                    <a:pt x="13154" y="-27"/>
                    <a:pt x="27203" y="-162"/>
                    <a:pt x="41028" y="62"/>
                  </a:cubicBezTo>
                  <a:cubicBezTo>
                    <a:pt x="41028" y="6550"/>
                    <a:pt x="41028" y="13037"/>
                    <a:pt x="41117" y="19525"/>
                  </a:cubicBezTo>
                  <a:cubicBezTo>
                    <a:pt x="28456" y="19972"/>
                    <a:pt x="15838" y="20554"/>
                    <a:pt x="3221" y="21225"/>
                  </a:cubicBezTo>
                  <a:cubicBezTo>
                    <a:pt x="2148" y="15766"/>
                    <a:pt x="1074" y="10263"/>
                    <a:pt x="0" y="4805"/>
                  </a:cubicBezTo>
                  <a:close/>
                </a:path>
              </a:pathLst>
            </a:custGeom>
            <a:solidFill>
              <a:srgbClr val="63C6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98F13A20-B4FA-1C7A-7367-142706BC1F54}"/>
                </a:ext>
              </a:extLst>
            </p:cNvPr>
            <p:cNvSpPr/>
            <p:nvPr/>
          </p:nvSpPr>
          <p:spPr>
            <a:xfrm flipH="1">
              <a:off x="2724368" y="2696639"/>
              <a:ext cx="71298" cy="44628"/>
            </a:xfrm>
            <a:custGeom>
              <a:avLst/>
              <a:gdLst>
                <a:gd name="connsiteX0" fmla="*/ 15525 w 59774"/>
                <a:gd name="connsiteY0" fmla="*/ 0 h 37414"/>
                <a:gd name="connsiteX1" fmla="*/ 15749 w 59774"/>
                <a:gd name="connsiteY1" fmla="*/ 1298 h 37414"/>
                <a:gd name="connsiteX2" fmla="*/ 18970 w 59774"/>
                <a:gd name="connsiteY2" fmla="*/ 17718 h 37414"/>
                <a:gd name="connsiteX3" fmla="*/ 56866 w 59774"/>
                <a:gd name="connsiteY3" fmla="*/ 16018 h 37414"/>
                <a:gd name="connsiteX4" fmla="*/ 59775 w 59774"/>
                <a:gd name="connsiteY4" fmla="*/ 36017 h 37414"/>
                <a:gd name="connsiteX5" fmla="*/ 12930 w 59774"/>
                <a:gd name="connsiteY5" fmla="*/ 36912 h 37414"/>
                <a:gd name="connsiteX6" fmla="*/ 0 w 59774"/>
                <a:gd name="connsiteY6" fmla="*/ 24384 h 37414"/>
                <a:gd name="connsiteX7" fmla="*/ 11767 w 59774"/>
                <a:gd name="connsiteY7" fmla="*/ 16420 h 37414"/>
                <a:gd name="connsiteX8" fmla="*/ 15525 w 59774"/>
                <a:gd name="connsiteY8" fmla="*/ 0 h 3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74" h="37414">
                  <a:moveTo>
                    <a:pt x="15525" y="0"/>
                  </a:moveTo>
                  <a:lnTo>
                    <a:pt x="15749" y="1298"/>
                  </a:lnTo>
                  <a:cubicBezTo>
                    <a:pt x="16823" y="6756"/>
                    <a:pt x="17897" y="12259"/>
                    <a:pt x="18970" y="17718"/>
                  </a:cubicBezTo>
                  <a:cubicBezTo>
                    <a:pt x="31587" y="17046"/>
                    <a:pt x="44205" y="16465"/>
                    <a:pt x="56866" y="16018"/>
                  </a:cubicBezTo>
                  <a:cubicBezTo>
                    <a:pt x="57806" y="22639"/>
                    <a:pt x="58746" y="29306"/>
                    <a:pt x="59775" y="36017"/>
                  </a:cubicBezTo>
                  <a:cubicBezTo>
                    <a:pt x="44160" y="36420"/>
                    <a:pt x="28500" y="38299"/>
                    <a:pt x="12930" y="36912"/>
                  </a:cubicBezTo>
                  <a:cubicBezTo>
                    <a:pt x="5951" y="36688"/>
                    <a:pt x="3534" y="29082"/>
                    <a:pt x="0" y="24384"/>
                  </a:cubicBezTo>
                  <a:cubicBezTo>
                    <a:pt x="3892" y="21700"/>
                    <a:pt x="7785" y="19060"/>
                    <a:pt x="11767" y="16420"/>
                  </a:cubicBezTo>
                  <a:cubicBezTo>
                    <a:pt x="12975" y="10917"/>
                    <a:pt x="14228" y="5458"/>
                    <a:pt x="15525" y="0"/>
                  </a:cubicBezTo>
                  <a:close/>
                </a:path>
              </a:pathLst>
            </a:custGeom>
            <a:solidFill>
              <a:srgbClr val="B8E1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2E25CB26-1E9A-6DBE-1F10-AC93C93D3B5A}"/>
                </a:ext>
              </a:extLst>
            </p:cNvPr>
            <p:cNvSpPr/>
            <p:nvPr/>
          </p:nvSpPr>
          <p:spPr>
            <a:xfrm flipH="1">
              <a:off x="2562771" y="2720582"/>
              <a:ext cx="138434" cy="22449"/>
            </a:xfrm>
            <a:custGeom>
              <a:avLst/>
              <a:gdLst>
                <a:gd name="connsiteX0" fmla="*/ 0 w 116059"/>
                <a:gd name="connsiteY0" fmla="*/ 105 h 18820"/>
                <a:gd name="connsiteX1" fmla="*/ 114717 w 116059"/>
                <a:gd name="connsiteY1" fmla="*/ 284 h 18820"/>
                <a:gd name="connsiteX2" fmla="*/ 116059 w 116059"/>
                <a:gd name="connsiteY2" fmla="*/ 17644 h 18820"/>
                <a:gd name="connsiteX3" fmla="*/ 1163 w 116059"/>
                <a:gd name="connsiteY3" fmla="*/ 18360 h 18820"/>
                <a:gd name="connsiteX4" fmla="*/ 0 w 116059"/>
                <a:gd name="connsiteY4" fmla="*/ 105 h 18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059" h="18820">
                  <a:moveTo>
                    <a:pt x="0" y="105"/>
                  </a:moveTo>
                  <a:cubicBezTo>
                    <a:pt x="38254" y="-163"/>
                    <a:pt x="76508" y="150"/>
                    <a:pt x="114717" y="284"/>
                  </a:cubicBezTo>
                  <a:cubicBezTo>
                    <a:pt x="115075" y="4624"/>
                    <a:pt x="115746" y="13304"/>
                    <a:pt x="116059" y="17644"/>
                  </a:cubicBezTo>
                  <a:cubicBezTo>
                    <a:pt x="77805" y="19165"/>
                    <a:pt x="39462" y="18986"/>
                    <a:pt x="1163" y="18360"/>
                  </a:cubicBezTo>
                  <a:cubicBezTo>
                    <a:pt x="761" y="12275"/>
                    <a:pt x="358" y="6146"/>
                    <a:pt x="0" y="105"/>
                  </a:cubicBezTo>
                  <a:close/>
                </a:path>
              </a:pathLst>
            </a:custGeom>
            <a:solidFill>
              <a:srgbClr val="7DC7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D43618B7-AA58-8F26-E78E-E9F77600ACB2}"/>
                </a:ext>
              </a:extLst>
            </p:cNvPr>
            <p:cNvSpPr/>
            <p:nvPr/>
          </p:nvSpPr>
          <p:spPr>
            <a:xfrm flipH="1">
              <a:off x="4351688" y="2748032"/>
              <a:ext cx="58654" cy="283380"/>
            </a:xfrm>
            <a:custGeom>
              <a:avLst/>
              <a:gdLst>
                <a:gd name="connsiteX0" fmla="*/ 19821 w 49174"/>
                <a:gd name="connsiteY0" fmla="*/ 4474 h 237577"/>
                <a:gd name="connsiteX1" fmla="*/ 35793 w 49174"/>
                <a:gd name="connsiteY1" fmla="*/ 1745 h 237577"/>
                <a:gd name="connsiteX2" fmla="*/ 48052 w 49174"/>
                <a:gd name="connsiteY2" fmla="*/ 0 h 237577"/>
                <a:gd name="connsiteX3" fmla="*/ 44741 w 49174"/>
                <a:gd name="connsiteY3" fmla="*/ 71900 h 237577"/>
                <a:gd name="connsiteX4" fmla="*/ 38030 w 49174"/>
                <a:gd name="connsiteY4" fmla="*/ 131003 h 237577"/>
                <a:gd name="connsiteX5" fmla="*/ 24921 w 49174"/>
                <a:gd name="connsiteY5" fmla="*/ 205229 h 237577"/>
                <a:gd name="connsiteX6" fmla="*/ 22550 w 49174"/>
                <a:gd name="connsiteY6" fmla="*/ 237577 h 237577"/>
                <a:gd name="connsiteX7" fmla="*/ 0 w 49174"/>
                <a:gd name="connsiteY7" fmla="*/ 232074 h 237577"/>
                <a:gd name="connsiteX8" fmla="*/ 8814 w 49174"/>
                <a:gd name="connsiteY8" fmla="*/ 134001 h 237577"/>
                <a:gd name="connsiteX9" fmla="*/ 13467 w 49174"/>
                <a:gd name="connsiteY9" fmla="*/ 77134 h 237577"/>
                <a:gd name="connsiteX10" fmla="*/ 18210 w 49174"/>
                <a:gd name="connsiteY10" fmla="*/ 70199 h 237577"/>
                <a:gd name="connsiteX11" fmla="*/ 14228 w 49174"/>
                <a:gd name="connsiteY11" fmla="*/ 58835 h 237577"/>
                <a:gd name="connsiteX12" fmla="*/ 22102 w 49174"/>
                <a:gd name="connsiteY12" fmla="*/ 48724 h 237577"/>
                <a:gd name="connsiteX13" fmla="*/ 17673 w 49174"/>
                <a:gd name="connsiteY13" fmla="*/ 36822 h 237577"/>
                <a:gd name="connsiteX14" fmla="*/ 25413 w 49174"/>
                <a:gd name="connsiteY14" fmla="*/ 16017 h 237577"/>
                <a:gd name="connsiteX15" fmla="*/ 19821 w 49174"/>
                <a:gd name="connsiteY15" fmla="*/ 4474 h 2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174" h="237577">
                  <a:moveTo>
                    <a:pt x="19821" y="4474"/>
                  </a:moveTo>
                  <a:cubicBezTo>
                    <a:pt x="25100" y="3535"/>
                    <a:pt x="30424" y="2595"/>
                    <a:pt x="35793" y="1745"/>
                  </a:cubicBezTo>
                  <a:cubicBezTo>
                    <a:pt x="38836" y="1298"/>
                    <a:pt x="45010" y="447"/>
                    <a:pt x="48052" y="0"/>
                  </a:cubicBezTo>
                  <a:cubicBezTo>
                    <a:pt x="49708" y="23892"/>
                    <a:pt x="50200" y="48410"/>
                    <a:pt x="44741" y="71900"/>
                  </a:cubicBezTo>
                  <a:cubicBezTo>
                    <a:pt x="43623" y="91720"/>
                    <a:pt x="40088" y="111272"/>
                    <a:pt x="38030" y="131003"/>
                  </a:cubicBezTo>
                  <a:cubicBezTo>
                    <a:pt x="34719" y="155879"/>
                    <a:pt x="35256" y="181919"/>
                    <a:pt x="24921" y="205229"/>
                  </a:cubicBezTo>
                  <a:cubicBezTo>
                    <a:pt x="26800" y="216057"/>
                    <a:pt x="25592" y="227063"/>
                    <a:pt x="22550" y="237577"/>
                  </a:cubicBezTo>
                  <a:cubicBezTo>
                    <a:pt x="15033" y="235698"/>
                    <a:pt x="7517" y="233864"/>
                    <a:pt x="0" y="232074"/>
                  </a:cubicBezTo>
                  <a:cubicBezTo>
                    <a:pt x="45" y="199144"/>
                    <a:pt x="7382" y="166796"/>
                    <a:pt x="8814" y="134001"/>
                  </a:cubicBezTo>
                  <a:cubicBezTo>
                    <a:pt x="9530" y="114941"/>
                    <a:pt x="14362" y="96239"/>
                    <a:pt x="13467" y="77134"/>
                  </a:cubicBezTo>
                  <a:cubicBezTo>
                    <a:pt x="14675" y="75389"/>
                    <a:pt x="17047" y="71900"/>
                    <a:pt x="18210" y="70199"/>
                  </a:cubicBezTo>
                  <a:cubicBezTo>
                    <a:pt x="16868" y="66396"/>
                    <a:pt x="15570" y="62593"/>
                    <a:pt x="14228" y="58835"/>
                  </a:cubicBezTo>
                  <a:cubicBezTo>
                    <a:pt x="16868" y="55435"/>
                    <a:pt x="19463" y="52079"/>
                    <a:pt x="22102" y="48724"/>
                  </a:cubicBezTo>
                  <a:cubicBezTo>
                    <a:pt x="20626" y="44741"/>
                    <a:pt x="19149" y="40804"/>
                    <a:pt x="17673" y="36822"/>
                  </a:cubicBezTo>
                  <a:cubicBezTo>
                    <a:pt x="20268" y="29887"/>
                    <a:pt x="22863" y="22952"/>
                    <a:pt x="25413" y="16017"/>
                  </a:cubicBezTo>
                  <a:cubicBezTo>
                    <a:pt x="23534" y="12125"/>
                    <a:pt x="21700" y="8277"/>
                    <a:pt x="19821" y="4474"/>
                  </a:cubicBezTo>
                  <a:close/>
                </a:path>
              </a:pathLst>
            </a:custGeom>
            <a:solidFill>
              <a:srgbClr val="B9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Freeform: Shape 55">
              <a:extLst>
                <a:ext uri="{FF2B5EF4-FFF2-40B4-BE49-F238E27FC236}">
                  <a16:creationId xmlns:a16="http://schemas.microsoft.com/office/drawing/2014/main" id="{82EDC03C-42E0-7F38-8D8D-C01704A32A2B}"/>
                </a:ext>
              </a:extLst>
            </p:cNvPr>
            <p:cNvSpPr/>
            <p:nvPr/>
          </p:nvSpPr>
          <p:spPr>
            <a:xfrm flipH="1">
              <a:off x="2859012" y="2756090"/>
              <a:ext cx="84960" cy="18117"/>
            </a:xfrm>
            <a:custGeom>
              <a:avLst/>
              <a:gdLst>
                <a:gd name="connsiteX0" fmla="*/ 6577 w 71228"/>
                <a:gd name="connsiteY0" fmla="*/ 1476 h 15189"/>
                <a:gd name="connsiteX1" fmla="*/ 71228 w 71228"/>
                <a:gd name="connsiteY1" fmla="*/ 0 h 15189"/>
                <a:gd name="connsiteX2" fmla="*/ 70244 w 71228"/>
                <a:gd name="connsiteY2" fmla="*/ 14944 h 15189"/>
                <a:gd name="connsiteX3" fmla="*/ 0 w 71228"/>
                <a:gd name="connsiteY3" fmla="*/ 14630 h 15189"/>
                <a:gd name="connsiteX4" fmla="*/ 6577 w 71228"/>
                <a:gd name="connsiteY4" fmla="*/ 1476 h 15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28" h="15189">
                  <a:moveTo>
                    <a:pt x="6577" y="1476"/>
                  </a:moveTo>
                  <a:cubicBezTo>
                    <a:pt x="28098" y="358"/>
                    <a:pt x="49752" y="2953"/>
                    <a:pt x="71228" y="0"/>
                  </a:cubicBezTo>
                  <a:cubicBezTo>
                    <a:pt x="71049" y="4966"/>
                    <a:pt x="70736" y="9933"/>
                    <a:pt x="70244" y="14944"/>
                  </a:cubicBezTo>
                  <a:cubicBezTo>
                    <a:pt x="46844" y="15167"/>
                    <a:pt x="23400" y="15481"/>
                    <a:pt x="0" y="14630"/>
                  </a:cubicBezTo>
                  <a:cubicBezTo>
                    <a:pt x="2103" y="10335"/>
                    <a:pt x="45" y="1969"/>
                    <a:pt x="6577" y="1476"/>
                  </a:cubicBezTo>
                  <a:close/>
                </a:path>
              </a:pathLst>
            </a:custGeom>
            <a:solidFill>
              <a:srgbClr val="67B1F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5DC2797D-A79E-1440-52AE-76AD45DC291C}"/>
                </a:ext>
              </a:extLst>
            </p:cNvPr>
            <p:cNvSpPr/>
            <p:nvPr/>
          </p:nvSpPr>
          <p:spPr>
            <a:xfrm flipH="1">
              <a:off x="2722927" y="2755396"/>
              <a:ext cx="85921" cy="17630"/>
            </a:xfrm>
            <a:custGeom>
              <a:avLst/>
              <a:gdLst>
                <a:gd name="connsiteX0" fmla="*/ 0 w 72033"/>
                <a:gd name="connsiteY0" fmla="*/ 0 h 14781"/>
                <a:gd name="connsiteX1" fmla="*/ 72034 w 72033"/>
                <a:gd name="connsiteY1" fmla="*/ 1566 h 14781"/>
                <a:gd name="connsiteX2" fmla="*/ 70244 w 72033"/>
                <a:gd name="connsiteY2" fmla="*/ 14765 h 14781"/>
                <a:gd name="connsiteX3" fmla="*/ 761 w 72033"/>
                <a:gd name="connsiteY3" fmla="*/ 14362 h 14781"/>
                <a:gd name="connsiteX4" fmla="*/ 0 w 72033"/>
                <a:gd name="connsiteY4" fmla="*/ 0 h 14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33" h="14781">
                  <a:moveTo>
                    <a:pt x="0" y="0"/>
                  </a:moveTo>
                  <a:cubicBezTo>
                    <a:pt x="23981" y="1029"/>
                    <a:pt x="48008" y="1074"/>
                    <a:pt x="72034" y="1566"/>
                  </a:cubicBezTo>
                  <a:cubicBezTo>
                    <a:pt x="71318" y="5951"/>
                    <a:pt x="70736" y="10335"/>
                    <a:pt x="70244" y="14765"/>
                  </a:cubicBezTo>
                  <a:cubicBezTo>
                    <a:pt x="47068" y="14675"/>
                    <a:pt x="23892" y="15033"/>
                    <a:pt x="761" y="14362"/>
                  </a:cubicBezTo>
                  <a:cubicBezTo>
                    <a:pt x="582" y="10783"/>
                    <a:pt x="179" y="3579"/>
                    <a:pt x="0" y="0"/>
                  </a:cubicBezTo>
                  <a:close/>
                </a:path>
              </a:pathLst>
            </a:custGeom>
            <a:solidFill>
              <a:srgbClr val="71C1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0855064F-BE98-A758-8F71-6ADF8DEF7812}"/>
                </a:ext>
              </a:extLst>
            </p:cNvPr>
            <p:cNvSpPr/>
            <p:nvPr/>
          </p:nvSpPr>
          <p:spPr>
            <a:xfrm flipH="1">
              <a:off x="2559622" y="2759853"/>
              <a:ext cx="146332" cy="13021"/>
            </a:xfrm>
            <a:custGeom>
              <a:avLst/>
              <a:gdLst>
                <a:gd name="connsiteX0" fmla="*/ 0 w 122680"/>
                <a:gd name="connsiteY0" fmla="*/ 4405 h 10916"/>
                <a:gd name="connsiteX1" fmla="*/ 76508 w 122680"/>
                <a:gd name="connsiteY1" fmla="*/ 826 h 10916"/>
                <a:gd name="connsiteX2" fmla="*/ 122681 w 122680"/>
                <a:gd name="connsiteY2" fmla="*/ 7537 h 10916"/>
                <a:gd name="connsiteX3" fmla="*/ 40715 w 122680"/>
                <a:gd name="connsiteY3" fmla="*/ 10669 h 10916"/>
                <a:gd name="connsiteX4" fmla="*/ 0 w 122680"/>
                <a:gd name="connsiteY4" fmla="*/ 4405 h 10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80" h="10916">
                  <a:moveTo>
                    <a:pt x="0" y="4405"/>
                  </a:moveTo>
                  <a:cubicBezTo>
                    <a:pt x="24608" y="-3872"/>
                    <a:pt x="51095" y="2347"/>
                    <a:pt x="76508" y="826"/>
                  </a:cubicBezTo>
                  <a:cubicBezTo>
                    <a:pt x="91720" y="2526"/>
                    <a:pt x="110064" y="-3559"/>
                    <a:pt x="122681" y="7537"/>
                  </a:cubicBezTo>
                  <a:cubicBezTo>
                    <a:pt x="95657" y="13219"/>
                    <a:pt x="68007" y="9819"/>
                    <a:pt x="40715" y="10669"/>
                  </a:cubicBezTo>
                  <a:cubicBezTo>
                    <a:pt x="27024" y="10088"/>
                    <a:pt x="11901" y="12951"/>
                    <a:pt x="0" y="4405"/>
                  </a:cubicBezTo>
                  <a:close/>
                </a:path>
              </a:pathLst>
            </a:custGeom>
            <a:solidFill>
              <a:srgbClr val="ACCCE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66783F1D-BCC2-5A6A-6395-26125AC0E4DC}"/>
                </a:ext>
              </a:extLst>
            </p:cNvPr>
            <p:cNvSpPr/>
            <p:nvPr/>
          </p:nvSpPr>
          <p:spPr>
            <a:xfrm flipH="1">
              <a:off x="2479518" y="2772633"/>
              <a:ext cx="24985" cy="240151"/>
            </a:xfrm>
            <a:custGeom>
              <a:avLst/>
              <a:gdLst>
                <a:gd name="connsiteX0" fmla="*/ 545 w 20947"/>
                <a:gd name="connsiteY0" fmla="*/ 2595 h 201336"/>
                <a:gd name="connsiteX1" fmla="*/ 20500 w 20947"/>
                <a:gd name="connsiteY1" fmla="*/ 0 h 201336"/>
                <a:gd name="connsiteX2" fmla="*/ 20947 w 20947"/>
                <a:gd name="connsiteY2" fmla="*/ 201337 h 201336"/>
                <a:gd name="connsiteX3" fmla="*/ 635 w 20947"/>
                <a:gd name="connsiteY3" fmla="*/ 201023 h 201336"/>
                <a:gd name="connsiteX4" fmla="*/ 545 w 20947"/>
                <a:gd name="connsiteY4" fmla="*/ 2595 h 20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47" h="201336">
                  <a:moveTo>
                    <a:pt x="545" y="2595"/>
                  </a:moveTo>
                  <a:cubicBezTo>
                    <a:pt x="7167" y="1700"/>
                    <a:pt x="13789" y="850"/>
                    <a:pt x="20500" y="0"/>
                  </a:cubicBezTo>
                  <a:cubicBezTo>
                    <a:pt x="21260" y="67112"/>
                    <a:pt x="20052" y="134224"/>
                    <a:pt x="20947" y="201337"/>
                  </a:cubicBezTo>
                  <a:cubicBezTo>
                    <a:pt x="14146" y="201158"/>
                    <a:pt x="7391" y="201068"/>
                    <a:pt x="635" y="201023"/>
                  </a:cubicBezTo>
                  <a:cubicBezTo>
                    <a:pt x="679" y="134896"/>
                    <a:pt x="-752" y="68723"/>
                    <a:pt x="545" y="2595"/>
                  </a:cubicBezTo>
                  <a:close/>
                </a:path>
              </a:pathLst>
            </a:custGeom>
            <a:solidFill>
              <a:srgbClr val="AED4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Freeform: Shape 59">
              <a:extLst>
                <a:ext uri="{FF2B5EF4-FFF2-40B4-BE49-F238E27FC236}">
                  <a16:creationId xmlns:a16="http://schemas.microsoft.com/office/drawing/2014/main" id="{E004078F-5126-50FE-8C0F-03124E48B5FD}"/>
                </a:ext>
              </a:extLst>
            </p:cNvPr>
            <p:cNvSpPr/>
            <p:nvPr/>
          </p:nvSpPr>
          <p:spPr>
            <a:xfrm flipH="1">
              <a:off x="2458754" y="2769699"/>
              <a:ext cx="21297" cy="1362838"/>
            </a:xfrm>
            <a:custGeom>
              <a:avLst/>
              <a:gdLst>
                <a:gd name="connsiteX0" fmla="*/ 0 w 17855"/>
                <a:gd name="connsiteY0" fmla="*/ 2461 h 1142562"/>
                <a:gd name="connsiteX1" fmla="*/ 15883 w 17855"/>
                <a:gd name="connsiteY1" fmla="*/ 0 h 1142562"/>
                <a:gd name="connsiteX2" fmla="*/ 17673 w 17855"/>
                <a:gd name="connsiteY2" fmla="*/ 211314 h 1142562"/>
                <a:gd name="connsiteX3" fmla="*/ 14362 w 17855"/>
                <a:gd name="connsiteY3" fmla="*/ 296233 h 1142562"/>
                <a:gd name="connsiteX4" fmla="*/ 15883 w 17855"/>
                <a:gd name="connsiteY4" fmla="*/ 497480 h 1142562"/>
                <a:gd name="connsiteX5" fmla="*/ 16599 w 17855"/>
                <a:gd name="connsiteY5" fmla="*/ 1136165 h 1142562"/>
                <a:gd name="connsiteX6" fmla="*/ 313 w 17855"/>
                <a:gd name="connsiteY6" fmla="*/ 1142563 h 1142562"/>
                <a:gd name="connsiteX7" fmla="*/ 1432 w 17855"/>
                <a:gd name="connsiteY7" fmla="*/ 247689 h 1142562"/>
                <a:gd name="connsiteX8" fmla="*/ 12975 w 17855"/>
                <a:gd name="connsiteY8" fmla="*/ 247957 h 1142562"/>
                <a:gd name="connsiteX9" fmla="*/ 12930 w 17855"/>
                <a:gd name="connsiteY9" fmla="*/ 205587 h 1142562"/>
                <a:gd name="connsiteX10" fmla="*/ 492 w 17855"/>
                <a:gd name="connsiteY10" fmla="*/ 205632 h 1142562"/>
                <a:gd name="connsiteX11" fmla="*/ 492 w 17855"/>
                <a:gd name="connsiteY11" fmla="*/ 203797 h 1142562"/>
                <a:gd name="connsiteX12" fmla="*/ 0 w 17855"/>
                <a:gd name="connsiteY12" fmla="*/ 2461 h 114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5" h="1142562">
                  <a:moveTo>
                    <a:pt x="0" y="2461"/>
                  </a:moveTo>
                  <a:cubicBezTo>
                    <a:pt x="5279" y="1700"/>
                    <a:pt x="10559" y="895"/>
                    <a:pt x="15883" y="0"/>
                  </a:cubicBezTo>
                  <a:cubicBezTo>
                    <a:pt x="16510" y="70423"/>
                    <a:pt x="15302" y="140891"/>
                    <a:pt x="17673" y="211314"/>
                  </a:cubicBezTo>
                  <a:cubicBezTo>
                    <a:pt x="18881" y="239680"/>
                    <a:pt x="13691" y="267822"/>
                    <a:pt x="14362" y="296233"/>
                  </a:cubicBezTo>
                  <a:cubicBezTo>
                    <a:pt x="14765" y="363301"/>
                    <a:pt x="12886" y="430413"/>
                    <a:pt x="15883" y="497480"/>
                  </a:cubicBezTo>
                  <a:cubicBezTo>
                    <a:pt x="16017" y="710360"/>
                    <a:pt x="16688" y="923285"/>
                    <a:pt x="16599" y="1136165"/>
                  </a:cubicBezTo>
                  <a:cubicBezTo>
                    <a:pt x="11051" y="1137999"/>
                    <a:pt x="5593" y="1140102"/>
                    <a:pt x="313" y="1142563"/>
                  </a:cubicBezTo>
                  <a:cubicBezTo>
                    <a:pt x="1074" y="844271"/>
                    <a:pt x="-448" y="545980"/>
                    <a:pt x="1432" y="247689"/>
                  </a:cubicBezTo>
                  <a:cubicBezTo>
                    <a:pt x="4340" y="247778"/>
                    <a:pt x="10111" y="247912"/>
                    <a:pt x="12975" y="247957"/>
                  </a:cubicBezTo>
                  <a:cubicBezTo>
                    <a:pt x="13154" y="233819"/>
                    <a:pt x="13109" y="219725"/>
                    <a:pt x="12930" y="205587"/>
                  </a:cubicBezTo>
                  <a:cubicBezTo>
                    <a:pt x="9798" y="205632"/>
                    <a:pt x="3579" y="205632"/>
                    <a:pt x="492" y="205632"/>
                  </a:cubicBezTo>
                  <a:lnTo>
                    <a:pt x="492" y="203797"/>
                  </a:lnTo>
                  <a:cubicBezTo>
                    <a:pt x="-448" y="136685"/>
                    <a:pt x="761" y="69573"/>
                    <a:pt x="0" y="2461"/>
                  </a:cubicBezTo>
                  <a:close/>
                </a:path>
              </a:pathLst>
            </a:custGeom>
            <a:solidFill>
              <a:srgbClr val="3A71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09216176-F06A-27A9-6A07-07CD95BCFDAB}"/>
                </a:ext>
              </a:extLst>
            </p:cNvPr>
            <p:cNvSpPr/>
            <p:nvPr/>
          </p:nvSpPr>
          <p:spPr>
            <a:xfrm flipH="1">
              <a:off x="2991896" y="2847280"/>
              <a:ext cx="151830" cy="47777"/>
            </a:xfrm>
            <a:custGeom>
              <a:avLst/>
              <a:gdLst>
                <a:gd name="connsiteX0" fmla="*/ 12886 w 127289"/>
                <a:gd name="connsiteY0" fmla="*/ 23232 h 40055"/>
                <a:gd name="connsiteX1" fmla="*/ 90736 w 127289"/>
                <a:gd name="connsiteY1" fmla="*/ 1399 h 40055"/>
                <a:gd name="connsiteX2" fmla="*/ 123665 w 127289"/>
                <a:gd name="connsiteY2" fmla="*/ 33657 h 40055"/>
                <a:gd name="connsiteX3" fmla="*/ 127289 w 127289"/>
                <a:gd name="connsiteY3" fmla="*/ 39384 h 40055"/>
                <a:gd name="connsiteX4" fmla="*/ 0 w 127289"/>
                <a:gd name="connsiteY4" fmla="*/ 40055 h 40055"/>
                <a:gd name="connsiteX5" fmla="*/ 12886 w 127289"/>
                <a:gd name="connsiteY5" fmla="*/ 23232 h 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289" h="40055">
                  <a:moveTo>
                    <a:pt x="12886" y="23232"/>
                  </a:moveTo>
                  <a:cubicBezTo>
                    <a:pt x="35346" y="7349"/>
                    <a:pt x="62727" y="-4105"/>
                    <a:pt x="90736" y="1399"/>
                  </a:cubicBezTo>
                  <a:cubicBezTo>
                    <a:pt x="103174" y="10481"/>
                    <a:pt x="114672" y="21085"/>
                    <a:pt x="123665" y="33657"/>
                  </a:cubicBezTo>
                  <a:lnTo>
                    <a:pt x="127289" y="39384"/>
                  </a:lnTo>
                  <a:cubicBezTo>
                    <a:pt x="84875" y="40503"/>
                    <a:pt x="42415" y="39697"/>
                    <a:pt x="0" y="40055"/>
                  </a:cubicBezTo>
                  <a:cubicBezTo>
                    <a:pt x="3758" y="34105"/>
                    <a:pt x="6845" y="27259"/>
                    <a:pt x="12886" y="23232"/>
                  </a:cubicBezTo>
                  <a:close/>
                </a:path>
              </a:pathLst>
            </a:custGeom>
            <a:solidFill>
              <a:srgbClr val="5FA2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6F63BF21-6161-4AE5-5EDF-AA48BFBE458C}"/>
                </a:ext>
              </a:extLst>
            </p:cNvPr>
            <p:cNvSpPr/>
            <p:nvPr/>
          </p:nvSpPr>
          <p:spPr>
            <a:xfrm flipH="1">
              <a:off x="2867658" y="2854179"/>
              <a:ext cx="59771" cy="18442"/>
            </a:xfrm>
            <a:custGeom>
              <a:avLst/>
              <a:gdLst>
                <a:gd name="connsiteX0" fmla="*/ 5279 w 50110"/>
                <a:gd name="connsiteY0" fmla="*/ 895 h 15461"/>
                <a:gd name="connsiteX1" fmla="*/ 44562 w 50110"/>
                <a:gd name="connsiteY1" fmla="*/ 0 h 15461"/>
                <a:gd name="connsiteX2" fmla="*/ 50110 w 50110"/>
                <a:gd name="connsiteY2" fmla="*/ 11946 h 15461"/>
                <a:gd name="connsiteX3" fmla="*/ 0 w 50110"/>
                <a:gd name="connsiteY3" fmla="*/ 12572 h 15461"/>
                <a:gd name="connsiteX4" fmla="*/ 5279 w 50110"/>
                <a:gd name="connsiteY4" fmla="*/ 895 h 15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10" h="15461">
                  <a:moveTo>
                    <a:pt x="5279" y="895"/>
                  </a:moveTo>
                  <a:cubicBezTo>
                    <a:pt x="18344" y="447"/>
                    <a:pt x="31453" y="179"/>
                    <a:pt x="44562" y="0"/>
                  </a:cubicBezTo>
                  <a:cubicBezTo>
                    <a:pt x="46486" y="3892"/>
                    <a:pt x="48545" y="7830"/>
                    <a:pt x="50110" y="11946"/>
                  </a:cubicBezTo>
                  <a:cubicBezTo>
                    <a:pt x="33869" y="17404"/>
                    <a:pt x="16554" y="15615"/>
                    <a:pt x="0" y="12572"/>
                  </a:cubicBezTo>
                  <a:cubicBezTo>
                    <a:pt x="1342" y="9664"/>
                    <a:pt x="3982" y="3803"/>
                    <a:pt x="5279" y="895"/>
                  </a:cubicBezTo>
                  <a:close/>
                </a:path>
              </a:pathLst>
            </a:custGeom>
            <a:solidFill>
              <a:srgbClr val="729FC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EB63F064-5018-7CAA-4F26-FD0E144BD731}"/>
                </a:ext>
              </a:extLst>
            </p:cNvPr>
            <p:cNvSpPr/>
            <p:nvPr/>
          </p:nvSpPr>
          <p:spPr>
            <a:xfrm flipH="1">
              <a:off x="2673240" y="2853111"/>
              <a:ext cx="322978" cy="79091"/>
            </a:xfrm>
            <a:custGeom>
              <a:avLst/>
              <a:gdLst>
                <a:gd name="connsiteX0" fmla="*/ 102234 w 270775"/>
                <a:gd name="connsiteY0" fmla="*/ 895 h 66307"/>
                <a:gd name="connsiteX1" fmla="*/ 257979 w 270775"/>
                <a:gd name="connsiteY1" fmla="*/ 493 h 66307"/>
                <a:gd name="connsiteX2" fmla="*/ 270775 w 270775"/>
                <a:gd name="connsiteY2" fmla="*/ 17092 h 66307"/>
                <a:gd name="connsiteX3" fmla="*/ 262588 w 270775"/>
                <a:gd name="connsiteY3" fmla="*/ 16644 h 66307"/>
                <a:gd name="connsiteX4" fmla="*/ 144873 w 270775"/>
                <a:gd name="connsiteY4" fmla="*/ 12573 h 66307"/>
                <a:gd name="connsiteX5" fmla="*/ 114001 w 270775"/>
                <a:gd name="connsiteY5" fmla="*/ 29440 h 66307"/>
                <a:gd name="connsiteX6" fmla="*/ 108230 w 270775"/>
                <a:gd name="connsiteY6" fmla="*/ 54809 h 66307"/>
                <a:gd name="connsiteX7" fmla="*/ 106216 w 270775"/>
                <a:gd name="connsiteY7" fmla="*/ 66307 h 66307"/>
                <a:gd name="connsiteX8" fmla="*/ 57851 w 270775"/>
                <a:gd name="connsiteY8" fmla="*/ 63399 h 66307"/>
                <a:gd name="connsiteX9" fmla="*/ 53019 w 270775"/>
                <a:gd name="connsiteY9" fmla="*/ 35391 h 66307"/>
                <a:gd name="connsiteX10" fmla="*/ 3624 w 270775"/>
                <a:gd name="connsiteY10" fmla="*/ 34496 h 66307"/>
                <a:gd name="connsiteX11" fmla="*/ 0 w 270775"/>
                <a:gd name="connsiteY11" fmla="*/ 28769 h 66307"/>
                <a:gd name="connsiteX12" fmla="*/ 45278 w 270775"/>
                <a:gd name="connsiteY12" fmla="*/ 26085 h 66307"/>
                <a:gd name="connsiteX13" fmla="*/ 57672 w 270775"/>
                <a:gd name="connsiteY13" fmla="*/ 13468 h 66307"/>
                <a:gd name="connsiteX14" fmla="*/ 107782 w 270775"/>
                <a:gd name="connsiteY14" fmla="*/ 12841 h 66307"/>
                <a:gd name="connsiteX15" fmla="*/ 102234 w 270775"/>
                <a:gd name="connsiteY15" fmla="*/ 895 h 6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0775" h="66307">
                  <a:moveTo>
                    <a:pt x="102234" y="895"/>
                  </a:moveTo>
                  <a:cubicBezTo>
                    <a:pt x="154134" y="448"/>
                    <a:pt x="206079" y="-626"/>
                    <a:pt x="257979" y="493"/>
                  </a:cubicBezTo>
                  <a:cubicBezTo>
                    <a:pt x="262096" y="6041"/>
                    <a:pt x="266301" y="11723"/>
                    <a:pt x="270775" y="17092"/>
                  </a:cubicBezTo>
                  <a:cubicBezTo>
                    <a:pt x="268717" y="17002"/>
                    <a:pt x="264601" y="16734"/>
                    <a:pt x="262588" y="16644"/>
                  </a:cubicBezTo>
                  <a:cubicBezTo>
                    <a:pt x="223439" y="13468"/>
                    <a:pt x="184111" y="10336"/>
                    <a:pt x="144873" y="12573"/>
                  </a:cubicBezTo>
                  <a:cubicBezTo>
                    <a:pt x="132793" y="13199"/>
                    <a:pt x="120041" y="18434"/>
                    <a:pt x="114001" y="29440"/>
                  </a:cubicBezTo>
                  <a:cubicBezTo>
                    <a:pt x="110153" y="37315"/>
                    <a:pt x="109661" y="46263"/>
                    <a:pt x="108230" y="54809"/>
                  </a:cubicBezTo>
                  <a:cubicBezTo>
                    <a:pt x="107738" y="57672"/>
                    <a:pt x="106708" y="63444"/>
                    <a:pt x="106216" y="66307"/>
                  </a:cubicBezTo>
                  <a:cubicBezTo>
                    <a:pt x="90020" y="66039"/>
                    <a:pt x="73913" y="65055"/>
                    <a:pt x="57851" y="63399"/>
                  </a:cubicBezTo>
                  <a:cubicBezTo>
                    <a:pt x="56195" y="54048"/>
                    <a:pt x="54585" y="44742"/>
                    <a:pt x="53019" y="35391"/>
                  </a:cubicBezTo>
                  <a:cubicBezTo>
                    <a:pt x="36554" y="34765"/>
                    <a:pt x="20089" y="34362"/>
                    <a:pt x="3624" y="34496"/>
                  </a:cubicBezTo>
                  <a:lnTo>
                    <a:pt x="0" y="28769"/>
                  </a:lnTo>
                  <a:cubicBezTo>
                    <a:pt x="15078" y="27830"/>
                    <a:pt x="30290" y="28232"/>
                    <a:pt x="45278" y="26085"/>
                  </a:cubicBezTo>
                  <a:cubicBezTo>
                    <a:pt x="52258" y="25816"/>
                    <a:pt x="54495" y="18389"/>
                    <a:pt x="57672" y="13468"/>
                  </a:cubicBezTo>
                  <a:cubicBezTo>
                    <a:pt x="74226" y="16510"/>
                    <a:pt x="91541" y="18300"/>
                    <a:pt x="107782" y="12841"/>
                  </a:cubicBezTo>
                  <a:cubicBezTo>
                    <a:pt x="106216" y="8725"/>
                    <a:pt x="104158" y="4788"/>
                    <a:pt x="102234" y="895"/>
                  </a:cubicBezTo>
                  <a:close/>
                </a:path>
              </a:pathLst>
            </a:custGeom>
            <a:solidFill>
              <a:srgbClr val="97B7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AB1F7265-397C-0AE5-A817-44E1A05FEC57}"/>
                </a:ext>
              </a:extLst>
            </p:cNvPr>
            <p:cNvSpPr/>
            <p:nvPr/>
          </p:nvSpPr>
          <p:spPr>
            <a:xfrm flipH="1">
              <a:off x="2644531" y="2853699"/>
              <a:ext cx="43973" cy="20119"/>
            </a:xfrm>
            <a:custGeom>
              <a:avLst/>
              <a:gdLst>
                <a:gd name="connsiteX0" fmla="*/ 0 w 36866"/>
                <a:gd name="connsiteY0" fmla="*/ 0 h 16867"/>
                <a:gd name="connsiteX1" fmla="*/ 36867 w 36866"/>
                <a:gd name="connsiteY1" fmla="*/ 224 h 16867"/>
                <a:gd name="connsiteX2" fmla="*/ 21341 w 36866"/>
                <a:gd name="connsiteY2" fmla="*/ 16868 h 16867"/>
                <a:gd name="connsiteX3" fmla="*/ 12796 w 36866"/>
                <a:gd name="connsiteY3" fmla="*/ 16599 h 16867"/>
                <a:gd name="connsiteX4" fmla="*/ 0 w 36866"/>
                <a:gd name="connsiteY4" fmla="*/ 0 h 1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6" h="16867">
                  <a:moveTo>
                    <a:pt x="0" y="0"/>
                  </a:moveTo>
                  <a:cubicBezTo>
                    <a:pt x="12259" y="0"/>
                    <a:pt x="24563" y="134"/>
                    <a:pt x="36867" y="224"/>
                  </a:cubicBezTo>
                  <a:cubicBezTo>
                    <a:pt x="31766" y="5861"/>
                    <a:pt x="26711" y="11499"/>
                    <a:pt x="21341" y="16868"/>
                  </a:cubicBezTo>
                  <a:cubicBezTo>
                    <a:pt x="19194" y="16778"/>
                    <a:pt x="14943" y="16689"/>
                    <a:pt x="12796" y="16599"/>
                  </a:cubicBezTo>
                  <a:cubicBezTo>
                    <a:pt x="8322" y="11230"/>
                    <a:pt x="4116" y="5548"/>
                    <a:pt x="0" y="0"/>
                  </a:cubicBezTo>
                  <a:close/>
                </a:path>
              </a:pathLst>
            </a:custGeom>
            <a:solidFill>
              <a:srgbClr val="6D95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40700A6B-BBDE-4014-F6AC-B9215EFD29E1}"/>
                </a:ext>
              </a:extLst>
            </p:cNvPr>
            <p:cNvSpPr/>
            <p:nvPr/>
          </p:nvSpPr>
          <p:spPr>
            <a:xfrm flipH="1">
              <a:off x="2567414" y="2853958"/>
              <a:ext cx="95634" cy="20231"/>
            </a:xfrm>
            <a:custGeom>
              <a:avLst/>
              <a:gdLst>
                <a:gd name="connsiteX0" fmla="*/ 15525 w 80176"/>
                <a:gd name="connsiteY0" fmla="*/ 5 h 16961"/>
                <a:gd name="connsiteX1" fmla="*/ 80177 w 80176"/>
                <a:gd name="connsiteY1" fmla="*/ 542 h 16961"/>
                <a:gd name="connsiteX2" fmla="*/ 79550 w 80176"/>
                <a:gd name="connsiteY2" fmla="*/ 16962 h 16961"/>
                <a:gd name="connsiteX3" fmla="*/ 0 w 80176"/>
                <a:gd name="connsiteY3" fmla="*/ 16649 h 16961"/>
                <a:gd name="connsiteX4" fmla="*/ 15525 w 80176"/>
                <a:gd name="connsiteY4" fmla="*/ 5 h 1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76" h="16961">
                  <a:moveTo>
                    <a:pt x="15525" y="5"/>
                  </a:moveTo>
                  <a:cubicBezTo>
                    <a:pt x="37046" y="-40"/>
                    <a:pt x="58611" y="229"/>
                    <a:pt x="80177" y="542"/>
                  </a:cubicBezTo>
                  <a:cubicBezTo>
                    <a:pt x="79953" y="6000"/>
                    <a:pt x="79729" y="11459"/>
                    <a:pt x="79550" y="16962"/>
                  </a:cubicBezTo>
                  <a:cubicBezTo>
                    <a:pt x="53019" y="15799"/>
                    <a:pt x="26487" y="17051"/>
                    <a:pt x="0" y="16649"/>
                  </a:cubicBezTo>
                  <a:cubicBezTo>
                    <a:pt x="5369" y="11280"/>
                    <a:pt x="10425" y="5642"/>
                    <a:pt x="15525" y="5"/>
                  </a:cubicBezTo>
                  <a:close/>
                </a:path>
              </a:pathLst>
            </a:custGeom>
            <a:solidFill>
              <a:srgbClr val="8FB0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Freeform: Shape 65">
              <a:extLst>
                <a:ext uri="{FF2B5EF4-FFF2-40B4-BE49-F238E27FC236}">
                  <a16:creationId xmlns:a16="http://schemas.microsoft.com/office/drawing/2014/main" id="{5E5A048F-612E-9EDD-FBDF-8DFEBB28812B}"/>
                </a:ext>
              </a:extLst>
            </p:cNvPr>
            <p:cNvSpPr/>
            <p:nvPr/>
          </p:nvSpPr>
          <p:spPr>
            <a:xfrm flipH="1">
              <a:off x="2540624" y="2872964"/>
              <a:ext cx="143130" cy="49731"/>
            </a:xfrm>
            <a:custGeom>
              <a:avLst/>
              <a:gdLst>
                <a:gd name="connsiteX0" fmla="*/ 626 w 119996"/>
                <a:gd name="connsiteY0" fmla="*/ 0 h 41693"/>
                <a:gd name="connsiteX1" fmla="*/ 8814 w 119996"/>
                <a:gd name="connsiteY1" fmla="*/ 447 h 41693"/>
                <a:gd name="connsiteX2" fmla="*/ 17360 w 119996"/>
                <a:gd name="connsiteY2" fmla="*/ 716 h 41693"/>
                <a:gd name="connsiteX3" fmla="*/ 96910 w 119996"/>
                <a:gd name="connsiteY3" fmla="*/ 1029 h 41693"/>
                <a:gd name="connsiteX4" fmla="*/ 118789 w 119996"/>
                <a:gd name="connsiteY4" fmla="*/ 1611 h 41693"/>
                <a:gd name="connsiteX5" fmla="*/ 119997 w 119996"/>
                <a:gd name="connsiteY5" fmla="*/ 21342 h 41693"/>
                <a:gd name="connsiteX6" fmla="*/ 102324 w 119996"/>
                <a:gd name="connsiteY6" fmla="*/ 19552 h 41693"/>
                <a:gd name="connsiteX7" fmla="*/ 97984 w 119996"/>
                <a:gd name="connsiteY7" fmla="*/ 39865 h 41693"/>
                <a:gd name="connsiteX8" fmla="*/ 39417 w 119996"/>
                <a:gd name="connsiteY8" fmla="*/ 41341 h 41693"/>
                <a:gd name="connsiteX9" fmla="*/ 37896 w 119996"/>
                <a:gd name="connsiteY9" fmla="*/ 2729 h 41693"/>
                <a:gd name="connsiteX10" fmla="*/ 36688 w 119996"/>
                <a:gd name="connsiteY10" fmla="*/ 41520 h 41693"/>
                <a:gd name="connsiteX11" fmla="*/ 0 w 119996"/>
                <a:gd name="connsiteY11" fmla="*/ 41073 h 41693"/>
                <a:gd name="connsiteX12" fmla="*/ 626 w 119996"/>
                <a:gd name="connsiteY12" fmla="*/ 0 h 4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996" h="41693">
                  <a:moveTo>
                    <a:pt x="626" y="0"/>
                  </a:moveTo>
                  <a:cubicBezTo>
                    <a:pt x="2640" y="89"/>
                    <a:pt x="6756" y="358"/>
                    <a:pt x="8814" y="447"/>
                  </a:cubicBezTo>
                  <a:cubicBezTo>
                    <a:pt x="10962" y="537"/>
                    <a:pt x="15212" y="626"/>
                    <a:pt x="17360" y="716"/>
                  </a:cubicBezTo>
                  <a:cubicBezTo>
                    <a:pt x="43847" y="1119"/>
                    <a:pt x="70378" y="-134"/>
                    <a:pt x="96910" y="1029"/>
                  </a:cubicBezTo>
                  <a:cubicBezTo>
                    <a:pt x="104158" y="1298"/>
                    <a:pt x="111451" y="1476"/>
                    <a:pt x="118789" y="1611"/>
                  </a:cubicBezTo>
                  <a:cubicBezTo>
                    <a:pt x="119147" y="8188"/>
                    <a:pt x="119549" y="14765"/>
                    <a:pt x="119997" y="21342"/>
                  </a:cubicBezTo>
                  <a:cubicBezTo>
                    <a:pt x="114091" y="20760"/>
                    <a:pt x="108185" y="20134"/>
                    <a:pt x="102324" y="19552"/>
                  </a:cubicBezTo>
                  <a:cubicBezTo>
                    <a:pt x="100355" y="25950"/>
                    <a:pt x="102368" y="34540"/>
                    <a:pt x="97984" y="39865"/>
                  </a:cubicBezTo>
                  <a:cubicBezTo>
                    <a:pt x="78611" y="42862"/>
                    <a:pt x="58925" y="41252"/>
                    <a:pt x="39417" y="41341"/>
                  </a:cubicBezTo>
                  <a:cubicBezTo>
                    <a:pt x="39194" y="28456"/>
                    <a:pt x="38925" y="15570"/>
                    <a:pt x="37896" y="2729"/>
                  </a:cubicBezTo>
                  <a:cubicBezTo>
                    <a:pt x="36822" y="15615"/>
                    <a:pt x="36688" y="28590"/>
                    <a:pt x="36688" y="41520"/>
                  </a:cubicBezTo>
                  <a:cubicBezTo>
                    <a:pt x="24474" y="41431"/>
                    <a:pt x="12215" y="41296"/>
                    <a:pt x="0" y="41073"/>
                  </a:cubicBezTo>
                  <a:cubicBezTo>
                    <a:pt x="448" y="27382"/>
                    <a:pt x="626" y="13691"/>
                    <a:pt x="626" y="0"/>
                  </a:cubicBezTo>
                  <a:close/>
                </a:path>
              </a:pathLst>
            </a:custGeom>
            <a:solidFill>
              <a:srgbClr val="EBED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DE448AC1-AF99-58FC-2CEA-3D585006C60E}"/>
                </a:ext>
              </a:extLst>
            </p:cNvPr>
            <p:cNvSpPr/>
            <p:nvPr/>
          </p:nvSpPr>
          <p:spPr>
            <a:xfrm flipH="1">
              <a:off x="2749632" y="2894226"/>
              <a:ext cx="827063" cy="695192"/>
            </a:xfrm>
            <a:custGeom>
              <a:avLst/>
              <a:gdLst>
                <a:gd name="connsiteX0" fmla="*/ 346254 w 693385"/>
                <a:gd name="connsiteY0" fmla="*/ 1144 h 582828"/>
                <a:gd name="connsiteX1" fmla="*/ 362987 w 693385"/>
                <a:gd name="connsiteY1" fmla="*/ 697 h 582828"/>
                <a:gd name="connsiteX2" fmla="*/ 490277 w 693385"/>
                <a:gd name="connsiteY2" fmla="*/ 26 h 582828"/>
                <a:gd name="connsiteX3" fmla="*/ 539671 w 693385"/>
                <a:gd name="connsiteY3" fmla="*/ 921 h 582828"/>
                <a:gd name="connsiteX4" fmla="*/ 544504 w 693385"/>
                <a:gd name="connsiteY4" fmla="*/ 28929 h 582828"/>
                <a:gd name="connsiteX5" fmla="*/ 592869 w 693385"/>
                <a:gd name="connsiteY5" fmla="*/ 31837 h 582828"/>
                <a:gd name="connsiteX6" fmla="*/ 594882 w 693385"/>
                <a:gd name="connsiteY6" fmla="*/ 20338 h 582828"/>
                <a:gd name="connsiteX7" fmla="*/ 597164 w 693385"/>
                <a:gd name="connsiteY7" fmla="*/ 125168 h 582828"/>
                <a:gd name="connsiteX8" fmla="*/ 619311 w 693385"/>
                <a:gd name="connsiteY8" fmla="*/ 155189 h 582828"/>
                <a:gd name="connsiteX9" fmla="*/ 693090 w 693385"/>
                <a:gd name="connsiteY9" fmla="*/ 159350 h 582828"/>
                <a:gd name="connsiteX10" fmla="*/ 693090 w 693385"/>
                <a:gd name="connsiteY10" fmla="*/ 241272 h 582828"/>
                <a:gd name="connsiteX11" fmla="*/ 682397 w 693385"/>
                <a:gd name="connsiteY11" fmla="*/ 265477 h 582828"/>
                <a:gd name="connsiteX12" fmla="*/ 669601 w 693385"/>
                <a:gd name="connsiteY12" fmla="*/ 259392 h 582828"/>
                <a:gd name="connsiteX13" fmla="*/ 658371 w 693385"/>
                <a:gd name="connsiteY13" fmla="*/ 253665 h 582828"/>
                <a:gd name="connsiteX14" fmla="*/ 658639 w 693385"/>
                <a:gd name="connsiteY14" fmla="*/ 159753 h 582828"/>
                <a:gd name="connsiteX15" fmla="*/ 631570 w 693385"/>
                <a:gd name="connsiteY15" fmla="*/ 160111 h 582828"/>
                <a:gd name="connsiteX16" fmla="*/ 631391 w 693385"/>
                <a:gd name="connsiteY16" fmla="*/ 496074 h 582828"/>
                <a:gd name="connsiteX17" fmla="*/ 632555 w 693385"/>
                <a:gd name="connsiteY17" fmla="*/ 580233 h 582828"/>
                <a:gd name="connsiteX18" fmla="*/ 574257 w 693385"/>
                <a:gd name="connsiteY18" fmla="*/ 578891 h 582828"/>
                <a:gd name="connsiteX19" fmla="*/ 572646 w 693385"/>
                <a:gd name="connsiteY19" fmla="*/ 428470 h 582828"/>
                <a:gd name="connsiteX20" fmla="*/ 573541 w 693385"/>
                <a:gd name="connsiteY20" fmla="*/ 417866 h 582828"/>
                <a:gd name="connsiteX21" fmla="*/ 574167 w 693385"/>
                <a:gd name="connsiteY21" fmla="*/ 407755 h 582828"/>
                <a:gd name="connsiteX22" fmla="*/ 574391 w 693385"/>
                <a:gd name="connsiteY22" fmla="*/ 401849 h 582828"/>
                <a:gd name="connsiteX23" fmla="*/ 516048 w 693385"/>
                <a:gd name="connsiteY23" fmla="*/ 402207 h 582828"/>
                <a:gd name="connsiteX24" fmla="*/ 511395 w 693385"/>
                <a:gd name="connsiteY24" fmla="*/ 426994 h 582828"/>
                <a:gd name="connsiteX25" fmla="*/ 530276 w 693385"/>
                <a:gd name="connsiteY25" fmla="*/ 430170 h 582828"/>
                <a:gd name="connsiteX26" fmla="*/ 344509 w 693385"/>
                <a:gd name="connsiteY26" fmla="*/ 429902 h 582828"/>
                <a:gd name="connsiteX27" fmla="*/ 343793 w 693385"/>
                <a:gd name="connsiteY27" fmla="*/ 394601 h 582828"/>
                <a:gd name="connsiteX28" fmla="*/ 377349 w 693385"/>
                <a:gd name="connsiteY28" fmla="*/ 394780 h 582828"/>
                <a:gd name="connsiteX29" fmla="*/ 381600 w 693385"/>
                <a:gd name="connsiteY29" fmla="*/ 395003 h 582828"/>
                <a:gd name="connsiteX30" fmla="*/ 573407 w 693385"/>
                <a:gd name="connsiteY30" fmla="*/ 396525 h 582828"/>
                <a:gd name="connsiteX31" fmla="*/ 572825 w 693385"/>
                <a:gd name="connsiteY31" fmla="*/ 159171 h 582828"/>
                <a:gd name="connsiteX32" fmla="*/ 572735 w 693385"/>
                <a:gd name="connsiteY32" fmla="*/ 81500 h 582828"/>
                <a:gd name="connsiteX33" fmla="*/ 342451 w 693385"/>
                <a:gd name="connsiteY33" fmla="*/ 81903 h 582828"/>
                <a:gd name="connsiteX34" fmla="*/ 86441 w 693385"/>
                <a:gd name="connsiteY34" fmla="*/ 81232 h 582828"/>
                <a:gd name="connsiteX35" fmla="*/ 86530 w 693385"/>
                <a:gd name="connsiteY35" fmla="*/ 82842 h 582828"/>
                <a:gd name="connsiteX36" fmla="*/ 82951 w 693385"/>
                <a:gd name="connsiteY36" fmla="*/ 393214 h 582828"/>
                <a:gd name="connsiteX37" fmla="*/ 82816 w 693385"/>
                <a:gd name="connsiteY37" fmla="*/ 395809 h 582828"/>
                <a:gd name="connsiteX38" fmla="*/ 327329 w 693385"/>
                <a:gd name="connsiteY38" fmla="*/ 395809 h 582828"/>
                <a:gd name="connsiteX39" fmla="*/ 328805 w 693385"/>
                <a:gd name="connsiteY39" fmla="*/ 429589 h 582828"/>
                <a:gd name="connsiteX40" fmla="*/ 262632 w 693385"/>
                <a:gd name="connsiteY40" fmla="*/ 431423 h 582828"/>
                <a:gd name="connsiteX41" fmla="*/ 48947 w 693385"/>
                <a:gd name="connsiteY41" fmla="*/ 432184 h 582828"/>
                <a:gd name="connsiteX42" fmla="*/ 53153 w 693385"/>
                <a:gd name="connsiteY42" fmla="*/ 540905 h 582828"/>
                <a:gd name="connsiteX43" fmla="*/ 37538 w 693385"/>
                <a:gd name="connsiteY43" fmla="*/ 581575 h 582828"/>
                <a:gd name="connsiteX44" fmla="*/ 0 w 693385"/>
                <a:gd name="connsiteY44" fmla="*/ 582828 h 582828"/>
                <a:gd name="connsiteX45" fmla="*/ 447 w 693385"/>
                <a:gd name="connsiteY45" fmla="*/ 179036 h 582828"/>
                <a:gd name="connsiteX46" fmla="*/ 582 w 693385"/>
                <a:gd name="connsiteY46" fmla="*/ 2308 h 582828"/>
                <a:gd name="connsiteX47" fmla="*/ 346254 w 693385"/>
                <a:gd name="connsiteY47" fmla="*/ 1189 h 582828"/>
                <a:gd name="connsiteX48" fmla="*/ 219949 w 693385"/>
                <a:gd name="connsiteY48" fmla="*/ 40114 h 582828"/>
                <a:gd name="connsiteX49" fmla="*/ 218025 w 693385"/>
                <a:gd name="connsiteY49" fmla="*/ 57787 h 582828"/>
                <a:gd name="connsiteX50" fmla="*/ 391711 w 693385"/>
                <a:gd name="connsiteY50" fmla="*/ 58369 h 582828"/>
                <a:gd name="connsiteX51" fmla="*/ 389832 w 693385"/>
                <a:gd name="connsiteY51" fmla="*/ 41054 h 582828"/>
                <a:gd name="connsiteX52" fmla="*/ 219949 w 693385"/>
                <a:gd name="connsiteY52" fmla="*/ 40114 h 582828"/>
                <a:gd name="connsiteX53" fmla="*/ 34182 w 693385"/>
                <a:gd name="connsiteY53" fmla="*/ 229415 h 582828"/>
                <a:gd name="connsiteX54" fmla="*/ 33735 w 693385"/>
                <a:gd name="connsiteY54" fmla="*/ 244001 h 582828"/>
                <a:gd name="connsiteX55" fmla="*/ 62146 w 693385"/>
                <a:gd name="connsiteY55" fmla="*/ 236484 h 582828"/>
                <a:gd name="connsiteX56" fmla="*/ 34182 w 693385"/>
                <a:gd name="connsiteY56" fmla="*/ 229415 h 582828"/>
                <a:gd name="connsiteX57" fmla="*/ 35793 w 693385"/>
                <a:gd name="connsiteY57" fmla="*/ 301270 h 582828"/>
                <a:gd name="connsiteX58" fmla="*/ 30558 w 693385"/>
                <a:gd name="connsiteY58" fmla="*/ 312411 h 582828"/>
                <a:gd name="connsiteX59" fmla="*/ 35435 w 693385"/>
                <a:gd name="connsiteY59" fmla="*/ 324267 h 582828"/>
                <a:gd name="connsiteX60" fmla="*/ 61743 w 693385"/>
                <a:gd name="connsiteY60" fmla="*/ 323685 h 582828"/>
                <a:gd name="connsiteX61" fmla="*/ 57180 w 693385"/>
                <a:gd name="connsiteY61" fmla="*/ 300375 h 582828"/>
                <a:gd name="connsiteX62" fmla="*/ 35793 w 693385"/>
                <a:gd name="connsiteY62" fmla="*/ 301270 h 582828"/>
                <a:gd name="connsiteX63" fmla="*/ 34182 w 693385"/>
                <a:gd name="connsiteY63" fmla="*/ 372633 h 582828"/>
                <a:gd name="connsiteX64" fmla="*/ 34988 w 693385"/>
                <a:gd name="connsiteY64" fmla="*/ 382297 h 582828"/>
                <a:gd name="connsiteX65" fmla="*/ 52124 w 693385"/>
                <a:gd name="connsiteY65" fmla="*/ 379031 h 582828"/>
                <a:gd name="connsiteX66" fmla="*/ 34182 w 693385"/>
                <a:gd name="connsiteY66" fmla="*/ 372633 h 5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93385" h="582828">
                  <a:moveTo>
                    <a:pt x="346254" y="1144"/>
                  </a:moveTo>
                  <a:cubicBezTo>
                    <a:pt x="351802" y="965"/>
                    <a:pt x="357395" y="786"/>
                    <a:pt x="362987" y="697"/>
                  </a:cubicBezTo>
                  <a:cubicBezTo>
                    <a:pt x="405402" y="339"/>
                    <a:pt x="447862" y="1144"/>
                    <a:pt x="490277" y="26"/>
                  </a:cubicBezTo>
                  <a:cubicBezTo>
                    <a:pt x="506742" y="-108"/>
                    <a:pt x="523207" y="294"/>
                    <a:pt x="539671" y="921"/>
                  </a:cubicBezTo>
                  <a:cubicBezTo>
                    <a:pt x="541237" y="10272"/>
                    <a:pt x="542848" y="19578"/>
                    <a:pt x="544504" y="28929"/>
                  </a:cubicBezTo>
                  <a:cubicBezTo>
                    <a:pt x="560566" y="30584"/>
                    <a:pt x="576673" y="31569"/>
                    <a:pt x="592869" y="31837"/>
                  </a:cubicBezTo>
                  <a:cubicBezTo>
                    <a:pt x="593361" y="28974"/>
                    <a:pt x="594390" y="23202"/>
                    <a:pt x="594882" y="20338"/>
                  </a:cubicBezTo>
                  <a:cubicBezTo>
                    <a:pt x="599446" y="55192"/>
                    <a:pt x="593495" y="90314"/>
                    <a:pt x="597164" y="125168"/>
                  </a:cubicBezTo>
                  <a:cubicBezTo>
                    <a:pt x="598238" y="138098"/>
                    <a:pt x="605173" y="152818"/>
                    <a:pt x="619311" y="155189"/>
                  </a:cubicBezTo>
                  <a:cubicBezTo>
                    <a:pt x="643606" y="159798"/>
                    <a:pt x="668572" y="156845"/>
                    <a:pt x="693090" y="159350"/>
                  </a:cubicBezTo>
                  <a:cubicBezTo>
                    <a:pt x="692643" y="186642"/>
                    <a:pt x="693940" y="213979"/>
                    <a:pt x="693090" y="241272"/>
                  </a:cubicBezTo>
                  <a:cubicBezTo>
                    <a:pt x="693850" y="250802"/>
                    <a:pt x="687363" y="258139"/>
                    <a:pt x="682397" y="265477"/>
                  </a:cubicBezTo>
                  <a:cubicBezTo>
                    <a:pt x="678057" y="263508"/>
                    <a:pt x="673806" y="261495"/>
                    <a:pt x="669601" y="259392"/>
                  </a:cubicBezTo>
                  <a:cubicBezTo>
                    <a:pt x="666782" y="257960"/>
                    <a:pt x="661189" y="255097"/>
                    <a:pt x="658371" y="253665"/>
                  </a:cubicBezTo>
                  <a:cubicBezTo>
                    <a:pt x="657162" y="222346"/>
                    <a:pt x="657118" y="191027"/>
                    <a:pt x="658639" y="159753"/>
                  </a:cubicBezTo>
                  <a:cubicBezTo>
                    <a:pt x="649601" y="159842"/>
                    <a:pt x="640564" y="159977"/>
                    <a:pt x="631570" y="160111"/>
                  </a:cubicBezTo>
                  <a:cubicBezTo>
                    <a:pt x="634926" y="272054"/>
                    <a:pt x="631347" y="384086"/>
                    <a:pt x="631391" y="496074"/>
                  </a:cubicBezTo>
                  <a:cubicBezTo>
                    <a:pt x="631123" y="524127"/>
                    <a:pt x="633852" y="552180"/>
                    <a:pt x="632555" y="580233"/>
                  </a:cubicBezTo>
                  <a:cubicBezTo>
                    <a:pt x="613092" y="579741"/>
                    <a:pt x="593674" y="579741"/>
                    <a:pt x="574257" y="578891"/>
                  </a:cubicBezTo>
                  <a:cubicBezTo>
                    <a:pt x="573541" y="528780"/>
                    <a:pt x="577657" y="478446"/>
                    <a:pt x="572646" y="428470"/>
                  </a:cubicBezTo>
                  <a:cubicBezTo>
                    <a:pt x="572914" y="424891"/>
                    <a:pt x="573228" y="421356"/>
                    <a:pt x="573541" y="417866"/>
                  </a:cubicBezTo>
                  <a:cubicBezTo>
                    <a:pt x="573675" y="415316"/>
                    <a:pt x="573988" y="410260"/>
                    <a:pt x="574167" y="407755"/>
                  </a:cubicBezTo>
                  <a:lnTo>
                    <a:pt x="574391" y="401849"/>
                  </a:lnTo>
                  <a:cubicBezTo>
                    <a:pt x="554973" y="399925"/>
                    <a:pt x="535466" y="400775"/>
                    <a:pt x="516048" y="402207"/>
                  </a:cubicBezTo>
                  <a:cubicBezTo>
                    <a:pt x="514482" y="410439"/>
                    <a:pt x="512916" y="418716"/>
                    <a:pt x="511395" y="426994"/>
                  </a:cubicBezTo>
                  <a:cubicBezTo>
                    <a:pt x="517659" y="428112"/>
                    <a:pt x="523922" y="429186"/>
                    <a:pt x="530276" y="430170"/>
                  </a:cubicBezTo>
                  <a:cubicBezTo>
                    <a:pt x="468398" y="432228"/>
                    <a:pt x="406342" y="432765"/>
                    <a:pt x="344509" y="429902"/>
                  </a:cubicBezTo>
                  <a:cubicBezTo>
                    <a:pt x="344286" y="418090"/>
                    <a:pt x="344017" y="406323"/>
                    <a:pt x="343793" y="394601"/>
                  </a:cubicBezTo>
                  <a:cubicBezTo>
                    <a:pt x="354934" y="394556"/>
                    <a:pt x="366164" y="394377"/>
                    <a:pt x="377349" y="394780"/>
                  </a:cubicBezTo>
                  <a:lnTo>
                    <a:pt x="381600" y="395003"/>
                  </a:lnTo>
                  <a:cubicBezTo>
                    <a:pt x="445491" y="397017"/>
                    <a:pt x="509471" y="395451"/>
                    <a:pt x="573407" y="396525"/>
                  </a:cubicBezTo>
                  <a:cubicBezTo>
                    <a:pt x="573451" y="317377"/>
                    <a:pt x="574928" y="238274"/>
                    <a:pt x="572825" y="159171"/>
                  </a:cubicBezTo>
                  <a:cubicBezTo>
                    <a:pt x="573272" y="133266"/>
                    <a:pt x="572512" y="107405"/>
                    <a:pt x="572735" y="81500"/>
                  </a:cubicBezTo>
                  <a:cubicBezTo>
                    <a:pt x="495959" y="81724"/>
                    <a:pt x="419183" y="80784"/>
                    <a:pt x="342451" y="81903"/>
                  </a:cubicBezTo>
                  <a:cubicBezTo>
                    <a:pt x="257084" y="81187"/>
                    <a:pt x="171762" y="82395"/>
                    <a:pt x="86441" y="81232"/>
                  </a:cubicBezTo>
                  <a:lnTo>
                    <a:pt x="86530" y="82842"/>
                  </a:lnTo>
                  <a:cubicBezTo>
                    <a:pt x="84159" y="186285"/>
                    <a:pt x="85054" y="289772"/>
                    <a:pt x="82951" y="393214"/>
                  </a:cubicBezTo>
                  <a:lnTo>
                    <a:pt x="82816" y="395809"/>
                  </a:lnTo>
                  <a:cubicBezTo>
                    <a:pt x="164335" y="395227"/>
                    <a:pt x="245810" y="396167"/>
                    <a:pt x="327329" y="395809"/>
                  </a:cubicBezTo>
                  <a:cubicBezTo>
                    <a:pt x="328268" y="407039"/>
                    <a:pt x="328626" y="418314"/>
                    <a:pt x="328805" y="429589"/>
                  </a:cubicBezTo>
                  <a:cubicBezTo>
                    <a:pt x="306747" y="430886"/>
                    <a:pt x="284690" y="430752"/>
                    <a:pt x="262632" y="431423"/>
                  </a:cubicBezTo>
                  <a:cubicBezTo>
                    <a:pt x="191404" y="431423"/>
                    <a:pt x="120175" y="431781"/>
                    <a:pt x="48947" y="432184"/>
                  </a:cubicBezTo>
                  <a:cubicBezTo>
                    <a:pt x="50200" y="468335"/>
                    <a:pt x="45234" y="505291"/>
                    <a:pt x="53153" y="540905"/>
                  </a:cubicBezTo>
                  <a:cubicBezTo>
                    <a:pt x="48723" y="554730"/>
                    <a:pt x="43489" y="568287"/>
                    <a:pt x="37538" y="581575"/>
                  </a:cubicBezTo>
                  <a:cubicBezTo>
                    <a:pt x="25010" y="581844"/>
                    <a:pt x="12483" y="582291"/>
                    <a:pt x="0" y="582828"/>
                  </a:cubicBezTo>
                  <a:cubicBezTo>
                    <a:pt x="179" y="448246"/>
                    <a:pt x="537" y="313619"/>
                    <a:pt x="447" y="179036"/>
                  </a:cubicBezTo>
                  <a:cubicBezTo>
                    <a:pt x="761" y="120157"/>
                    <a:pt x="-537" y="61232"/>
                    <a:pt x="582" y="2308"/>
                  </a:cubicBezTo>
                  <a:cubicBezTo>
                    <a:pt x="115791" y="1189"/>
                    <a:pt x="231045" y="1950"/>
                    <a:pt x="346254" y="1189"/>
                  </a:cubicBezTo>
                  <a:close/>
                  <a:moveTo>
                    <a:pt x="219949" y="40114"/>
                  </a:moveTo>
                  <a:cubicBezTo>
                    <a:pt x="219278" y="45975"/>
                    <a:pt x="218651" y="51881"/>
                    <a:pt x="218025" y="57787"/>
                  </a:cubicBezTo>
                  <a:cubicBezTo>
                    <a:pt x="275921" y="58592"/>
                    <a:pt x="333816" y="59129"/>
                    <a:pt x="391711" y="58369"/>
                  </a:cubicBezTo>
                  <a:cubicBezTo>
                    <a:pt x="391040" y="52597"/>
                    <a:pt x="390414" y="46825"/>
                    <a:pt x="389832" y="41054"/>
                  </a:cubicBezTo>
                  <a:cubicBezTo>
                    <a:pt x="333190" y="39398"/>
                    <a:pt x="276592" y="40159"/>
                    <a:pt x="219949" y="40114"/>
                  </a:cubicBezTo>
                  <a:close/>
                  <a:moveTo>
                    <a:pt x="34182" y="229415"/>
                  </a:moveTo>
                  <a:cubicBezTo>
                    <a:pt x="26532" y="230444"/>
                    <a:pt x="32617" y="239795"/>
                    <a:pt x="33735" y="244001"/>
                  </a:cubicBezTo>
                  <a:cubicBezTo>
                    <a:pt x="42728" y="241495"/>
                    <a:pt x="57627" y="246775"/>
                    <a:pt x="62146" y="236484"/>
                  </a:cubicBezTo>
                  <a:cubicBezTo>
                    <a:pt x="58880" y="225747"/>
                    <a:pt x="42996" y="228476"/>
                    <a:pt x="34182" y="229415"/>
                  </a:cubicBezTo>
                  <a:close/>
                  <a:moveTo>
                    <a:pt x="35793" y="301270"/>
                  </a:moveTo>
                  <a:cubicBezTo>
                    <a:pt x="34451" y="304089"/>
                    <a:pt x="31856" y="309637"/>
                    <a:pt x="30558" y="312411"/>
                  </a:cubicBezTo>
                  <a:cubicBezTo>
                    <a:pt x="31811" y="315364"/>
                    <a:pt x="34227" y="321270"/>
                    <a:pt x="35435" y="324267"/>
                  </a:cubicBezTo>
                  <a:cubicBezTo>
                    <a:pt x="44205" y="324044"/>
                    <a:pt x="52974" y="323909"/>
                    <a:pt x="61743" y="323685"/>
                  </a:cubicBezTo>
                  <a:cubicBezTo>
                    <a:pt x="61117" y="315722"/>
                    <a:pt x="59909" y="307847"/>
                    <a:pt x="57180" y="300375"/>
                  </a:cubicBezTo>
                  <a:cubicBezTo>
                    <a:pt x="50021" y="300688"/>
                    <a:pt x="42907" y="301002"/>
                    <a:pt x="35793" y="301270"/>
                  </a:cubicBezTo>
                  <a:close/>
                  <a:moveTo>
                    <a:pt x="34182" y="372633"/>
                  </a:moveTo>
                  <a:cubicBezTo>
                    <a:pt x="34406" y="375049"/>
                    <a:pt x="34809" y="379881"/>
                    <a:pt x="34988" y="382297"/>
                  </a:cubicBezTo>
                  <a:cubicBezTo>
                    <a:pt x="40715" y="381268"/>
                    <a:pt x="46397" y="380149"/>
                    <a:pt x="52124" y="379031"/>
                  </a:cubicBezTo>
                  <a:cubicBezTo>
                    <a:pt x="49126" y="371335"/>
                    <a:pt x="40536" y="373662"/>
                    <a:pt x="34182" y="372633"/>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Freeform: Shape 67">
              <a:extLst>
                <a:ext uri="{FF2B5EF4-FFF2-40B4-BE49-F238E27FC236}">
                  <a16:creationId xmlns:a16="http://schemas.microsoft.com/office/drawing/2014/main" id="{EE94CA94-6E2B-A2B9-E4D5-01BA8324660E}"/>
                </a:ext>
              </a:extLst>
            </p:cNvPr>
            <p:cNvSpPr/>
            <p:nvPr/>
          </p:nvSpPr>
          <p:spPr>
            <a:xfrm flipH="1">
              <a:off x="3649488" y="2896979"/>
              <a:ext cx="545460" cy="690625"/>
            </a:xfrm>
            <a:custGeom>
              <a:avLst/>
              <a:gdLst>
                <a:gd name="connsiteX0" fmla="*/ 397 w 457297"/>
                <a:gd name="connsiteY0" fmla="*/ 582 h 578999"/>
                <a:gd name="connsiteX1" fmla="*/ 456850 w 457297"/>
                <a:gd name="connsiteY1" fmla="*/ 0 h 578999"/>
                <a:gd name="connsiteX2" fmla="*/ 456313 w 457297"/>
                <a:gd name="connsiteY2" fmla="*/ 207511 h 578999"/>
                <a:gd name="connsiteX3" fmla="*/ 457297 w 457297"/>
                <a:gd name="connsiteY3" fmla="*/ 458152 h 578999"/>
                <a:gd name="connsiteX4" fmla="*/ 456760 w 457297"/>
                <a:gd name="connsiteY4" fmla="*/ 577388 h 578999"/>
                <a:gd name="connsiteX5" fmla="*/ 307771 w 457297"/>
                <a:gd name="connsiteY5" fmla="*/ 577031 h 578999"/>
                <a:gd name="connsiteX6" fmla="*/ 308219 w 457297"/>
                <a:gd name="connsiteY6" fmla="*/ 542982 h 578999"/>
                <a:gd name="connsiteX7" fmla="*/ 328442 w 457297"/>
                <a:gd name="connsiteY7" fmla="*/ 535063 h 578999"/>
                <a:gd name="connsiteX8" fmla="*/ 319941 w 457297"/>
                <a:gd name="connsiteY8" fmla="*/ 496406 h 578999"/>
                <a:gd name="connsiteX9" fmla="*/ 291127 w 457297"/>
                <a:gd name="connsiteY9" fmla="*/ 489651 h 578999"/>
                <a:gd name="connsiteX10" fmla="*/ 274931 w 457297"/>
                <a:gd name="connsiteY10" fmla="*/ 503341 h 578999"/>
                <a:gd name="connsiteX11" fmla="*/ 277258 w 457297"/>
                <a:gd name="connsiteY11" fmla="*/ 495064 h 578999"/>
                <a:gd name="connsiteX12" fmla="*/ 279003 w 457297"/>
                <a:gd name="connsiteY12" fmla="*/ 487145 h 578999"/>
                <a:gd name="connsiteX13" fmla="*/ 247325 w 457297"/>
                <a:gd name="connsiteY13" fmla="*/ 483566 h 578999"/>
                <a:gd name="connsiteX14" fmla="*/ 231263 w 457297"/>
                <a:gd name="connsiteY14" fmla="*/ 511171 h 578999"/>
                <a:gd name="connsiteX15" fmla="*/ 223299 w 457297"/>
                <a:gd name="connsiteY15" fmla="*/ 508263 h 578999"/>
                <a:gd name="connsiteX16" fmla="*/ 214083 w 457297"/>
                <a:gd name="connsiteY16" fmla="*/ 514661 h 578999"/>
                <a:gd name="connsiteX17" fmla="*/ 182853 w 457297"/>
                <a:gd name="connsiteY17" fmla="*/ 506026 h 578999"/>
                <a:gd name="connsiteX18" fmla="*/ 177574 w 457297"/>
                <a:gd name="connsiteY18" fmla="*/ 542714 h 578999"/>
                <a:gd name="connsiteX19" fmla="*/ 181242 w 457297"/>
                <a:gd name="connsiteY19" fmla="*/ 570185 h 578999"/>
                <a:gd name="connsiteX20" fmla="*/ 173815 w 457297"/>
                <a:gd name="connsiteY20" fmla="*/ 577120 h 578999"/>
                <a:gd name="connsiteX21" fmla="*/ 218 w 457297"/>
                <a:gd name="connsiteY21" fmla="*/ 578999 h 578999"/>
                <a:gd name="connsiteX22" fmla="*/ 129 w 457297"/>
                <a:gd name="connsiteY22" fmla="*/ 354039 h 578999"/>
                <a:gd name="connsiteX23" fmla="*/ 397 w 457297"/>
                <a:gd name="connsiteY23" fmla="*/ 582 h 578999"/>
                <a:gd name="connsiteX24" fmla="*/ 109790 w 457297"/>
                <a:gd name="connsiteY24" fmla="*/ 47471 h 578999"/>
                <a:gd name="connsiteX25" fmla="*/ 109343 w 457297"/>
                <a:gd name="connsiteY25" fmla="*/ 63264 h 578999"/>
                <a:gd name="connsiteX26" fmla="*/ 147731 w 457297"/>
                <a:gd name="connsiteY26" fmla="*/ 64562 h 578999"/>
                <a:gd name="connsiteX27" fmla="*/ 158066 w 457297"/>
                <a:gd name="connsiteY27" fmla="*/ 63354 h 578999"/>
                <a:gd name="connsiteX28" fmla="*/ 177976 w 457297"/>
                <a:gd name="connsiteY28" fmla="*/ 64696 h 578999"/>
                <a:gd name="connsiteX29" fmla="*/ 177663 w 457297"/>
                <a:gd name="connsiteY29" fmla="*/ 45368 h 578999"/>
                <a:gd name="connsiteX30" fmla="*/ 109790 w 457297"/>
                <a:gd name="connsiteY30" fmla="*/ 47471 h 578999"/>
                <a:gd name="connsiteX31" fmla="*/ 200660 w 457297"/>
                <a:gd name="connsiteY31" fmla="*/ 45905 h 578999"/>
                <a:gd name="connsiteX32" fmla="*/ 201197 w 457297"/>
                <a:gd name="connsiteY32" fmla="*/ 64249 h 578999"/>
                <a:gd name="connsiteX33" fmla="*/ 222897 w 457297"/>
                <a:gd name="connsiteY33" fmla="*/ 64204 h 578999"/>
                <a:gd name="connsiteX34" fmla="*/ 222449 w 457297"/>
                <a:gd name="connsiteY34" fmla="*/ 46531 h 578999"/>
                <a:gd name="connsiteX35" fmla="*/ 200660 w 457297"/>
                <a:gd name="connsiteY35" fmla="*/ 45905 h 578999"/>
                <a:gd name="connsiteX36" fmla="*/ 234977 w 457297"/>
                <a:gd name="connsiteY36" fmla="*/ 46218 h 578999"/>
                <a:gd name="connsiteX37" fmla="*/ 234306 w 457297"/>
                <a:gd name="connsiteY37" fmla="*/ 64070 h 578999"/>
                <a:gd name="connsiteX38" fmla="*/ 256855 w 457297"/>
                <a:gd name="connsiteY38" fmla="*/ 63041 h 578999"/>
                <a:gd name="connsiteX39" fmla="*/ 256498 w 457297"/>
                <a:gd name="connsiteY39" fmla="*/ 48589 h 578999"/>
                <a:gd name="connsiteX40" fmla="*/ 234977 w 457297"/>
                <a:gd name="connsiteY40" fmla="*/ 46218 h 578999"/>
                <a:gd name="connsiteX41" fmla="*/ 269070 w 457297"/>
                <a:gd name="connsiteY41" fmla="*/ 46800 h 578999"/>
                <a:gd name="connsiteX42" fmla="*/ 269249 w 457297"/>
                <a:gd name="connsiteY42" fmla="*/ 64875 h 578999"/>
                <a:gd name="connsiteX43" fmla="*/ 318241 w 457297"/>
                <a:gd name="connsiteY43" fmla="*/ 64830 h 578999"/>
                <a:gd name="connsiteX44" fmla="*/ 326876 w 457297"/>
                <a:gd name="connsiteY44" fmla="*/ 52929 h 578999"/>
                <a:gd name="connsiteX45" fmla="*/ 339582 w 457297"/>
                <a:gd name="connsiteY45" fmla="*/ 64472 h 578999"/>
                <a:gd name="connsiteX46" fmla="*/ 339985 w 457297"/>
                <a:gd name="connsiteY46" fmla="*/ 47963 h 578999"/>
                <a:gd name="connsiteX47" fmla="*/ 269070 w 457297"/>
                <a:gd name="connsiteY47" fmla="*/ 46800 h 578999"/>
                <a:gd name="connsiteX48" fmla="*/ 42096 w 457297"/>
                <a:gd name="connsiteY48" fmla="*/ 86798 h 578999"/>
                <a:gd name="connsiteX49" fmla="*/ 41828 w 457297"/>
                <a:gd name="connsiteY49" fmla="*/ 403434 h 578999"/>
                <a:gd name="connsiteX50" fmla="*/ 411929 w 457297"/>
                <a:gd name="connsiteY50" fmla="*/ 402584 h 578999"/>
                <a:gd name="connsiteX51" fmla="*/ 412958 w 457297"/>
                <a:gd name="connsiteY51" fmla="*/ 161159 h 578999"/>
                <a:gd name="connsiteX52" fmla="*/ 412824 w 457297"/>
                <a:gd name="connsiteY52" fmla="*/ 86664 h 578999"/>
                <a:gd name="connsiteX53" fmla="*/ 242314 w 457297"/>
                <a:gd name="connsiteY53" fmla="*/ 85993 h 578999"/>
                <a:gd name="connsiteX54" fmla="*/ 83840 w 457297"/>
                <a:gd name="connsiteY54" fmla="*/ 87469 h 578999"/>
                <a:gd name="connsiteX55" fmla="*/ 42096 w 457297"/>
                <a:gd name="connsiteY55" fmla="*/ 86798 h 578999"/>
                <a:gd name="connsiteX56" fmla="*/ 96099 w 457297"/>
                <a:gd name="connsiteY56" fmla="*/ 450904 h 578999"/>
                <a:gd name="connsiteX57" fmla="*/ 96413 w 457297"/>
                <a:gd name="connsiteY57" fmla="*/ 464819 h 578999"/>
                <a:gd name="connsiteX58" fmla="*/ 147015 w 457297"/>
                <a:gd name="connsiteY58" fmla="*/ 464461 h 578999"/>
                <a:gd name="connsiteX59" fmla="*/ 147105 w 457297"/>
                <a:gd name="connsiteY59" fmla="*/ 450860 h 578999"/>
                <a:gd name="connsiteX60" fmla="*/ 96099 w 457297"/>
                <a:gd name="connsiteY60" fmla="*/ 450860 h 578999"/>
                <a:gd name="connsiteX61" fmla="*/ 308935 w 457297"/>
                <a:gd name="connsiteY61" fmla="*/ 478823 h 578999"/>
                <a:gd name="connsiteX62" fmla="*/ 327278 w 457297"/>
                <a:gd name="connsiteY62" fmla="*/ 461642 h 578999"/>
                <a:gd name="connsiteX63" fmla="*/ 353631 w 457297"/>
                <a:gd name="connsiteY63" fmla="*/ 460658 h 578999"/>
                <a:gd name="connsiteX64" fmla="*/ 373317 w 457297"/>
                <a:gd name="connsiteY64" fmla="*/ 477794 h 578999"/>
                <a:gd name="connsiteX65" fmla="*/ 357479 w 457297"/>
                <a:gd name="connsiteY65" fmla="*/ 449965 h 578999"/>
                <a:gd name="connsiteX66" fmla="*/ 308935 w 457297"/>
                <a:gd name="connsiteY66" fmla="*/ 478823 h 578999"/>
                <a:gd name="connsiteX67" fmla="*/ 336003 w 457297"/>
                <a:gd name="connsiteY67" fmla="*/ 475602 h 578999"/>
                <a:gd name="connsiteX68" fmla="*/ 336808 w 457297"/>
                <a:gd name="connsiteY68" fmla="*/ 489337 h 578999"/>
                <a:gd name="connsiteX69" fmla="*/ 349381 w 457297"/>
                <a:gd name="connsiteY69" fmla="*/ 471127 h 578999"/>
                <a:gd name="connsiteX70" fmla="*/ 336003 w 457297"/>
                <a:gd name="connsiteY70" fmla="*/ 475602 h 578999"/>
                <a:gd name="connsiteX71" fmla="*/ 58561 w 457297"/>
                <a:gd name="connsiteY71" fmla="*/ 484058 h 578999"/>
                <a:gd name="connsiteX72" fmla="*/ 57935 w 457297"/>
                <a:gd name="connsiteY72" fmla="*/ 540969 h 578999"/>
                <a:gd name="connsiteX73" fmla="*/ 150237 w 457297"/>
                <a:gd name="connsiteY73" fmla="*/ 540432 h 578999"/>
                <a:gd name="connsiteX74" fmla="*/ 149923 w 457297"/>
                <a:gd name="connsiteY74" fmla="*/ 483297 h 578999"/>
                <a:gd name="connsiteX75" fmla="*/ 58561 w 457297"/>
                <a:gd name="connsiteY75" fmla="*/ 484058 h 57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57297" h="578999">
                  <a:moveTo>
                    <a:pt x="397" y="582"/>
                  </a:moveTo>
                  <a:cubicBezTo>
                    <a:pt x="152563" y="-89"/>
                    <a:pt x="304684" y="268"/>
                    <a:pt x="456850" y="0"/>
                  </a:cubicBezTo>
                  <a:cubicBezTo>
                    <a:pt x="457834" y="69170"/>
                    <a:pt x="455239" y="138341"/>
                    <a:pt x="456313" y="207511"/>
                  </a:cubicBezTo>
                  <a:cubicBezTo>
                    <a:pt x="457118" y="291043"/>
                    <a:pt x="455284" y="374620"/>
                    <a:pt x="457297" y="458152"/>
                  </a:cubicBezTo>
                  <a:cubicBezTo>
                    <a:pt x="455955" y="497883"/>
                    <a:pt x="456223" y="537613"/>
                    <a:pt x="456760" y="577388"/>
                  </a:cubicBezTo>
                  <a:cubicBezTo>
                    <a:pt x="407097" y="576852"/>
                    <a:pt x="357434" y="577567"/>
                    <a:pt x="307771" y="577031"/>
                  </a:cubicBezTo>
                  <a:cubicBezTo>
                    <a:pt x="307547" y="565666"/>
                    <a:pt x="308084" y="554302"/>
                    <a:pt x="308219" y="542982"/>
                  </a:cubicBezTo>
                  <a:cubicBezTo>
                    <a:pt x="315019" y="541014"/>
                    <a:pt x="325534" y="543609"/>
                    <a:pt x="328442" y="535063"/>
                  </a:cubicBezTo>
                  <a:cubicBezTo>
                    <a:pt x="332290" y="521954"/>
                    <a:pt x="330366" y="506071"/>
                    <a:pt x="319941" y="496406"/>
                  </a:cubicBezTo>
                  <a:cubicBezTo>
                    <a:pt x="312559" y="488442"/>
                    <a:pt x="300702" y="491172"/>
                    <a:pt x="291127" y="489651"/>
                  </a:cubicBezTo>
                  <a:cubicBezTo>
                    <a:pt x="285714" y="494214"/>
                    <a:pt x="280300" y="498733"/>
                    <a:pt x="274931" y="503341"/>
                  </a:cubicBezTo>
                  <a:cubicBezTo>
                    <a:pt x="275513" y="501283"/>
                    <a:pt x="276676" y="497122"/>
                    <a:pt x="277258" y="495064"/>
                  </a:cubicBezTo>
                  <a:cubicBezTo>
                    <a:pt x="277660" y="493096"/>
                    <a:pt x="278555" y="489114"/>
                    <a:pt x="279003" y="487145"/>
                  </a:cubicBezTo>
                  <a:cubicBezTo>
                    <a:pt x="268712" y="484639"/>
                    <a:pt x="257840" y="479136"/>
                    <a:pt x="247325" y="483566"/>
                  </a:cubicBezTo>
                  <a:cubicBezTo>
                    <a:pt x="236856" y="488800"/>
                    <a:pt x="234843" y="501239"/>
                    <a:pt x="231263" y="511171"/>
                  </a:cubicBezTo>
                  <a:cubicBezTo>
                    <a:pt x="229250" y="510455"/>
                    <a:pt x="225268" y="508979"/>
                    <a:pt x="223299" y="508263"/>
                  </a:cubicBezTo>
                  <a:cubicBezTo>
                    <a:pt x="220212" y="510366"/>
                    <a:pt x="217125" y="512469"/>
                    <a:pt x="214083" y="514661"/>
                  </a:cubicBezTo>
                  <a:cubicBezTo>
                    <a:pt x="204463" y="510455"/>
                    <a:pt x="193815" y="499896"/>
                    <a:pt x="182853" y="506026"/>
                  </a:cubicBezTo>
                  <a:cubicBezTo>
                    <a:pt x="172026" y="515108"/>
                    <a:pt x="175381" y="530589"/>
                    <a:pt x="177574" y="542714"/>
                  </a:cubicBezTo>
                  <a:cubicBezTo>
                    <a:pt x="178603" y="551886"/>
                    <a:pt x="179855" y="561058"/>
                    <a:pt x="181242" y="570185"/>
                  </a:cubicBezTo>
                  <a:cubicBezTo>
                    <a:pt x="178737" y="572467"/>
                    <a:pt x="176321" y="574838"/>
                    <a:pt x="173815" y="577120"/>
                  </a:cubicBezTo>
                  <a:cubicBezTo>
                    <a:pt x="115965" y="576404"/>
                    <a:pt x="58069" y="577165"/>
                    <a:pt x="218" y="578999"/>
                  </a:cubicBezTo>
                  <a:cubicBezTo>
                    <a:pt x="-274" y="504012"/>
                    <a:pt x="308" y="429026"/>
                    <a:pt x="129" y="354039"/>
                  </a:cubicBezTo>
                  <a:cubicBezTo>
                    <a:pt x="218" y="236235"/>
                    <a:pt x="-363" y="118386"/>
                    <a:pt x="397" y="582"/>
                  </a:cubicBezTo>
                  <a:close/>
                  <a:moveTo>
                    <a:pt x="109790" y="47471"/>
                  </a:moveTo>
                  <a:cubicBezTo>
                    <a:pt x="109656" y="52705"/>
                    <a:pt x="109477" y="57985"/>
                    <a:pt x="109343" y="63264"/>
                  </a:cubicBezTo>
                  <a:cubicBezTo>
                    <a:pt x="122139" y="62772"/>
                    <a:pt x="134980" y="63130"/>
                    <a:pt x="147731" y="64562"/>
                  </a:cubicBezTo>
                  <a:cubicBezTo>
                    <a:pt x="150326" y="64249"/>
                    <a:pt x="155471" y="63667"/>
                    <a:pt x="158066" y="63354"/>
                  </a:cubicBezTo>
                  <a:cubicBezTo>
                    <a:pt x="164688" y="63667"/>
                    <a:pt x="171310" y="64114"/>
                    <a:pt x="177976" y="64696"/>
                  </a:cubicBezTo>
                  <a:cubicBezTo>
                    <a:pt x="193681" y="69170"/>
                    <a:pt x="193278" y="40804"/>
                    <a:pt x="177663" y="45368"/>
                  </a:cubicBezTo>
                  <a:cubicBezTo>
                    <a:pt x="155069" y="46889"/>
                    <a:pt x="132340" y="45189"/>
                    <a:pt x="109790" y="47471"/>
                  </a:cubicBezTo>
                  <a:close/>
                  <a:moveTo>
                    <a:pt x="200660" y="45905"/>
                  </a:moveTo>
                  <a:cubicBezTo>
                    <a:pt x="200839" y="51990"/>
                    <a:pt x="201018" y="58119"/>
                    <a:pt x="201197" y="64249"/>
                  </a:cubicBezTo>
                  <a:cubicBezTo>
                    <a:pt x="208445" y="64249"/>
                    <a:pt x="215649" y="64204"/>
                    <a:pt x="222897" y="64204"/>
                  </a:cubicBezTo>
                  <a:cubicBezTo>
                    <a:pt x="222762" y="58298"/>
                    <a:pt x="222583" y="52392"/>
                    <a:pt x="222449" y="46531"/>
                  </a:cubicBezTo>
                  <a:cubicBezTo>
                    <a:pt x="215156" y="46352"/>
                    <a:pt x="207908" y="45994"/>
                    <a:pt x="200660" y="45905"/>
                  </a:cubicBezTo>
                  <a:close/>
                  <a:moveTo>
                    <a:pt x="234977" y="46218"/>
                  </a:moveTo>
                  <a:cubicBezTo>
                    <a:pt x="234753" y="52169"/>
                    <a:pt x="234485" y="58119"/>
                    <a:pt x="234306" y="64070"/>
                  </a:cubicBezTo>
                  <a:cubicBezTo>
                    <a:pt x="241778" y="63757"/>
                    <a:pt x="249294" y="63399"/>
                    <a:pt x="256855" y="63041"/>
                  </a:cubicBezTo>
                  <a:cubicBezTo>
                    <a:pt x="256721" y="58209"/>
                    <a:pt x="256587" y="53377"/>
                    <a:pt x="256498" y="48589"/>
                  </a:cubicBezTo>
                  <a:cubicBezTo>
                    <a:pt x="249294" y="47650"/>
                    <a:pt x="242180" y="46665"/>
                    <a:pt x="234977" y="46218"/>
                  </a:cubicBezTo>
                  <a:close/>
                  <a:moveTo>
                    <a:pt x="269070" y="46800"/>
                  </a:moveTo>
                  <a:cubicBezTo>
                    <a:pt x="269115" y="52795"/>
                    <a:pt x="269159" y="58835"/>
                    <a:pt x="269249" y="64875"/>
                  </a:cubicBezTo>
                  <a:cubicBezTo>
                    <a:pt x="285580" y="64472"/>
                    <a:pt x="301910" y="64472"/>
                    <a:pt x="318241" y="64830"/>
                  </a:cubicBezTo>
                  <a:cubicBezTo>
                    <a:pt x="321104" y="60848"/>
                    <a:pt x="323968" y="56866"/>
                    <a:pt x="326876" y="52929"/>
                  </a:cubicBezTo>
                  <a:cubicBezTo>
                    <a:pt x="327726" y="60401"/>
                    <a:pt x="332334" y="64249"/>
                    <a:pt x="339582" y="64472"/>
                  </a:cubicBezTo>
                  <a:cubicBezTo>
                    <a:pt x="339717" y="58924"/>
                    <a:pt x="339851" y="53466"/>
                    <a:pt x="339985" y="47963"/>
                  </a:cubicBezTo>
                  <a:cubicBezTo>
                    <a:pt x="316317" y="48142"/>
                    <a:pt x="292693" y="47471"/>
                    <a:pt x="269070" y="46800"/>
                  </a:cubicBezTo>
                  <a:close/>
                  <a:moveTo>
                    <a:pt x="42096" y="86798"/>
                  </a:moveTo>
                  <a:cubicBezTo>
                    <a:pt x="41157" y="192343"/>
                    <a:pt x="41694" y="297889"/>
                    <a:pt x="41828" y="403434"/>
                  </a:cubicBezTo>
                  <a:cubicBezTo>
                    <a:pt x="165180" y="403344"/>
                    <a:pt x="288577" y="403478"/>
                    <a:pt x="411929" y="402584"/>
                  </a:cubicBezTo>
                  <a:cubicBezTo>
                    <a:pt x="414614" y="322183"/>
                    <a:pt x="411974" y="241649"/>
                    <a:pt x="412958" y="161159"/>
                  </a:cubicBezTo>
                  <a:cubicBezTo>
                    <a:pt x="413406" y="136327"/>
                    <a:pt x="413272" y="111496"/>
                    <a:pt x="412824" y="86664"/>
                  </a:cubicBezTo>
                  <a:cubicBezTo>
                    <a:pt x="356003" y="85725"/>
                    <a:pt x="299136" y="88767"/>
                    <a:pt x="242314" y="85993"/>
                  </a:cubicBezTo>
                  <a:cubicBezTo>
                    <a:pt x="189520" y="86127"/>
                    <a:pt x="136590" y="84517"/>
                    <a:pt x="83840" y="87469"/>
                  </a:cubicBezTo>
                  <a:cubicBezTo>
                    <a:pt x="70015" y="85367"/>
                    <a:pt x="56011" y="85904"/>
                    <a:pt x="42096" y="86798"/>
                  </a:cubicBezTo>
                  <a:close/>
                  <a:moveTo>
                    <a:pt x="96099" y="450904"/>
                  </a:moveTo>
                  <a:cubicBezTo>
                    <a:pt x="96189" y="455513"/>
                    <a:pt x="96278" y="460166"/>
                    <a:pt x="96413" y="464819"/>
                  </a:cubicBezTo>
                  <a:cubicBezTo>
                    <a:pt x="113280" y="464506"/>
                    <a:pt x="130148" y="464327"/>
                    <a:pt x="147015" y="464461"/>
                  </a:cubicBezTo>
                  <a:cubicBezTo>
                    <a:pt x="146926" y="459897"/>
                    <a:pt x="147015" y="455334"/>
                    <a:pt x="147105" y="450860"/>
                  </a:cubicBezTo>
                  <a:cubicBezTo>
                    <a:pt x="130103" y="450949"/>
                    <a:pt x="113101" y="450949"/>
                    <a:pt x="96099" y="450860"/>
                  </a:cubicBezTo>
                  <a:close/>
                  <a:moveTo>
                    <a:pt x="308935" y="478823"/>
                  </a:moveTo>
                  <a:cubicBezTo>
                    <a:pt x="314930" y="472962"/>
                    <a:pt x="320478" y="466609"/>
                    <a:pt x="327278" y="461642"/>
                  </a:cubicBezTo>
                  <a:cubicBezTo>
                    <a:pt x="335824" y="459047"/>
                    <a:pt x="344862" y="460390"/>
                    <a:pt x="353631" y="460658"/>
                  </a:cubicBezTo>
                  <a:cubicBezTo>
                    <a:pt x="359448" y="467190"/>
                    <a:pt x="365980" y="473007"/>
                    <a:pt x="373317" y="477794"/>
                  </a:cubicBezTo>
                  <a:cubicBezTo>
                    <a:pt x="373541" y="466340"/>
                    <a:pt x="367322" y="455692"/>
                    <a:pt x="357479" y="449965"/>
                  </a:cubicBezTo>
                  <a:cubicBezTo>
                    <a:pt x="337122" y="437750"/>
                    <a:pt x="303834" y="452247"/>
                    <a:pt x="308935" y="478823"/>
                  </a:cubicBezTo>
                  <a:close/>
                  <a:moveTo>
                    <a:pt x="336003" y="475602"/>
                  </a:moveTo>
                  <a:cubicBezTo>
                    <a:pt x="336227" y="479047"/>
                    <a:pt x="336629" y="485892"/>
                    <a:pt x="336808" y="489337"/>
                  </a:cubicBezTo>
                  <a:cubicBezTo>
                    <a:pt x="348844" y="490322"/>
                    <a:pt x="352871" y="481731"/>
                    <a:pt x="349381" y="471127"/>
                  </a:cubicBezTo>
                  <a:cubicBezTo>
                    <a:pt x="344907" y="472604"/>
                    <a:pt x="340432" y="474125"/>
                    <a:pt x="336003" y="475602"/>
                  </a:cubicBezTo>
                  <a:close/>
                  <a:moveTo>
                    <a:pt x="58561" y="484058"/>
                  </a:moveTo>
                  <a:cubicBezTo>
                    <a:pt x="57577" y="503028"/>
                    <a:pt x="57532" y="521998"/>
                    <a:pt x="57935" y="540969"/>
                  </a:cubicBezTo>
                  <a:cubicBezTo>
                    <a:pt x="88717" y="541595"/>
                    <a:pt x="119454" y="540074"/>
                    <a:pt x="150237" y="540432"/>
                  </a:cubicBezTo>
                  <a:cubicBezTo>
                    <a:pt x="150818" y="521372"/>
                    <a:pt x="150908" y="502312"/>
                    <a:pt x="149923" y="483297"/>
                  </a:cubicBezTo>
                  <a:cubicBezTo>
                    <a:pt x="119454" y="483655"/>
                    <a:pt x="88986" y="482581"/>
                    <a:pt x="58561" y="484058"/>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Freeform: Shape 68">
              <a:extLst>
                <a:ext uri="{FF2B5EF4-FFF2-40B4-BE49-F238E27FC236}">
                  <a16:creationId xmlns:a16="http://schemas.microsoft.com/office/drawing/2014/main" id="{79C2FF5F-00BF-F177-C4B6-C59F66043C48}"/>
                </a:ext>
              </a:extLst>
            </p:cNvPr>
            <p:cNvSpPr/>
            <p:nvPr/>
          </p:nvSpPr>
          <p:spPr>
            <a:xfrm flipH="1">
              <a:off x="3150291" y="3027622"/>
              <a:ext cx="39171" cy="96327"/>
            </a:xfrm>
            <a:custGeom>
              <a:avLst/>
              <a:gdLst>
                <a:gd name="connsiteX0" fmla="*/ 5548 w 32840"/>
                <a:gd name="connsiteY0" fmla="*/ 11498 h 80758"/>
                <a:gd name="connsiteX1" fmla="*/ 14899 w 32840"/>
                <a:gd name="connsiteY1" fmla="*/ 0 h 80758"/>
                <a:gd name="connsiteX2" fmla="*/ 32840 w 32840"/>
                <a:gd name="connsiteY2" fmla="*/ 72705 h 80758"/>
                <a:gd name="connsiteX3" fmla="*/ 32661 w 32840"/>
                <a:gd name="connsiteY3" fmla="*/ 80758 h 80758"/>
                <a:gd name="connsiteX4" fmla="*/ 18568 w 32840"/>
                <a:gd name="connsiteY4" fmla="*/ 49887 h 80758"/>
                <a:gd name="connsiteX5" fmla="*/ 12707 w 32840"/>
                <a:gd name="connsiteY5" fmla="*/ 33332 h 80758"/>
                <a:gd name="connsiteX6" fmla="*/ 2908 w 32840"/>
                <a:gd name="connsiteY6" fmla="*/ 42728 h 80758"/>
                <a:gd name="connsiteX7" fmla="*/ 11901 w 32840"/>
                <a:gd name="connsiteY7" fmla="*/ 32616 h 80758"/>
                <a:gd name="connsiteX8" fmla="*/ 10827 w 32840"/>
                <a:gd name="connsiteY8" fmla="*/ 13557 h 80758"/>
                <a:gd name="connsiteX9" fmla="*/ 0 w 32840"/>
                <a:gd name="connsiteY9" fmla="*/ 14049 h 80758"/>
                <a:gd name="connsiteX10" fmla="*/ 5548 w 32840"/>
                <a:gd name="connsiteY10" fmla="*/ 11498 h 8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40" h="80758">
                  <a:moveTo>
                    <a:pt x="5548" y="11498"/>
                  </a:moveTo>
                  <a:cubicBezTo>
                    <a:pt x="8725" y="7740"/>
                    <a:pt x="11812" y="3892"/>
                    <a:pt x="14899" y="0"/>
                  </a:cubicBezTo>
                  <a:cubicBezTo>
                    <a:pt x="11051" y="25816"/>
                    <a:pt x="19194" y="51005"/>
                    <a:pt x="32840" y="72705"/>
                  </a:cubicBezTo>
                  <a:cubicBezTo>
                    <a:pt x="32751" y="75345"/>
                    <a:pt x="32661" y="78029"/>
                    <a:pt x="32661" y="80758"/>
                  </a:cubicBezTo>
                  <a:cubicBezTo>
                    <a:pt x="27650" y="70557"/>
                    <a:pt x="22594" y="60446"/>
                    <a:pt x="18568" y="49887"/>
                  </a:cubicBezTo>
                  <a:cubicBezTo>
                    <a:pt x="17091" y="45770"/>
                    <a:pt x="14183" y="37493"/>
                    <a:pt x="12707" y="33332"/>
                  </a:cubicBezTo>
                  <a:cubicBezTo>
                    <a:pt x="10246" y="35704"/>
                    <a:pt x="5369" y="40402"/>
                    <a:pt x="2908" y="42728"/>
                  </a:cubicBezTo>
                  <a:cubicBezTo>
                    <a:pt x="5861" y="39328"/>
                    <a:pt x="8859" y="35972"/>
                    <a:pt x="11901" y="32616"/>
                  </a:cubicBezTo>
                  <a:cubicBezTo>
                    <a:pt x="11633" y="27874"/>
                    <a:pt x="11096" y="18344"/>
                    <a:pt x="10827" y="13557"/>
                  </a:cubicBezTo>
                  <a:cubicBezTo>
                    <a:pt x="8143" y="13691"/>
                    <a:pt x="2685" y="13915"/>
                    <a:pt x="0" y="14049"/>
                  </a:cubicBezTo>
                  <a:cubicBezTo>
                    <a:pt x="1387" y="13422"/>
                    <a:pt x="4161" y="12125"/>
                    <a:pt x="5548" y="11498"/>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587E905D-2CF9-9092-EDEB-6669B5AD6E7B}"/>
                </a:ext>
              </a:extLst>
            </p:cNvPr>
            <p:cNvSpPr/>
            <p:nvPr/>
          </p:nvSpPr>
          <p:spPr>
            <a:xfrm flipH="1">
              <a:off x="3002571" y="3037975"/>
              <a:ext cx="28498" cy="41786"/>
            </a:xfrm>
            <a:custGeom>
              <a:avLst/>
              <a:gdLst>
                <a:gd name="connsiteX0" fmla="*/ 0 w 23891"/>
                <a:gd name="connsiteY0" fmla="*/ 0 h 35032"/>
                <a:gd name="connsiteX1" fmla="*/ 23892 w 23891"/>
                <a:gd name="connsiteY1" fmla="*/ 2282 h 35032"/>
                <a:gd name="connsiteX2" fmla="*/ 13154 w 23891"/>
                <a:gd name="connsiteY2" fmla="*/ 13601 h 35032"/>
                <a:gd name="connsiteX3" fmla="*/ 10827 w 23891"/>
                <a:gd name="connsiteY3" fmla="*/ 35033 h 35032"/>
                <a:gd name="connsiteX4" fmla="*/ 6667 w 23891"/>
                <a:gd name="connsiteY4" fmla="*/ 21476 h 35032"/>
                <a:gd name="connsiteX5" fmla="*/ 0 w 23891"/>
                <a:gd name="connsiteY5" fmla="*/ 0 h 3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91" h="35032">
                  <a:moveTo>
                    <a:pt x="0" y="0"/>
                  </a:moveTo>
                  <a:cubicBezTo>
                    <a:pt x="7964" y="671"/>
                    <a:pt x="15928" y="1432"/>
                    <a:pt x="23892" y="2282"/>
                  </a:cubicBezTo>
                  <a:cubicBezTo>
                    <a:pt x="19865" y="6040"/>
                    <a:pt x="16554" y="9217"/>
                    <a:pt x="13154" y="13601"/>
                  </a:cubicBezTo>
                  <a:cubicBezTo>
                    <a:pt x="12393" y="20715"/>
                    <a:pt x="11588" y="27874"/>
                    <a:pt x="10827" y="35033"/>
                  </a:cubicBezTo>
                  <a:cubicBezTo>
                    <a:pt x="9441" y="30469"/>
                    <a:pt x="8054" y="25950"/>
                    <a:pt x="6667" y="21476"/>
                  </a:cubicBezTo>
                  <a:cubicBezTo>
                    <a:pt x="4474" y="14273"/>
                    <a:pt x="2237" y="7159"/>
                    <a:pt x="0" y="0"/>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E24D3AD4-9025-78F0-41E9-E95DB4F59E81}"/>
                </a:ext>
              </a:extLst>
            </p:cNvPr>
            <p:cNvSpPr/>
            <p:nvPr/>
          </p:nvSpPr>
          <p:spPr>
            <a:xfrm flipH="1">
              <a:off x="3109466" y="2941911"/>
              <a:ext cx="207171" cy="22373"/>
            </a:xfrm>
            <a:custGeom>
              <a:avLst/>
              <a:gdLst>
                <a:gd name="connsiteX0" fmla="*/ 1924 w 173686"/>
                <a:gd name="connsiteY0" fmla="*/ 136 h 18756"/>
                <a:gd name="connsiteX1" fmla="*/ 171807 w 173686"/>
                <a:gd name="connsiteY1" fmla="*/ 1076 h 18756"/>
                <a:gd name="connsiteX2" fmla="*/ 173686 w 173686"/>
                <a:gd name="connsiteY2" fmla="*/ 18391 h 18756"/>
                <a:gd name="connsiteX3" fmla="*/ 0 w 173686"/>
                <a:gd name="connsiteY3" fmla="*/ 17809 h 18756"/>
                <a:gd name="connsiteX4" fmla="*/ 1924 w 173686"/>
                <a:gd name="connsiteY4" fmla="*/ 136 h 18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6" h="18756">
                  <a:moveTo>
                    <a:pt x="1924" y="136"/>
                  </a:moveTo>
                  <a:cubicBezTo>
                    <a:pt x="58567" y="181"/>
                    <a:pt x="115164" y="-580"/>
                    <a:pt x="171807" y="1076"/>
                  </a:cubicBezTo>
                  <a:cubicBezTo>
                    <a:pt x="172389" y="6847"/>
                    <a:pt x="173015" y="12619"/>
                    <a:pt x="173686" y="18391"/>
                  </a:cubicBezTo>
                  <a:cubicBezTo>
                    <a:pt x="115791" y="19151"/>
                    <a:pt x="57895" y="18614"/>
                    <a:pt x="0" y="17809"/>
                  </a:cubicBezTo>
                  <a:cubicBezTo>
                    <a:pt x="626" y="11903"/>
                    <a:pt x="1253" y="5997"/>
                    <a:pt x="1924" y="136"/>
                  </a:cubicBezTo>
                  <a:close/>
                </a:path>
              </a:pathLst>
            </a:custGeom>
            <a:solidFill>
              <a:srgbClr val="85A1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79EA6085-6726-47E7-5549-1159FBE43AD7}"/>
                </a:ext>
              </a:extLst>
            </p:cNvPr>
            <p:cNvSpPr/>
            <p:nvPr/>
          </p:nvSpPr>
          <p:spPr>
            <a:xfrm flipH="1">
              <a:off x="3982660" y="2951093"/>
              <a:ext cx="81865" cy="23055"/>
            </a:xfrm>
            <a:custGeom>
              <a:avLst/>
              <a:gdLst>
                <a:gd name="connsiteX0" fmla="*/ 447 w 68633"/>
                <a:gd name="connsiteY0" fmla="*/ 2103 h 19328"/>
                <a:gd name="connsiteX1" fmla="*/ 68320 w 68633"/>
                <a:gd name="connsiteY1" fmla="*/ 0 h 19328"/>
                <a:gd name="connsiteX2" fmla="*/ 68633 w 68633"/>
                <a:gd name="connsiteY2" fmla="*/ 19328 h 19328"/>
                <a:gd name="connsiteX3" fmla="*/ 48724 w 68633"/>
                <a:gd name="connsiteY3" fmla="*/ 17986 h 19328"/>
                <a:gd name="connsiteX4" fmla="*/ 54719 w 68633"/>
                <a:gd name="connsiteY4" fmla="*/ 3311 h 19328"/>
                <a:gd name="connsiteX5" fmla="*/ 28635 w 68633"/>
                <a:gd name="connsiteY5" fmla="*/ 5995 h 19328"/>
                <a:gd name="connsiteX6" fmla="*/ 38388 w 68633"/>
                <a:gd name="connsiteY6" fmla="*/ 19194 h 19328"/>
                <a:gd name="connsiteX7" fmla="*/ 0 w 68633"/>
                <a:gd name="connsiteY7" fmla="*/ 17897 h 19328"/>
                <a:gd name="connsiteX8" fmla="*/ 447 w 68633"/>
                <a:gd name="connsiteY8" fmla="*/ 2103 h 1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33" h="19328">
                  <a:moveTo>
                    <a:pt x="447" y="2103"/>
                  </a:moveTo>
                  <a:cubicBezTo>
                    <a:pt x="22997" y="-179"/>
                    <a:pt x="45726" y="1521"/>
                    <a:pt x="68320" y="0"/>
                  </a:cubicBezTo>
                  <a:cubicBezTo>
                    <a:pt x="68365" y="6443"/>
                    <a:pt x="68454" y="12841"/>
                    <a:pt x="68633" y="19328"/>
                  </a:cubicBezTo>
                  <a:cubicBezTo>
                    <a:pt x="61967" y="18747"/>
                    <a:pt x="55345" y="18299"/>
                    <a:pt x="48724" y="17986"/>
                  </a:cubicBezTo>
                  <a:cubicBezTo>
                    <a:pt x="50782" y="13109"/>
                    <a:pt x="52795" y="8188"/>
                    <a:pt x="54719" y="3311"/>
                  </a:cubicBezTo>
                  <a:cubicBezTo>
                    <a:pt x="45994" y="4116"/>
                    <a:pt x="37314" y="5011"/>
                    <a:pt x="28635" y="5995"/>
                  </a:cubicBezTo>
                  <a:cubicBezTo>
                    <a:pt x="31811" y="10380"/>
                    <a:pt x="34988" y="14854"/>
                    <a:pt x="38388" y="19194"/>
                  </a:cubicBezTo>
                  <a:cubicBezTo>
                    <a:pt x="25637" y="17762"/>
                    <a:pt x="12796" y="17404"/>
                    <a:pt x="0" y="17897"/>
                  </a:cubicBezTo>
                  <a:cubicBezTo>
                    <a:pt x="134" y="12617"/>
                    <a:pt x="313" y="7338"/>
                    <a:pt x="447" y="2103"/>
                  </a:cubicBezTo>
                  <a:close/>
                </a:path>
              </a:pathLst>
            </a:custGeom>
            <a:solidFill>
              <a:srgbClr val="719C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20AFE99F-E7F4-05A7-551A-5EA3E62AAB31}"/>
                </a:ext>
              </a:extLst>
            </p:cNvPr>
            <p:cNvSpPr/>
            <p:nvPr/>
          </p:nvSpPr>
          <p:spPr>
            <a:xfrm flipH="1">
              <a:off x="3968836" y="2950499"/>
              <a:ext cx="14197" cy="24222"/>
            </a:xfrm>
            <a:custGeom>
              <a:avLst/>
              <a:gdLst>
                <a:gd name="connsiteX0" fmla="*/ 0 w 11902"/>
                <a:gd name="connsiteY0" fmla="*/ 499 h 20307"/>
                <a:gd name="connsiteX1" fmla="*/ 313 w 11902"/>
                <a:gd name="connsiteY1" fmla="*/ 19827 h 20307"/>
                <a:gd name="connsiteX2" fmla="*/ 0 w 11902"/>
                <a:gd name="connsiteY2" fmla="*/ 499 h 20307"/>
              </a:gdLst>
              <a:ahLst/>
              <a:cxnLst>
                <a:cxn ang="0">
                  <a:pos x="connsiteX0" y="connsiteY0"/>
                </a:cxn>
                <a:cxn ang="0">
                  <a:pos x="connsiteX1" y="connsiteY1"/>
                </a:cxn>
                <a:cxn ang="0">
                  <a:pos x="connsiteX2" y="connsiteY2"/>
                </a:cxn>
              </a:cxnLst>
              <a:rect l="l" t="t" r="r" b="b"/>
              <a:pathLst>
                <a:path w="11902" h="20307">
                  <a:moveTo>
                    <a:pt x="0" y="499"/>
                  </a:moveTo>
                  <a:cubicBezTo>
                    <a:pt x="15615" y="-4065"/>
                    <a:pt x="16018" y="24301"/>
                    <a:pt x="313" y="19827"/>
                  </a:cubicBezTo>
                  <a:cubicBezTo>
                    <a:pt x="134" y="13340"/>
                    <a:pt x="45" y="6942"/>
                    <a:pt x="0" y="499"/>
                  </a:cubicBezTo>
                  <a:close/>
                </a:path>
              </a:pathLst>
            </a:custGeom>
            <a:solidFill>
              <a:srgbClr val="507C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FB4B8853-A2FB-30FB-DD08-9484F51E4528}"/>
                </a:ext>
              </a:extLst>
            </p:cNvPr>
            <p:cNvSpPr/>
            <p:nvPr/>
          </p:nvSpPr>
          <p:spPr>
            <a:xfrm flipH="1">
              <a:off x="3929079" y="2951734"/>
              <a:ext cx="26522" cy="21880"/>
            </a:xfrm>
            <a:custGeom>
              <a:avLst/>
              <a:gdLst>
                <a:gd name="connsiteX0" fmla="*/ 0 w 22236"/>
                <a:gd name="connsiteY0" fmla="*/ 0 h 18343"/>
                <a:gd name="connsiteX1" fmla="*/ 21789 w 22236"/>
                <a:gd name="connsiteY1" fmla="*/ 626 h 18343"/>
                <a:gd name="connsiteX2" fmla="*/ 22237 w 22236"/>
                <a:gd name="connsiteY2" fmla="*/ 18299 h 18343"/>
                <a:gd name="connsiteX3" fmla="*/ 537 w 22236"/>
                <a:gd name="connsiteY3" fmla="*/ 18344 h 18343"/>
                <a:gd name="connsiteX4" fmla="*/ 0 w 22236"/>
                <a:gd name="connsiteY4" fmla="*/ 0 h 18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6" h="18343">
                  <a:moveTo>
                    <a:pt x="0" y="0"/>
                  </a:moveTo>
                  <a:cubicBezTo>
                    <a:pt x="7248" y="89"/>
                    <a:pt x="14496" y="447"/>
                    <a:pt x="21789" y="626"/>
                  </a:cubicBezTo>
                  <a:cubicBezTo>
                    <a:pt x="21923" y="6487"/>
                    <a:pt x="22102" y="12393"/>
                    <a:pt x="22237" y="18299"/>
                  </a:cubicBezTo>
                  <a:cubicBezTo>
                    <a:pt x="14988" y="18299"/>
                    <a:pt x="7785" y="18344"/>
                    <a:pt x="537" y="18344"/>
                  </a:cubicBezTo>
                  <a:cubicBezTo>
                    <a:pt x="358" y="12214"/>
                    <a:pt x="179" y="6085"/>
                    <a:pt x="0" y="0"/>
                  </a:cubicBezTo>
                  <a:close/>
                </a:path>
              </a:pathLst>
            </a:custGeom>
            <a:solidFill>
              <a:srgbClr val="517D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296293E5-75E1-7194-AB2A-FC6A1EE130EB}"/>
                </a:ext>
              </a:extLst>
            </p:cNvPr>
            <p:cNvSpPr/>
            <p:nvPr/>
          </p:nvSpPr>
          <p:spPr>
            <a:xfrm flipH="1">
              <a:off x="3888574" y="2952107"/>
              <a:ext cx="26896" cy="21293"/>
            </a:xfrm>
            <a:custGeom>
              <a:avLst/>
              <a:gdLst>
                <a:gd name="connsiteX0" fmla="*/ 671 w 22549"/>
                <a:gd name="connsiteY0" fmla="*/ 0 h 17851"/>
                <a:gd name="connsiteX1" fmla="*/ 22192 w 22549"/>
                <a:gd name="connsiteY1" fmla="*/ 2371 h 17851"/>
                <a:gd name="connsiteX2" fmla="*/ 22550 w 22549"/>
                <a:gd name="connsiteY2" fmla="*/ 16823 h 17851"/>
                <a:gd name="connsiteX3" fmla="*/ 0 w 22549"/>
                <a:gd name="connsiteY3" fmla="*/ 17852 h 17851"/>
                <a:gd name="connsiteX4" fmla="*/ 671 w 22549"/>
                <a:gd name="connsiteY4" fmla="*/ 0 h 17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7851">
                  <a:moveTo>
                    <a:pt x="671" y="0"/>
                  </a:moveTo>
                  <a:cubicBezTo>
                    <a:pt x="7875" y="447"/>
                    <a:pt x="14988" y="1432"/>
                    <a:pt x="22192" y="2371"/>
                  </a:cubicBezTo>
                  <a:cubicBezTo>
                    <a:pt x="22281" y="7159"/>
                    <a:pt x="22416" y="11991"/>
                    <a:pt x="22550" y="16823"/>
                  </a:cubicBezTo>
                  <a:cubicBezTo>
                    <a:pt x="14988" y="17181"/>
                    <a:pt x="7472" y="17539"/>
                    <a:pt x="0" y="17852"/>
                  </a:cubicBezTo>
                  <a:cubicBezTo>
                    <a:pt x="179" y="11901"/>
                    <a:pt x="447" y="5951"/>
                    <a:pt x="671" y="0"/>
                  </a:cubicBezTo>
                  <a:close/>
                </a:path>
              </a:pathLst>
            </a:custGeom>
            <a:solidFill>
              <a:srgbClr val="4977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C3A2C736-0023-6B14-24CF-97812C18166F}"/>
                </a:ext>
              </a:extLst>
            </p:cNvPr>
            <p:cNvSpPr/>
            <p:nvPr/>
          </p:nvSpPr>
          <p:spPr>
            <a:xfrm flipH="1">
              <a:off x="3789416" y="2952801"/>
              <a:ext cx="84587" cy="21560"/>
            </a:xfrm>
            <a:custGeom>
              <a:avLst/>
              <a:gdLst>
                <a:gd name="connsiteX0" fmla="*/ 0 w 70915"/>
                <a:gd name="connsiteY0" fmla="*/ 0 h 18075"/>
                <a:gd name="connsiteX1" fmla="*/ 70915 w 70915"/>
                <a:gd name="connsiteY1" fmla="*/ 1163 h 18075"/>
                <a:gd name="connsiteX2" fmla="*/ 70512 w 70915"/>
                <a:gd name="connsiteY2" fmla="*/ 17673 h 18075"/>
                <a:gd name="connsiteX3" fmla="*/ 57806 w 70915"/>
                <a:gd name="connsiteY3" fmla="*/ 6130 h 18075"/>
                <a:gd name="connsiteX4" fmla="*/ 49171 w 70915"/>
                <a:gd name="connsiteY4" fmla="*/ 18031 h 18075"/>
                <a:gd name="connsiteX5" fmla="*/ 179 w 70915"/>
                <a:gd name="connsiteY5" fmla="*/ 18076 h 18075"/>
                <a:gd name="connsiteX6" fmla="*/ 0 w 70915"/>
                <a:gd name="connsiteY6" fmla="*/ 0 h 1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15" h="18075">
                  <a:moveTo>
                    <a:pt x="0" y="0"/>
                  </a:moveTo>
                  <a:cubicBezTo>
                    <a:pt x="23623" y="671"/>
                    <a:pt x="47247" y="1342"/>
                    <a:pt x="70915" y="1163"/>
                  </a:cubicBezTo>
                  <a:cubicBezTo>
                    <a:pt x="70781" y="6666"/>
                    <a:pt x="70647" y="12125"/>
                    <a:pt x="70512" y="17673"/>
                  </a:cubicBezTo>
                  <a:cubicBezTo>
                    <a:pt x="63264" y="17449"/>
                    <a:pt x="58656" y="13601"/>
                    <a:pt x="57806" y="6130"/>
                  </a:cubicBezTo>
                  <a:cubicBezTo>
                    <a:pt x="54898" y="10067"/>
                    <a:pt x="52034" y="14049"/>
                    <a:pt x="49171" y="18031"/>
                  </a:cubicBezTo>
                  <a:cubicBezTo>
                    <a:pt x="32840" y="17673"/>
                    <a:pt x="16510" y="17673"/>
                    <a:pt x="179" y="18076"/>
                  </a:cubicBezTo>
                  <a:cubicBezTo>
                    <a:pt x="89" y="12035"/>
                    <a:pt x="45" y="5995"/>
                    <a:pt x="0" y="0"/>
                  </a:cubicBezTo>
                  <a:close/>
                </a:path>
              </a:pathLst>
            </a:custGeom>
            <a:solidFill>
              <a:srgbClr val="4F7E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BEE3D9C9-3F9A-E18D-1242-6E25A49A3B84}"/>
                </a:ext>
              </a:extLst>
            </p:cNvPr>
            <p:cNvSpPr/>
            <p:nvPr/>
          </p:nvSpPr>
          <p:spPr>
            <a:xfrm flipH="1">
              <a:off x="3999257" y="2955043"/>
              <a:ext cx="31112" cy="18944"/>
            </a:xfrm>
            <a:custGeom>
              <a:avLst/>
              <a:gdLst>
                <a:gd name="connsiteX0" fmla="*/ 0 w 26084"/>
                <a:gd name="connsiteY0" fmla="*/ 2685 h 15883"/>
                <a:gd name="connsiteX1" fmla="*/ 26084 w 26084"/>
                <a:gd name="connsiteY1" fmla="*/ 0 h 15883"/>
                <a:gd name="connsiteX2" fmla="*/ 20089 w 26084"/>
                <a:gd name="connsiteY2" fmla="*/ 14675 h 15883"/>
                <a:gd name="connsiteX3" fmla="*/ 9754 w 26084"/>
                <a:gd name="connsiteY3" fmla="*/ 15883 h 15883"/>
                <a:gd name="connsiteX4" fmla="*/ 0 w 26084"/>
                <a:gd name="connsiteY4" fmla="*/ 2685 h 1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4" h="15883">
                  <a:moveTo>
                    <a:pt x="0" y="2685"/>
                  </a:moveTo>
                  <a:cubicBezTo>
                    <a:pt x="8680" y="1700"/>
                    <a:pt x="17360" y="805"/>
                    <a:pt x="26084" y="0"/>
                  </a:cubicBezTo>
                  <a:cubicBezTo>
                    <a:pt x="24160" y="4877"/>
                    <a:pt x="22147" y="9798"/>
                    <a:pt x="20089" y="14675"/>
                  </a:cubicBezTo>
                  <a:cubicBezTo>
                    <a:pt x="17494" y="14988"/>
                    <a:pt x="12349" y="15570"/>
                    <a:pt x="9754" y="15883"/>
                  </a:cubicBezTo>
                  <a:cubicBezTo>
                    <a:pt x="6353" y="11543"/>
                    <a:pt x="3177" y="7069"/>
                    <a:pt x="0" y="2685"/>
                  </a:cubicBezTo>
                  <a:close/>
                </a:path>
              </a:pathLst>
            </a:custGeom>
            <a:solidFill>
              <a:srgbClr val="4D7FB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234C6829-A537-D220-3512-F46ADD90A0C3}"/>
                </a:ext>
              </a:extLst>
            </p:cNvPr>
            <p:cNvSpPr/>
            <p:nvPr/>
          </p:nvSpPr>
          <p:spPr>
            <a:xfrm flipH="1">
              <a:off x="3168223" y="2991119"/>
              <a:ext cx="305366" cy="87096"/>
            </a:xfrm>
            <a:custGeom>
              <a:avLst/>
              <a:gdLst>
                <a:gd name="connsiteX0" fmla="*/ 0 w 256010"/>
                <a:gd name="connsiteY0" fmla="*/ 0 h 73018"/>
                <a:gd name="connsiteX1" fmla="*/ 256011 w 256010"/>
                <a:gd name="connsiteY1" fmla="*/ 671 h 73018"/>
                <a:gd name="connsiteX2" fmla="*/ 194178 w 256010"/>
                <a:gd name="connsiteY2" fmla="*/ 3624 h 73018"/>
                <a:gd name="connsiteX3" fmla="*/ 199457 w 256010"/>
                <a:gd name="connsiteY3" fmla="*/ 12528 h 73018"/>
                <a:gd name="connsiteX4" fmla="*/ 198563 w 256010"/>
                <a:gd name="connsiteY4" fmla="*/ 32438 h 73018"/>
                <a:gd name="connsiteX5" fmla="*/ 67157 w 256010"/>
                <a:gd name="connsiteY5" fmla="*/ 29485 h 73018"/>
                <a:gd name="connsiteX6" fmla="*/ 11096 w 256010"/>
                <a:gd name="connsiteY6" fmla="*/ 32393 h 73018"/>
                <a:gd name="connsiteX7" fmla="*/ 75881 w 256010"/>
                <a:gd name="connsiteY7" fmla="*/ 37717 h 73018"/>
                <a:gd name="connsiteX8" fmla="*/ 194223 w 256010"/>
                <a:gd name="connsiteY8" fmla="*/ 42191 h 73018"/>
                <a:gd name="connsiteX9" fmla="*/ 191270 w 256010"/>
                <a:gd name="connsiteY9" fmla="*/ 71005 h 73018"/>
                <a:gd name="connsiteX10" fmla="*/ 174447 w 256010"/>
                <a:gd name="connsiteY10" fmla="*/ 73018 h 73018"/>
                <a:gd name="connsiteX11" fmla="*/ 173776 w 256010"/>
                <a:gd name="connsiteY11" fmla="*/ 44115 h 73018"/>
                <a:gd name="connsiteX12" fmla="*/ 133866 w 256010"/>
                <a:gd name="connsiteY12" fmla="*/ 46979 h 73018"/>
                <a:gd name="connsiteX13" fmla="*/ 113733 w 256010"/>
                <a:gd name="connsiteY13" fmla="*/ 47829 h 73018"/>
                <a:gd name="connsiteX14" fmla="*/ 13422 w 256010"/>
                <a:gd name="connsiteY14" fmla="*/ 45413 h 73018"/>
                <a:gd name="connsiteX15" fmla="*/ 89 w 256010"/>
                <a:gd name="connsiteY15" fmla="*/ 1611 h 73018"/>
                <a:gd name="connsiteX16" fmla="*/ 0 w 256010"/>
                <a:gd name="connsiteY16" fmla="*/ 0 h 7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6010" h="73018">
                  <a:moveTo>
                    <a:pt x="0" y="0"/>
                  </a:moveTo>
                  <a:cubicBezTo>
                    <a:pt x="85322" y="1163"/>
                    <a:pt x="170644" y="-45"/>
                    <a:pt x="256011" y="671"/>
                  </a:cubicBezTo>
                  <a:cubicBezTo>
                    <a:pt x="235430" y="2282"/>
                    <a:pt x="214804" y="3490"/>
                    <a:pt x="194178" y="3624"/>
                  </a:cubicBezTo>
                  <a:cubicBezTo>
                    <a:pt x="195923" y="6577"/>
                    <a:pt x="197668" y="9530"/>
                    <a:pt x="199457" y="12528"/>
                  </a:cubicBezTo>
                  <a:cubicBezTo>
                    <a:pt x="199055" y="19149"/>
                    <a:pt x="198563" y="25771"/>
                    <a:pt x="198563" y="32438"/>
                  </a:cubicBezTo>
                  <a:cubicBezTo>
                    <a:pt x="154805" y="29574"/>
                    <a:pt x="110959" y="30648"/>
                    <a:pt x="67157" y="29485"/>
                  </a:cubicBezTo>
                  <a:cubicBezTo>
                    <a:pt x="48455" y="28903"/>
                    <a:pt x="29619" y="29261"/>
                    <a:pt x="11096" y="32393"/>
                  </a:cubicBezTo>
                  <a:cubicBezTo>
                    <a:pt x="31632" y="41162"/>
                    <a:pt x="54316" y="36151"/>
                    <a:pt x="75881" y="37717"/>
                  </a:cubicBezTo>
                  <a:cubicBezTo>
                    <a:pt x="115254" y="40446"/>
                    <a:pt x="154850" y="38120"/>
                    <a:pt x="194223" y="42191"/>
                  </a:cubicBezTo>
                  <a:cubicBezTo>
                    <a:pt x="193194" y="51766"/>
                    <a:pt x="192254" y="61385"/>
                    <a:pt x="191270" y="71005"/>
                  </a:cubicBezTo>
                  <a:cubicBezTo>
                    <a:pt x="185632" y="71318"/>
                    <a:pt x="179995" y="72034"/>
                    <a:pt x="174447" y="73018"/>
                  </a:cubicBezTo>
                  <a:cubicBezTo>
                    <a:pt x="174223" y="63354"/>
                    <a:pt x="173999" y="53735"/>
                    <a:pt x="173776" y="44115"/>
                  </a:cubicBezTo>
                  <a:cubicBezTo>
                    <a:pt x="160398" y="43891"/>
                    <a:pt x="147065" y="44697"/>
                    <a:pt x="133866" y="46979"/>
                  </a:cubicBezTo>
                  <a:cubicBezTo>
                    <a:pt x="127200" y="47739"/>
                    <a:pt x="120444" y="48187"/>
                    <a:pt x="113733" y="47829"/>
                  </a:cubicBezTo>
                  <a:cubicBezTo>
                    <a:pt x="80579" y="42370"/>
                    <a:pt x="46844" y="44339"/>
                    <a:pt x="13422" y="45413"/>
                  </a:cubicBezTo>
                  <a:cubicBezTo>
                    <a:pt x="5100" y="32259"/>
                    <a:pt x="2148" y="16778"/>
                    <a:pt x="89" y="1611"/>
                  </a:cubicBezTo>
                  <a:lnTo>
                    <a:pt x="0" y="0"/>
                  </a:ln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CBD6AD66-0BAF-BEB8-993A-A558FEA60B34}"/>
                </a:ext>
              </a:extLst>
            </p:cNvPr>
            <p:cNvSpPr/>
            <p:nvPr/>
          </p:nvSpPr>
          <p:spPr>
            <a:xfrm flipH="1">
              <a:off x="2893262" y="2991250"/>
              <a:ext cx="392260" cy="156127"/>
            </a:xfrm>
            <a:custGeom>
              <a:avLst/>
              <a:gdLst>
                <a:gd name="connsiteX0" fmla="*/ 98342 w 328859"/>
                <a:gd name="connsiteY0" fmla="*/ 561 h 130892"/>
                <a:gd name="connsiteX1" fmla="*/ 328626 w 328859"/>
                <a:gd name="connsiteY1" fmla="*/ 158 h 130892"/>
                <a:gd name="connsiteX2" fmla="*/ 328715 w 328859"/>
                <a:gd name="connsiteY2" fmla="*/ 77829 h 130892"/>
                <a:gd name="connsiteX3" fmla="*/ 322228 w 328859"/>
                <a:gd name="connsiteY3" fmla="*/ 130892 h 130892"/>
                <a:gd name="connsiteX4" fmla="*/ 316680 w 328859"/>
                <a:gd name="connsiteY4" fmla="*/ 61454 h 130892"/>
                <a:gd name="connsiteX5" fmla="*/ 302542 w 328859"/>
                <a:gd name="connsiteY5" fmla="*/ 77829 h 130892"/>
                <a:gd name="connsiteX6" fmla="*/ 296457 w 328859"/>
                <a:gd name="connsiteY6" fmla="*/ 78232 h 130892"/>
                <a:gd name="connsiteX7" fmla="*/ 309253 w 328859"/>
                <a:gd name="connsiteY7" fmla="*/ 54429 h 130892"/>
                <a:gd name="connsiteX8" fmla="*/ 291938 w 328859"/>
                <a:gd name="connsiteY8" fmla="*/ 61320 h 130892"/>
                <a:gd name="connsiteX9" fmla="*/ 288717 w 328859"/>
                <a:gd name="connsiteY9" fmla="*/ 81543 h 130892"/>
                <a:gd name="connsiteX10" fmla="*/ 273907 w 328859"/>
                <a:gd name="connsiteY10" fmla="*/ 103779 h 130892"/>
                <a:gd name="connsiteX11" fmla="*/ 256190 w 328859"/>
                <a:gd name="connsiteY11" fmla="*/ 103779 h 130892"/>
                <a:gd name="connsiteX12" fmla="*/ 253684 w 328859"/>
                <a:gd name="connsiteY12" fmla="*/ 25929 h 130892"/>
                <a:gd name="connsiteX13" fmla="*/ 243438 w 328859"/>
                <a:gd name="connsiteY13" fmla="*/ 28793 h 130892"/>
                <a:gd name="connsiteX14" fmla="*/ 205721 w 328859"/>
                <a:gd name="connsiteY14" fmla="*/ 38770 h 130892"/>
                <a:gd name="connsiteX15" fmla="*/ 198876 w 328859"/>
                <a:gd name="connsiteY15" fmla="*/ 41678 h 130892"/>
                <a:gd name="connsiteX16" fmla="*/ 195878 w 328859"/>
                <a:gd name="connsiteY16" fmla="*/ 31432 h 130892"/>
                <a:gd name="connsiteX17" fmla="*/ 187422 w 328859"/>
                <a:gd name="connsiteY17" fmla="*/ 57382 h 130892"/>
                <a:gd name="connsiteX18" fmla="*/ 157893 w 328859"/>
                <a:gd name="connsiteY18" fmla="*/ 103466 h 130892"/>
                <a:gd name="connsiteX19" fmla="*/ 151405 w 328859"/>
                <a:gd name="connsiteY19" fmla="*/ 27853 h 130892"/>
                <a:gd name="connsiteX20" fmla="*/ 123755 w 328859"/>
                <a:gd name="connsiteY20" fmla="*/ 38009 h 130892"/>
                <a:gd name="connsiteX21" fmla="*/ 111630 w 328859"/>
                <a:gd name="connsiteY21" fmla="*/ 48524 h 130892"/>
                <a:gd name="connsiteX22" fmla="*/ 108140 w 328859"/>
                <a:gd name="connsiteY22" fmla="*/ 39441 h 130892"/>
                <a:gd name="connsiteX23" fmla="*/ 105098 w 328859"/>
                <a:gd name="connsiteY23" fmla="*/ 52416 h 130892"/>
                <a:gd name="connsiteX24" fmla="*/ 95433 w 328859"/>
                <a:gd name="connsiteY24" fmla="*/ 30493 h 130892"/>
                <a:gd name="connsiteX25" fmla="*/ 86083 w 328859"/>
                <a:gd name="connsiteY25" fmla="*/ 41991 h 130892"/>
                <a:gd name="connsiteX26" fmla="*/ 80535 w 328859"/>
                <a:gd name="connsiteY26" fmla="*/ 44541 h 130892"/>
                <a:gd name="connsiteX27" fmla="*/ 91362 w 328859"/>
                <a:gd name="connsiteY27" fmla="*/ 44049 h 130892"/>
                <a:gd name="connsiteX28" fmla="*/ 92436 w 328859"/>
                <a:gd name="connsiteY28" fmla="*/ 63109 h 130892"/>
                <a:gd name="connsiteX29" fmla="*/ 83443 w 328859"/>
                <a:gd name="connsiteY29" fmla="*/ 73221 h 130892"/>
                <a:gd name="connsiteX30" fmla="*/ 93241 w 328859"/>
                <a:gd name="connsiteY30" fmla="*/ 63825 h 130892"/>
                <a:gd name="connsiteX31" fmla="*/ 99102 w 328859"/>
                <a:gd name="connsiteY31" fmla="*/ 80379 h 130892"/>
                <a:gd name="connsiteX32" fmla="*/ 83353 w 328859"/>
                <a:gd name="connsiteY32" fmla="*/ 82393 h 130892"/>
                <a:gd name="connsiteX33" fmla="*/ 69260 w 328859"/>
                <a:gd name="connsiteY33" fmla="*/ 81722 h 130892"/>
                <a:gd name="connsiteX34" fmla="*/ 68052 w 328859"/>
                <a:gd name="connsiteY34" fmla="*/ 81587 h 130892"/>
                <a:gd name="connsiteX35" fmla="*/ 61475 w 328859"/>
                <a:gd name="connsiteY35" fmla="*/ 103198 h 130892"/>
                <a:gd name="connsiteX36" fmla="*/ 48813 w 328859"/>
                <a:gd name="connsiteY36" fmla="*/ 102795 h 130892"/>
                <a:gd name="connsiteX37" fmla="*/ 42012 w 328859"/>
                <a:gd name="connsiteY37" fmla="*/ 102661 h 130892"/>
                <a:gd name="connsiteX38" fmla="*/ 2058 w 328859"/>
                <a:gd name="connsiteY38" fmla="*/ 101721 h 130892"/>
                <a:gd name="connsiteX39" fmla="*/ 0 w 328859"/>
                <a:gd name="connsiteY39" fmla="*/ 76442 h 130892"/>
                <a:gd name="connsiteX40" fmla="*/ 16778 w 328859"/>
                <a:gd name="connsiteY40" fmla="*/ 72908 h 130892"/>
                <a:gd name="connsiteX41" fmla="*/ 33601 w 328859"/>
                <a:gd name="connsiteY41" fmla="*/ 70894 h 130892"/>
                <a:gd name="connsiteX42" fmla="*/ 44652 w 328859"/>
                <a:gd name="connsiteY42" fmla="*/ 72818 h 130892"/>
                <a:gd name="connsiteX43" fmla="*/ 42102 w 328859"/>
                <a:gd name="connsiteY43" fmla="*/ 39530 h 130892"/>
                <a:gd name="connsiteX44" fmla="*/ 40894 w 328859"/>
                <a:gd name="connsiteY44" fmla="*/ 32327 h 130892"/>
                <a:gd name="connsiteX45" fmla="*/ 41789 w 328859"/>
                <a:gd name="connsiteY45" fmla="*/ 12417 h 130892"/>
                <a:gd name="connsiteX46" fmla="*/ 36509 w 328859"/>
                <a:gd name="connsiteY46" fmla="*/ 3514 h 130892"/>
                <a:gd name="connsiteX47" fmla="*/ 98342 w 328859"/>
                <a:gd name="connsiteY47" fmla="*/ 561 h 130892"/>
                <a:gd name="connsiteX48" fmla="*/ 58298 w 328859"/>
                <a:gd name="connsiteY48" fmla="*/ 36175 h 130892"/>
                <a:gd name="connsiteX49" fmla="*/ 69528 w 328859"/>
                <a:gd name="connsiteY49" fmla="*/ 45928 h 130892"/>
                <a:gd name="connsiteX50" fmla="*/ 58298 w 328859"/>
                <a:gd name="connsiteY50" fmla="*/ 36175 h 13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8859" h="130892">
                  <a:moveTo>
                    <a:pt x="98342" y="561"/>
                  </a:moveTo>
                  <a:cubicBezTo>
                    <a:pt x="175073" y="-558"/>
                    <a:pt x="251850" y="382"/>
                    <a:pt x="328626" y="158"/>
                  </a:cubicBezTo>
                  <a:cubicBezTo>
                    <a:pt x="328402" y="26063"/>
                    <a:pt x="329163" y="51924"/>
                    <a:pt x="328715" y="77829"/>
                  </a:cubicBezTo>
                  <a:cubicBezTo>
                    <a:pt x="327821" y="95636"/>
                    <a:pt x="325628" y="113399"/>
                    <a:pt x="322228" y="130892"/>
                  </a:cubicBezTo>
                  <a:cubicBezTo>
                    <a:pt x="318559" y="107895"/>
                    <a:pt x="320975" y="84361"/>
                    <a:pt x="316680" y="61454"/>
                  </a:cubicBezTo>
                  <a:cubicBezTo>
                    <a:pt x="311937" y="66912"/>
                    <a:pt x="307419" y="72505"/>
                    <a:pt x="302542" y="77829"/>
                  </a:cubicBezTo>
                  <a:cubicBezTo>
                    <a:pt x="301021" y="77919"/>
                    <a:pt x="297978" y="78142"/>
                    <a:pt x="296457" y="78232"/>
                  </a:cubicBezTo>
                  <a:cubicBezTo>
                    <a:pt x="300797" y="70357"/>
                    <a:pt x="305137" y="62438"/>
                    <a:pt x="309253" y="54429"/>
                  </a:cubicBezTo>
                  <a:cubicBezTo>
                    <a:pt x="302273" y="54161"/>
                    <a:pt x="296502" y="56488"/>
                    <a:pt x="291938" y="61320"/>
                  </a:cubicBezTo>
                  <a:cubicBezTo>
                    <a:pt x="290640" y="67986"/>
                    <a:pt x="289790" y="74787"/>
                    <a:pt x="288717" y="81543"/>
                  </a:cubicBezTo>
                  <a:cubicBezTo>
                    <a:pt x="284019" y="89104"/>
                    <a:pt x="279008" y="96442"/>
                    <a:pt x="273907" y="103779"/>
                  </a:cubicBezTo>
                  <a:lnTo>
                    <a:pt x="256190" y="103779"/>
                  </a:lnTo>
                  <a:cubicBezTo>
                    <a:pt x="255205" y="77829"/>
                    <a:pt x="255295" y="51834"/>
                    <a:pt x="253684" y="25929"/>
                  </a:cubicBezTo>
                  <a:cubicBezTo>
                    <a:pt x="251134" y="26645"/>
                    <a:pt x="245989" y="28077"/>
                    <a:pt x="243438" y="28793"/>
                  </a:cubicBezTo>
                  <a:cubicBezTo>
                    <a:pt x="230911" y="32372"/>
                    <a:pt x="218204" y="35280"/>
                    <a:pt x="205721" y="38770"/>
                  </a:cubicBezTo>
                  <a:cubicBezTo>
                    <a:pt x="203976" y="39486"/>
                    <a:pt x="200576" y="40962"/>
                    <a:pt x="198876" y="41678"/>
                  </a:cubicBezTo>
                  <a:cubicBezTo>
                    <a:pt x="198115" y="39128"/>
                    <a:pt x="196639" y="33983"/>
                    <a:pt x="195878" y="31432"/>
                  </a:cubicBezTo>
                  <a:cubicBezTo>
                    <a:pt x="183574" y="34967"/>
                    <a:pt x="187288" y="47852"/>
                    <a:pt x="187422" y="57382"/>
                  </a:cubicBezTo>
                  <a:cubicBezTo>
                    <a:pt x="190017" y="77024"/>
                    <a:pt x="179189" y="100200"/>
                    <a:pt x="157893" y="103466"/>
                  </a:cubicBezTo>
                  <a:cubicBezTo>
                    <a:pt x="152658" y="78500"/>
                    <a:pt x="155521" y="52819"/>
                    <a:pt x="151405" y="27853"/>
                  </a:cubicBezTo>
                  <a:cubicBezTo>
                    <a:pt x="143710" y="17428"/>
                    <a:pt x="131540" y="33446"/>
                    <a:pt x="123755" y="38009"/>
                  </a:cubicBezTo>
                  <a:cubicBezTo>
                    <a:pt x="119639" y="41454"/>
                    <a:pt x="115612" y="44989"/>
                    <a:pt x="111630" y="48524"/>
                  </a:cubicBezTo>
                  <a:cubicBezTo>
                    <a:pt x="110735" y="46242"/>
                    <a:pt x="108990" y="41723"/>
                    <a:pt x="108140" y="39441"/>
                  </a:cubicBezTo>
                  <a:cubicBezTo>
                    <a:pt x="107379" y="42707"/>
                    <a:pt x="105858" y="49150"/>
                    <a:pt x="105098" y="52416"/>
                  </a:cubicBezTo>
                  <a:cubicBezTo>
                    <a:pt x="101966" y="45034"/>
                    <a:pt x="98700" y="37741"/>
                    <a:pt x="95433" y="30493"/>
                  </a:cubicBezTo>
                  <a:cubicBezTo>
                    <a:pt x="92346" y="34385"/>
                    <a:pt x="89259" y="38233"/>
                    <a:pt x="86083" y="41991"/>
                  </a:cubicBezTo>
                  <a:cubicBezTo>
                    <a:pt x="84696" y="42618"/>
                    <a:pt x="81922" y="43915"/>
                    <a:pt x="80535" y="44541"/>
                  </a:cubicBezTo>
                  <a:cubicBezTo>
                    <a:pt x="83219" y="44407"/>
                    <a:pt x="88678" y="44184"/>
                    <a:pt x="91362" y="44049"/>
                  </a:cubicBezTo>
                  <a:cubicBezTo>
                    <a:pt x="91631" y="48837"/>
                    <a:pt x="92167" y="58367"/>
                    <a:pt x="92436" y="63109"/>
                  </a:cubicBezTo>
                  <a:cubicBezTo>
                    <a:pt x="89393" y="66465"/>
                    <a:pt x="86396" y="69820"/>
                    <a:pt x="83443" y="73221"/>
                  </a:cubicBezTo>
                  <a:cubicBezTo>
                    <a:pt x="85904" y="70894"/>
                    <a:pt x="90780" y="66196"/>
                    <a:pt x="93241" y="63825"/>
                  </a:cubicBezTo>
                  <a:cubicBezTo>
                    <a:pt x="94718" y="67986"/>
                    <a:pt x="97626" y="76263"/>
                    <a:pt x="99102" y="80379"/>
                  </a:cubicBezTo>
                  <a:cubicBezTo>
                    <a:pt x="93823" y="81140"/>
                    <a:pt x="88588" y="81766"/>
                    <a:pt x="83353" y="82393"/>
                  </a:cubicBezTo>
                  <a:cubicBezTo>
                    <a:pt x="79819" y="82214"/>
                    <a:pt x="72750" y="81901"/>
                    <a:pt x="69260" y="81722"/>
                  </a:cubicBezTo>
                  <a:lnTo>
                    <a:pt x="68052" y="81587"/>
                  </a:lnTo>
                  <a:cubicBezTo>
                    <a:pt x="65680" y="88701"/>
                    <a:pt x="63309" y="95860"/>
                    <a:pt x="61475" y="103198"/>
                  </a:cubicBezTo>
                  <a:cubicBezTo>
                    <a:pt x="58298" y="103108"/>
                    <a:pt x="51990" y="102884"/>
                    <a:pt x="48813" y="102795"/>
                  </a:cubicBezTo>
                  <a:lnTo>
                    <a:pt x="42012" y="102661"/>
                  </a:lnTo>
                  <a:cubicBezTo>
                    <a:pt x="28679" y="102437"/>
                    <a:pt x="15391" y="102079"/>
                    <a:pt x="2058" y="101721"/>
                  </a:cubicBezTo>
                  <a:cubicBezTo>
                    <a:pt x="1387" y="93265"/>
                    <a:pt x="716" y="84854"/>
                    <a:pt x="0" y="76442"/>
                  </a:cubicBezTo>
                  <a:cubicBezTo>
                    <a:pt x="5548" y="75189"/>
                    <a:pt x="11141" y="73981"/>
                    <a:pt x="16778" y="72908"/>
                  </a:cubicBezTo>
                  <a:cubicBezTo>
                    <a:pt x="22326" y="71923"/>
                    <a:pt x="27963" y="71207"/>
                    <a:pt x="33601" y="70894"/>
                  </a:cubicBezTo>
                  <a:cubicBezTo>
                    <a:pt x="36375" y="71386"/>
                    <a:pt x="41878" y="72326"/>
                    <a:pt x="44652" y="72818"/>
                  </a:cubicBezTo>
                  <a:cubicBezTo>
                    <a:pt x="44518" y="61677"/>
                    <a:pt x="44249" y="50492"/>
                    <a:pt x="42102" y="39530"/>
                  </a:cubicBezTo>
                  <a:cubicBezTo>
                    <a:pt x="41789" y="37741"/>
                    <a:pt x="41207" y="34117"/>
                    <a:pt x="40894" y="32327"/>
                  </a:cubicBezTo>
                  <a:cubicBezTo>
                    <a:pt x="40894" y="25661"/>
                    <a:pt x="41386" y="19039"/>
                    <a:pt x="41789" y="12417"/>
                  </a:cubicBezTo>
                  <a:cubicBezTo>
                    <a:pt x="39999" y="9419"/>
                    <a:pt x="38254" y="6466"/>
                    <a:pt x="36509" y="3514"/>
                  </a:cubicBezTo>
                  <a:cubicBezTo>
                    <a:pt x="57135" y="3379"/>
                    <a:pt x="77761" y="2171"/>
                    <a:pt x="98342" y="561"/>
                  </a:cubicBezTo>
                  <a:close/>
                  <a:moveTo>
                    <a:pt x="58298" y="36175"/>
                  </a:moveTo>
                  <a:cubicBezTo>
                    <a:pt x="52705" y="42662"/>
                    <a:pt x="63712" y="51342"/>
                    <a:pt x="69528" y="45928"/>
                  </a:cubicBezTo>
                  <a:cubicBezTo>
                    <a:pt x="75479" y="39665"/>
                    <a:pt x="63891" y="30537"/>
                    <a:pt x="58298" y="36175"/>
                  </a:cubicBezTo>
                  <a:close/>
                </a:path>
              </a:pathLst>
            </a:custGeom>
            <a:solidFill>
              <a:srgbClr val="354F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C9CDB9CE-65B1-45B9-EBE4-1171ED18DAFB}"/>
                </a:ext>
              </a:extLst>
            </p:cNvPr>
            <p:cNvSpPr/>
            <p:nvPr/>
          </p:nvSpPr>
          <p:spPr>
            <a:xfrm flipH="1">
              <a:off x="3452615" y="2993041"/>
              <a:ext cx="25136" cy="370207"/>
            </a:xfrm>
            <a:custGeom>
              <a:avLst/>
              <a:gdLst>
                <a:gd name="connsiteX0" fmla="*/ 3579 w 21073"/>
                <a:gd name="connsiteY0" fmla="*/ 0 h 310371"/>
                <a:gd name="connsiteX1" fmla="*/ 16912 w 21073"/>
                <a:gd name="connsiteY1" fmla="*/ 43802 h 310371"/>
                <a:gd name="connsiteX2" fmla="*/ 13736 w 21073"/>
                <a:gd name="connsiteY2" fmla="*/ 74853 h 310371"/>
                <a:gd name="connsiteX3" fmla="*/ 14273 w 21073"/>
                <a:gd name="connsiteY3" fmla="*/ 102861 h 310371"/>
                <a:gd name="connsiteX4" fmla="*/ 17583 w 21073"/>
                <a:gd name="connsiteY4" fmla="*/ 131808 h 310371"/>
                <a:gd name="connsiteX5" fmla="*/ 21073 w 21073"/>
                <a:gd name="connsiteY5" fmla="*/ 152524 h 310371"/>
                <a:gd name="connsiteX6" fmla="*/ 15615 w 21073"/>
                <a:gd name="connsiteY6" fmla="*/ 157356 h 310371"/>
                <a:gd name="connsiteX7" fmla="*/ 17360 w 21073"/>
                <a:gd name="connsiteY7" fmla="*/ 201516 h 310371"/>
                <a:gd name="connsiteX8" fmla="*/ 7830 w 21073"/>
                <a:gd name="connsiteY8" fmla="*/ 220396 h 310371"/>
                <a:gd name="connsiteX9" fmla="*/ 8277 w 21073"/>
                <a:gd name="connsiteY9" fmla="*/ 310058 h 310371"/>
                <a:gd name="connsiteX10" fmla="*/ 0 w 21073"/>
                <a:gd name="connsiteY10" fmla="*/ 310371 h 310371"/>
                <a:gd name="connsiteX11" fmla="*/ 3579 w 21073"/>
                <a:gd name="connsiteY11" fmla="*/ 0 h 31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73" h="310371">
                  <a:moveTo>
                    <a:pt x="3579" y="0"/>
                  </a:moveTo>
                  <a:cubicBezTo>
                    <a:pt x="5637" y="15167"/>
                    <a:pt x="8590" y="30648"/>
                    <a:pt x="16912" y="43802"/>
                  </a:cubicBezTo>
                  <a:cubicBezTo>
                    <a:pt x="16375" y="54182"/>
                    <a:pt x="15257" y="64562"/>
                    <a:pt x="13736" y="74853"/>
                  </a:cubicBezTo>
                  <a:cubicBezTo>
                    <a:pt x="12170" y="84159"/>
                    <a:pt x="11901" y="93644"/>
                    <a:pt x="14273" y="102861"/>
                  </a:cubicBezTo>
                  <a:cubicBezTo>
                    <a:pt x="16375" y="112346"/>
                    <a:pt x="17091" y="122055"/>
                    <a:pt x="17583" y="131808"/>
                  </a:cubicBezTo>
                  <a:cubicBezTo>
                    <a:pt x="18210" y="138743"/>
                    <a:pt x="19552" y="145678"/>
                    <a:pt x="21073" y="152524"/>
                  </a:cubicBezTo>
                  <a:cubicBezTo>
                    <a:pt x="19731" y="153732"/>
                    <a:pt x="17002" y="156148"/>
                    <a:pt x="15615" y="157356"/>
                  </a:cubicBezTo>
                  <a:cubicBezTo>
                    <a:pt x="15883" y="172076"/>
                    <a:pt x="16733" y="186796"/>
                    <a:pt x="17360" y="201516"/>
                  </a:cubicBezTo>
                  <a:cubicBezTo>
                    <a:pt x="13378" y="207287"/>
                    <a:pt x="7696" y="212790"/>
                    <a:pt x="7830" y="220396"/>
                  </a:cubicBezTo>
                  <a:cubicBezTo>
                    <a:pt x="6219" y="250239"/>
                    <a:pt x="8143" y="280171"/>
                    <a:pt x="8277" y="310058"/>
                  </a:cubicBezTo>
                  <a:cubicBezTo>
                    <a:pt x="6219" y="310148"/>
                    <a:pt x="2058" y="310282"/>
                    <a:pt x="0" y="310371"/>
                  </a:cubicBezTo>
                  <a:cubicBezTo>
                    <a:pt x="2103" y="206929"/>
                    <a:pt x="1208" y="103442"/>
                    <a:pt x="3579" y="0"/>
                  </a:cubicBezTo>
                  <a:close/>
                </a:path>
              </a:pathLst>
            </a:custGeom>
            <a:solidFill>
              <a:srgbClr val="2A448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D8FBF899-5CBB-91C4-69FC-BD54B94CEDBF}"/>
                </a:ext>
              </a:extLst>
            </p:cNvPr>
            <p:cNvSpPr/>
            <p:nvPr/>
          </p:nvSpPr>
          <p:spPr>
            <a:xfrm flipH="1">
              <a:off x="2735654" y="2994668"/>
              <a:ext cx="82910" cy="60242"/>
            </a:xfrm>
            <a:custGeom>
              <a:avLst/>
              <a:gdLst>
                <a:gd name="connsiteX0" fmla="*/ 24924 w 69509"/>
                <a:gd name="connsiteY0" fmla="*/ 1990 h 50505"/>
                <a:gd name="connsiteX1" fmla="*/ 69129 w 69509"/>
                <a:gd name="connsiteY1" fmla="*/ 32101 h 50505"/>
                <a:gd name="connsiteX2" fmla="*/ 1748 w 69509"/>
                <a:gd name="connsiteY2" fmla="*/ 31654 h 50505"/>
                <a:gd name="connsiteX3" fmla="*/ 24924 w 69509"/>
                <a:gd name="connsiteY3" fmla="*/ 1990 h 50505"/>
                <a:gd name="connsiteX4" fmla="*/ 20450 w 69509"/>
                <a:gd name="connsiteY4" fmla="*/ 10267 h 50505"/>
                <a:gd name="connsiteX5" fmla="*/ 14320 w 69509"/>
                <a:gd name="connsiteY5" fmla="*/ 34786 h 50505"/>
                <a:gd name="connsiteX6" fmla="*/ 60628 w 69509"/>
                <a:gd name="connsiteY6" fmla="*/ 27001 h 50505"/>
                <a:gd name="connsiteX7" fmla="*/ 20450 w 69509"/>
                <a:gd name="connsiteY7" fmla="*/ 10267 h 50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509" h="50505">
                  <a:moveTo>
                    <a:pt x="24924" y="1990"/>
                  </a:moveTo>
                  <a:cubicBezTo>
                    <a:pt x="44387" y="-5526"/>
                    <a:pt x="73155" y="9059"/>
                    <a:pt x="69129" y="32101"/>
                  </a:cubicBezTo>
                  <a:cubicBezTo>
                    <a:pt x="55840" y="58141"/>
                    <a:pt x="16155" y="55232"/>
                    <a:pt x="1748" y="31654"/>
                  </a:cubicBezTo>
                  <a:cubicBezTo>
                    <a:pt x="-5858" y="16576"/>
                    <a:pt x="13112" y="6062"/>
                    <a:pt x="24924" y="1990"/>
                  </a:cubicBezTo>
                  <a:close/>
                  <a:moveTo>
                    <a:pt x="20450" y="10267"/>
                  </a:moveTo>
                  <a:cubicBezTo>
                    <a:pt x="11233" y="14428"/>
                    <a:pt x="6893" y="26956"/>
                    <a:pt x="14320" y="34786"/>
                  </a:cubicBezTo>
                  <a:cubicBezTo>
                    <a:pt x="26087" y="49103"/>
                    <a:pt x="58033" y="48566"/>
                    <a:pt x="60628" y="27001"/>
                  </a:cubicBezTo>
                  <a:cubicBezTo>
                    <a:pt x="60717" y="6956"/>
                    <a:pt x="34857" y="1051"/>
                    <a:pt x="20450" y="10267"/>
                  </a:cubicBezTo>
                  <a:close/>
                </a:path>
              </a:pathLst>
            </a:custGeom>
            <a:solidFill>
              <a:srgbClr val="5692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F8C94D81-23F3-9912-DAE0-F623F01C1198}"/>
                </a:ext>
              </a:extLst>
            </p:cNvPr>
            <p:cNvSpPr/>
            <p:nvPr/>
          </p:nvSpPr>
          <p:spPr>
            <a:xfrm flipH="1">
              <a:off x="3790815" y="3214674"/>
              <a:ext cx="165498" cy="133175"/>
            </a:xfrm>
            <a:custGeom>
              <a:avLst/>
              <a:gdLst>
                <a:gd name="connsiteX0" fmla="*/ 4534 w 138749"/>
                <a:gd name="connsiteY0" fmla="*/ 4429 h 111650"/>
                <a:gd name="connsiteX1" fmla="*/ 105605 w 138749"/>
                <a:gd name="connsiteY1" fmla="*/ 0 h 111650"/>
                <a:gd name="connsiteX2" fmla="*/ 133926 w 138749"/>
                <a:gd name="connsiteY2" fmla="*/ 5682 h 111650"/>
                <a:gd name="connsiteX3" fmla="*/ 138624 w 138749"/>
                <a:gd name="connsiteY3" fmla="*/ 75389 h 111650"/>
                <a:gd name="connsiteX4" fmla="*/ 117730 w 138749"/>
                <a:gd name="connsiteY4" fmla="*/ 108677 h 111650"/>
                <a:gd name="connsiteX5" fmla="*/ 9455 w 138749"/>
                <a:gd name="connsiteY5" fmla="*/ 108274 h 111650"/>
                <a:gd name="connsiteX6" fmla="*/ 15 w 138749"/>
                <a:gd name="connsiteY6" fmla="*/ 65725 h 111650"/>
                <a:gd name="connsiteX7" fmla="*/ 954 w 138749"/>
                <a:gd name="connsiteY7" fmla="*/ 34138 h 111650"/>
                <a:gd name="connsiteX8" fmla="*/ 3505 w 138749"/>
                <a:gd name="connsiteY8" fmla="*/ 10872 h 111650"/>
                <a:gd name="connsiteX9" fmla="*/ 4534 w 138749"/>
                <a:gd name="connsiteY9" fmla="*/ 4429 h 111650"/>
                <a:gd name="connsiteX10" fmla="*/ 47799 w 138749"/>
                <a:gd name="connsiteY10" fmla="*/ 26174 h 111650"/>
                <a:gd name="connsiteX11" fmla="*/ 48246 w 138749"/>
                <a:gd name="connsiteY11" fmla="*/ 87917 h 111650"/>
                <a:gd name="connsiteX12" fmla="*/ 89543 w 138749"/>
                <a:gd name="connsiteY12" fmla="*/ 86217 h 111650"/>
                <a:gd name="connsiteX13" fmla="*/ 87977 w 138749"/>
                <a:gd name="connsiteY13" fmla="*/ 25458 h 111650"/>
                <a:gd name="connsiteX14" fmla="*/ 47799 w 138749"/>
                <a:gd name="connsiteY14" fmla="*/ 26174 h 11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49" h="111650">
                  <a:moveTo>
                    <a:pt x="4534" y="4429"/>
                  </a:moveTo>
                  <a:cubicBezTo>
                    <a:pt x="37956" y="-626"/>
                    <a:pt x="71914" y="984"/>
                    <a:pt x="105605" y="0"/>
                  </a:cubicBezTo>
                  <a:cubicBezTo>
                    <a:pt x="115045" y="805"/>
                    <a:pt x="126052" y="-850"/>
                    <a:pt x="133926" y="5682"/>
                  </a:cubicBezTo>
                  <a:cubicBezTo>
                    <a:pt x="139743" y="28321"/>
                    <a:pt x="138713" y="52169"/>
                    <a:pt x="138624" y="75389"/>
                  </a:cubicBezTo>
                  <a:cubicBezTo>
                    <a:pt x="138042" y="88678"/>
                    <a:pt x="134910" y="108677"/>
                    <a:pt x="117730" y="108677"/>
                  </a:cubicBezTo>
                  <a:cubicBezTo>
                    <a:pt x="81802" y="110377"/>
                    <a:pt x="45025" y="114628"/>
                    <a:pt x="9455" y="108274"/>
                  </a:cubicBezTo>
                  <a:cubicBezTo>
                    <a:pt x="-209" y="96507"/>
                    <a:pt x="1044" y="79998"/>
                    <a:pt x="15" y="65725"/>
                  </a:cubicBezTo>
                  <a:cubicBezTo>
                    <a:pt x="-75" y="55166"/>
                    <a:pt x="239" y="44652"/>
                    <a:pt x="954" y="34138"/>
                  </a:cubicBezTo>
                  <a:cubicBezTo>
                    <a:pt x="1536" y="26353"/>
                    <a:pt x="2431" y="18568"/>
                    <a:pt x="3505" y="10872"/>
                  </a:cubicBezTo>
                  <a:cubicBezTo>
                    <a:pt x="3729" y="9262"/>
                    <a:pt x="4265" y="6040"/>
                    <a:pt x="4534" y="4429"/>
                  </a:cubicBezTo>
                  <a:close/>
                  <a:moveTo>
                    <a:pt x="47799" y="26174"/>
                  </a:moveTo>
                  <a:cubicBezTo>
                    <a:pt x="47799" y="46755"/>
                    <a:pt x="47799" y="67336"/>
                    <a:pt x="48246" y="87917"/>
                  </a:cubicBezTo>
                  <a:cubicBezTo>
                    <a:pt x="62027" y="88320"/>
                    <a:pt x="75807" y="87828"/>
                    <a:pt x="89543" y="86217"/>
                  </a:cubicBezTo>
                  <a:cubicBezTo>
                    <a:pt x="89498" y="65949"/>
                    <a:pt x="89677" y="45636"/>
                    <a:pt x="87977" y="25458"/>
                  </a:cubicBezTo>
                  <a:cubicBezTo>
                    <a:pt x="74554" y="24742"/>
                    <a:pt x="61132" y="24966"/>
                    <a:pt x="47799" y="26174"/>
                  </a:cubicBezTo>
                  <a:close/>
                </a:path>
              </a:pathLst>
            </a:custGeom>
            <a:solidFill>
              <a:srgbClr val="FE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Rectangle: Rounded Corners 82">
              <a:extLst>
                <a:ext uri="{FF2B5EF4-FFF2-40B4-BE49-F238E27FC236}">
                  <a16:creationId xmlns:a16="http://schemas.microsoft.com/office/drawing/2014/main" id="{62DAD945-4B7B-2BDE-AE49-AF512D0461A8}"/>
                </a:ext>
              </a:extLst>
            </p:cNvPr>
            <p:cNvSpPr/>
            <p:nvPr/>
          </p:nvSpPr>
          <p:spPr>
            <a:xfrm flipH="1">
              <a:off x="1250933" y="5045650"/>
              <a:ext cx="94087" cy="61958"/>
            </a:xfrm>
            <a:prstGeom prst="roundRect">
              <a:avLst/>
            </a:prstGeom>
            <a:solidFill>
              <a:srgbClr val="FE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1F96EE4F-22AE-4FFD-8A58-4B234A2C0476}"/>
                </a:ext>
              </a:extLst>
            </p:cNvPr>
            <p:cNvSpPr/>
            <p:nvPr/>
          </p:nvSpPr>
          <p:spPr>
            <a:xfrm flipH="1">
              <a:off x="3214810" y="3180199"/>
              <a:ext cx="72031" cy="54380"/>
            </a:xfrm>
            <a:custGeom>
              <a:avLst/>
              <a:gdLst>
                <a:gd name="connsiteX0" fmla="*/ 44774 w 60389"/>
                <a:gd name="connsiteY0" fmla="*/ 671 h 45591"/>
                <a:gd name="connsiteX1" fmla="*/ 59986 w 60389"/>
                <a:gd name="connsiteY1" fmla="*/ 0 h 45591"/>
                <a:gd name="connsiteX2" fmla="*/ 59986 w 60389"/>
                <a:gd name="connsiteY2" fmla="*/ 43936 h 45591"/>
                <a:gd name="connsiteX3" fmla="*/ 33320 w 60389"/>
                <a:gd name="connsiteY3" fmla="*/ 45592 h 45591"/>
                <a:gd name="connsiteX4" fmla="*/ 2672 w 60389"/>
                <a:gd name="connsiteY4" fmla="*/ 43265 h 45591"/>
                <a:gd name="connsiteX5" fmla="*/ 4059 w 60389"/>
                <a:gd name="connsiteY5" fmla="*/ 5503 h 45591"/>
                <a:gd name="connsiteX6" fmla="*/ 14484 w 60389"/>
                <a:gd name="connsiteY6" fmla="*/ 4071 h 45591"/>
                <a:gd name="connsiteX7" fmla="*/ 16631 w 60389"/>
                <a:gd name="connsiteY7" fmla="*/ 25547 h 45591"/>
                <a:gd name="connsiteX8" fmla="*/ 40121 w 60389"/>
                <a:gd name="connsiteY8" fmla="*/ 23221 h 45591"/>
                <a:gd name="connsiteX9" fmla="*/ 44818 w 60389"/>
                <a:gd name="connsiteY9" fmla="*/ 671 h 4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389" h="45591">
                  <a:moveTo>
                    <a:pt x="44774" y="671"/>
                  </a:moveTo>
                  <a:cubicBezTo>
                    <a:pt x="48577" y="492"/>
                    <a:pt x="56183" y="179"/>
                    <a:pt x="59986" y="0"/>
                  </a:cubicBezTo>
                  <a:cubicBezTo>
                    <a:pt x="60567" y="14630"/>
                    <a:pt x="60478" y="29261"/>
                    <a:pt x="59986" y="43936"/>
                  </a:cubicBezTo>
                  <a:cubicBezTo>
                    <a:pt x="51082" y="44473"/>
                    <a:pt x="42179" y="45055"/>
                    <a:pt x="33320" y="45592"/>
                  </a:cubicBezTo>
                  <a:cubicBezTo>
                    <a:pt x="23074" y="45010"/>
                    <a:pt x="12739" y="45189"/>
                    <a:pt x="2672" y="43265"/>
                  </a:cubicBezTo>
                  <a:cubicBezTo>
                    <a:pt x="-3637" y="31945"/>
                    <a:pt x="3075" y="17673"/>
                    <a:pt x="4059" y="5503"/>
                  </a:cubicBezTo>
                  <a:cubicBezTo>
                    <a:pt x="6654" y="5145"/>
                    <a:pt x="11889" y="4429"/>
                    <a:pt x="14484" y="4071"/>
                  </a:cubicBezTo>
                  <a:cubicBezTo>
                    <a:pt x="15334" y="11185"/>
                    <a:pt x="15915" y="18344"/>
                    <a:pt x="16631" y="25547"/>
                  </a:cubicBezTo>
                  <a:cubicBezTo>
                    <a:pt x="24461" y="24966"/>
                    <a:pt x="32336" y="24563"/>
                    <a:pt x="40121" y="23221"/>
                  </a:cubicBezTo>
                  <a:cubicBezTo>
                    <a:pt x="42537" y="15883"/>
                    <a:pt x="43431" y="8188"/>
                    <a:pt x="44818" y="671"/>
                  </a:cubicBezTo>
                  <a:close/>
                </a:path>
              </a:pathLst>
            </a:custGeom>
            <a:solidFill>
              <a:srgbClr val="FF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35B19E83-7567-FF76-BA43-A7D50C11E932}"/>
                </a:ext>
              </a:extLst>
            </p:cNvPr>
            <p:cNvSpPr/>
            <p:nvPr/>
          </p:nvSpPr>
          <p:spPr>
            <a:xfrm flipH="1">
              <a:off x="1688135" y="4410580"/>
              <a:ext cx="168427" cy="221953"/>
            </a:xfrm>
            <a:custGeom>
              <a:avLst/>
              <a:gdLst>
                <a:gd name="connsiteX0" fmla="*/ 68276 w 141204"/>
                <a:gd name="connsiteY0" fmla="*/ 10469 h 186078"/>
                <a:gd name="connsiteX1" fmla="*/ 74897 w 141204"/>
                <a:gd name="connsiteY1" fmla="*/ 0 h 186078"/>
                <a:gd name="connsiteX2" fmla="*/ 131227 w 141204"/>
                <a:gd name="connsiteY2" fmla="*/ 45144 h 186078"/>
                <a:gd name="connsiteX3" fmla="*/ 141204 w 141204"/>
                <a:gd name="connsiteY3" fmla="*/ 74136 h 186078"/>
                <a:gd name="connsiteX4" fmla="*/ 35435 w 141204"/>
                <a:gd name="connsiteY4" fmla="*/ 184066 h 186078"/>
                <a:gd name="connsiteX5" fmla="*/ 0 w 141204"/>
                <a:gd name="connsiteY5" fmla="*/ 185856 h 186078"/>
                <a:gd name="connsiteX6" fmla="*/ 35749 w 141204"/>
                <a:gd name="connsiteY6" fmla="*/ 132971 h 186078"/>
                <a:gd name="connsiteX7" fmla="*/ 38523 w 141204"/>
                <a:gd name="connsiteY7" fmla="*/ 85859 h 186078"/>
                <a:gd name="connsiteX8" fmla="*/ 48097 w 141204"/>
                <a:gd name="connsiteY8" fmla="*/ 76597 h 186078"/>
                <a:gd name="connsiteX9" fmla="*/ 68276 w 141204"/>
                <a:gd name="connsiteY9" fmla="*/ 10469 h 18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4" h="186078">
                  <a:moveTo>
                    <a:pt x="68276" y="10469"/>
                  </a:moveTo>
                  <a:cubicBezTo>
                    <a:pt x="70378" y="6935"/>
                    <a:pt x="72571" y="3445"/>
                    <a:pt x="74897" y="0"/>
                  </a:cubicBezTo>
                  <a:cubicBezTo>
                    <a:pt x="97313" y="9619"/>
                    <a:pt x="118431" y="23802"/>
                    <a:pt x="131227" y="45144"/>
                  </a:cubicBezTo>
                  <a:cubicBezTo>
                    <a:pt x="135298" y="54495"/>
                    <a:pt x="138520" y="64249"/>
                    <a:pt x="141204" y="74136"/>
                  </a:cubicBezTo>
                  <a:cubicBezTo>
                    <a:pt x="105142" y="109974"/>
                    <a:pt x="70602" y="147334"/>
                    <a:pt x="35435" y="184066"/>
                  </a:cubicBezTo>
                  <a:cubicBezTo>
                    <a:pt x="23802" y="186527"/>
                    <a:pt x="11767" y="186169"/>
                    <a:pt x="0" y="185856"/>
                  </a:cubicBezTo>
                  <a:cubicBezTo>
                    <a:pt x="14138" y="170062"/>
                    <a:pt x="31230" y="154626"/>
                    <a:pt x="35749" y="132971"/>
                  </a:cubicBezTo>
                  <a:cubicBezTo>
                    <a:pt x="37896" y="117312"/>
                    <a:pt x="36420" y="101474"/>
                    <a:pt x="38523" y="85859"/>
                  </a:cubicBezTo>
                  <a:cubicBezTo>
                    <a:pt x="41654" y="82727"/>
                    <a:pt x="44831" y="79640"/>
                    <a:pt x="48097" y="76597"/>
                  </a:cubicBezTo>
                  <a:cubicBezTo>
                    <a:pt x="68812" y="61117"/>
                    <a:pt x="63041" y="32706"/>
                    <a:pt x="68276" y="10469"/>
                  </a:cubicBezTo>
                  <a:close/>
                </a:path>
              </a:pathLst>
            </a:custGeom>
            <a:solidFill>
              <a:srgbClr val="FF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6" name="Freeform: Shape 85">
              <a:extLst>
                <a:ext uri="{FF2B5EF4-FFF2-40B4-BE49-F238E27FC236}">
                  <a16:creationId xmlns:a16="http://schemas.microsoft.com/office/drawing/2014/main" id="{83160F61-F879-B343-6021-C2B3D5E19018}"/>
                </a:ext>
              </a:extLst>
            </p:cNvPr>
            <p:cNvSpPr/>
            <p:nvPr/>
          </p:nvSpPr>
          <p:spPr>
            <a:xfrm flipH="1">
              <a:off x="3702062" y="2999570"/>
              <a:ext cx="443267" cy="378621"/>
            </a:xfrm>
            <a:custGeom>
              <a:avLst/>
              <a:gdLst>
                <a:gd name="connsiteX0" fmla="*/ 498 w 371622"/>
                <a:gd name="connsiteY0" fmla="*/ 789 h 317424"/>
                <a:gd name="connsiteX1" fmla="*/ 42242 w 371622"/>
                <a:gd name="connsiteY1" fmla="*/ 1460 h 317424"/>
                <a:gd name="connsiteX2" fmla="*/ 86760 w 371622"/>
                <a:gd name="connsiteY2" fmla="*/ 11393 h 317424"/>
                <a:gd name="connsiteX3" fmla="*/ 87610 w 371622"/>
                <a:gd name="connsiteY3" fmla="*/ 20923 h 317424"/>
                <a:gd name="connsiteX4" fmla="*/ 39602 w 371622"/>
                <a:gd name="connsiteY4" fmla="*/ 19760 h 317424"/>
                <a:gd name="connsiteX5" fmla="*/ 38081 w 371622"/>
                <a:gd name="connsiteY5" fmla="*/ 39535 h 317424"/>
                <a:gd name="connsiteX6" fmla="*/ 80183 w 371622"/>
                <a:gd name="connsiteY6" fmla="*/ 40117 h 317424"/>
                <a:gd name="connsiteX7" fmla="*/ 66536 w 371622"/>
                <a:gd name="connsiteY7" fmla="*/ 44144 h 317424"/>
                <a:gd name="connsiteX8" fmla="*/ 153335 w 371622"/>
                <a:gd name="connsiteY8" fmla="*/ 48663 h 317424"/>
                <a:gd name="connsiteX9" fmla="*/ 37723 w 371622"/>
                <a:gd name="connsiteY9" fmla="*/ 56045 h 317424"/>
                <a:gd name="connsiteX10" fmla="*/ 36604 w 371622"/>
                <a:gd name="connsiteY10" fmla="*/ 60072 h 317424"/>
                <a:gd name="connsiteX11" fmla="*/ 36112 w 371622"/>
                <a:gd name="connsiteY11" fmla="*/ 177070 h 317424"/>
                <a:gd name="connsiteX12" fmla="*/ 38707 w 371622"/>
                <a:gd name="connsiteY12" fmla="*/ 229329 h 317424"/>
                <a:gd name="connsiteX13" fmla="*/ 54233 w 371622"/>
                <a:gd name="connsiteY13" fmla="*/ 230760 h 317424"/>
                <a:gd name="connsiteX14" fmla="*/ 52711 w 371622"/>
                <a:gd name="connsiteY14" fmla="*/ 232281 h 317424"/>
                <a:gd name="connsiteX15" fmla="*/ 33830 w 371622"/>
                <a:gd name="connsiteY15" fmla="*/ 233668 h 317424"/>
                <a:gd name="connsiteX16" fmla="*/ 36023 w 371622"/>
                <a:gd name="connsiteY16" fmla="*/ 268701 h 317424"/>
                <a:gd name="connsiteX17" fmla="*/ 96155 w 371622"/>
                <a:gd name="connsiteY17" fmla="*/ 268298 h 317424"/>
                <a:gd name="connsiteX18" fmla="*/ 96155 w 371622"/>
                <a:gd name="connsiteY18" fmla="*/ 256039 h 317424"/>
                <a:gd name="connsiteX19" fmla="*/ 100450 w 371622"/>
                <a:gd name="connsiteY19" fmla="*/ 254831 h 317424"/>
                <a:gd name="connsiteX20" fmla="*/ 122329 w 371622"/>
                <a:gd name="connsiteY20" fmla="*/ 249865 h 317424"/>
                <a:gd name="connsiteX21" fmla="*/ 146758 w 371622"/>
                <a:gd name="connsiteY21" fmla="*/ 246017 h 317424"/>
                <a:gd name="connsiteX22" fmla="*/ 158480 w 371622"/>
                <a:gd name="connsiteY22" fmla="*/ 246062 h 317424"/>
                <a:gd name="connsiteX23" fmla="*/ 167921 w 371622"/>
                <a:gd name="connsiteY23" fmla="*/ 288611 h 317424"/>
                <a:gd name="connsiteX24" fmla="*/ 276195 w 371622"/>
                <a:gd name="connsiteY24" fmla="*/ 289014 h 317424"/>
                <a:gd name="connsiteX25" fmla="*/ 297089 w 371622"/>
                <a:gd name="connsiteY25" fmla="*/ 255726 h 317424"/>
                <a:gd name="connsiteX26" fmla="*/ 292391 w 371622"/>
                <a:gd name="connsiteY26" fmla="*/ 186019 h 317424"/>
                <a:gd name="connsiteX27" fmla="*/ 264070 w 371622"/>
                <a:gd name="connsiteY27" fmla="*/ 180337 h 317424"/>
                <a:gd name="connsiteX28" fmla="*/ 269573 w 371622"/>
                <a:gd name="connsiteY28" fmla="*/ 75328 h 317424"/>
                <a:gd name="connsiteX29" fmla="*/ 268320 w 371622"/>
                <a:gd name="connsiteY29" fmla="*/ 6069 h 317424"/>
                <a:gd name="connsiteX30" fmla="*/ 331406 w 371622"/>
                <a:gd name="connsiteY30" fmla="*/ 7366 h 317424"/>
                <a:gd name="connsiteX31" fmla="*/ 325903 w 371622"/>
                <a:gd name="connsiteY31" fmla="*/ 15375 h 317424"/>
                <a:gd name="connsiteX32" fmla="*/ 312570 w 371622"/>
                <a:gd name="connsiteY32" fmla="*/ 15062 h 317424"/>
                <a:gd name="connsiteX33" fmla="*/ 312570 w 371622"/>
                <a:gd name="connsiteY33" fmla="*/ 41638 h 317424"/>
                <a:gd name="connsiteX34" fmla="*/ 338341 w 371622"/>
                <a:gd name="connsiteY34" fmla="*/ 36359 h 317424"/>
                <a:gd name="connsiteX35" fmla="*/ 339862 w 371622"/>
                <a:gd name="connsiteY35" fmla="*/ 59803 h 317424"/>
                <a:gd name="connsiteX36" fmla="*/ 371405 w 371622"/>
                <a:gd name="connsiteY36" fmla="*/ 75149 h 317424"/>
                <a:gd name="connsiteX37" fmla="*/ 370376 w 371622"/>
                <a:gd name="connsiteY37" fmla="*/ 316574 h 317424"/>
                <a:gd name="connsiteX38" fmla="*/ 274 w 371622"/>
                <a:gd name="connsiteY38" fmla="*/ 317424 h 317424"/>
                <a:gd name="connsiteX39" fmla="*/ 543 w 371622"/>
                <a:gd name="connsiteY39" fmla="*/ 789 h 317424"/>
                <a:gd name="connsiteX40" fmla="*/ 341160 w 371622"/>
                <a:gd name="connsiteY40" fmla="*/ 68036 h 317424"/>
                <a:gd name="connsiteX41" fmla="*/ 336730 w 371622"/>
                <a:gd name="connsiteY41" fmla="*/ 80787 h 317424"/>
                <a:gd name="connsiteX42" fmla="*/ 315836 w 371622"/>
                <a:gd name="connsiteY42" fmla="*/ 72420 h 317424"/>
                <a:gd name="connsiteX43" fmla="*/ 307335 w 371622"/>
                <a:gd name="connsiteY43" fmla="*/ 81413 h 317424"/>
                <a:gd name="connsiteX44" fmla="*/ 317536 w 371622"/>
                <a:gd name="connsiteY44" fmla="*/ 100921 h 317424"/>
                <a:gd name="connsiteX45" fmla="*/ 313107 w 371622"/>
                <a:gd name="connsiteY45" fmla="*/ 102755 h 317424"/>
                <a:gd name="connsiteX46" fmla="*/ 331540 w 371622"/>
                <a:gd name="connsiteY46" fmla="*/ 105484 h 317424"/>
                <a:gd name="connsiteX47" fmla="*/ 350600 w 371622"/>
                <a:gd name="connsiteY47" fmla="*/ 90943 h 317424"/>
                <a:gd name="connsiteX48" fmla="*/ 349168 w 371622"/>
                <a:gd name="connsiteY48" fmla="*/ 87990 h 317424"/>
                <a:gd name="connsiteX49" fmla="*/ 341160 w 371622"/>
                <a:gd name="connsiteY49" fmla="*/ 68036 h 317424"/>
                <a:gd name="connsiteX50" fmla="*/ 312346 w 371622"/>
                <a:gd name="connsiteY50" fmla="*/ 143962 h 317424"/>
                <a:gd name="connsiteX51" fmla="*/ 328632 w 371622"/>
                <a:gd name="connsiteY51" fmla="*/ 164453 h 317424"/>
                <a:gd name="connsiteX52" fmla="*/ 338878 w 371622"/>
                <a:gd name="connsiteY52" fmla="*/ 139219 h 317424"/>
                <a:gd name="connsiteX53" fmla="*/ 356282 w 371622"/>
                <a:gd name="connsiteY53" fmla="*/ 152731 h 317424"/>
                <a:gd name="connsiteX54" fmla="*/ 340399 w 371622"/>
                <a:gd name="connsiteY54" fmla="*/ 127497 h 317424"/>
                <a:gd name="connsiteX55" fmla="*/ 312346 w 371622"/>
                <a:gd name="connsiteY55" fmla="*/ 143962 h 317424"/>
                <a:gd name="connsiteX56" fmla="*/ 347737 w 371622"/>
                <a:gd name="connsiteY56" fmla="*/ 203781 h 317424"/>
                <a:gd name="connsiteX57" fmla="*/ 337222 w 371622"/>
                <a:gd name="connsiteY57" fmla="*/ 218770 h 317424"/>
                <a:gd name="connsiteX58" fmla="*/ 315925 w 371622"/>
                <a:gd name="connsiteY58" fmla="*/ 208211 h 317424"/>
                <a:gd name="connsiteX59" fmla="*/ 316015 w 371622"/>
                <a:gd name="connsiteY59" fmla="*/ 220559 h 317424"/>
                <a:gd name="connsiteX60" fmla="*/ 354895 w 371622"/>
                <a:gd name="connsiteY60" fmla="*/ 204542 h 317424"/>
                <a:gd name="connsiteX61" fmla="*/ 347737 w 371622"/>
                <a:gd name="connsiteY61" fmla="*/ 203781 h 317424"/>
                <a:gd name="connsiteX62" fmla="*/ 316418 w 371622"/>
                <a:gd name="connsiteY62" fmla="*/ 278052 h 317424"/>
                <a:gd name="connsiteX63" fmla="*/ 339504 w 371622"/>
                <a:gd name="connsiteY63" fmla="*/ 269238 h 317424"/>
                <a:gd name="connsiteX64" fmla="*/ 325500 w 371622"/>
                <a:gd name="connsiteY64" fmla="*/ 247807 h 317424"/>
                <a:gd name="connsiteX65" fmla="*/ 316418 w 371622"/>
                <a:gd name="connsiteY65" fmla="*/ 278052 h 3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71622" h="317424">
                  <a:moveTo>
                    <a:pt x="498" y="789"/>
                  </a:moveTo>
                  <a:cubicBezTo>
                    <a:pt x="14413" y="-106"/>
                    <a:pt x="28417" y="-643"/>
                    <a:pt x="42242" y="1460"/>
                  </a:cubicBezTo>
                  <a:cubicBezTo>
                    <a:pt x="57230" y="3966"/>
                    <a:pt x="72934" y="4592"/>
                    <a:pt x="86760" y="11393"/>
                  </a:cubicBezTo>
                  <a:cubicBezTo>
                    <a:pt x="86983" y="13764"/>
                    <a:pt x="87386" y="18552"/>
                    <a:pt x="87610" y="20923"/>
                  </a:cubicBezTo>
                  <a:cubicBezTo>
                    <a:pt x="71592" y="20654"/>
                    <a:pt x="55620" y="20297"/>
                    <a:pt x="39602" y="19760"/>
                  </a:cubicBezTo>
                  <a:cubicBezTo>
                    <a:pt x="39110" y="26292"/>
                    <a:pt x="38618" y="32914"/>
                    <a:pt x="38081" y="39535"/>
                  </a:cubicBezTo>
                  <a:cubicBezTo>
                    <a:pt x="52130" y="38819"/>
                    <a:pt x="66178" y="38998"/>
                    <a:pt x="80183" y="40117"/>
                  </a:cubicBezTo>
                  <a:cubicBezTo>
                    <a:pt x="75619" y="41370"/>
                    <a:pt x="71055" y="42712"/>
                    <a:pt x="66536" y="44144"/>
                  </a:cubicBezTo>
                  <a:cubicBezTo>
                    <a:pt x="95395" y="47097"/>
                    <a:pt x="124700" y="42488"/>
                    <a:pt x="153335" y="48663"/>
                  </a:cubicBezTo>
                  <a:cubicBezTo>
                    <a:pt x="114947" y="53181"/>
                    <a:pt x="76111" y="51392"/>
                    <a:pt x="37723" y="56045"/>
                  </a:cubicBezTo>
                  <a:cubicBezTo>
                    <a:pt x="37455" y="57074"/>
                    <a:pt x="36873" y="59087"/>
                    <a:pt x="36604" y="60072"/>
                  </a:cubicBezTo>
                  <a:cubicBezTo>
                    <a:pt x="30967" y="98728"/>
                    <a:pt x="33338" y="138235"/>
                    <a:pt x="36112" y="177070"/>
                  </a:cubicBezTo>
                  <a:cubicBezTo>
                    <a:pt x="37902" y="194430"/>
                    <a:pt x="35665" y="212058"/>
                    <a:pt x="38707" y="229329"/>
                  </a:cubicBezTo>
                  <a:cubicBezTo>
                    <a:pt x="42600" y="229686"/>
                    <a:pt x="50340" y="230402"/>
                    <a:pt x="54233" y="230760"/>
                  </a:cubicBezTo>
                  <a:lnTo>
                    <a:pt x="52711" y="232281"/>
                  </a:lnTo>
                  <a:cubicBezTo>
                    <a:pt x="46403" y="232729"/>
                    <a:pt x="40094" y="233221"/>
                    <a:pt x="33830" y="233668"/>
                  </a:cubicBezTo>
                  <a:cubicBezTo>
                    <a:pt x="34591" y="245301"/>
                    <a:pt x="35307" y="256979"/>
                    <a:pt x="36023" y="268701"/>
                  </a:cubicBezTo>
                  <a:cubicBezTo>
                    <a:pt x="56022" y="269417"/>
                    <a:pt x="76111" y="269283"/>
                    <a:pt x="96155" y="268298"/>
                  </a:cubicBezTo>
                  <a:lnTo>
                    <a:pt x="96155" y="256039"/>
                  </a:lnTo>
                  <a:lnTo>
                    <a:pt x="100450" y="254831"/>
                  </a:lnTo>
                  <a:cubicBezTo>
                    <a:pt x="107699" y="252997"/>
                    <a:pt x="114991" y="251341"/>
                    <a:pt x="122329" y="249865"/>
                  </a:cubicBezTo>
                  <a:cubicBezTo>
                    <a:pt x="130427" y="248209"/>
                    <a:pt x="138570" y="246778"/>
                    <a:pt x="146758" y="246017"/>
                  </a:cubicBezTo>
                  <a:cubicBezTo>
                    <a:pt x="149711" y="246017"/>
                    <a:pt x="155527" y="246062"/>
                    <a:pt x="158480" y="246062"/>
                  </a:cubicBezTo>
                  <a:cubicBezTo>
                    <a:pt x="159509" y="260334"/>
                    <a:pt x="158256" y="276844"/>
                    <a:pt x="167921" y="288611"/>
                  </a:cubicBezTo>
                  <a:cubicBezTo>
                    <a:pt x="203490" y="294964"/>
                    <a:pt x="240267" y="290714"/>
                    <a:pt x="276195" y="289014"/>
                  </a:cubicBezTo>
                  <a:cubicBezTo>
                    <a:pt x="293376" y="289014"/>
                    <a:pt x="296508" y="269014"/>
                    <a:pt x="297089" y="255726"/>
                  </a:cubicBezTo>
                  <a:cubicBezTo>
                    <a:pt x="297179" y="232505"/>
                    <a:pt x="298208" y="208658"/>
                    <a:pt x="292391" y="186019"/>
                  </a:cubicBezTo>
                  <a:cubicBezTo>
                    <a:pt x="284517" y="179487"/>
                    <a:pt x="273510" y="181142"/>
                    <a:pt x="264070" y="180337"/>
                  </a:cubicBezTo>
                  <a:cubicBezTo>
                    <a:pt x="269305" y="145662"/>
                    <a:pt x="274003" y="110361"/>
                    <a:pt x="269573" y="75328"/>
                  </a:cubicBezTo>
                  <a:cubicBezTo>
                    <a:pt x="266799" y="52331"/>
                    <a:pt x="267247" y="29155"/>
                    <a:pt x="268320" y="6069"/>
                  </a:cubicBezTo>
                  <a:cubicBezTo>
                    <a:pt x="289304" y="5040"/>
                    <a:pt x="310556" y="3697"/>
                    <a:pt x="331406" y="7366"/>
                  </a:cubicBezTo>
                  <a:cubicBezTo>
                    <a:pt x="330019" y="9380"/>
                    <a:pt x="327290" y="13406"/>
                    <a:pt x="325903" y="15375"/>
                  </a:cubicBezTo>
                  <a:cubicBezTo>
                    <a:pt x="322592" y="15330"/>
                    <a:pt x="315881" y="15151"/>
                    <a:pt x="312570" y="15062"/>
                  </a:cubicBezTo>
                  <a:cubicBezTo>
                    <a:pt x="312570" y="23921"/>
                    <a:pt x="312480" y="32779"/>
                    <a:pt x="312570" y="41638"/>
                  </a:cubicBezTo>
                  <a:cubicBezTo>
                    <a:pt x="321115" y="39849"/>
                    <a:pt x="329706" y="38104"/>
                    <a:pt x="338341" y="36359"/>
                  </a:cubicBezTo>
                  <a:cubicBezTo>
                    <a:pt x="338207" y="44188"/>
                    <a:pt x="339101" y="51973"/>
                    <a:pt x="339862" y="59803"/>
                  </a:cubicBezTo>
                  <a:cubicBezTo>
                    <a:pt x="350421" y="64725"/>
                    <a:pt x="360935" y="69915"/>
                    <a:pt x="371405" y="75149"/>
                  </a:cubicBezTo>
                  <a:cubicBezTo>
                    <a:pt x="370420" y="155639"/>
                    <a:pt x="373060" y="236174"/>
                    <a:pt x="370376" y="316574"/>
                  </a:cubicBezTo>
                  <a:cubicBezTo>
                    <a:pt x="247023" y="317469"/>
                    <a:pt x="123626" y="317335"/>
                    <a:pt x="274" y="317424"/>
                  </a:cubicBezTo>
                  <a:cubicBezTo>
                    <a:pt x="140" y="211879"/>
                    <a:pt x="-397" y="106334"/>
                    <a:pt x="543" y="789"/>
                  </a:cubicBezTo>
                  <a:close/>
                  <a:moveTo>
                    <a:pt x="341160" y="68036"/>
                  </a:moveTo>
                  <a:cubicBezTo>
                    <a:pt x="340086" y="71212"/>
                    <a:pt x="337849" y="77610"/>
                    <a:pt x="336730" y="80787"/>
                  </a:cubicBezTo>
                  <a:cubicBezTo>
                    <a:pt x="329750" y="78013"/>
                    <a:pt x="322771" y="75239"/>
                    <a:pt x="315836" y="72420"/>
                  </a:cubicBezTo>
                  <a:cubicBezTo>
                    <a:pt x="313688" y="74702"/>
                    <a:pt x="309483" y="79176"/>
                    <a:pt x="307335" y="81413"/>
                  </a:cubicBezTo>
                  <a:cubicBezTo>
                    <a:pt x="305366" y="89422"/>
                    <a:pt x="314180" y="94612"/>
                    <a:pt x="317536" y="100921"/>
                  </a:cubicBezTo>
                  <a:lnTo>
                    <a:pt x="313107" y="102755"/>
                  </a:lnTo>
                  <a:cubicBezTo>
                    <a:pt x="319236" y="103605"/>
                    <a:pt x="325366" y="104545"/>
                    <a:pt x="331540" y="105484"/>
                  </a:cubicBezTo>
                  <a:cubicBezTo>
                    <a:pt x="337759" y="100428"/>
                    <a:pt x="344068" y="95552"/>
                    <a:pt x="350600" y="90943"/>
                  </a:cubicBezTo>
                  <a:cubicBezTo>
                    <a:pt x="350242" y="90183"/>
                    <a:pt x="349526" y="88751"/>
                    <a:pt x="349168" y="87990"/>
                  </a:cubicBezTo>
                  <a:cubicBezTo>
                    <a:pt x="362143" y="83024"/>
                    <a:pt x="351674" y="67409"/>
                    <a:pt x="341160" y="68036"/>
                  </a:cubicBezTo>
                  <a:close/>
                  <a:moveTo>
                    <a:pt x="312346" y="143962"/>
                  </a:moveTo>
                  <a:cubicBezTo>
                    <a:pt x="304472" y="154029"/>
                    <a:pt x="316820" y="170717"/>
                    <a:pt x="328632" y="164453"/>
                  </a:cubicBezTo>
                  <a:cubicBezTo>
                    <a:pt x="336327" y="158413"/>
                    <a:pt x="338385" y="148481"/>
                    <a:pt x="338878" y="139219"/>
                  </a:cubicBezTo>
                  <a:cubicBezTo>
                    <a:pt x="344470" y="143917"/>
                    <a:pt x="350332" y="148436"/>
                    <a:pt x="356282" y="152731"/>
                  </a:cubicBezTo>
                  <a:cubicBezTo>
                    <a:pt x="353463" y="142933"/>
                    <a:pt x="350332" y="132329"/>
                    <a:pt x="340399" y="127497"/>
                  </a:cubicBezTo>
                  <a:cubicBezTo>
                    <a:pt x="336462" y="140472"/>
                    <a:pt x="320981" y="136535"/>
                    <a:pt x="312346" y="143962"/>
                  </a:cubicBezTo>
                  <a:close/>
                  <a:moveTo>
                    <a:pt x="347737" y="203781"/>
                  </a:moveTo>
                  <a:cubicBezTo>
                    <a:pt x="344157" y="208703"/>
                    <a:pt x="340623" y="213669"/>
                    <a:pt x="337222" y="218770"/>
                  </a:cubicBezTo>
                  <a:cubicBezTo>
                    <a:pt x="330422" y="214609"/>
                    <a:pt x="323218" y="211253"/>
                    <a:pt x="315925" y="208211"/>
                  </a:cubicBezTo>
                  <a:cubicBezTo>
                    <a:pt x="315925" y="211298"/>
                    <a:pt x="315970" y="217472"/>
                    <a:pt x="316015" y="220559"/>
                  </a:cubicBezTo>
                  <a:cubicBezTo>
                    <a:pt x="327558" y="238232"/>
                    <a:pt x="363172" y="228121"/>
                    <a:pt x="354895" y="204542"/>
                  </a:cubicBezTo>
                  <a:cubicBezTo>
                    <a:pt x="353105" y="204318"/>
                    <a:pt x="349526" y="203960"/>
                    <a:pt x="347737" y="203781"/>
                  </a:cubicBezTo>
                  <a:close/>
                  <a:moveTo>
                    <a:pt x="316418" y="278052"/>
                  </a:moveTo>
                  <a:cubicBezTo>
                    <a:pt x="322502" y="288835"/>
                    <a:pt x="338162" y="278902"/>
                    <a:pt x="339504" y="269238"/>
                  </a:cubicBezTo>
                  <a:cubicBezTo>
                    <a:pt x="342636" y="258634"/>
                    <a:pt x="331540" y="253892"/>
                    <a:pt x="325500" y="247807"/>
                  </a:cubicBezTo>
                  <a:cubicBezTo>
                    <a:pt x="315388" y="254115"/>
                    <a:pt x="310512" y="267224"/>
                    <a:pt x="316418" y="278052"/>
                  </a:cubicBezTo>
                  <a:close/>
                </a:path>
              </a:pathLst>
            </a:custGeom>
            <a:solidFill>
              <a:srgbClr val="6B91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7" name="Freeform: Shape 86">
              <a:extLst>
                <a:ext uri="{FF2B5EF4-FFF2-40B4-BE49-F238E27FC236}">
                  <a16:creationId xmlns:a16="http://schemas.microsoft.com/office/drawing/2014/main" id="{558DAD8A-7FC0-93B2-A43F-CD3AF0879E92}"/>
                </a:ext>
              </a:extLst>
            </p:cNvPr>
            <p:cNvSpPr/>
            <p:nvPr/>
          </p:nvSpPr>
          <p:spPr>
            <a:xfrm flipH="1">
              <a:off x="3702046" y="2999170"/>
              <a:ext cx="392898" cy="304360"/>
            </a:xfrm>
            <a:custGeom>
              <a:avLst/>
              <a:gdLst>
                <a:gd name="connsiteX0" fmla="*/ 0 w 329394"/>
                <a:gd name="connsiteY0" fmla="*/ 1796 h 255166"/>
                <a:gd name="connsiteX1" fmla="*/ 158474 w 329394"/>
                <a:gd name="connsiteY1" fmla="*/ 319 h 255166"/>
                <a:gd name="connsiteX2" fmla="*/ 328984 w 329394"/>
                <a:gd name="connsiteY2" fmla="*/ 991 h 255166"/>
                <a:gd name="connsiteX3" fmla="*/ 329118 w 329394"/>
                <a:gd name="connsiteY3" fmla="*/ 75485 h 255166"/>
                <a:gd name="connsiteX4" fmla="*/ 297575 w 329394"/>
                <a:gd name="connsiteY4" fmla="*/ 60139 h 255166"/>
                <a:gd name="connsiteX5" fmla="*/ 296054 w 329394"/>
                <a:gd name="connsiteY5" fmla="*/ 36694 h 255166"/>
                <a:gd name="connsiteX6" fmla="*/ 298784 w 329394"/>
                <a:gd name="connsiteY6" fmla="*/ 21751 h 255166"/>
                <a:gd name="connsiteX7" fmla="*/ 283661 w 329394"/>
                <a:gd name="connsiteY7" fmla="*/ 15710 h 255166"/>
                <a:gd name="connsiteX8" fmla="*/ 289164 w 329394"/>
                <a:gd name="connsiteY8" fmla="*/ 7702 h 255166"/>
                <a:gd name="connsiteX9" fmla="*/ 226079 w 329394"/>
                <a:gd name="connsiteY9" fmla="*/ 6404 h 255166"/>
                <a:gd name="connsiteX10" fmla="*/ 227331 w 329394"/>
                <a:gd name="connsiteY10" fmla="*/ 75664 h 255166"/>
                <a:gd name="connsiteX11" fmla="*/ 221828 w 329394"/>
                <a:gd name="connsiteY11" fmla="*/ 180672 h 255166"/>
                <a:gd name="connsiteX12" fmla="*/ 120757 w 329394"/>
                <a:gd name="connsiteY12" fmla="*/ 185102 h 255166"/>
                <a:gd name="connsiteX13" fmla="*/ 119728 w 329394"/>
                <a:gd name="connsiteY13" fmla="*/ 191544 h 255166"/>
                <a:gd name="connsiteX14" fmla="*/ 77671 w 329394"/>
                <a:gd name="connsiteY14" fmla="*/ 185057 h 255166"/>
                <a:gd name="connsiteX15" fmla="*/ 78835 w 329394"/>
                <a:gd name="connsiteY15" fmla="*/ 209038 h 255166"/>
                <a:gd name="connsiteX16" fmla="*/ 85277 w 329394"/>
                <a:gd name="connsiteY16" fmla="*/ 210917 h 255166"/>
                <a:gd name="connsiteX17" fmla="*/ 81743 w 329394"/>
                <a:gd name="connsiteY17" fmla="*/ 225772 h 255166"/>
                <a:gd name="connsiteX18" fmla="*/ 108856 w 329394"/>
                <a:gd name="connsiteY18" fmla="*/ 216286 h 255166"/>
                <a:gd name="connsiteX19" fmla="*/ 117178 w 329394"/>
                <a:gd name="connsiteY19" fmla="*/ 214810 h 255166"/>
                <a:gd name="connsiteX20" fmla="*/ 116238 w 329394"/>
                <a:gd name="connsiteY20" fmla="*/ 246397 h 255166"/>
                <a:gd name="connsiteX21" fmla="*/ 104516 w 329394"/>
                <a:gd name="connsiteY21" fmla="*/ 246353 h 255166"/>
                <a:gd name="connsiteX22" fmla="*/ 108185 w 329394"/>
                <a:gd name="connsiteY22" fmla="*/ 229530 h 255166"/>
                <a:gd name="connsiteX23" fmla="*/ 78969 w 329394"/>
                <a:gd name="connsiteY23" fmla="*/ 230604 h 255166"/>
                <a:gd name="connsiteX24" fmla="*/ 80087 w 329394"/>
                <a:gd name="connsiteY24" fmla="*/ 250200 h 255166"/>
                <a:gd name="connsiteX25" fmla="*/ 58209 w 329394"/>
                <a:gd name="connsiteY25" fmla="*/ 255167 h 255166"/>
                <a:gd name="connsiteX26" fmla="*/ 59461 w 329394"/>
                <a:gd name="connsiteY26" fmla="*/ 59020 h 255166"/>
                <a:gd name="connsiteX27" fmla="*/ 199950 w 329394"/>
                <a:gd name="connsiteY27" fmla="*/ 58797 h 255166"/>
                <a:gd name="connsiteX28" fmla="*/ 205050 w 329394"/>
                <a:gd name="connsiteY28" fmla="*/ 126356 h 255166"/>
                <a:gd name="connsiteX29" fmla="*/ 204782 w 329394"/>
                <a:gd name="connsiteY29" fmla="*/ 49311 h 255166"/>
                <a:gd name="connsiteX30" fmla="*/ 201695 w 329394"/>
                <a:gd name="connsiteY30" fmla="*/ 43405 h 255166"/>
                <a:gd name="connsiteX31" fmla="*/ 113778 w 329394"/>
                <a:gd name="connsiteY31" fmla="*/ 48819 h 255166"/>
                <a:gd name="connsiteX32" fmla="*/ 111093 w 329394"/>
                <a:gd name="connsiteY32" fmla="*/ 48998 h 255166"/>
                <a:gd name="connsiteX33" fmla="*/ 24295 w 329394"/>
                <a:gd name="connsiteY33" fmla="*/ 44479 h 255166"/>
                <a:gd name="connsiteX34" fmla="*/ 37941 w 329394"/>
                <a:gd name="connsiteY34" fmla="*/ 40453 h 255166"/>
                <a:gd name="connsiteX35" fmla="*/ 46844 w 329394"/>
                <a:gd name="connsiteY35" fmla="*/ 40900 h 255166"/>
                <a:gd name="connsiteX36" fmla="*/ 45368 w 329394"/>
                <a:gd name="connsiteY36" fmla="*/ 21258 h 255166"/>
                <a:gd name="connsiteX37" fmla="*/ 44518 w 329394"/>
                <a:gd name="connsiteY37" fmla="*/ 11728 h 255166"/>
                <a:gd name="connsiteX38" fmla="*/ 0 w 329394"/>
                <a:gd name="connsiteY38" fmla="*/ 1796 h 255166"/>
                <a:gd name="connsiteX39" fmla="*/ 114762 w 329394"/>
                <a:gd name="connsiteY39" fmla="*/ 102554 h 255166"/>
                <a:gd name="connsiteX40" fmla="*/ 155387 w 329394"/>
                <a:gd name="connsiteY40" fmla="*/ 110249 h 255166"/>
                <a:gd name="connsiteX41" fmla="*/ 135477 w 329394"/>
                <a:gd name="connsiteY41" fmla="*/ 78751 h 255166"/>
                <a:gd name="connsiteX42" fmla="*/ 114762 w 329394"/>
                <a:gd name="connsiteY42" fmla="*/ 102554 h 255166"/>
                <a:gd name="connsiteX43" fmla="*/ 86083 w 329394"/>
                <a:gd name="connsiteY43" fmla="*/ 107967 h 255166"/>
                <a:gd name="connsiteX44" fmla="*/ 115120 w 329394"/>
                <a:gd name="connsiteY44" fmla="*/ 118303 h 255166"/>
                <a:gd name="connsiteX45" fmla="*/ 109482 w 329394"/>
                <a:gd name="connsiteY45" fmla="*/ 93024 h 255166"/>
                <a:gd name="connsiteX46" fmla="*/ 86083 w 329394"/>
                <a:gd name="connsiteY46" fmla="*/ 107967 h 255166"/>
                <a:gd name="connsiteX47" fmla="*/ 65323 w 329394"/>
                <a:gd name="connsiteY47" fmla="*/ 148458 h 255166"/>
                <a:gd name="connsiteX48" fmla="*/ 77090 w 329394"/>
                <a:gd name="connsiteY48" fmla="*/ 170740 h 255166"/>
                <a:gd name="connsiteX49" fmla="*/ 85993 w 329394"/>
                <a:gd name="connsiteY49" fmla="*/ 156109 h 255166"/>
                <a:gd name="connsiteX50" fmla="*/ 87559 w 329394"/>
                <a:gd name="connsiteY50" fmla="*/ 172306 h 255166"/>
                <a:gd name="connsiteX51" fmla="*/ 118833 w 329394"/>
                <a:gd name="connsiteY51" fmla="*/ 160941 h 255166"/>
                <a:gd name="connsiteX52" fmla="*/ 108274 w 329394"/>
                <a:gd name="connsiteY52" fmla="*/ 154006 h 255166"/>
                <a:gd name="connsiteX53" fmla="*/ 179726 w 329394"/>
                <a:gd name="connsiteY53" fmla="*/ 149174 h 255166"/>
                <a:gd name="connsiteX54" fmla="*/ 164425 w 329394"/>
                <a:gd name="connsiteY54" fmla="*/ 173737 h 255166"/>
                <a:gd name="connsiteX55" fmla="*/ 207645 w 329394"/>
                <a:gd name="connsiteY55" fmla="*/ 175348 h 255166"/>
                <a:gd name="connsiteX56" fmla="*/ 216996 w 329394"/>
                <a:gd name="connsiteY56" fmla="*/ 159017 h 255166"/>
                <a:gd name="connsiteX57" fmla="*/ 207869 w 329394"/>
                <a:gd name="connsiteY57" fmla="*/ 162552 h 255166"/>
                <a:gd name="connsiteX58" fmla="*/ 209032 w 329394"/>
                <a:gd name="connsiteY58" fmla="*/ 151724 h 255166"/>
                <a:gd name="connsiteX59" fmla="*/ 204871 w 329394"/>
                <a:gd name="connsiteY59" fmla="*/ 151903 h 255166"/>
                <a:gd name="connsiteX60" fmla="*/ 188854 w 329394"/>
                <a:gd name="connsiteY60" fmla="*/ 141389 h 255166"/>
                <a:gd name="connsiteX61" fmla="*/ 82324 w 329394"/>
                <a:gd name="connsiteY61" fmla="*/ 141165 h 255166"/>
                <a:gd name="connsiteX62" fmla="*/ 65323 w 329394"/>
                <a:gd name="connsiteY62" fmla="*/ 148458 h 25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9394" h="255166">
                  <a:moveTo>
                    <a:pt x="0" y="1796"/>
                  </a:moveTo>
                  <a:cubicBezTo>
                    <a:pt x="52750" y="-1157"/>
                    <a:pt x="105679" y="454"/>
                    <a:pt x="158474" y="319"/>
                  </a:cubicBezTo>
                  <a:cubicBezTo>
                    <a:pt x="215296" y="3093"/>
                    <a:pt x="272162" y="51"/>
                    <a:pt x="328984" y="991"/>
                  </a:cubicBezTo>
                  <a:cubicBezTo>
                    <a:pt x="329431" y="25822"/>
                    <a:pt x="329566" y="50654"/>
                    <a:pt x="329118" y="75485"/>
                  </a:cubicBezTo>
                  <a:cubicBezTo>
                    <a:pt x="318649" y="70250"/>
                    <a:pt x="308135" y="65060"/>
                    <a:pt x="297575" y="60139"/>
                  </a:cubicBezTo>
                  <a:cubicBezTo>
                    <a:pt x="296815" y="52309"/>
                    <a:pt x="295920" y="44524"/>
                    <a:pt x="296054" y="36694"/>
                  </a:cubicBezTo>
                  <a:cubicBezTo>
                    <a:pt x="296725" y="32936"/>
                    <a:pt x="298112" y="25509"/>
                    <a:pt x="298784" y="21751"/>
                  </a:cubicBezTo>
                  <a:cubicBezTo>
                    <a:pt x="293728" y="19692"/>
                    <a:pt x="288761" y="17590"/>
                    <a:pt x="283661" y="15710"/>
                  </a:cubicBezTo>
                  <a:cubicBezTo>
                    <a:pt x="285048" y="13742"/>
                    <a:pt x="287777" y="9715"/>
                    <a:pt x="289164" y="7702"/>
                  </a:cubicBezTo>
                  <a:cubicBezTo>
                    <a:pt x="268315" y="4033"/>
                    <a:pt x="247062" y="5375"/>
                    <a:pt x="226079" y="6404"/>
                  </a:cubicBezTo>
                  <a:cubicBezTo>
                    <a:pt x="225005" y="29491"/>
                    <a:pt x="224557" y="52667"/>
                    <a:pt x="227331" y="75664"/>
                  </a:cubicBezTo>
                  <a:cubicBezTo>
                    <a:pt x="231761" y="110697"/>
                    <a:pt x="227063" y="145998"/>
                    <a:pt x="221828" y="180672"/>
                  </a:cubicBezTo>
                  <a:cubicBezTo>
                    <a:pt x="188138" y="181657"/>
                    <a:pt x="154179" y="180046"/>
                    <a:pt x="120757" y="185102"/>
                  </a:cubicBezTo>
                  <a:cubicBezTo>
                    <a:pt x="120489" y="186712"/>
                    <a:pt x="119952" y="189934"/>
                    <a:pt x="119728" y="191544"/>
                  </a:cubicBezTo>
                  <a:cubicBezTo>
                    <a:pt x="106887" y="184073"/>
                    <a:pt x="91989" y="184475"/>
                    <a:pt x="77671" y="185057"/>
                  </a:cubicBezTo>
                  <a:cubicBezTo>
                    <a:pt x="77940" y="193021"/>
                    <a:pt x="78208" y="201030"/>
                    <a:pt x="78835" y="209038"/>
                  </a:cubicBezTo>
                  <a:cubicBezTo>
                    <a:pt x="80445" y="209486"/>
                    <a:pt x="83667" y="210425"/>
                    <a:pt x="85277" y="210917"/>
                  </a:cubicBezTo>
                  <a:cubicBezTo>
                    <a:pt x="84248" y="215884"/>
                    <a:pt x="83085" y="220805"/>
                    <a:pt x="81743" y="225772"/>
                  </a:cubicBezTo>
                  <a:cubicBezTo>
                    <a:pt x="91452" y="224743"/>
                    <a:pt x="101116" y="222640"/>
                    <a:pt x="108856" y="216286"/>
                  </a:cubicBezTo>
                  <a:cubicBezTo>
                    <a:pt x="110959" y="215929"/>
                    <a:pt x="115075" y="215213"/>
                    <a:pt x="117178" y="214810"/>
                  </a:cubicBezTo>
                  <a:cubicBezTo>
                    <a:pt x="116462" y="225324"/>
                    <a:pt x="116149" y="235838"/>
                    <a:pt x="116238" y="246397"/>
                  </a:cubicBezTo>
                  <a:cubicBezTo>
                    <a:pt x="113285" y="246397"/>
                    <a:pt x="107469" y="246353"/>
                    <a:pt x="104516" y="246353"/>
                  </a:cubicBezTo>
                  <a:cubicBezTo>
                    <a:pt x="105724" y="240715"/>
                    <a:pt x="106977" y="235122"/>
                    <a:pt x="108185" y="229530"/>
                  </a:cubicBezTo>
                  <a:cubicBezTo>
                    <a:pt x="98610" y="229888"/>
                    <a:pt x="87649" y="225816"/>
                    <a:pt x="78969" y="230604"/>
                  </a:cubicBezTo>
                  <a:cubicBezTo>
                    <a:pt x="77582" y="237046"/>
                    <a:pt x="79506" y="243668"/>
                    <a:pt x="80087" y="250200"/>
                  </a:cubicBezTo>
                  <a:cubicBezTo>
                    <a:pt x="72750" y="251677"/>
                    <a:pt x="65457" y="253332"/>
                    <a:pt x="58209" y="255167"/>
                  </a:cubicBezTo>
                  <a:cubicBezTo>
                    <a:pt x="56866" y="189800"/>
                    <a:pt x="57359" y="124343"/>
                    <a:pt x="59461" y="59020"/>
                  </a:cubicBezTo>
                  <a:cubicBezTo>
                    <a:pt x="106261" y="57052"/>
                    <a:pt x="153195" y="55217"/>
                    <a:pt x="199950" y="58797"/>
                  </a:cubicBezTo>
                  <a:cubicBezTo>
                    <a:pt x="205542" y="80899"/>
                    <a:pt x="204469" y="103762"/>
                    <a:pt x="205050" y="126356"/>
                  </a:cubicBezTo>
                  <a:cubicBezTo>
                    <a:pt x="206750" y="100719"/>
                    <a:pt x="207332" y="74903"/>
                    <a:pt x="204782" y="49311"/>
                  </a:cubicBezTo>
                  <a:cubicBezTo>
                    <a:pt x="204021" y="47835"/>
                    <a:pt x="202455" y="44882"/>
                    <a:pt x="201695" y="43405"/>
                  </a:cubicBezTo>
                  <a:cubicBezTo>
                    <a:pt x="172523" y="45195"/>
                    <a:pt x="141696" y="38260"/>
                    <a:pt x="113778" y="48819"/>
                  </a:cubicBezTo>
                  <a:lnTo>
                    <a:pt x="111093" y="48998"/>
                  </a:lnTo>
                  <a:cubicBezTo>
                    <a:pt x="82459" y="42824"/>
                    <a:pt x="53153" y="47432"/>
                    <a:pt x="24295" y="44479"/>
                  </a:cubicBezTo>
                  <a:cubicBezTo>
                    <a:pt x="28814" y="43047"/>
                    <a:pt x="33377" y="41705"/>
                    <a:pt x="37941" y="40453"/>
                  </a:cubicBezTo>
                  <a:cubicBezTo>
                    <a:pt x="40178" y="40587"/>
                    <a:pt x="44607" y="40810"/>
                    <a:pt x="46844" y="40900"/>
                  </a:cubicBezTo>
                  <a:cubicBezTo>
                    <a:pt x="46307" y="34323"/>
                    <a:pt x="45815" y="27791"/>
                    <a:pt x="45368" y="21258"/>
                  </a:cubicBezTo>
                  <a:cubicBezTo>
                    <a:pt x="45144" y="18887"/>
                    <a:pt x="44741" y="14100"/>
                    <a:pt x="44518" y="11728"/>
                  </a:cubicBezTo>
                  <a:cubicBezTo>
                    <a:pt x="30693" y="4928"/>
                    <a:pt x="14988" y="4301"/>
                    <a:pt x="0" y="1796"/>
                  </a:cubicBezTo>
                  <a:close/>
                  <a:moveTo>
                    <a:pt x="114762" y="102554"/>
                  </a:moveTo>
                  <a:cubicBezTo>
                    <a:pt x="124516" y="115350"/>
                    <a:pt x="141651" y="109041"/>
                    <a:pt x="155387" y="110249"/>
                  </a:cubicBezTo>
                  <a:cubicBezTo>
                    <a:pt x="167557" y="95619"/>
                    <a:pt x="152300" y="77319"/>
                    <a:pt x="135477" y="78751"/>
                  </a:cubicBezTo>
                  <a:cubicBezTo>
                    <a:pt x="122502" y="78706"/>
                    <a:pt x="120220" y="94008"/>
                    <a:pt x="114762" y="102554"/>
                  </a:cubicBezTo>
                  <a:close/>
                  <a:moveTo>
                    <a:pt x="86083" y="107967"/>
                  </a:moveTo>
                  <a:cubicBezTo>
                    <a:pt x="89528" y="120405"/>
                    <a:pt x="105500" y="115618"/>
                    <a:pt x="115120" y="118303"/>
                  </a:cubicBezTo>
                  <a:cubicBezTo>
                    <a:pt x="113375" y="109802"/>
                    <a:pt x="111496" y="101435"/>
                    <a:pt x="109482" y="93024"/>
                  </a:cubicBezTo>
                  <a:cubicBezTo>
                    <a:pt x="99281" y="92576"/>
                    <a:pt x="86038" y="95127"/>
                    <a:pt x="86083" y="107967"/>
                  </a:cubicBezTo>
                  <a:close/>
                  <a:moveTo>
                    <a:pt x="65323" y="148458"/>
                  </a:moveTo>
                  <a:cubicBezTo>
                    <a:pt x="69305" y="155841"/>
                    <a:pt x="73197" y="163268"/>
                    <a:pt x="77090" y="170740"/>
                  </a:cubicBezTo>
                  <a:cubicBezTo>
                    <a:pt x="79908" y="165773"/>
                    <a:pt x="82727" y="160807"/>
                    <a:pt x="85993" y="156109"/>
                  </a:cubicBezTo>
                  <a:cubicBezTo>
                    <a:pt x="86351" y="160181"/>
                    <a:pt x="87156" y="168234"/>
                    <a:pt x="87559" y="172306"/>
                  </a:cubicBezTo>
                  <a:cubicBezTo>
                    <a:pt x="98610" y="170471"/>
                    <a:pt x="109214" y="166668"/>
                    <a:pt x="118833" y="160941"/>
                  </a:cubicBezTo>
                  <a:cubicBezTo>
                    <a:pt x="115388" y="158480"/>
                    <a:pt x="111898" y="156154"/>
                    <a:pt x="108274" y="154006"/>
                  </a:cubicBezTo>
                  <a:cubicBezTo>
                    <a:pt x="132122" y="152440"/>
                    <a:pt x="155969" y="151635"/>
                    <a:pt x="179726" y="149174"/>
                  </a:cubicBezTo>
                  <a:cubicBezTo>
                    <a:pt x="178608" y="159778"/>
                    <a:pt x="176953" y="171500"/>
                    <a:pt x="164425" y="173737"/>
                  </a:cubicBezTo>
                  <a:cubicBezTo>
                    <a:pt x="178832" y="174095"/>
                    <a:pt x="193238" y="177182"/>
                    <a:pt x="207645" y="175348"/>
                  </a:cubicBezTo>
                  <a:cubicBezTo>
                    <a:pt x="213148" y="171858"/>
                    <a:pt x="213864" y="164386"/>
                    <a:pt x="216996" y="159017"/>
                  </a:cubicBezTo>
                  <a:cubicBezTo>
                    <a:pt x="214714" y="159912"/>
                    <a:pt x="210151" y="161657"/>
                    <a:pt x="207869" y="162552"/>
                  </a:cubicBezTo>
                  <a:cubicBezTo>
                    <a:pt x="208137" y="159823"/>
                    <a:pt x="208764" y="154454"/>
                    <a:pt x="209032" y="151724"/>
                  </a:cubicBezTo>
                  <a:lnTo>
                    <a:pt x="204871" y="151903"/>
                  </a:lnTo>
                  <a:cubicBezTo>
                    <a:pt x="200844" y="146713"/>
                    <a:pt x="196370" y="140271"/>
                    <a:pt x="188854" y="141389"/>
                  </a:cubicBezTo>
                  <a:cubicBezTo>
                    <a:pt x="153374" y="141031"/>
                    <a:pt x="117849" y="141121"/>
                    <a:pt x="82324" y="141165"/>
                  </a:cubicBezTo>
                  <a:cubicBezTo>
                    <a:pt x="75658" y="140584"/>
                    <a:pt x="70557" y="145147"/>
                    <a:pt x="65323" y="148458"/>
                  </a:cubicBezTo>
                  <a:close/>
                </a:path>
              </a:pathLst>
            </a:custGeom>
            <a:solidFill>
              <a:srgbClr val="7495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8" name="Freeform: Shape 87">
              <a:extLst>
                <a:ext uri="{FF2B5EF4-FFF2-40B4-BE49-F238E27FC236}">
                  <a16:creationId xmlns:a16="http://schemas.microsoft.com/office/drawing/2014/main" id="{794F2B0C-4D67-9246-16DC-3850B1A8DC59}"/>
                </a:ext>
              </a:extLst>
            </p:cNvPr>
            <p:cNvSpPr/>
            <p:nvPr/>
          </p:nvSpPr>
          <p:spPr>
            <a:xfrm flipH="1">
              <a:off x="2038010" y="3001205"/>
              <a:ext cx="411728" cy="19088"/>
            </a:xfrm>
            <a:custGeom>
              <a:avLst/>
              <a:gdLst>
                <a:gd name="connsiteX0" fmla="*/ 223081 w 345180"/>
                <a:gd name="connsiteY0" fmla="*/ 1521 h 16003"/>
                <a:gd name="connsiteX1" fmla="*/ 282140 w 345180"/>
                <a:gd name="connsiteY1" fmla="*/ 582 h 16003"/>
                <a:gd name="connsiteX2" fmla="*/ 328984 w 345180"/>
                <a:gd name="connsiteY2" fmla="*/ 0 h 16003"/>
                <a:gd name="connsiteX3" fmla="*/ 345180 w 345180"/>
                <a:gd name="connsiteY3" fmla="*/ 15660 h 16003"/>
                <a:gd name="connsiteX4" fmla="*/ 5279 w 345180"/>
                <a:gd name="connsiteY4" fmla="*/ 15525 h 16003"/>
                <a:gd name="connsiteX5" fmla="*/ 0 w 345180"/>
                <a:gd name="connsiteY5" fmla="*/ 15660 h 16003"/>
                <a:gd name="connsiteX6" fmla="*/ 1879 w 345180"/>
                <a:gd name="connsiteY6" fmla="*/ 8546 h 16003"/>
                <a:gd name="connsiteX7" fmla="*/ 76463 w 345180"/>
                <a:gd name="connsiteY7" fmla="*/ 3042 h 16003"/>
                <a:gd name="connsiteX8" fmla="*/ 223081 w 345180"/>
                <a:gd name="connsiteY8" fmla="*/ 1521 h 1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180" h="16003">
                  <a:moveTo>
                    <a:pt x="223081" y="1521"/>
                  </a:moveTo>
                  <a:cubicBezTo>
                    <a:pt x="242722" y="537"/>
                    <a:pt x="262453" y="358"/>
                    <a:pt x="282140" y="582"/>
                  </a:cubicBezTo>
                  <a:cubicBezTo>
                    <a:pt x="297754" y="761"/>
                    <a:pt x="313369" y="313"/>
                    <a:pt x="328984" y="0"/>
                  </a:cubicBezTo>
                  <a:cubicBezTo>
                    <a:pt x="337350" y="1566"/>
                    <a:pt x="342630" y="7830"/>
                    <a:pt x="345180" y="15660"/>
                  </a:cubicBezTo>
                  <a:cubicBezTo>
                    <a:pt x="231895" y="16823"/>
                    <a:pt x="118565" y="14586"/>
                    <a:pt x="5279" y="15525"/>
                  </a:cubicBezTo>
                  <a:lnTo>
                    <a:pt x="0" y="15660"/>
                  </a:lnTo>
                  <a:cubicBezTo>
                    <a:pt x="447" y="13870"/>
                    <a:pt x="1387" y="10290"/>
                    <a:pt x="1879" y="8546"/>
                  </a:cubicBezTo>
                  <a:cubicBezTo>
                    <a:pt x="26084" y="1521"/>
                    <a:pt x="51542" y="3535"/>
                    <a:pt x="76463" y="3042"/>
                  </a:cubicBezTo>
                  <a:cubicBezTo>
                    <a:pt x="125321" y="2416"/>
                    <a:pt x="174223" y="3937"/>
                    <a:pt x="223081" y="1521"/>
                  </a:cubicBezTo>
                  <a:close/>
                </a:path>
              </a:pathLst>
            </a:custGeom>
            <a:solidFill>
              <a:srgbClr val="5784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Freeform: Shape 88">
              <a:extLst>
                <a:ext uri="{FF2B5EF4-FFF2-40B4-BE49-F238E27FC236}">
                  <a16:creationId xmlns:a16="http://schemas.microsoft.com/office/drawing/2014/main" id="{0F02D647-76D1-7837-704E-98EAA24CCD59}"/>
                </a:ext>
              </a:extLst>
            </p:cNvPr>
            <p:cNvSpPr/>
            <p:nvPr/>
          </p:nvSpPr>
          <p:spPr>
            <a:xfrm flipH="1">
              <a:off x="2479519" y="3009531"/>
              <a:ext cx="205410" cy="73485"/>
            </a:xfrm>
            <a:custGeom>
              <a:avLst/>
              <a:gdLst>
                <a:gd name="connsiteX0" fmla="*/ 1387 w 172209"/>
                <a:gd name="connsiteY0" fmla="*/ 0 h 61608"/>
                <a:gd name="connsiteX1" fmla="*/ 102592 w 172209"/>
                <a:gd name="connsiteY1" fmla="*/ 17718 h 61608"/>
                <a:gd name="connsiteX2" fmla="*/ 112614 w 172209"/>
                <a:gd name="connsiteY2" fmla="*/ 3982 h 61608"/>
                <a:gd name="connsiteX3" fmla="*/ 151897 w 172209"/>
                <a:gd name="connsiteY3" fmla="*/ 2416 h 61608"/>
                <a:gd name="connsiteX4" fmla="*/ 172210 w 172209"/>
                <a:gd name="connsiteY4" fmla="*/ 2729 h 61608"/>
                <a:gd name="connsiteX5" fmla="*/ 172210 w 172209"/>
                <a:gd name="connsiteY5" fmla="*/ 4564 h 61608"/>
                <a:gd name="connsiteX6" fmla="*/ 149884 w 172209"/>
                <a:gd name="connsiteY6" fmla="*/ 4922 h 61608"/>
                <a:gd name="connsiteX7" fmla="*/ 150734 w 172209"/>
                <a:gd name="connsiteY7" fmla="*/ 41654 h 61608"/>
                <a:gd name="connsiteX8" fmla="*/ 109661 w 172209"/>
                <a:gd name="connsiteY8" fmla="*/ 43757 h 61608"/>
                <a:gd name="connsiteX9" fmla="*/ 88678 w 172209"/>
                <a:gd name="connsiteY9" fmla="*/ 59596 h 61608"/>
                <a:gd name="connsiteX10" fmla="*/ 81877 w 172209"/>
                <a:gd name="connsiteY10" fmla="*/ 60088 h 61608"/>
                <a:gd name="connsiteX11" fmla="*/ 98834 w 172209"/>
                <a:gd name="connsiteY11" fmla="*/ 33646 h 61608"/>
                <a:gd name="connsiteX12" fmla="*/ 28769 w 172209"/>
                <a:gd name="connsiteY12" fmla="*/ 34317 h 61608"/>
                <a:gd name="connsiteX13" fmla="*/ 42370 w 172209"/>
                <a:gd name="connsiteY13" fmla="*/ 61251 h 61608"/>
                <a:gd name="connsiteX14" fmla="*/ 37851 w 172209"/>
                <a:gd name="connsiteY14" fmla="*/ 61609 h 61608"/>
                <a:gd name="connsiteX15" fmla="*/ 0 w 172209"/>
                <a:gd name="connsiteY15" fmla="*/ 43891 h 61608"/>
                <a:gd name="connsiteX16" fmla="*/ 1387 w 172209"/>
                <a:gd name="connsiteY16" fmla="*/ 0 h 6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209" h="61608">
                  <a:moveTo>
                    <a:pt x="1387" y="0"/>
                  </a:moveTo>
                  <a:cubicBezTo>
                    <a:pt x="32259" y="17225"/>
                    <a:pt x="68231" y="17091"/>
                    <a:pt x="102592" y="17718"/>
                  </a:cubicBezTo>
                  <a:cubicBezTo>
                    <a:pt x="105903" y="13109"/>
                    <a:pt x="109214" y="8501"/>
                    <a:pt x="112614" y="3982"/>
                  </a:cubicBezTo>
                  <a:cubicBezTo>
                    <a:pt x="125679" y="3042"/>
                    <a:pt x="138788" y="2416"/>
                    <a:pt x="151897" y="2416"/>
                  </a:cubicBezTo>
                  <a:cubicBezTo>
                    <a:pt x="158653" y="2461"/>
                    <a:pt x="165409" y="2550"/>
                    <a:pt x="172210" y="2729"/>
                  </a:cubicBezTo>
                  <a:lnTo>
                    <a:pt x="172210" y="4564"/>
                  </a:lnTo>
                  <a:cubicBezTo>
                    <a:pt x="164738" y="4564"/>
                    <a:pt x="157311" y="4743"/>
                    <a:pt x="149884" y="4922"/>
                  </a:cubicBezTo>
                  <a:cubicBezTo>
                    <a:pt x="150197" y="17136"/>
                    <a:pt x="150510" y="29395"/>
                    <a:pt x="150734" y="41654"/>
                  </a:cubicBezTo>
                  <a:cubicBezTo>
                    <a:pt x="137043" y="42012"/>
                    <a:pt x="123173" y="41117"/>
                    <a:pt x="109661" y="43757"/>
                  </a:cubicBezTo>
                  <a:cubicBezTo>
                    <a:pt x="101474" y="47158"/>
                    <a:pt x="95702" y="54406"/>
                    <a:pt x="88678" y="59596"/>
                  </a:cubicBezTo>
                  <a:cubicBezTo>
                    <a:pt x="86977" y="59730"/>
                    <a:pt x="83577" y="59954"/>
                    <a:pt x="81877" y="60088"/>
                  </a:cubicBezTo>
                  <a:cubicBezTo>
                    <a:pt x="87604" y="51318"/>
                    <a:pt x="93241" y="42504"/>
                    <a:pt x="98834" y="33646"/>
                  </a:cubicBezTo>
                  <a:cubicBezTo>
                    <a:pt x="75479" y="32795"/>
                    <a:pt x="51990" y="30737"/>
                    <a:pt x="28769" y="34317"/>
                  </a:cubicBezTo>
                  <a:cubicBezTo>
                    <a:pt x="33198" y="43310"/>
                    <a:pt x="37762" y="52303"/>
                    <a:pt x="42370" y="61251"/>
                  </a:cubicBezTo>
                  <a:cubicBezTo>
                    <a:pt x="41251" y="61340"/>
                    <a:pt x="38970" y="61520"/>
                    <a:pt x="37851" y="61609"/>
                  </a:cubicBezTo>
                  <a:cubicBezTo>
                    <a:pt x="26576" y="52929"/>
                    <a:pt x="15838" y="40133"/>
                    <a:pt x="0" y="43891"/>
                  </a:cubicBezTo>
                  <a:cubicBezTo>
                    <a:pt x="1477" y="29306"/>
                    <a:pt x="1655" y="14630"/>
                    <a:pt x="1387" y="0"/>
                  </a:cubicBezTo>
                  <a:close/>
                </a:path>
              </a:pathLst>
            </a:custGeom>
            <a:solidFill>
              <a:srgbClr val="468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Freeform: Shape 89">
              <a:extLst>
                <a:ext uri="{FF2B5EF4-FFF2-40B4-BE49-F238E27FC236}">
                  <a16:creationId xmlns:a16="http://schemas.microsoft.com/office/drawing/2014/main" id="{5C4612CE-DDFB-B3C7-4A03-8D43B2BD845C}"/>
                </a:ext>
              </a:extLst>
            </p:cNvPr>
            <p:cNvSpPr/>
            <p:nvPr/>
          </p:nvSpPr>
          <p:spPr>
            <a:xfrm flipH="1">
              <a:off x="3738557" y="3017535"/>
              <a:ext cx="34018" cy="31699"/>
            </a:xfrm>
            <a:custGeom>
              <a:avLst/>
              <a:gdLst>
                <a:gd name="connsiteX0" fmla="*/ 65 w 28520"/>
                <a:gd name="connsiteY0" fmla="*/ 0 h 26576"/>
                <a:gd name="connsiteX1" fmla="*/ 13398 w 28520"/>
                <a:gd name="connsiteY1" fmla="*/ 313 h 26576"/>
                <a:gd name="connsiteX2" fmla="*/ 28520 w 28520"/>
                <a:gd name="connsiteY2" fmla="*/ 6353 h 26576"/>
                <a:gd name="connsiteX3" fmla="*/ 25791 w 28520"/>
                <a:gd name="connsiteY3" fmla="*/ 21297 h 26576"/>
                <a:gd name="connsiteX4" fmla="*/ 20 w 28520"/>
                <a:gd name="connsiteY4" fmla="*/ 26576 h 26576"/>
                <a:gd name="connsiteX5" fmla="*/ 20 w 28520"/>
                <a:gd name="connsiteY5" fmla="*/ 0 h 2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20" h="26576">
                  <a:moveTo>
                    <a:pt x="65" y="0"/>
                  </a:moveTo>
                  <a:cubicBezTo>
                    <a:pt x="3375" y="89"/>
                    <a:pt x="10087" y="268"/>
                    <a:pt x="13398" y="313"/>
                  </a:cubicBezTo>
                  <a:cubicBezTo>
                    <a:pt x="18498" y="2192"/>
                    <a:pt x="23464" y="4295"/>
                    <a:pt x="28520" y="6353"/>
                  </a:cubicBezTo>
                  <a:cubicBezTo>
                    <a:pt x="27849" y="10112"/>
                    <a:pt x="26462" y="17539"/>
                    <a:pt x="25791" y="21297"/>
                  </a:cubicBezTo>
                  <a:cubicBezTo>
                    <a:pt x="17156" y="23042"/>
                    <a:pt x="8565" y="24787"/>
                    <a:pt x="20" y="26576"/>
                  </a:cubicBezTo>
                  <a:cubicBezTo>
                    <a:pt x="-25" y="17718"/>
                    <a:pt x="20" y="8859"/>
                    <a:pt x="20" y="0"/>
                  </a:cubicBezTo>
                  <a:close/>
                </a:path>
              </a:pathLst>
            </a:custGeom>
            <a:solidFill>
              <a:srgbClr val="ADC3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Freeform: Shape 90">
              <a:extLst>
                <a:ext uri="{FF2B5EF4-FFF2-40B4-BE49-F238E27FC236}">
                  <a16:creationId xmlns:a16="http://schemas.microsoft.com/office/drawing/2014/main" id="{D1D94E94-F86C-7604-3BDF-4D86498E60B3}"/>
                </a:ext>
              </a:extLst>
            </p:cNvPr>
            <p:cNvSpPr/>
            <p:nvPr/>
          </p:nvSpPr>
          <p:spPr>
            <a:xfrm flipH="1">
              <a:off x="2464439" y="3014921"/>
              <a:ext cx="41709" cy="50538"/>
            </a:xfrm>
            <a:custGeom>
              <a:avLst/>
              <a:gdLst>
                <a:gd name="connsiteX0" fmla="*/ 0 w 34967"/>
                <a:gd name="connsiteY0" fmla="*/ 403 h 42370"/>
                <a:gd name="connsiteX1" fmla="*/ 22371 w 34967"/>
                <a:gd name="connsiteY1" fmla="*/ 45 h 42370"/>
                <a:gd name="connsiteX2" fmla="*/ 34809 w 34967"/>
                <a:gd name="connsiteY2" fmla="*/ 0 h 42370"/>
                <a:gd name="connsiteX3" fmla="*/ 34853 w 34967"/>
                <a:gd name="connsiteY3" fmla="*/ 42370 h 42370"/>
                <a:gd name="connsiteX4" fmla="*/ 23310 w 34967"/>
                <a:gd name="connsiteY4" fmla="*/ 42102 h 42370"/>
                <a:gd name="connsiteX5" fmla="*/ 940 w 34967"/>
                <a:gd name="connsiteY5" fmla="*/ 41610 h 42370"/>
                <a:gd name="connsiteX6" fmla="*/ 850 w 34967"/>
                <a:gd name="connsiteY6" fmla="*/ 37135 h 42370"/>
                <a:gd name="connsiteX7" fmla="*/ 0 w 34967"/>
                <a:gd name="connsiteY7" fmla="*/ 403 h 4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67" h="42370">
                  <a:moveTo>
                    <a:pt x="0" y="403"/>
                  </a:moveTo>
                  <a:cubicBezTo>
                    <a:pt x="7427" y="224"/>
                    <a:pt x="14854" y="89"/>
                    <a:pt x="22371" y="45"/>
                  </a:cubicBezTo>
                  <a:cubicBezTo>
                    <a:pt x="25458" y="45"/>
                    <a:pt x="31677" y="45"/>
                    <a:pt x="34809" y="0"/>
                  </a:cubicBezTo>
                  <a:cubicBezTo>
                    <a:pt x="34988" y="14138"/>
                    <a:pt x="35033" y="28232"/>
                    <a:pt x="34853" y="42370"/>
                  </a:cubicBezTo>
                  <a:cubicBezTo>
                    <a:pt x="31990" y="42370"/>
                    <a:pt x="26218" y="42191"/>
                    <a:pt x="23310" y="42102"/>
                  </a:cubicBezTo>
                  <a:cubicBezTo>
                    <a:pt x="15838" y="41923"/>
                    <a:pt x="8367" y="41744"/>
                    <a:pt x="940" y="41610"/>
                  </a:cubicBezTo>
                  <a:cubicBezTo>
                    <a:pt x="895" y="40491"/>
                    <a:pt x="850" y="38254"/>
                    <a:pt x="850" y="37135"/>
                  </a:cubicBezTo>
                  <a:cubicBezTo>
                    <a:pt x="626" y="24876"/>
                    <a:pt x="313" y="12617"/>
                    <a:pt x="0" y="403"/>
                  </a:cubicBezTo>
                  <a:close/>
                </a:path>
              </a:pathLst>
            </a:custGeom>
            <a:solidFill>
              <a:srgbClr val="293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Freeform: Shape 91">
              <a:extLst>
                <a:ext uri="{FF2B5EF4-FFF2-40B4-BE49-F238E27FC236}">
                  <a16:creationId xmlns:a16="http://schemas.microsoft.com/office/drawing/2014/main" id="{ED54BAA0-9C54-4C57-568D-7EC0A9966A6E}"/>
                </a:ext>
              </a:extLst>
            </p:cNvPr>
            <p:cNvSpPr/>
            <p:nvPr/>
          </p:nvSpPr>
          <p:spPr>
            <a:xfrm flipH="1">
              <a:off x="4039068" y="3023139"/>
              <a:ext cx="60839" cy="24815"/>
            </a:xfrm>
            <a:custGeom>
              <a:avLst/>
              <a:gdLst>
                <a:gd name="connsiteX0" fmla="*/ 1521 w 51005"/>
                <a:gd name="connsiteY0" fmla="*/ 0 h 20804"/>
                <a:gd name="connsiteX1" fmla="*/ 49529 w 51005"/>
                <a:gd name="connsiteY1" fmla="*/ 1163 h 20804"/>
                <a:gd name="connsiteX2" fmla="*/ 51005 w 51005"/>
                <a:gd name="connsiteY2" fmla="*/ 20805 h 20804"/>
                <a:gd name="connsiteX3" fmla="*/ 42102 w 51005"/>
                <a:gd name="connsiteY3" fmla="*/ 20357 h 20804"/>
                <a:gd name="connsiteX4" fmla="*/ 0 w 51005"/>
                <a:gd name="connsiteY4" fmla="*/ 19776 h 20804"/>
                <a:gd name="connsiteX5" fmla="*/ 1521 w 51005"/>
                <a:gd name="connsiteY5" fmla="*/ 0 h 2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05" h="20804">
                  <a:moveTo>
                    <a:pt x="1521" y="0"/>
                  </a:moveTo>
                  <a:cubicBezTo>
                    <a:pt x="17539" y="537"/>
                    <a:pt x="33511" y="895"/>
                    <a:pt x="49529" y="1163"/>
                  </a:cubicBezTo>
                  <a:cubicBezTo>
                    <a:pt x="49976" y="7696"/>
                    <a:pt x="50468" y="14228"/>
                    <a:pt x="51005" y="20805"/>
                  </a:cubicBezTo>
                  <a:cubicBezTo>
                    <a:pt x="48768" y="20715"/>
                    <a:pt x="44339" y="20492"/>
                    <a:pt x="42102" y="20357"/>
                  </a:cubicBezTo>
                  <a:cubicBezTo>
                    <a:pt x="28098" y="19239"/>
                    <a:pt x="14049" y="19060"/>
                    <a:pt x="0" y="19776"/>
                  </a:cubicBezTo>
                  <a:cubicBezTo>
                    <a:pt x="537" y="13154"/>
                    <a:pt x="1029" y="6532"/>
                    <a:pt x="1521" y="0"/>
                  </a:cubicBezTo>
                  <a:close/>
                </a:path>
              </a:pathLst>
            </a:custGeom>
            <a:solidFill>
              <a:srgbClr val="D1DC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7AB3C09F-14E6-25FD-0A0C-02F7B5361F33}"/>
                </a:ext>
              </a:extLst>
            </p:cNvPr>
            <p:cNvSpPr/>
            <p:nvPr/>
          </p:nvSpPr>
          <p:spPr>
            <a:xfrm flipH="1">
              <a:off x="3072376" y="3020344"/>
              <a:ext cx="65534" cy="107530"/>
            </a:xfrm>
            <a:custGeom>
              <a:avLst/>
              <a:gdLst>
                <a:gd name="connsiteX0" fmla="*/ 0 w 54942"/>
                <a:gd name="connsiteY0" fmla="*/ 13617 h 90150"/>
                <a:gd name="connsiteX1" fmla="*/ 27650 w 54942"/>
                <a:gd name="connsiteY1" fmla="*/ 3461 h 90150"/>
                <a:gd name="connsiteX2" fmla="*/ 34138 w 54942"/>
                <a:gd name="connsiteY2" fmla="*/ 79074 h 90150"/>
                <a:gd name="connsiteX3" fmla="*/ 54943 w 54942"/>
                <a:gd name="connsiteY3" fmla="*/ 85472 h 90150"/>
                <a:gd name="connsiteX4" fmla="*/ 24116 w 54942"/>
                <a:gd name="connsiteY4" fmla="*/ 89991 h 90150"/>
                <a:gd name="connsiteX5" fmla="*/ 15794 w 54942"/>
                <a:gd name="connsiteY5" fmla="*/ 14467 h 90150"/>
                <a:gd name="connsiteX6" fmla="*/ 8769 w 54942"/>
                <a:gd name="connsiteY6" fmla="*/ 18583 h 90150"/>
                <a:gd name="connsiteX7" fmla="*/ 3624 w 54942"/>
                <a:gd name="connsiteY7" fmla="*/ 21805 h 90150"/>
                <a:gd name="connsiteX8" fmla="*/ 0 w 54942"/>
                <a:gd name="connsiteY8" fmla="*/ 13617 h 9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942" h="90150">
                  <a:moveTo>
                    <a:pt x="0" y="13617"/>
                  </a:moveTo>
                  <a:cubicBezTo>
                    <a:pt x="7785" y="9053"/>
                    <a:pt x="19955" y="-6964"/>
                    <a:pt x="27650" y="3461"/>
                  </a:cubicBezTo>
                  <a:cubicBezTo>
                    <a:pt x="31766" y="28427"/>
                    <a:pt x="28903" y="54108"/>
                    <a:pt x="34138" y="79074"/>
                  </a:cubicBezTo>
                  <a:cubicBezTo>
                    <a:pt x="41073" y="81043"/>
                    <a:pt x="47963" y="83190"/>
                    <a:pt x="54943" y="85472"/>
                  </a:cubicBezTo>
                  <a:cubicBezTo>
                    <a:pt x="45099" y="89454"/>
                    <a:pt x="34585" y="90617"/>
                    <a:pt x="24116" y="89991"/>
                  </a:cubicBezTo>
                  <a:cubicBezTo>
                    <a:pt x="18433" y="65204"/>
                    <a:pt x="17762" y="39701"/>
                    <a:pt x="15794" y="14467"/>
                  </a:cubicBezTo>
                  <a:cubicBezTo>
                    <a:pt x="14049" y="15496"/>
                    <a:pt x="10514" y="17554"/>
                    <a:pt x="8769" y="18583"/>
                  </a:cubicBezTo>
                  <a:lnTo>
                    <a:pt x="3624" y="21805"/>
                  </a:lnTo>
                  <a:cubicBezTo>
                    <a:pt x="2729" y="19747"/>
                    <a:pt x="895" y="15630"/>
                    <a:pt x="0" y="13617"/>
                  </a:cubicBezTo>
                  <a:close/>
                </a:path>
              </a:pathLst>
            </a:custGeom>
            <a:solidFill>
              <a:srgbClr val="F2F3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Freeform: Shape 93">
              <a:extLst>
                <a:ext uri="{FF2B5EF4-FFF2-40B4-BE49-F238E27FC236}">
                  <a16:creationId xmlns:a16="http://schemas.microsoft.com/office/drawing/2014/main" id="{11754AF2-20F1-498F-58F3-3BB0DAD1A731}"/>
                </a:ext>
              </a:extLst>
            </p:cNvPr>
            <p:cNvSpPr/>
            <p:nvPr/>
          </p:nvSpPr>
          <p:spPr>
            <a:xfrm flipH="1">
              <a:off x="2988747" y="3025594"/>
              <a:ext cx="51392" cy="93819"/>
            </a:xfrm>
            <a:custGeom>
              <a:avLst/>
              <a:gdLst>
                <a:gd name="connsiteX0" fmla="*/ 0 w 43086"/>
                <a:gd name="connsiteY0" fmla="*/ 9977 h 78655"/>
                <a:gd name="connsiteX1" fmla="*/ 37717 w 43086"/>
                <a:gd name="connsiteY1" fmla="*/ 0 h 78655"/>
                <a:gd name="connsiteX2" fmla="*/ 43086 w 43086"/>
                <a:gd name="connsiteY2" fmla="*/ 78655 h 78655"/>
                <a:gd name="connsiteX3" fmla="*/ 18433 w 43086"/>
                <a:gd name="connsiteY3" fmla="*/ 45413 h 78655"/>
                <a:gd name="connsiteX4" fmla="*/ 20760 w 43086"/>
                <a:gd name="connsiteY4" fmla="*/ 23981 h 78655"/>
                <a:gd name="connsiteX5" fmla="*/ 31498 w 43086"/>
                <a:gd name="connsiteY5" fmla="*/ 12662 h 78655"/>
                <a:gd name="connsiteX6" fmla="*/ 7606 w 43086"/>
                <a:gd name="connsiteY6" fmla="*/ 10380 h 78655"/>
                <a:gd name="connsiteX7" fmla="*/ 14273 w 43086"/>
                <a:gd name="connsiteY7" fmla="*/ 31856 h 78655"/>
                <a:gd name="connsiteX8" fmla="*/ 0 w 43086"/>
                <a:gd name="connsiteY8" fmla="*/ 9977 h 7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86" h="78655">
                  <a:moveTo>
                    <a:pt x="0" y="9977"/>
                  </a:moveTo>
                  <a:cubicBezTo>
                    <a:pt x="12483" y="6487"/>
                    <a:pt x="25189" y="3579"/>
                    <a:pt x="37717" y="0"/>
                  </a:cubicBezTo>
                  <a:cubicBezTo>
                    <a:pt x="40312" y="26174"/>
                    <a:pt x="38925" y="52661"/>
                    <a:pt x="43086" y="78655"/>
                  </a:cubicBezTo>
                  <a:cubicBezTo>
                    <a:pt x="25100" y="77626"/>
                    <a:pt x="22952" y="58880"/>
                    <a:pt x="18433" y="45413"/>
                  </a:cubicBezTo>
                  <a:cubicBezTo>
                    <a:pt x="19194" y="38254"/>
                    <a:pt x="19999" y="31095"/>
                    <a:pt x="20760" y="23981"/>
                  </a:cubicBezTo>
                  <a:cubicBezTo>
                    <a:pt x="24160" y="19597"/>
                    <a:pt x="27471" y="16420"/>
                    <a:pt x="31498" y="12662"/>
                  </a:cubicBezTo>
                  <a:cubicBezTo>
                    <a:pt x="23534" y="11812"/>
                    <a:pt x="15570" y="11051"/>
                    <a:pt x="7606" y="10380"/>
                  </a:cubicBezTo>
                  <a:cubicBezTo>
                    <a:pt x="9843" y="17539"/>
                    <a:pt x="12080" y="24652"/>
                    <a:pt x="14273" y="31856"/>
                  </a:cubicBezTo>
                  <a:cubicBezTo>
                    <a:pt x="5951" y="27024"/>
                    <a:pt x="2103" y="18881"/>
                    <a:pt x="0" y="9977"/>
                  </a:cubicBezTo>
                  <a:close/>
                </a:path>
              </a:pathLst>
            </a:custGeom>
            <a:solidFill>
              <a:srgbClr val="485C9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Freeform: Shape 94">
              <a:extLst>
                <a:ext uri="{FF2B5EF4-FFF2-40B4-BE49-F238E27FC236}">
                  <a16:creationId xmlns:a16="http://schemas.microsoft.com/office/drawing/2014/main" id="{83058988-30DD-DDE5-1102-A8A253DA585A}"/>
                </a:ext>
              </a:extLst>
            </p:cNvPr>
            <p:cNvSpPr/>
            <p:nvPr/>
          </p:nvSpPr>
          <p:spPr>
            <a:xfrm flipH="1">
              <a:off x="2442323" y="3019723"/>
              <a:ext cx="8292" cy="346032"/>
            </a:xfrm>
            <a:custGeom>
              <a:avLst/>
              <a:gdLst>
                <a:gd name="connsiteX0" fmla="*/ 736 w 6952"/>
                <a:gd name="connsiteY0" fmla="*/ 134 h 290103"/>
                <a:gd name="connsiteX1" fmla="*/ 6015 w 6952"/>
                <a:gd name="connsiteY1" fmla="*/ 0 h 290103"/>
                <a:gd name="connsiteX2" fmla="*/ 5926 w 6952"/>
                <a:gd name="connsiteY2" fmla="*/ 290104 h 290103"/>
                <a:gd name="connsiteX3" fmla="*/ 1139 w 6952"/>
                <a:gd name="connsiteY3" fmla="*/ 171807 h 290103"/>
                <a:gd name="connsiteX4" fmla="*/ 736 w 6952"/>
                <a:gd name="connsiteY4" fmla="*/ 134 h 29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2" h="290103">
                  <a:moveTo>
                    <a:pt x="736" y="134"/>
                  </a:moveTo>
                  <a:lnTo>
                    <a:pt x="6015" y="0"/>
                  </a:lnTo>
                  <a:cubicBezTo>
                    <a:pt x="6776" y="96686"/>
                    <a:pt x="7716" y="193417"/>
                    <a:pt x="5926" y="290104"/>
                  </a:cubicBezTo>
                  <a:cubicBezTo>
                    <a:pt x="-4588" y="251536"/>
                    <a:pt x="2347" y="211180"/>
                    <a:pt x="1139" y="171807"/>
                  </a:cubicBezTo>
                  <a:cubicBezTo>
                    <a:pt x="-293" y="114583"/>
                    <a:pt x="2794" y="57359"/>
                    <a:pt x="736" y="134"/>
                  </a:cubicBezTo>
                  <a:close/>
                </a:path>
              </a:pathLst>
            </a:custGeom>
            <a:solidFill>
              <a:srgbClr val="5686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6" name="Freeform: Shape 95">
              <a:extLst>
                <a:ext uri="{FF2B5EF4-FFF2-40B4-BE49-F238E27FC236}">
                  <a16:creationId xmlns:a16="http://schemas.microsoft.com/office/drawing/2014/main" id="{A4F83893-0DE3-09C7-1534-F65B27388C9F}"/>
                </a:ext>
              </a:extLst>
            </p:cNvPr>
            <p:cNvSpPr/>
            <p:nvPr/>
          </p:nvSpPr>
          <p:spPr>
            <a:xfrm flipH="1">
              <a:off x="2036924" y="3019441"/>
              <a:ext cx="406624" cy="367236"/>
            </a:xfrm>
            <a:custGeom>
              <a:avLst/>
              <a:gdLst>
                <a:gd name="connsiteX0" fmla="*/ 90 w 340901"/>
                <a:gd name="connsiteY0" fmla="*/ 237 h 307879"/>
                <a:gd name="connsiteX1" fmla="*/ 339990 w 340901"/>
                <a:gd name="connsiteY1" fmla="*/ 371 h 307879"/>
                <a:gd name="connsiteX2" fmla="*/ 339319 w 340901"/>
                <a:gd name="connsiteY2" fmla="*/ 101621 h 307879"/>
                <a:gd name="connsiteX3" fmla="*/ 333324 w 340901"/>
                <a:gd name="connsiteY3" fmla="*/ 79071 h 307879"/>
                <a:gd name="connsiteX4" fmla="*/ 324241 w 340901"/>
                <a:gd name="connsiteY4" fmla="*/ 83635 h 307879"/>
                <a:gd name="connsiteX5" fmla="*/ 311222 w 340901"/>
                <a:gd name="connsiteY5" fmla="*/ 77327 h 307879"/>
                <a:gd name="connsiteX6" fmla="*/ 309521 w 340901"/>
                <a:gd name="connsiteY6" fmla="*/ 53300 h 307879"/>
                <a:gd name="connsiteX7" fmla="*/ 25189 w 340901"/>
                <a:gd name="connsiteY7" fmla="*/ 53166 h 307879"/>
                <a:gd name="connsiteX8" fmla="*/ 24474 w 340901"/>
                <a:gd name="connsiteY8" fmla="*/ 254145 h 307879"/>
                <a:gd name="connsiteX9" fmla="*/ 241157 w 340901"/>
                <a:gd name="connsiteY9" fmla="*/ 256158 h 307879"/>
                <a:gd name="connsiteX10" fmla="*/ 311669 w 340901"/>
                <a:gd name="connsiteY10" fmla="*/ 255174 h 307879"/>
                <a:gd name="connsiteX11" fmla="*/ 321288 w 340901"/>
                <a:gd name="connsiteY11" fmla="*/ 254279 h 307879"/>
                <a:gd name="connsiteX12" fmla="*/ 332474 w 340901"/>
                <a:gd name="connsiteY12" fmla="*/ 253160 h 307879"/>
                <a:gd name="connsiteX13" fmla="*/ 339856 w 340901"/>
                <a:gd name="connsiteY13" fmla="*/ 252355 h 307879"/>
                <a:gd name="connsiteX14" fmla="*/ 339140 w 340901"/>
                <a:gd name="connsiteY14" fmla="*/ 305329 h 307879"/>
                <a:gd name="connsiteX15" fmla="*/ 277039 w 340901"/>
                <a:gd name="connsiteY15" fmla="*/ 305061 h 307879"/>
                <a:gd name="connsiteX16" fmla="*/ 218204 w 340901"/>
                <a:gd name="connsiteY16" fmla="*/ 306537 h 307879"/>
                <a:gd name="connsiteX17" fmla="*/ 2819 w 340901"/>
                <a:gd name="connsiteY17" fmla="*/ 307879 h 307879"/>
                <a:gd name="connsiteX18" fmla="*/ 0 w 340901"/>
                <a:gd name="connsiteY18" fmla="*/ 290341 h 307879"/>
                <a:gd name="connsiteX19" fmla="*/ 90 w 340901"/>
                <a:gd name="connsiteY19" fmla="*/ 237 h 30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0901" h="307879">
                  <a:moveTo>
                    <a:pt x="90" y="237"/>
                  </a:moveTo>
                  <a:cubicBezTo>
                    <a:pt x="113375" y="-703"/>
                    <a:pt x="226705" y="1535"/>
                    <a:pt x="339990" y="371"/>
                  </a:cubicBezTo>
                  <a:cubicBezTo>
                    <a:pt x="341601" y="34106"/>
                    <a:pt x="340885" y="67886"/>
                    <a:pt x="339319" y="101621"/>
                  </a:cubicBezTo>
                  <a:cubicBezTo>
                    <a:pt x="337485" y="94015"/>
                    <a:pt x="335337" y="86543"/>
                    <a:pt x="333324" y="79071"/>
                  </a:cubicBezTo>
                  <a:cubicBezTo>
                    <a:pt x="330237" y="80548"/>
                    <a:pt x="327194" y="82114"/>
                    <a:pt x="324241" y="83635"/>
                  </a:cubicBezTo>
                  <a:cubicBezTo>
                    <a:pt x="319901" y="81532"/>
                    <a:pt x="315472" y="79385"/>
                    <a:pt x="311222" y="77327"/>
                  </a:cubicBezTo>
                  <a:cubicBezTo>
                    <a:pt x="310819" y="69273"/>
                    <a:pt x="310237" y="61264"/>
                    <a:pt x="309521" y="53300"/>
                  </a:cubicBezTo>
                  <a:cubicBezTo>
                    <a:pt x="214759" y="53032"/>
                    <a:pt x="119952" y="54240"/>
                    <a:pt x="25189" y="53166"/>
                  </a:cubicBezTo>
                  <a:cubicBezTo>
                    <a:pt x="22729" y="120144"/>
                    <a:pt x="25682" y="187167"/>
                    <a:pt x="24474" y="254145"/>
                  </a:cubicBezTo>
                  <a:cubicBezTo>
                    <a:pt x="96642" y="256695"/>
                    <a:pt x="168899" y="255308"/>
                    <a:pt x="241157" y="256158"/>
                  </a:cubicBezTo>
                  <a:cubicBezTo>
                    <a:pt x="264646" y="256158"/>
                    <a:pt x="288180" y="256784"/>
                    <a:pt x="311669" y="255174"/>
                  </a:cubicBezTo>
                  <a:cubicBezTo>
                    <a:pt x="314085" y="254950"/>
                    <a:pt x="318917" y="254503"/>
                    <a:pt x="321288" y="254279"/>
                  </a:cubicBezTo>
                  <a:cubicBezTo>
                    <a:pt x="324107" y="254011"/>
                    <a:pt x="329700" y="253429"/>
                    <a:pt x="332474" y="253160"/>
                  </a:cubicBezTo>
                  <a:cubicBezTo>
                    <a:pt x="334308" y="252937"/>
                    <a:pt x="338022" y="252579"/>
                    <a:pt x="339856" y="252355"/>
                  </a:cubicBezTo>
                  <a:cubicBezTo>
                    <a:pt x="341064" y="269983"/>
                    <a:pt x="340706" y="287701"/>
                    <a:pt x="339140" y="305329"/>
                  </a:cubicBezTo>
                  <a:cubicBezTo>
                    <a:pt x="318425" y="304792"/>
                    <a:pt x="297710" y="304971"/>
                    <a:pt x="277039" y="305061"/>
                  </a:cubicBezTo>
                  <a:cubicBezTo>
                    <a:pt x="257398" y="304747"/>
                    <a:pt x="237756" y="304792"/>
                    <a:pt x="218204" y="306537"/>
                  </a:cubicBezTo>
                  <a:cubicBezTo>
                    <a:pt x="146439" y="309042"/>
                    <a:pt x="74584" y="306582"/>
                    <a:pt x="2819" y="307879"/>
                  </a:cubicBezTo>
                  <a:cubicBezTo>
                    <a:pt x="1879" y="301973"/>
                    <a:pt x="984" y="296157"/>
                    <a:pt x="0" y="290341"/>
                  </a:cubicBezTo>
                  <a:cubicBezTo>
                    <a:pt x="1790" y="193654"/>
                    <a:pt x="850" y="96923"/>
                    <a:pt x="90" y="237"/>
                  </a:cubicBezTo>
                  <a:close/>
                </a:path>
              </a:pathLst>
            </a:custGeom>
            <a:solidFill>
              <a:srgbClr val="D2D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9777647A-8019-FE98-159F-D70E0094C218}"/>
                </a:ext>
              </a:extLst>
            </p:cNvPr>
            <p:cNvSpPr/>
            <p:nvPr/>
          </p:nvSpPr>
          <p:spPr>
            <a:xfrm flipH="1">
              <a:off x="4351268" y="3024846"/>
              <a:ext cx="64155" cy="452767"/>
            </a:xfrm>
            <a:custGeom>
              <a:avLst/>
              <a:gdLst>
                <a:gd name="connsiteX0" fmla="*/ 4258 w 53786"/>
                <a:gd name="connsiteY0" fmla="*/ 0 h 379586"/>
                <a:gd name="connsiteX1" fmla="*/ 26808 w 53786"/>
                <a:gd name="connsiteY1" fmla="*/ 5503 h 379586"/>
                <a:gd name="connsiteX2" fmla="*/ 26897 w 53786"/>
                <a:gd name="connsiteY2" fmla="*/ 239367 h 379586"/>
                <a:gd name="connsiteX3" fmla="*/ 53787 w 53786"/>
                <a:gd name="connsiteY3" fmla="*/ 357797 h 379586"/>
                <a:gd name="connsiteX4" fmla="*/ 36338 w 53786"/>
                <a:gd name="connsiteY4" fmla="*/ 379587 h 379586"/>
                <a:gd name="connsiteX5" fmla="*/ 8374 w 53786"/>
                <a:gd name="connsiteY5" fmla="*/ 268851 h 379586"/>
                <a:gd name="connsiteX6" fmla="*/ 4258 w 53786"/>
                <a:gd name="connsiteY6" fmla="*/ 0 h 37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6" h="379586">
                  <a:moveTo>
                    <a:pt x="4258" y="0"/>
                  </a:moveTo>
                  <a:cubicBezTo>
                    <a:pt x="11775" y="1790"/>
                    <a:pt x="19291" y="3624"/>
                    <a:pt x="26808" y="5503"/>
                  </a:cubicBezTo>
                  <a:cubicBezTo>
                    <a:pt x="17278" y="82995"/>
                    <a:pt x="19739" y="161740"/>
                    <a:pt x="26897" y="239367"/>
                  </a:cubicBezTo>
                  <a:cubicBezTo>
                    <a:pt x="30566" y="279858"/>
                    <a:pt x="40320" y="319499"/>
                    <a:pt x="53787" y="357797"/>
                  </a:cubicBezTo>
                  <a:cubicBezTo>
                    <a:pt x="50208" y="366656"/>
                    <a:pt x="45152" y="375023"/>
                    <a:pt x="36338" y="379587"/>
                  </a:cubicBezTo>
                  <a:cubicBezTo>
                    <a:pt x="21484" y="344330"/>
                    <a:pt x="14907" y="306345"/>
                    <a:pt x="8374" y="268851"/>
                  </a:cubicBezTo>
                  <a:cubicBezTo>
                    <a:pt x="-3572" y="179726"/>
                    <a:pt x="-619" y="89483"/>
                    <a:pt x="4258" y="0"/>
                  </a:cubicBez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Freeform: Shape 97">
              <a:extLst>
                <a:ext uri="{FF2B5EF4-FFF2-40B4-BE49-F238E27FC236}">
                  <a16:creationId xmlns:a16="http://schemas.microsoft.com/office/drawing/2014/main" id="{80FBFCDA-79E8-0C01-CD1D-CDFF96736ABB}"/>
                </a:ext>
              </a:extLst>
            </p:cNvPr>
            <p:cNvSpPr/>
            <p:nvPr/>
          </p:nvSpPr>
          <p:spPr>
            <a:xfrm flipH="1">
              <a:off x="3235305" y="3026011"/>
              <a:ext cx="225049" cy="15431"/>
            </a:xfrm>
            <a:custGeom>
              <a:avLst/>
              <a:gdLst>
                <a:gd name="connsiteX0" fmla="*/ 0 w 188674"/>
                <a:gd name="connsiteY0" fmla="*/ 3140 h 12937"/>
                <a:gd name="connsiteX1" fmla="*/ 56061 w 188674"/>
                <a:gd name="connsiteY1" fmla="*/ 231 h 12937"/>
                <a:gd name="connsiteX2" fmla="*/ 187467 w 188674"/>
                <a:gd name="connsiteY2" fmla="*/ 3184 h 12937"/>
                <a:gd name="connsiteX3" fmla="*/ 188675 w 188674"/>
                <a:gd name="connsiteY3" fmla="*/ 10388 h 12937"/>
                <a:gd name="connsiteX4" fmla="*/ 183798 w 188674"/>
                <a:gd name="connsiteY4" fmla="*/ 6629 h 12937"/>
                <a:gd name="connsiteX5" fmla="*/ 183127 w 188674"/>
                <a:gd name="connsiteY5" fmla="*/ 12938 h 12937"/>
                <a:gd name="connsiteX6" fmla="*/ 64786 w 188674"/>
                <a:gd name="connsiteY6" fmla="*/ 8464 h 12937"/>
                <a:gd name="connsiteX7" fmla="*/ 0 w 188674"/>
                <a:gd name="connsiteY7" fmla="*/ 3140 h 1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674" h="12937">
                  <a:moveTo>
                    <a:pt x="0" y="3140"/>
                  </a:moveTo>
                  <a:cubicBezTo>
                    <a:pt x="18523" y="8"/>
                    <a:pt x="37359" y="-350"/>
                    <a:pt x="56061" y="231"/>
                  </a:cubicBezTo>
                  <a:cubicBezTo>
                    <a:pt x="99863" y="1395"/>
                    <a:pt x="143710" y="321"/>
                    <a:pt x="187467" y="3184"/>
                  </a:cubicBezTo>
                  <a:cubicBezTo>
                    <a:pt x="187780" y="4974"/>
                    <a:pt x="188362" y="8598"/>
                    <a:pt x="188675" y="10388"/>
                  </a:cubicBezTo>
                  <a:cubicBezTo>
                    <a:pt x="187467" y="9448"/>
                    <a:pt x="185006" y="7569"/>
                    <a:pt x="183798" y="6629"/>
                  </a:cubicBezTo>
                  <a:lnTo>
                    <a:pt x="183127" y="12938"/>
                  </a:lnTo>
                  <a:cubicBezTo>
                    <a:pt x="143754" y="8866"/>
                    <a:pt x="104158" y="11193"/>
                    <a:pt x="64786" y="8464"/>
                  </a:cubicBezTo>
                  <a:cubicBezTo>
                    <a:pt x="43220" y="6898"/>
                    <a:pt x="20536" y="11909"/>
                    <a:pt x="0" y="3140"/>
                  </a:cubicBezTo>
                  <a:close/>
                </a:path>
              </a:pathLst>
            </a:custGeom>
            <a:solidFill>
              <a:srgbClr val="5272A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Freeform: Shape 98">
              <a:extLst>
                <a:ext uri="{FF2B5EF4-FFF2-40B4-BE49-F238E27FC236}">
                  <a16:creationId xmlns:a16="http://schemas.microsoft.com/office/drawing/2014/main" id="{A36401A8-4425-5EAD-CD9D-2D49828A2A7B}"/>
                </a:ext>
              </a:extLst>
            </p:cNvPr>
            <p:cNvSpPr/>
            <p:nvPr/>
          </p:nvSpPr>
          <p:spPr>
            <a:xfrm flipH="1">
              <a:off x="3200617" y="3032295"/>
              <a:ext cx="17205" cy="15766"/>
            </a:xfrm>
            <a:custGeom>
              <a:avLst/>
              <a:gdLst>
                <a:gd name="connsiteX0" fmla="*/ 1540 w 14424"/>
                <a:gd name="connsiteY0" fmla="*/ 1765 h 13218"/>
                <a:gd name="connsiteX1" fmla="*/ 12770 w 14424"/>
                <a:gd name="connsiteY1" fmla="*/ 11518 h 13218"/>
                <a:gd name="connsiteX2" fmla="*/ 1540 w 14424"/>
                <a:gd name="connsiteY2" fmla="*/ 1765 h 13218"/>
              </a:gdLst>
              <a:ahLst/>
              <a:cxnLst>
                <a:cxn ang="0">
                  <a:pos x="connsiteX0" y="connsiteY0"/>
                </a:cxn>
                <a:cxn ang="0">
                  <a:pos x="connsiteX1" y="connsiteY1"/>
                </a:cxn>
                <a:cxn ang="0">
                  <a:pos x="connsiteX2" y="connsiteY2"/>
                </a:cxn>
              </a:cxnLst>
              <a:rect l="l" t="t" r="r" b="b"/>
              <a:pathLst>
                <a:path w="14424" h="13218">
                  <a:moveTo>
                    <a:pt x="1540" y="1765"/>
                  </a:moveTo>
                  <a:cubicBezTo>
                    <a:pt x="7133" y="-3873"/>
                    <a:pt x="18721" y="5254"/>
                    <a:pt x="12770" y="11518"/>
                  </a:cubicBezTo>
                  <a:cubicBezTo>
                    <a:pt x="6954" y="16932"/>
                    <a:pt x="-4053" y="8252"/>
                    <a:pt x="1540" y="1765"/>
                  </a:cubicBezTo>
                  <a:close/>
                </a:path>
              </a:pathLst>
            </a:custGeom>
            <a:solidFill>
              <a:srgbClr val="6672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0" name="Freeform: Shape 99">
              <a:extLst>
                <a:ext uri="{FF2B5EF4-FFF2-40B4-BE49-F238E27FC236}">
                  <a16:creationId xmlns:a16="http://schemas.microsoft.com/office/drawing/2014/main" id="{588EFAE7-20FC-A6FB-246C-56981C71C021}"/>
                </a:ext>
              </a:extLst>
            </p:cNvPr>
            <p:cNvSpPr/>
            <p:nvPr/>
          </p:nvSpPr>
          <p:spPr>
            <a:xfrm flipH="1">
              <a:off x="3133587" y="3027622"/>
              <a:ext cx="39243" cy="86720"/>
            </a:xfrm>
            <a:custGeom>
              <a:avLst/>
              <a:gdLst>
                <a:gd name="connsiteX0" fmla="*/ 955 w 32900"/>
                <a:gd name="connsiteY0" fmla="*/ 0 h 72704"/>
                <a:gd name="connsiteX1" fmla="*/ 10619 w 32900"/>
                <a:gd name="connsiteY1" fmla="*/ 21923 h 72704"/>
                <a:gd name="connsiteX2" fmla="*/ 13661 w 32900"/>
                <a:gd name="connsiteY2" fmla="*/ 8948 h 72704"/>
                <a:gd name="connsiteX3" fmla="*/ 17151 w 32900"/>
                <a:gd name="connsiteY3" fmla="*/ 18031 h 72704"/>
                <a:gd name="connsiteX4" fmla="*/ 29276 w 32900"/>
                <a:gd name="connsiteY4" fmla="*/ 7517 h 72704"/>
                <a:gd name="connsiteX5" fmla="*/ 32900 w 32900"/>
                <a:gd name="connsiteY5" fmla="*/ 15704 h 72704"/>
                <a:gd name="connsiteX6" fmla="*/ 18896 w 32900"/>
                <a:gd name="connsiteY6" fmla="*/ 72705 h 72704"/>
                <a:gd name="connsiteX7" fmla="*/ 955 w 32900"/>
                <a:gd name="connsiteY7" fmla="*/ 0 h 7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00" h="72704">
                  <a:moveTo>
                    <a:pt x="955" y="0"/>
                  </a:moveTo>
                  <a:cubicBezTo>
                    <a:pt x="4221" y="7248"/>
                    <a:pt x="7487" y="14541"/>
                    <a:pt x="10619" y="21923"/>
                  </a:cubicBezTo>
                  <a:cubicBezTo>
                    <a:pt x="11380" y="18657"/>
                    <a:pt x="12901" y="12214"/>
                    <a:pt x="13661" y="8948"/>
                  </a:cubicBezTo>
                  <a:cubicBezTo>
                    <a:pt x="14512" y="11230"/>
                    <a:pt x="16256" y="15749"/>
                    <a:pt x="17151" y="18031"/>
                  </a:cubicBezTo>
                  <a:cubicBezTo>
                    <a:pt x="21133" y="14496"/>
                    <a:pt x="25160" y="10962"/>
                    <a:pt x="29276" y="7517"/>
                  </a:cubicBezTo>
                  <a:cubicBezTo>
                    <a:pt x="30171" y="9530"/>
                    <a:pt x="32005" y="13646"/>
                    <a:pt x="32900" y="15704"/>
                  </a:cubicBezTo>
                  <a:cubicBezTo>
                    <a:pt x="14243" y="29842"/>
                    <a:pt x="26681" y="53779"/>
                    <a:pt x="18896" y="72705"/>
                  </a:cubicBezTo>
                  <a:cubicBezTo>
                    <a:pt x="5250" y="51005"/>
                    <a:pt x="-2893" y="25816"/>
                    <a:pt x="955" y="0"/>
                  </a:cubicBezTo>
                  <a:close/>
                </a:path>
              </a:pathLst>
            </a:custGeom>
            <a:solidFill>
              <a:srgbClr val="7174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1" name="Freeform: Shape 100">
              <a:extLst>
                <a:ext uri="{FF2B5EF4-FFF2-40B4-BE49-F238E27FC236}">
                  <a16:creationId xmlns:a16="http://schemas.microsoft.com/office/drawing/2014/main" id="{65B9D101-449B-7964-EAEC-5A2BA39C5181}"/>
                </a:ext>
              </a:extLst>
            </p:cNvPr>
            <p:cNvSpPr/>
            <p:nvPr/>
          </p:nvSpPr>
          <p:spPr>
            <a:xfrm flipH="1">
              <a:off x="3048307" y="3028743"/>
              <a:ext cx="48884" cy="95953"/>
            </a:xfrm>
            <a:custGeom>
              <a:avLst/>
              <a:gdLst>
                <a:gd name="connsiteX0" fmla="*/ 29529 w 40983"/>
                <a:gd name="connsiteY0" fmla="*/ 25950 h 80445"/>
                <a:gd name="connsiteX1" fmla="*/ 37985 w 40983"/>
                <a:gd name="connsiteY1" fmla="*/ 0 h 80445"/>
                <a:gd name="connsiteX2" fmla="*/ 40983 w 40983"/>
                <a:gd name="connsiteY2" fmla="*/ 10246 h 80445"/>
                <a:gd name="connsiteX3" fmla="*/ 33332 w 40983"/>
                <a:gd name="connsiteY3" fmla="*/ 74315 h 80445"/>
                <a:gd name="connsiteX4" fmla="*/ 27158 w 40983"/>
                <a:gd name="connsiteY4" fmla="*/ 80445 h 80445"/>
                <a:gd name="connsiteX5" fmla="*/ 20805 w 40983"/>
                <a:gd name="connsiteY5" fmla="*/ 78432 h 80445"/>
                <a:gd name="connsiteX6" fmla="*/ 0 w 40983"/>
                <a:gd name="connsiteY6" fmla="*/ 72034 h 80445"/>
                <a:gd name="connsiteX7" fmla="*/ 29529 w 40983"/>
                <a:gd name="connsiteY7" fmla="*/ 25950 h 8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83" h="80445">
                  <a:moveTo>
                    <a:pt x="29529" y="25950"/>
                  </a:moveTo>
                  <a:cubicBezTo>
                    <a:pt x="29395" y="16420"/>
                    <a:pt x="25682" y="3535"/>
                    <a:pt x="37985" y="0"/>
                  </a:cubicBezTo>
                  <a:cubicBezTo>
                    <a:pt x="38746" y="2550"/>
                    <a:pt x="40223" y="7696"/>
                    <a:pt x="40983" y="10246"/>
                  </a:cubicBezTo>
                  <a:cubicBezTo>
                    <a:pt x="38701" y="31632"/>
                    <a:pt x="34719" y="52795"/>
                    <a:pt x="33332" y="74315"/>
                  </a:cubicBezTo>
                  <a:cubicBezTo>
                    <a:pt x="31140" y="76239"/>
                    <a:pt x="29261" y="78477"/>
                    <a:pt x="27158" y="80445"/>
                  </a:cubicBezTo>
                  <a:cubicBezTo>
                    <a:pt x="25547" y="79953"/>
                    <a:pt x="22371" y="78924"/>
                    <a:pt x="20805" y="78432"/>
                  </a:cubicBezTo>
                  <a:cubicBezTo>
                    <a:pt x="13825" y="76150"/>
                    <a:pt x="6935" y="74002"/>
                    <a:pt x="0" y="72034"/>
                  </a:cubicBezTo>
                  <a:cubicBezTo>
                    <a:pt x="21297" y="68768"/>
                    <a:pt x="32124" y="45592"/>
                    <a:pt x="29529" y="25950"/>
                  </a:cubicBezTo>
                  <a:close/>
                </a:path>
              </a:pathLst>
            </a:custGeom>
            <a:solidFill>
              <a:srgbClr val="8584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861DC952-C969-FAB2-8C3B-9333731C5746}"/>
                </a:ext>
              </a:extLst>
            </p:cNvPr>
            <p:cNvSpPr/>
            <p:nvPr/>
          </p:nvSpPr>
          <p:spPr>
            <a:xfrm flipH="1">
              <a:off x="3232263" y="3033920"/>
              <a:ext cx="13182" cy="44187"/>
            </a:xfrm>
            <a:custGeom>
              <a:avLst/>
              <a:gdLst>
                <a:gd name="connsiteX0" fmla="*/ 3624 w 11051"/>
                <a:gd name="connsiteY0" fmla="*/ 0 h 37045"/>
                <a:gd name="connsiteX1" fmla="*/ 8501 w 11051"/>
                <a:gd name="connsiteY1" fmla="*/ 3758 h 37045"/>
                <a:gd name="connsiteX2" fmla="*/ 11051 w 11051"/>
                <a:gd name="connsiteY2" fmla="*/ 37046 h 37045"/>
                <a:gd name="connsiteX3" fmla="*/ 0 w 11051"/>
                <a:gd name="connsiteY3" fmla="*/ 35122 h 37045"/>
                <a:gd name="connsiteX4" fmla="*/ 2953 w 11051"/>
                <a:gd name="connsiteY4" fmla="*/ 6309 h 37045"/>
                <a:gd name="connsiteX5" fmla="*/ 3624 w 11051"/>
                <a:gd name="connsiteY5" fmla="*/ 0 h 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1" h="37045">
                  <a:moveTo>
                    <a:pt x="3624" y="0"/>
                  </a:moveTo>
                  <a:cubicBezTo>
                    <a:pt x="4832" y="940"/>
                    <a:pt x="7293" y="2819"/>
                    <a:pt x="8501" y="3758"/>
                  </a:cubicBezTo>
                  <a:cubicBezTo>
                    <a:pt x="10648" y="14720"/>
                    <a:pt x="10917" y="25905"/>
                    <a:pt x="11051" y="37046"/>
                  </a:cubicBezTo>
                  <a:cubicBezTo>
                    <a:pt x="8277" y="36554"/>
                    <a:pt x="2774" y="35614"/>
                    <a:pt x="0" y="35122"/>
                  </a:cubicBezTo>
                  <a:cubicBezTo>
                    <a:pt x="984" y="25503"/>
                    <a:pt x="1924" y="15883"/>
                    <a:pt x="2953" y="6309"/>
                  </a:cubicBezTo>
                  <a:lnTo>
                    <a:pt x="3624" y="0"/>
                  </a:lnTo>
                  <a:close/>
                </a:path>
              </a:pathLst>
            </a:custGeom>
            <a:solidFill>
              <a:srgbClr val="7E85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Freeform: Shape 102">
              <a:extLst>
                <a:ext uri="{FF2B5EF4-FFF2-40B4-BE49-F238E27FC236}">
                  <a16:creationId xmlns:a16="http://schemas.microsoft.com/office/drawing/2014/main" id="{2D7F00F8-4650-D867-289D-77A8BE800E9B}"/>
                </a:ext>
              </a:extLst>
            </p:cNvPr>
            <p:cNvSpPr/>
            <p:nvPr/>
          </p:nvSpPr>
          <p:spPr>
            <a:xfrm flipH="1">
              <a:off x="2984747" y="3037495"/>
              <a:ext cx="484482" cy="325379"/>
            </a:xfrm>
            <a:custGeom>
              <a:avLst/>
              <a:gdLst>
                <a:gd name="connsiteX0" fmla="*/ 286537 w 406175"/>
                <a:gd name="connsiteY0" fmla="*/ 4206 h 272788"/>
                <a:gd name="connsiteX1" fmla="*/ 293562 w 406175"/>
                <a:gd name="connsiteY1" fmla="*/ 90 h 272788"/>
                <a:gd name="connsiteX2" fmla="*/ 301884 w 406175"/>
                <a:gd name="connsiteY2" fmla="*/ 75613 h 272788"/>
                <a:gd name="connsiteX3" fmla="*/ 332710 w 406175"/>
                <a:gd name="connsiteY3" fmla="*/ 71094 h 272788"/>
                <a:gd name="connsiteX4" fmla="*/ 339064 w 406175"/>
                <a:gd name="connsiteY4" fmla="*/ 73108 h 272788"/>
                <a:gd name="connsiteX5" fmla="*/ 345238 w 406175"/>
                <a:gd name="connsiteY5" fmla="*/ 66978 h 272788"/>
                <a:gd name="connsiteX6" fmla="*/ 352889 w 406175"/>
                <a:gd name="connsiteY6" fmla="*/ 2908 h 272788"/>
                <a:gd name="connsiteX7" fmla="*/ 359734 w 406175"/>
                <a:gd name="connsiteY7" fmla="*/ 0 h 272788"/>
                <a:gd name="connsiteX8" fmla="*/ 374007 w 406175"/>
                <a:gd name="connsiteY8" fmla="*/ 21879 h 272788"/>
                <a:gd name="connsiteX9" fmla="*/ 378168 w 406175"/>
                <a:gd name="connsiteY9" fmla="*/ 35435 h 272788"/>
                <a:gd name="connsiteX10" fmla="*/ 402820 w 406175"/>
                <a:gd name="connsiteY10" fmla="*/ 68678 h 272788"/>
                <a:gd name="connsiteX11" fmla="*/ 404073 w 406175"/>
                <a:gd name="connsiteY11" fmla="*/ 73331 h 272788"/>
                <a:gd name="connsiteX12" fmla="*/ 406176 w 406175"/>
                <a:gd name="connsiteY12" fmla="*/ 99997 h 272788"/>
                <a:gd name="connsiteX13" fmla="*/ 380002 w 406175"/>
                <a:gd name="connsiteY13" fmla="*/ 106977 h 272788"/>
                <a:gd name="connsiteX14" fmla="*/ 331681 w 406175"/>
                <a:gd name="connsiteY14" fmla="*/ 116194 h 272788"/>
                <a:gd name="connsiteX15" fmla="*/ 291369 w 406175"/>
                <a:gd name="connsiteY15" fmla="*/ 103934 h 272788"/>
                <a:gd name="connsiteX16" fmla="*/ 230208 w 406175"/>
                <a:gd name="connsiteY16" fmla="*/ 129213 h 272788"/>
                <a:gd name="connsiteX17" fmla="*/ 219246 w 406175"/>
                <a:gd name="connsiteY17" fmla="*/ 173642 h 272788"/>
                <a:gd name="connsiteX18" fmla="*/ 186182 w 406175"/>
                <a:gd name="connsiteY18" fmla="*/ 165230 h 272788"/>
                <a:gd name="connsiteX19" fmla="*/ 212848 w 406175"/>
                <a:gd name="connsiteY19" fmla="*/ 163575 h 272788"/>
                <a:gd name="connsiteX20" fmla="*/ 212848 w 406175"/>
                <a:gd name="connsiteY20" fmla="*/ 119639 h 272788"/>
                <a:gd name="connsiteX21" fmla="*/ 197636 w 406175"/>
                <a:gd name="connsiteY21" fmla="*/ 120310 h 272788"/>
                <a:gd name="connsiteX22" fmla="*/ 192938 w 406175"/>
                <a:gd name="connsiteY22" fmla="*/ 142860 h 272788"/>
                <a:gd name="connsiteX23" fmla="*/ 169449 w 406175"/>
                <a:gd name="connsiteY23" fmla="*/ 145186 h 272788"/>
                <a:gd name="connsiteX24" fmla="*/ 167301 w 406175"/>
                <a:gd name="connsiteY24" fmla="*/ 123710 h 272788"/>
                <a:gd name="connsiteX25" fmla="*/ 156877 w 406175"/>
                <a:gd name="connsiteY25" fmla="*/ 125142 h 272788"/>
                <a:gd name="connsiteX26" fmla="*/ 150210 w 406175"/>
                <a:gd name="connsiteY26" fmla="*/ 126439 h 272788"/>
                <a:gd name="connsiteX27" fmla="*/ 147615 w 406175"/>
                <a:gd name="connsiteY27" fmla="*/ 163575 h 272788"/>
                <a:gd name="connsiteX28" fmla="*/ 141172 w 406175"/>
                <a:gd name="connsiteY28" fmla="*/ 164380 h 272788"/>
                <a:gd name="connsiteX29" fmla="*/ 141530 w 406175"/>
                <a:gd name="connsiteY29" fmla="*/ 112301 h 272788"/>
                <a:gd name="connsiteX30" fmla="*/ 124752 w 406175"/>
                <a:gd name="connsiteY30" fmla="*/ 142233 h 272788"/>
                <a:gd name="connsiteX31" fmla="*/ 91062 w 406175"/>
                <a:gd name="connsiteY31" fmla="*/ 142099 h 272788"/>
                <a:gd name="connsiteX32" fmla="*/ 92359 w 406175"/>
                <a:gd name="connsiteY32" fmla="*/ 123486 h 272788"/>
                <a:gd name="connsiteX33" fmla="*/ 82785 w 406175"/>
                <a:gd name="connsiteY33" fmla="*/ 120981 h 272788"/>
                <a:gd name="connsiteX34" fmla="*/ 81532 w 406175"/>
                <a:gd name="connsiteY34" fmla="*/ 163709 h 272788"/>
                <a:gd name="connsiteX35" fmla="*/ 136564 w 406175"/>
                <a:gd name="connsiteY35" fmla="*/ 164425 h 272788"/>
                <a:gd name="connsiteX36" fmla="*/ 142201 w 406175"/>
                <a:gd name="connsiteY36" fmla="*/ 188898 h 272788"/>
                <a:gd name="connsiteX37" fmla="*/ 105066 w 406175"/>
                <a:gd name="connsiteY37" fmla="*/ 193865 h 272788"/>
                <a:gd name="connsiteX38" fmla="*/ 109853 w 406175"/>
                <a:gd name="connsiteY38" fmla="*/ 206974 h 272788"/>
                <a:gd name="connsiteX39" fmla="*/ 36612 w 406175"/>
                <a:gd name="connsiteY39" fmla="*/ 269254 h 272788"/>
                <a:gd name="connsiteX40" fmla="*/ 1087 w 406175"/>
                <a:gd name="connsiteY40" fmla="*/ 272789 h 272788"/>
                <a:gd name="connsiteX41" fmla="*/ 639 w 406175"/>
                <a:gd name="connsiteY41" fmla="*/ 183127 h 272788"/>
                <a:gd name="connsiteX42" fmla="*/ 10169 w 406175"/>
                <a:gd name="connsiteY42" fmla="*/ 164246 h 272788"/>
                <a:gd name="connsiteX43" fmla="*/ 72136 w 406175"/>
                <a:gd name="connsiteY43" fmla="*/ 172344 h 272788"/>
                <a:gd name="connsiteX44" fmla="*/ 75134 w 406175"/>
                <a:gd name="connsiteY44" fmla="*/ 118028 h 272788"/>
                <a:gd name="connsiteX45" fmla="*/ 61622 w 406175"/>
                <a:gd name="connsiteY45" fmla="*/ 117267 h 272788"/>
                <a:gd name="connsiteX46" fmla="*/ 56656 w 406175"/>
                <a:gd name="connsiteY46" fmla="*/ 141651 h 272788"/>
                <a:gd name="connsiteX47" fmla="*/ 24621 w 406175"/>
                <a:gd name="connsiteY47" fmla="*/ 146081 h 272788"/>
                <a:gd name="connsiteX48" fmla="*/ 21310 w 406175"/>
                <a:gd name="connsiteY48" fmla="*/ 118878 h 272788"/>
                <a:gd name="connsiteX49" fmla="*/ 8424 w 406175"/>
                <a:gd name="connsiteY49" fmla="*/ 120086 h 272788"/>
                <a:gd name="connsiteX50" fmla="*/ 13883 w 406175"/>
                <a:gd name="connsiteY50" fmla="*/ 115254 h 272788"/>
                <a:gd name="connsiteX51" fmla="*/ 10393 w 406175"/>
                <a:gd name="connsiteY51" fmla="*/ 94539 h 272788"/>
                <a:gd name="connsiteX52" fmla="*/ 60190 w 406175"/>
                <a:gd name="connsiteY52" fmla="*/ 94852 h 272788"/>
                <a:gd name="connsiteX53" fmla="*/ 195354 w 406175"/>
                <a:gd name="connsiteY53" fmla="*/ 93733 h 272788"/>
                <a:gd name="connsiteX54" fmla="*/ 195981 w 406175"/>
                <a:gd name="connsiteY54" fmla="*/ 63891 h 272788"/>
                <a:gd name="connsiteX55" fmla="*/ 202781 w 406175"/>
                <a:gd name="connsiteY55" fmla="*/ 64025 h 272788"/>
                <a:gd name="connsiteX56" fmla="*/ 203273 w 406175"/>
                <a:gd name="connsiteY56" fmla="*/ 95344 h 272788"/>
                <a:gd name="connsiteX57" fmla="*/ 215577 w 406175"/>
                <a:gd name="connsiteY57" fmla="*/ 92883 h 272788"/>
                <a:gd name="connsiteX58" fmla="*/ 215443 w 406175"/>
                <a:gd name="connsiteY58" fmla="*/ 64428 h 272788"/>
                <a:gd name="connsiteX59" fmla="*/ 222020 w 406175"/>
                <a:gd name="connsiteY59" fmla="*/ 42818 h 272788"/>
                <a:gd name="connsiteX60" fmla="*/ 223228 w 406175"/>
                <a:gd name="connsiteY60" fmla="*/ 42952 h 272788"/>
                <a:gd name="connsiteX61" fmla="*/ 236382 w 406175"/>
                <a:gd name="connsiteY61" fmla="*/ 66799 h 272788"/>
                <a:gd name="connsiteX62" fmla="*/ 237322 w 406175"/>
                <a:gd name="connsiteY62" fmla="*/ 43623 h 272788"/>
                <a:gd name="connsiteX63" fmla="*/ 253071 w 406175"/>
                <a:gd name="connsiteY63" fmla="*/ 41610 h 272788"/>
                <a:gd name="connsiteX64" fmla="*/ 267164 w 406175"/>
                <a:gd name="connsiteY64" fmla="*/ 72481 h 272788"/>
                <a:gd name="connsiteX65" fmla="*/ 267343 w 406175"/>
                <a:gd name="connsiteY65" fmla="*/ 64428 h 272788"/>
                <a:gd name="connsiteX66" fmla="*/ 281347 w 406175"/>
                <a:gd name="connsiteY66" fmla="*/ 7427 h 272788"/>
                <a:gd name="connsiteX67" fmla="*/ 286493 w 406175"/>
                <a:gd name="connsiteY67" fmla="*/ 4206 h 27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06175" h="272788">
                  <a:moveTo>
                    <a:pt x="286537" y="4206"/>
                  </a:moveTo>
                  <a:cubicBezTo>
                    <a:pt x="288282" y="3177"/>
                    <a:pt x="291817" y="1119"/>
                    <a:pt x="293562" y="90"/>
                  </a:cubicBezTo>
                  <a:cubicBezTo>
                    <a:pt x="295530" y="25324"/>
                    <a:pt x="296201" y="50826"/>
                    <a:pt x="301884" y="75613"/>
                  </a:cubicBezTo>
                  <a:cubicBezTo>
                    <a:pt x="312353" y="76239"/>
                    <a:pt x="322867" y="75076"/>
                    <a:pt x="332710" y="71094"/>
                  </a:cubicBezTo>
                  <a:cubicBezTo>
                    <a:pt x="334276" y="71586"/>
                    <a:pt x="337453" y="72615"/>
                    <a:pt x="339064" y="73108"/>
                  </a:cubicBezTo>
                  <a:cubicBezTo>
                    <a:pt x="341167" y="71139"/>
                    <a:pt x="343046" y="68902"/>
                    <a:pt x="345238" y="66978"/>
                  </a:cubicBezTo>
                  <a:cubicBezTo>
                    <a:pt x="346625" y="45457"/>
                    <a:pt x="350607" y="24295"/>
                    <a:pt x="352889" y="2908"/>
                  </a:cubicBezTo>
                  <a:cubicBezTo>
                    <a:pt x="354589" y="2192"/>
                    <a:pt x="357989" y="716"/>
                    <a:pt x="359734" y="0"/>
                  </a:cubicBezTo>
                  <a:cubicBezTo>
                    <a:pt x="361837" y="8904"/>
                    <a:pt x="365685" y="17046"/>
                    <a:pt x="374007" y="21879"/>
                  </a:cubicBezTo>
                  <a:cubicBezTo>
                    <a:pt x="375394" y="26353"/>
                    <a:pt x="376781" y="30872"/>
                    <a:pt x="378168" y="35435"/>
                  </a:cubicBezTo>
                  <a:cubicBezTo>
                    <a:pt x="382687" y="48903"/>
                    <a:pt x="384834" y="67649"/>
                    <a:pt x="402820" y="68678"/>
                  </a:cubicBezTo>
                  <a:lnTo>
                    <a:pt x="404073" y="73331"/>
                  </a:lnTo>
                  <a:cubicBezTo>
                    <a:pt x="405594" y="82101"/>
                    <a:pt x="405818" y="91049"/>
                    <a:pt x="406176" y="99997"/>
                  </a:cubicBezTo>
                  <a:cubicBezTo>
                    <a:pt x="397451" y="102324"/>
                    <a:pt x="388727" y="104785"/>
                    <a:pt x="380002" y="106977"/>
                  </a:cubicBezTo>
                  <a:cubicBezTo>
                    <a:pt x="363850" y="109930"/>
                    <a:pt x="348236" y="116283"/>
                    <a:pt x="331681" y="116194"/>
                  </a:cubicBezTo>
                  <a:cubicBezTo>
                    <a:pt x="317767" y="113599"/>
                    <a:pt x="305597" y="104919"/>
                    <a:pt x="291369" y="103934"/>
                  </a:cubicBezTo>
                  <a:cubicBezTo>
                    <a:pt x="268775" y="103398"/>
                    <a:pt x="243138" y="108766"/>
                    <a:pt x="230208" y="129213"/>
                  </a:cubicBezTo>
                  <a:cubicBezTo>
                    <a:pt x="219470" y="141472"/>
                    <a:pt x="221125" y="158564"/>
                    <a:pt x="219246" y="173642"/>
                  </a:cubicBezTo>
                  <a:cubicBezTo>
                    <a:pt x="208150" y="171136"/>
                    <a:pt x="197144" y="168138"/>
                    <a:pt x="186182" y="165230"/>
                  </a:cubicBezTo>
                  <a:cubicBezTo>
                    <a:pt x="195041" y="164693"/>
                    <a:pt x="203945" y="164112"/>
                    <a:pt x="212848" y="163575"/>
                  </a:cubicBezTo>
                  <a:cubicBezTo>
                    <a:pt x="213385" y="148900"/>
                    <a:pt x="213475" y="134269"/>
                    <a:pt x="212848" y="119639"/>
                  </a:cubicBezTo>
                  <a:cubicBezTo>
                    <a:pt x="209045" y="119818"/>
                    <a:pt x="201439" y="120131"/>
                    <a:pt x="197636" y="120310"/>
                  </a:cubicBezTo>
                  <a:cubicBezTo>
                    <a:pt x="196249" y="127826"/>
                    <a:pt x="195354" y="135522"/>
                    <a:pt x="192938" y="142860"/>
                  </a:cubicBezTo>
                  <a:cubicBezTo>
                    <a:pt x="185153" y="144202"/>
                    <a:pt x="177279" y="144604"/>
                    <a:pt x="169449" y="145186"/>
                  </a:cubicBezTo>
                  <a:cubicBezTo>
                    <a:pt x="168733" y="137983"/>
                    <a:pt x="168151" y="130824"/>
                    <a:pt x="167301" y="123710"/>
                  </a:cubicBezTo>
                  <a:cubicBezTo>
                    <a:pt x="164706" y="124068"/>
                    <a:pt x="159472" y="124784"/>
                    <a:pt x="156877" y="125142"/>
                  </a:cubicBezTo>
                  <a:cubicBezTo>
                    <a:pt x="155176" y="125500"/>
                    <a:pt x="151865" y="126126"/>
                    <a:pt x="150210" y="126439"/>
                  </a:cubicBezTo>
                  <a:cubicBezTo>
                    <a:pt x="149360" y="138833"/>
                    <a:pt x="149718" y="151316"/>
                    <a:pt x="147615" y="163575"/>
                  </a:cubicBezTo>
                  <a:lnTo>
                    <a:pt x="141172" y="164380"/>
                  </a:lnTo>
                  <a:cubicBezTo>
                    <a:pt x="141307" y="147021"/>
                    <a:pt x="141799" y="129661"/>
                    <a:pt x="141530" y="112301"/>
                  </a:cubicBezTo>
                  <a:cubicBezTo>
                    <a:pt x="125647" y="113285"/>
                    <a:pt x="127839" y="130690"/>
                    <a:pt x="124752" y="142233"/>
                  </a:cubicBezTo>
                  <a:cubicBezTo>
                    <a:pt x="113477" y="142412"/>
                    <a:pt x="102247" y="142367"/>
                    <a:pt x="91062" y="142099"/>
                  </a:cubicBezTo>
                  <a:cubicBezTo>
                    <a:pt x="91464" y="135880"/>
                    <a:pt x="91912" y="129661"/>
                    <a:pt x="92359" y="123486"/>
                  </a:cubicBezTo>
                  <a:cubicBezTo>
                    <a:pt x="89988" y="122860"/>
                    <a:pt x="85201" y="121607"/>
                    <a:pt x="82785" y="120981"/>
                  </a:cubicBezTo>
                  <a:cubicBezTo>
                    <a:pt x="82203" y="135209"/>
                    <a:pt x="81621" y="149437"/>
                    <a:pt x="81532" y="163709"/>
                  </a:cubicBezTo>
                  <a:cubicBezTo>
                    <a:pt x="99831" y="164246"/>
                    <a:pt x="118220" y="164156"/>
                    <a:pt x="136564" y="164425"/>
                  </a:cubicBezTo>
                  <a:cubicBezTo>
                    <a:pt x="138398" y="172568"/>
                    <a:pt x="140277" y="180756"/>
                    <a:pt x="142201" y="188898"/>
                  </a:cubicBezTo>
                  <a:cubicBezTo>
                    <a:pt x="130121" y="192388"/>
                    <a:pt x="117594" y="193865"/>
                    <a:pt x="105066" y="193865"/>
                  </a:cubicBezTo>
                  <a:cubicBezTo>
                    <a:pt x="106632" y="198205"/>
                    <a:pt x="108243" y="202589"/>
                    <a:pt x="109853" y="206974"/>
                  </a:cubicBezTo>
                  <a:cubicBezTo>
                    <a:pt x="86319" y="228808"/>
                    <a:pt x="58177" y="245138"/>
                    <a:pt x="36612" y="269254"/>
                  </a:cubicBezTo>
                  <a:cubicBezTo>
                    <a:pt x="25426" y="273057"/>
                    <a:pt x="12809" y="271715"/>
                    <a:pt x="1087" y="272789"/>
                  </a:cubicBezTo>
                  <a:cubicBezTo>
                    <a:pt x="953" y="242901"/>
                    <a:pt x="-971" y="212969"/>
                    <a:pt x="639" y="183127"/>
                  </a:cubicBezTo>
                  <a:cubicBezTo>
                    <a:pt x="505" y="175521"/>
                    <a:pt x="6187" y="170018"/>
                    <a:pt x="10169" y="164246"/>
                  </a:cubicBezTo>
                  <a:cubicBezTo>
                    <a:pt x="30706" y="168138"/>
                    <a:pt x="54911" y="157222"/>
                    <a:pt x="72136" y="172344"/>
                  </a:cubicBezTo>
                  <a:cubicBezTo>
                    <a:pt x="69139" y="154179"/>
                    <a:pt x="72047" y="135925"/>
                    <a:pt x="75134" y="118028"/>
                  </a:cubicBezTo>
                  <a:cubicBezTo>
                    <a:pt x="71734" y="117849"/>
                    <a:pt x="65022" y="117446"/>
                    <a:pt x="61622" y="117267"/>
                  </a:cubicBezTo>
                  <a:cubicBezTo>
                    <a:pt x="60190" y="125410"/>
                    <a:pt x="59116" y="133687"/>
                    <a:pt x="56656" y="141651"/>
                  </a:cubicBezTo>
                  <a:cubicBezTo>
                    <a:pt x="46813" y="146305"/>
                    <a:pt x="35180" y="144694"/>
                    <a:pt x="24621" y="146081"/>
                  </a:cubicBezTo>
                  <a:cubicBezTo>
                    <a:pt x="23413" y="136998"/>
                    <a:pt x="22294" y="127916"/>
                    <a:pt x="21310" y="118878"/>
                  </a:cubicBezTo>
                  <a:cubicBezTo>
                    <a:pt x="18089" y="119191"/>
                    <a:pt x="11646" y="119818"/>
                    <a:pt x="8424" y="120086"/>
                  </a:cubicBezTo>
                  <a:cubicBezTo>
                    <a:pt x="9811" y="118878"/>
                    <a:pt x="12541" y="116462"/>
                    <a:pt x="13883" y="115254"/>
                  </a:cubicBezTo>
                  <a:cubicBezTo>
                    <a:pt x="12362" y="108409"/>
                    <a:pt x="11019" y="101474"/>
                    <a:pt x="10393" y="94539"/>
                  </a:cubicBezTo>
                  <a:cubicBezTo>
                    <a:pt x="26992" y="94628"/>
                    <a:pt x="43591" y="94449"/>
                    <a:pt x="60190" y="94852"/>
                  </a:cubicBezTo>
                  <a:cubicBezTo>
                    <a:pt x="105200" y="96463"/>
                    <a:pt x="150344" y="96015"/>
                    <a:pt x="195354" y="93733"/>
                  </a:cubicBezTo>
                  <a:cubicBezTo>
                    <a:pt x="195533" y="83756"/>
                    <a:pt x="195757" y="73823"/>
                    <a:pt x="195981" y="63891"/>
                  </a:cubicBezTo>
                  <a:lnTo>
                    <a:pt x="202781" y="64025"/>
                  </a:lnTo>
                  <a:cubicBezTo>
                    <a:pt x="203005" y="74450"/>
                    <a:pt x="203094" y="84919"/>
                    <a:pt x="203273" y="95344"/>
                  </a:cubicBezTo>
                  <a:cubicBezTo>
                    <a:pt x="206316" y="94763"/>
                    <a:pt x="212490" y="93510"/>
                    <a:pt x="215577" y="92883"/>
                  </a:cubicBezTo>
                  <a:cubicBezTo>
                    <a:pt x="216383" y="83398"/>
                    <a:pt x="215309" y="73913"/>
                    <a:pt x="215443" y="64428"/>
                  </a:cubicBezTo>
                  <a:cubicBezTo>
                    <a:pt x="217278" y="57090"/>
                    <a:pt x="219649" y="49931"/>
                    <a:pt x="222020" y="42818"/>
                  </a:cubicBezTo>
                  <a:lnTo>
                    <a:pt x="223228" y="42952"/>
                  </a:lnTo>
                  <a:cubicBezTo>
                    <a:pt x="226360" y="51497"/>
                    <a:pt x="228373" y="61206"/>
                    <a:pt x="236382" y="66799"/>
                  </a:cubicBezTo>
                  <a:cubicBezTo>
                    <a:pt x="236785" y="59059"/>
                    <a:pt x="237098" y="51318"/>
                    <a:pt x="237322" y="43623"/>
                  </a:cubicBezTo>
                  <a:cubicBezTo>
                    <a:pt x="242556" y="42997"/>
                    <a:pt x="247791" y="42370"/>
                    <a:pt x="253071" y="41610"/>
                  </a:cubicBezTo>
                  <a:cubicBezTo>
                    <a:pt x="257097" y="52169"/>
                    <a:pt x="262153" y="62280"/>
                    <a:pt x="267164" y="72481"/>
                  </a:cubicBezTo>
                  <a:cubicBezTo>
                    <a:pt x="267164" y="69752"/>
                    <a:pt x="267254" y="67068"/>
                    <a:pt x="267343" y="64428"/>
                  </a:cubicBezTo>
                  <a:cubicBezTo>
                    <a:pt x="275128" y="45502"/>
                    <a:pt x="262690" y="21565"/>
                    <a:pt x="281347" y="7427"/>
                  </a:cubicBezTo>
                  <a:lnTo>
                    <a:pt x="286493" y="4206"/>
                  </a:lnTo>
                  <a:close/>
                </a:path>
              </a:pathLst>
            </a:custGeom>
            <a:solidFill>
              <a:srgbClr val="37549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B353FA5C-4B9E-8D94-7E5E-5E5A642A4B26}"/>
                </a:ext>
              </a:extLst>
            </p:cNvPr>
            <p:cNvSpPr/>
            <p:nvPr/>
          </p:nvSpPr>
          <p:spPr>
            <a:xfrm flipH="1">
              <a:off x="3265512" y="3043696"/>
              <a:ext cx="195857" cy="69153"/>
            </a:xfrm>
            <a:custGeom>
              <a:avLst/>
              <a:gdLst>
                <a:gd name="connsiteX0" fmla="*/ 3177 w 164201"/>
                <a:gd name="connsiteY0" fmla="*/ 1333 h 57976"/>
                <a:gd name="connsiteX1" fmla="*/ 103487 w 164201"/>
                <a:gd name="connsiteY1" fmla="*/ 3749 h 57976"/>
                <a:gd name="connsiteX2" fmla="*/ 97268 w 164201"/>
                <a:gd name="connsiteY2" fmla="*/ 28178 h 57976"/>
                <a:gd name="connsiteX3" fmla="*/ 138654 w 164201"/>
                <a:gd name="connsiteY3" fmla="*/ 28760 h 57976"/>
                <a:gd name="connsiteX4" fmla="*/ 133553 w 164201"/>
                <a:gd name="connsiteY4" fmla="*/ 1960 h 57976"/>
                <a:gd name="connsiteX5" fmla="*/ 123621 w 164201"/>
                <a:gd name="connsiteY5" fmla="*/ 2899 h 57976"/>
                <a:gd name="connsiteX6" fmla="*/ 163530 w 164201"/>
                <a:gd name="connsiteY6" fmla="*/ 36 h 57976"/>
                <a:gd name="connsiteX7" fmla="*/ 164201 w 164201"/>
                <a:gd name="connsiteY7" fmla="*/ 28939 h 57976"/>
                <a:gd name="connsiteX8" fmla="*/ 147423 w 164201"/>
                <a:gd name="connsiteY8" fmla="*/ 32473 h 57976"/>
                <a:gd name="connsiteX9" fmla="*/ 149481 w 164201"/>
                <a:gd name="connsiteY9" fmla="*/ 57752 h 57976"/>
                <a:gd name="connsiteX10" fmla="*/ 144962 w 164201"/>
                <a:gd name="connsiteY10" fmla="*/ 51936 h 57976"/>
                <a:gd name="connsiteX11" fmla="*/ 136685 w 164201"/>
                <a:gd name="connsiteY11" fmla="*/ 56410 h 57976"/>
                <a:gd name="connsiteX12" fmla="*/ 129571 w 164201"/>
                <a:gd name="connsiteY12" fmla="*/ 57976 h 57976"/>
                <a:gd name="connsiteX13" fmla="*/ 142188 w 164201"/>
                <a:gd name="connsiteY13" fmla="*/ 37574 h 57976"/>
                <a:gd name="connsiteX14" fmla="*/ 126305 w 164201"/>
                <a:gd name="connsiteY14" fmla="*/ 35426 h 57976"/>
                <a:gd name="connsiteX15" fmla="*/ 0 w 164201"/>
                <a:gd name="connsiteY15" fmla="*/ 32384 h 57976"/>
                <a:gd name="connsiteX16" fmla="*/ 3177 w 164201"/>
                <a:gd name="connsiteY16" fmla="*/ 1333 h 57976"/>
                <a:gd name="connsiteX17" fmla="*/ 7338 w 164201"/>
                <a:gd name="connsiteY17" fmla="*/ 2899 h 57976"/>
                <a:gd name="connsiteX18" fmla="*/ 6130 w 164201"/>
                <a:gd name="connsiteY18" fmla="*/ 31489 h 57976"/>
                <a:gd name="connsiteX19" fmla="*/ 28858 w 164201"/>
                <a:gd name="connsiteY19" fmla="*/ 29700 h 57976"/>
                <a:gd name="connsiteX20" fmla="*/ 31230 w 164201"/>
                <a:gd name="connsiteY20" fmla="*/ 6792 h 57976"/>
                <a:gd name="connsiteX21" fmla="*/ 7338 w 164201"/>
                <a:gd name="connsiteY21" fmla="*/ 2899 h 57976"/>
                <a:gd name="connsiteX22" fmla="*/ 32840 w 164201"/>
                <a:gd name="connsiteY22" fmla="*/ 4600 h 57976"/>
                <a:gd name="connsiteX23" fmla="*/ 42057 w 164201"/>
                <a:gd name="connsiteY23" fmla="*/ 31981 h 57976"/>
                <a:gd name="connsiteX24" fmla="*/ 43444 w 164201"/>
                <a:gd name="connsiteY24" fmla="*/ 3123 h 57976"/>
                <a:gd name="connsiteX25" fmla="*/ 32840 w 164201"/>
                <a:gd name="connsiteY25" fmla="*/ 4600 h 57976"/>
                <a:gd name="connsiteX26" fmla="*/ 54182 w 164201"/>
                <a:gd name="connsiteY26" fmla="*/ 1065 h 57976"/>
                <a:gd name="connsiteX27" fmla="*/ 48008 w 164201"/>
                <a:gd name="connsiteY27" fmla="*/ 30326 h 57976"/>
                <a:gd name="connsiteX28" fmla="*/ 87962 w 164201"/>
                <a:gd name="connsiteY28" fmla="*/ 30460 h 57976"/>
                <a:gd name="connsiteX29" fmla="*/ 87201 w 164201"/>
                <a:gd name="connsiteY29" fmla="*/ 4868 h 57976"/>
                <a:gd name="connsiteX30" fmla="*/ 55748 w 164201"/>
                <a:gd name="connsiteY30" fmla="*/ 5584 h 57976"/>
                <a:gd name="connsiteX31" fmla="*/ 54182 w 164201"/>
                <a:gd name="connsiteY31" fmla="*/ 1065 h 57976"/>
                <a:gd name="connsiteX32" fmla="*/ 143710 w 164201"/>
                <a:gd name="connsiteY32" fmla="*/ 2005 h 57976"/>
                <a:gd name="connsiteX33" fmla="*/ 144873 w 164201"/>
                <a:gd name="connsiteY33" fmla="*/ 22630 h 57976"/>
                <a:gd name="connsiteX34" fmla="*/ 156864 w 164201"/>
                <a:gd name="connsiteY34" fmla="*/ 29476 h 57976"/>
                <a:gd name="connsiteX35" fmla="*/ 162233 w 164201"/>
                <a:gd name="connsiteY35" fmla="*/ 1870 h 57976"/>
                <a:gd name="connsiteX36" fmla="*/ 143710 w 164201"/>
                <a:gd name="connsiteY36" fmla="*/ 2005 h 5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4201" h="57976">
                  <a:moveTo>
                    <a:pt x="3177" y="1333"/>
                  </a:moveTo>
                  <a:cubicBezTo>
                    <a:pt x="36599" y="260"/>
                    <a:pt x="70334" y="-1709"/>
                    <a:pt x="103487" y="3749"/>
                  </a:cubicBezTo>
                  <a:cubicBezTo>
                    <a:pt x="101340" y="11848"/>
                    <a:pt x="99281" y="20035"/>
                    <a:pt x="97268" y="28178"/>
                  </a:cubicBezTo>
                  <a:cubicBezTo>
                    <a:pt x="111048" y="28134"/>
                    <a:pt x="124873" y="28313"/>
                    <a:pt x="138654" y="28760"/>
                  </a:cubicBezTo>
                  <a:cubicBezTo>
                    <a:pt x="138162" y="19633"/>
                    <a:pt x="137133" y="10461"/>
                    <a:pt x="133553" y="1960"/>
                  </a:cubicBezTo>
                  <a:cubicBezTo>
                    <a:pt x="131093" y="2184"/>
                    <a:pt x="126126" y="2676"/>
                    <a:pt x="123621" y="2899"/>
                  </a:cubicBezTo>
                  <a:cubicBezTo>
                    <a:pt x="136819" y="618"/>
                    <a:pt x="150152" y="-188"/>
                    <a:pt x="163530" y="36"/>
                  </a:cubicBezTo>
                  <a:cubicBezTo>
                    <a:pt x="163754" y="9655"/>
                    <a:pt x="163978" y="19275"/>
                    <a:pt x="164201" y="28939"/>
                  </a:cubicBezTo>
                  <a:cubicBezTo>
                    <a:pt x="158564" y="30013"/>
                    <a:pt x="152971" y="31221"/>
                    <a:pt x="147423" y="32473"/>
                  </a:cubicBezTo>
                  <a:cubicBezTo>
                    <a:pt x="148139" y="40885"/>
                    <a:pt x="148810" y="49296"/>
                    <a:pt x="149481" y="57752"/>
                  </a:cubicBezTo>
                  <a:cubicBezTo>
                    <a:pt x="148363" y="56321"/>
                    <a:pt x="146081" y="53412"/>
                    <a:pt x="144962" y="51936"/>
                  </a:cubicBezTo>
                  <a:cubicBezTo>
                    <a:pt x="142188" y="53457"/>
                    <a:pt x="139414" y="54934"/>
                    <a:pt x="136685" y="56410"/>
                  </a:cubicBezTo>
                  <a:cubicBezTo>
                    <a:pt x="134896" y="56813"/>
                    <a:pt x="131316" y="57573"/>
                    <a:pt x="129571" y="57976"/>
                  </a:cubicBezTo>
                  <a:cubicBezTo>
                    <a:pt x="133777" y="51175"/>
                    <a:pt x="137983" y="44330"/>
                    <a:pt x="142188" y="37574"/>
                  </a:cubicBezTo>
                  <a:cubicBezTo>
                    <a:pt x="136909" y="36724"/>
                    <a:pt x="131585" y="36008"/>
                    <a:pt x="126305" y="35426"/>
                  </a:cubicBezTo>
                  <a:cubicBezTo>
                    <a:pt x="84382" y="29476"/>
                    <a:pt x="42012" y="36366"/>
                    <a:pt x="0" y="32384"/>
                  </a:cubicBezTo>
                  <a:cubicBezTo>
                    <a:pt x="1521" y="22093"/>
                    <a:pt x="2640" y="11713"/>
                    <a:pt x="3177" y="1333"/>
                  </a:cubicBezTo>
                  <a:close/>
                  <a:moveTo>
                    <a:pt x="7338" y="2899"/>
                  </a:moveTo>
                  <a:cubicBezTo>
                    <a:pt x="6890" y="12429"/>
                    <a:pt x="6488" y="21959"/>
                    <a:pt x="6130" y="31489"/>
                  </a:cubicBezTo>
                  <a:cubicBezTo>
                    <a:pt x="13691" y="30863"/>
                    <a:pt x="21297" y="30281"/>
                    <a:pt x="28858" y="29700"/>
                  </a:cubicBezTo>
                  <a:cubicBezTo>
                    <a:pt x="29664" y="22049"/>
                    <a:pt x="30424" y="14398"/>
                    <a:pt x="31230" y="6792"/>
                  </a:cubicBezTo>
                  <a:cubicBezTo>
                    <a:pt x="23400" y="4779"/>
                    <a:pt x="15391" y="3481"/>
                    <a:pt x="7338" y="2899"/>
                  </a:cubicBezTo>
                  <a:close/>
                  <a:moveTo>
                    <a:pt x="32840" y="4600"/>
                  </a:moveTo>
                  <a:cubicBezTo>
                    <a:pt x="31945" y="14398"/>
                    <a:pt x="31140" y="27507"/>
                    <a:pt x="42057" y="31981"/>
                  </a:cubicBezTo>
                  <a:cubicBezTo>
                    <a:pt x="42728" y="22362"/>
                    <a:pt x="43086" y="12742"/>
                    <a:pt x="43444" y="3123"/>
                  </a:cubicBezTo>
                  <a:cubicBezTo>
                    <a:pt x="40804" y="3481"/>
                    <a:pt x="35480" y="4197"/>
                    <a:pt x="32840" y="4600"/>
                  </a:cubicBezTo>
                  <a:close/>
                  <a:moveTo>
                    <a:pt x="54182" y="1065"/>
                  </a:moveTo>
                  <a:cubicBezTo>
                    <a:pt x="51855" y="10729"/>
                    <a:pt x="49842" y="20527"/>
                    <a:pt x="48008" y="30326"/>
                  </a:cubicBezTo>
                  <a:cubicBezTo>
                    <a:pt x="61296" y="30326"/>
                    <a:pt x="74629" y="30415"/>
                    <a:pt x="87962" y="30460"/>
                  </a:cubicBezTo>
                  <a:cubicBezTo>
                    <a:pt x="87559" y="21914"/>
                    <a:pt x="87246" y="13369"/>
                    <a:pt x="87201" y="4868"/>
                  </a:cubicBezTo>
                  <a:cubicBezTo>
                    <a:pt x="76687" y="4600"/>
                    <a:pt x="66217" y="4958"/>
                    <a:pt x="55748" y="5584"/>
                  </a:cubicBezTo>
                  <a:lnTo>
                    <a:pt x="54182" y="1065"/>
                  </a:lnTo>
                  <a:close/>
                  <a:moveTo>
                    <a:pt x="143710" y="2005"/>
                  </a:moveTo>
                  <a:cubicBezTo>
                    <a:pt x="144112" y="8850"/>
                    <a:pt x="144470" y="15740"/>
                    <a:pt x="144873" y="22630"/>
                  </a:cubicBezTo>
                  <a:cubicBezTo>
                    <a:pt x="147871" y="24331"/>
                    <a:pt x="153866" y="27776"/>
                    <a:pt x="156864" y="29476"/>
                  </a:cubicBezTo>
                  <a:cubicBezTo>
                    <a:pt x="158698" y="20259"/>
                    <a:pt x="160532" y="11087"/>
                    <a:pt x="162233" y="1870"/>
                  </a:cubicBezTo>
                  <a:cubicBezTo>
                    <a:pt x="157579" y="1870"/>
                    <a:pt x="148363" y="1960"/>
                    <a:pt x="143710" y="2005"/>
                  </a:cubicBezTo>
                  <a:close/>
                </a:path>
              </a:pathLst>
            </a:custGeom>
            <a:solidFill>
              <a:srgbClr val="4D7F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46F9B0C1-DA8F-F363-744E-F6ECA1F65401}"/>
                </a:ext>
              </a:extLst>
            </p:cNvPr>
            <p:cNvSpPr/>
            <p:nvPr/>
          </p:nvSpPr>
          <p:spPr>
            <a:xfrm flipH="1">
              <a:off x="3850683" y="3050221"/>
              <a:ext cx="108548" cy="9432"/>
            </a:xfrm>
            <a:custGeom>
              <a:avLst/>
              <a:gdLst>
                <a:gd name="connsiteX0" fmla="*/ 0 w 91004"/>
                <a:gd name="connsiteY0" fmla="*/ 6018 h 7908"/>
                <a:gd name="connsiteX1" fmla="*/ 87917 w 91004"/>
                <a:gd name="connsiteY1" fmla="*/ 605 h 7908"/>
                <a:gd name="connsiteX2" fmla="*/ 91004 w 91004"/>
                <a:gd name="connsiteY2" fmla="*/ 6510 h 7908"/>
                <a:gd name="connsiteX3" fmla="*/ 0 w 91004"/>
                <a:gd name="connsiteY3" fmla="*/ 6018 h 7908"/>
              </a:gdLst>
              <a:ahLst/>
              <a:cxnLst>
                <a:cxn ang="0">
                  <a:pos x="connsiteX0" y="connsiteY0"/>
                </a:cxn>
                <a:cxn ang="0">
                  <a:pos x="connsiteX1" y="connsiteY1"/>
                </a:cxn>
                <a:cxn ang="0">
                  <a:pos x="connsiteX2" y="connsiteY2"/>
                </a:cxn>
                <a:cxn ang="0">
                  <a:pos x="connsiteX3" y="connsiteY3"/>
                </a:cxn>
              </a:cxnLst>
              <a:rect l="l" t="t" r="r" b="b"/>
              <a:pathLst>
                <a:path w="91004" h="7908">
                  <a:moveTo>
                    <a:pt x="0" y="6018"/>
                  </a:moveTo>
                  <a:cubicBezTo>
                    <a:pt x="27919" y="-4541"/>
                    <a:pt x="58746" y="2394"/>
                    <a:pt x="87917" y="605"/>
                  </a:cubicBezTo>
                  <a:cubicBezTo>
                    <a:pt x="88677" y="2081"/>
                    <a:pt x="90243" y="5034"/>
                    <a:pt x="91004" y="6510"/>
                  </a:cubicBezTo>
                  <a:cubicBezTo>
                    <a:pt x="60669" y="8211"/>
                    <a:pt x="30290" y="8703"/>
                    <a:pt x="0" y="6018"/>
                  </a:cubicBezTo>
                  <a:close/>
                </a:path>
              </a:pathLst>
            </a:custGeom>
            <a:solidFill>
              <a:srgbClr val="ABC2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A1C4B6D6-CEDB-100C-57E3-53829ACB609D}"/>
                </a:ext>
              </a:extLst>
            </p:cNvPr>
            <p:cNvSpPr/>
            <p:nvPr/>
          </p:nvSpPr>
          <p:spPr>
            <a:xfrm flipH="1">
              <a:off x="2923694" y="3161424"/>
              <a:ext cx="270945" cy="68032"/>
            </a:xfrm>
            <a:custGeom>
              <a:avLst/>
              <a:gdLst>
                <a:gd name="connsiteX0" fmla="*/ 0 w 227152"/>
                <a:gd name="connsiteY0" fmla="*/ 25315 h 57036"/>
                <a:gd name="connsiteX1" fmla="*/ 61162 w 227152"/>
                <a:gd name="connsiteY1" fmla="*/ 36 h 57036"/>
                <a:gd name="connsiteX2" fmla="*/ 101474 w 227152"/>
                <a:gd name="connsiteY2" fmla="*/ 12295 h 57036"/>
                <a:gd name="connsiteX3" fmla="*/ 149794 w 227152"/>
                <a:gd name="connsiteY3" fmla="*/ 3078 h 57036"/>
                <a:gd name="connsiteX4" fmla="*/ 227152 w 227152"/>
                <a:gd name="connsiteY4" fmla="*/ 5807 h 57036"/>
                <a:gd name="connsiteX5" fmla="*/ 138788 w 227152"/>
                <a:gd name="connsiteY5" fmla="*/ 10550 h 57036"/>
                <a:gd name="connsiteX6" fmla="*/ 105635 w 227152"/>
                <a:gd name="connsiteY6" fmla="*/ 16322 h 57036"/>
                <a:gd name="connsiteX7" fmla="*/ 62280 w 227152"/>
                <a:gd name="connsiteY7" fmla="*/ 4510 h 57036"/>
                <a:gd name="connsiteX8" fmla="*/ 3356 w 227152"/>
                <a:gd name="connsiteY8" fmla="*/ 24778 h 57036"/>
                <a:gd name="connsiteX9" fmla="*/ 5101 w 227152"/>
                <a:gd name="connsiteY9" fmla="*/ 48670 h 57036"/>
                <a:gd name="connsiteX10" fmla="*/ 5593 w 227152"/>
                <a:gd name="connsiteY10" fmla="*/ 57036 h 57036"/>
                <a:gd name="connsiteX11" fmla="*/ 0 w 227152"/>
                <a:gd name="connsiteY11" fmla="*/ 25315 h 5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152" h="57036">
                  <a:moveTo>
                    <a:pt x="0" y="25315"/>
                  </a:moveTo>
                  <a:cubicBezTo>
                    <a:pt x="12930" y="4868"/>
                    <a:pt x="38567" y="-501"/>
                    <a:pt x="61162" y="36"/>
                  </a:cubicBezTo>
                  <a:cubicBezTo>
                    <a:pt x="75389" y="1020"/>
                    <a:pt x="87559" y="9700"/>
                    <a:pt x="101474" y="12295"/>
                  </a:cubicBezTo>
                  <a:cubicBezTo>
                    <a:pt x="118028" y="12384"/>
                    <a:pt x="133643" y="6031"/>
                    <a:pt x="149794" y="3078"/>
                  </a:cubicBezTo>
                  <a:cubicBezTo>
                    <a:pt x="175565" y="3749"/>
                    <a:pt x="201337" y="5315"/>
                    <a:pt x="227152" y="5807"/>
                  </a:cubicBezTo>
                  <a:cubicBezTo>
                    <a:pt x="197757" y="7910"/>
                    <a:pt x="167780" y="4241"/>
                    <a:pt x="138788" y="10550"/>
                  </a:cubicBezTo>
                  <a:cubicBezTo>
                    <a:pt x="127871" y="13056"/>
                    <a:pt x="116909" y="16098"/>
                    <a:pt x="105635" y="16322"/>
                  </a:cubicBezTo>
                  <a:cubicBezTo>
                    <a:pt x="90512" y="15158"/>
                    <a:pt x="77492" y="5092"/>
                    <a:pt x="62280" y="4510"/>
                  </a:cubicBezTo>
                  <a:cubicBezTo>
                    <a:pt x="41162" y="5181"/>
                    <a:pt x="19731" y="10953"/>
                    <a:pt x="3356" y="24778"/>
                  </a:cubicBezTo>
                  <a:cubicBezTo>
                    <a:pt x="3982" y="32697"/>
                    <a:pt x="4564" y="40661"/>
                    <a:pt x="5101" y="48670"/>
                  </a:cubicBezTo>
                  <a:cubicBezTo>
                    <a:pt x="5235" y="50773"/>
                    <a:pt x="5458" y="54934"/>
                    <a:pt x="5593" y="57036"/>
                  </a:cubicBezTo>
                  <a:cubicBezTo>
                    <a:pt x="3714" y="46433"/>
                    <a:pt x="1924" y="35874"/>
                    <a:pt x="0" y="25315"/>
                  </a:cubicBezTo>
                  <a:close/>
                </a:path>
              </a:pathLst>
            </a:custGeom>
            <a:solidFill>
              <a:srgbClr val="ABC2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Freeform: Shape 106">
              <a:extLst>
                <a:ext uri="{FF2B5EF4-FFF2-40B4-BE49-F238E27FC236}">
                  <a16:creationId xmlns:a16="http://schemas.microsoft.com/office/drawing/2014/main" id="{C8809479-FC3B-ABCC-3F86-FF42951F9742}"/>
                </a:ext>
              </a:extLst>
            </p:cNvPr>
            <p:cNvSpPr/>
            <p:nvPr/>
          </p:nvSpPr>
          <p:spPr>
            <a:xfrm flipH="1">
              <a:off x="2487629" y="5428400"/>
              <a:ext cx="1705509" cy="85736"/>
            </a:xfrm>
            <a:custGeom>
              <a:avLst/>
              <a:gdLst>
                <a:gd name="connsiteX0" fmla="*/ 34764 w 1429847"/>
                <a:gd name="connsiteY0" fmla="*/ 537 h 71878"/>
                <a:gd name="connsiteX1" fmla="*/ 157400 w 1429847"/>
                <a:gd name="connsiteY1" fmla="*/ 0 h 71878"/>
                <a:gd name="connsiteX2" fmla="*/ 1164933 w 1429847"/>
                <a:gd name="connsiteY2" fmla="*/ 4609 h 71878"/>
                <a:gd name="connsiteX3" fmla="*/ 1326629 w 1429847"/>
                <a:gd name="connsiteY3" fmla="*/ 4206 h 71878"/>
                <a:gd name="connsiteX4" fmla="*/ 1333206 w 1429847"/>
                <a:gd name="connsiteY4" fmla="*/ 4385 h 71878"/>
                <a:gd name="connsiteX5" fmla="*/ 1346852 w 1429847"/>
                <a:gd name="connsiteY5" fmla="*/ 4787 h 71878"/>
                <a:gd name="connsiteX6" fmla="*/ 1412846 w 1429847"/>
                <a:gd name="connsiteY6" fmla="*/ 5145 h 71878"/>
                <a:gd name="connsiteX7" fmla="*/ 1429847 w 1429847"/>
                <a:gd name="connsiteY7" fmla="*/ 70468 h 71878"/>
                <a:gd name="connsiteX8" fmla="*/ 562624 w 1429847"/>
                <a:gd name="connsiteY8" fmla="*/ 71631 h 71878"/>
                <a:gd name="connsiteX9" fmla="*/ 297933 w 1429847"/>
                <a:gd name="connsiteY9" fmla="*/ 71676 h 71878"/>
                <a:gd name="connsiteX10" fmla="*/ 0 w 1429847"/>
                <a:gd name="connsiteY10" fmla="*/ 69797 h 71878"/>
                <a:gd name="connsiteX11" fmla="*/ 34764 w 1429847"/>
                <a:gd name="connsiteY11" fmla="*/ 537 h 7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9847" h="71878">
                  <a:moveTo>
                    <a:pt x="34764" y="537"/>
                  </a:moveTo>
                  <a:cubicBezTo>
                    <a:pt x="75658" y="984"/>
                    <a:pt x="116552" y="179"/>
                    <a:pt x="157400" y="0"/>
                  </a:cubicBezTo>
                  <a:cubicBezTo>
                    <a:pt x="493230" y="3445"/>
                    <a:pt x="829104" y="3534"/>
                    <a:pt x="1164933" y="4609"/>
                  </a:cubicBezTo>
                  <a:cubicBezTo>
                    <a:pt x="1218847" y="5145"/>
                    <a:pt x="1272715" y="3803"/>
                    <a:pt x="1326629" y="4206"/>
                  </a:cubicBezTo>
                  <a:cubicBezTo>
                    <a:pt x="1328240" y="4250"/>
                    <a:pt x="1331551" y="4340"/>
                    <a:pt x="1333206" y="4385"/>
                  </a:cubicBezTo>
                  <a:cubicBezTo>
                    <a:pt x="1336606" y="4519"/>
                    <a:pt x="1343452" y="4698"/>
                    <a:pt x="1346852" y="4787"/>
                  </a:cubicBezTo>
                  <a:cubicBezTo>
                    <a:pt x="1368820" y="5369"/>
                    <a:pt x="1390833" y="5190"/>
                    <a:pt x="1412846" y="5145"/>
                  </a:cubicBezTo>
                  <a:cubicBezTo>
                    <a:pt x="1419512" y="26621"/>
                    <a:pt x="1425060" y="48455"/>
                    <a:pt x="1429847" y="70468"/>
                  </a:cubicBezTo>
                  <a:cubicBezTo>
                    <a:pt x="1140773" y="72034"/>
                    <a:pt x="851654" y="69976"/>
                    <a:pt x="562624" y="71631"/>
                  </a:cubicBezTo>
                  <a:cubicBezTo>
                    <a:pt x="474394" y="72794"/>
                    <a:pt x="386163" y="69349"/>
                    <a:pt x="297933" y="71676"/>
                  </a:cubicBezTo>
                  <a:cubicBezTo>
                    <a:pt x="198652" y="68902"/>
                    <a:pt x="99281" y="70736"/>
                    <a:pt x="0" y="69797"/>
                  </a:cubicBezTo>
                  <a:cubicBezTo>
                    <a:pt x="12170" y="46979"/>
                    <a:pt x="22594" y="23310"/>
                    <a:pt x="34764" y="537"/>
                  </a:cubicBezTo>
                  <a:close/>
                </a:path>
              </a:pathLst>
            </a:custGeom>
            <a:solidFill>
              <a:srgbClr val="F5F5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 name="Freeform: Shape 107">
              <a:extLst>
                <a:ext uri="{FF2B5EF4-FFF2-40B4-BE49-F238E27FC236}">
                  <a16:creationId xmlns:a16="http://schemas.microsoft.com/office/drawing/2014/main" id="{23CADA4C-19FE-336F-B6D8-0C79AF062508}"/>
                </a:ext>
              </a:extLst>
            </p:cNvPr>
            <p:cNvSpPr/>
            <p:nvPr/>
          </p:nvSpPr>
          <p:spPr>
            <a:xfrm flipH="1">
              <a:off x="3424118" y="3047154"/>
              <a:ext cx="29938" cy="34100"/>
            </a:xfrm>
            <a:custGeom>
              <a:avLst/>
              <a:gdLst>
                <a:gd name="connsiteX0" fmla="*/ 1208 w 25099"/>
                <a:gd name="connsiteY0" fmla="*/ 0 h 28589"/>
                <a:gd name="connsiteX1" fmla="*/ 25100 w 25099"/>
                <a:gd name="connsiteY1" fmla="*/ 3893 h 28589"/>
                <a:gd name="connsiteX2" fmla="*/ 22729 w 25099"/>
                <a:gd name="connsiteY2" fmla="*/ 26800 h 28589"/>
                <a:gd name="connsiteX3" fmla="*/ 0 w 25099"/>
                <a:gd name="connsiteY3" fmla="*/ 28590 h 28589"/>
                <a:gd name="connsiteX4" fmla="*/ 1208 w 25099"/>
                <a:gd name="connsiteY4" fmla="*/ 0 h 28589"/>
                <a:gd name="connsiteX5" fmla="*/ 10783 w 25099"/>
                <a:gd name="connsiteY5" fmla="*/ 7606 h 28589"/>
                <a:gd name="connsiteX6" fmla="*/ 14094 w 25099"/>
                <a:gd name="connsiteY6" fmla="*/ 16599 h 28589"/>
                <a:gd name="connsiteX7" fmla="*/ 10783 w 25099"/>
                <a:gd name="connsiteY7" fmla="*/ 7606 h 2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99" h="28589">
                  <a:moveTo>
                    <a:pt x="1208" y="0"/>
                  </a:moveTo>
                  <a:cubicBezTo>
                    <a:pt x="9261" y="582"/>
                    <a:pt x="17270" y="1879"/>
                    <a:pt x="25100" y="3893"/>
                  </a:cubicBezTo>
                  <a:cubicBezTo>
                    <a:pt x="24295" y="11499"/>
                    <a:pt x="23534" y="19149"/>
                    <a:pt x="22729" y="26800"/>
                  </a:cubicBezTo>
                  <a:cubicBezTo>
                    <a:pt x="15167" y="27382"/>
                    <a:pt x="7561" y="27963"/>
                    <a:pt x="0" y="28590"/>
                  </a:cubicBezTo>
                  <a:cubicBezTo>
                    <a:pt x="358" y="19060"/>
                    <a:pt x="761" y="9530"/>
                    <a:pt x="1208" y="0"/>
                  </a:cubicBezTo>
                  <a:close/>
                  <a:moveTo>
                    <a:pt x="10783" y="7606"/>
                  </a:moveTo>
                  <a:cubicBezTo>
                    <a:pt x="6801" y="13109"/>
                    <a:pt x="7919" y="16107"/>
                    <a:pt x="14094" y="16599"/>
                  </a:cubicBezTo>
                  <a:cubicBezTo>
                    <a:pt x="18031" y="11051"/>
                    <a:pt x="16912" y="8054"/>
                    <a:pt x="10783" y="7606"/>
                  </a:cubicBezTo>
                  <a:close/>
                </a:path>
              </a:pathLst>
            </a:custGeom>
            <a:solidFill>
              <a:srgbClr val="89BE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Freeform: Shape 108">
              <a:extLst>
                <a:ext uri="{FF2B5EF4-FFF2-40B4-BE49-F238E27FC236}">
                  <a16:creationId xmlns:a16="http://schemas.microsoft.com/office/drawing/2014/main" id="{06522041-025C-C4F3-6BE3-7E2FBBD132C1}"/>
                </a:ext>
              </a:extLst>
            </p:cNvPr>
            <p:cNvSpPr/>
            <p:nvPr/>
          </p:nvSpPr>
          <p:spPr>
            <a:xfrm flipH="1">
              <a:off x="3409549" y="3047420"/>
              <a:ext cx="13216" cy="34421"/>
            </a:xfrm>
            <a:custGeom>
              <a:avLst/>
              <a:gdLst>
                <a:gd name="connsiteX0" fmla="*/ 476 w 11080"/>
                <a:gd name="connsiteY0" fmla="*/ 1476 h 28858"/>
                <a:gd name="connsiteX1" fmla="*/ 11080 w 11080"/>
                <a:gd name="connsiteY1" fmla="*/ 0 h 28858"/>
                <a:gd name="connsiteX2" fmla="*/ 9693 w 11080"/>
                <a:gd name="connsiteY2" fmla="*/ 28858 h 28858"/>
                <a:gd name="connsiteX3" fmla="*/ 476 w 11080"/>
                <a:gd name="connsiteY3" fmla="*/ 1476 h 28858"/>
              </a:gdLst>
              <a:ahLst/>
              <a:cxnLst>
                <a:cxn ang="0">
                  <a:pos x="connsiteX0" y="connsiteY0"/>
                </a:cxn>
                <a:cxn ang="0">
                  <a:pos x="connsiteX1" y="connsiteY1"/>
                </a:cxn>
                <a:cxn ang="0">
                  <a:pos x="connsiteX2" y="connsiteY2"/>
                </a:cxn>
                <a:cxn ang="0">
                  <a:pos x="connsiteX3" y="connsiteY3"/>
                </a:cxn>
              </a:cxnLst>
              <a:rect l="l" t="t" r="r" b="b"/>
              <a:pathLst>
                <a:path w="11080" h="28858">
                  <a:moveTo>
                    <a:pt x="476" y="1476"/>
                  </a:moveTo>
                  <a:cubicBezTo>
                    <a:pt x="3116" y="1074"/>
                    <a:pt x="8440" y="358"/>
                    <a:pt x="11080" y="0"/>
                  </a:cubicBezTo>
                  <a:cubicBezTo>
                    <a:pt x="10722" y="9619"/>
                    <a:pt x="10364" y="19239"/>
                    <a:pt x="9693" y="28858"/>
                  </a:cubicBezTo>
                  <a:cubicBezTo>
                    <a:pt x="-1224" y="24384"/>
                    <a:pt x="-419" y="11275"/>
                    <a:pt x="476" y="1476"/>
                  </a:cubicBezTo>
                  <a:close/>
                </a:path>
              </a:pathLst>
            </a:custGeom>
            <a:solidFill>
              <a:srgbClr val="83BB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D3CAB32F-B0C2-7C90-FB3B-B752811B3DA8}"/>
                </a:ext>
              </a:extLst>
            </p:cNvPr>
            <p:cNvSpPr/>
            <p:nvPr/>
          </p:nvSpPr>
          <p:spPr>
            <a:xfrm flipH="1">
              <a:off x="3356448" y="3044966"/>
              <a:ext cx="47656" cy="35062"/>
            </a:xfrm>
            <a:custGeom>
              <a:avLst/>
              <a:gdLst>
                <a:gd name="connsiteX0" fmla="*/ 6174 w 39954"/>
                <a:gd name="connsiteY0" fmla="*/ 0 h 29395"/>
                <a:gd name="connsiteX1" fmla="*/ 7740 w 39954"/>
                <a:gd name="connsiteY1" fmla="*/ 4519 h 29395"/>
                <a:gd name="connsiteX2" fmla="*/ 13467 w 39954"/>
                <a:gd name="connsiteY2" fmla="*/ 18747 h 29395"/>
                <a:gd name="connsiteX3" fmla="*/ 39194 w 39954"/>
                <a:gd name="connsiteY3" fmla="*/ 3803 h 29395"/>
                <a:gd name="connsiteX4" fmla="*/ 39954 w 39954"/>
                <a:gd name="connsiteY4" fmla="*/ 29395 h 29395"/>
                <a:gd name="connsiteX5" fmla="*/ 0 w 39954"/>
                <a:gd name="connsiteY5" fmla="*/ 29261 h 29395"/>
                <a:gd name="connsiteX6" fmla="*/ 6174 w 39954"/>
                <a:gd name="connsiteY6" fmla="*/ 0 h 2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54" h="29395">
                  <a:moveTo>
                    <a:pt x="6174" y="0"/>
                  </a:moveTo>
                  <a:lnTo>
                    <a:pt x="7740" y="4519"/>
                  </a:lnTo>
                  <a:cubicBezTo>
                    <a:pt x="9575" y="9261"/>
                    <a:pt x="11499" y="14004"/>
                    <a:pt x="13467" y="18747"/>
                  </a:cubicBezTo>
                  <a:cubicBezTo>
                    <a:pt x="24966" y="19149"/>
                    <a:pt x="35212" y="15615"/>
                    <a:pt x="39194" y="3803"/>
                  </a:cubicBezTo>
                  <a:cubicBezTo>
                    <a:pt x="39238" y="12304"/>
                    <a:pt x="39551" y="20849"/>
                    <a:pt x="39954" y="29395"/>
                  </a:cubicBezTo>
                  <a:cubicBezTo>
                    <a:pt x="26621" y="29350"/>
                    <a:pt x="13288" y="29306"/>
                    <a:pt x="0" y="29261"/>
                  </a:cubicBezTo>
                  <a:cubicBezTo>
                    <a:pt x="1834" y="19462"/>
                    <a:pt x="3848" y="9664"/>
                    <a:pt x="6174" y="0"/>
                  </a:cubicBezTo>
                  <a:close/>
                </a:path>
              </a:pathLst>
            </a:custGeom>
            <a:solidFill>
              <a:srgbClr val="80B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5A136DE4-B586-11C8-DAF4-E1C3DCAB10C1}"/>
                </a:ext>
              </a:extLst>
            </p:cNvPr>
            <p:cNvSpPr/>
            <p:nvPr/>
          </p:nvSpPr>
          <p:spPr>
            <a:xfrm flipH="1">
              <a:off x="3357355" y="3049395"/>
              <a:ext cx="37517" cy="17969"/>
            </a:xfrm>
            <a:custGeom>
              <a:avLst/>
              <a:gdLst>
                <a:gd name="connsiteX0" fmla="*/ 0 w 31453"/>
                <a:gd name="connsiteY0" fmla="*/ 806 h 15064"/>
                <a:gd name="connsiteX1" fmla="*/ 31453 w 31453"/>
                <a:gd name="connsiteY1" fmla="*/ 90 h 15064"/>
                <a:gd name="connsiteX2" fmla="*/ 5727 w 31453"/>
                <a:gd name="connsiteY2" fmla="*/ 15034 h 15064"/>
                <a:gd name="connsiteX3" fmla="*/ 0 w 31453"/>
                <a:gd name="connsiteY3" fmla="*/ 806 h 15064"/>
              </a:gdLst>
              <a:ahLst/>
              <a:cxnLst>
                <a:cxn ang="0">
                  <a:pos x="connsiteX0" y="connsiteY0"/>
                </a:cxn>
                <a:cxn ang="0">
                  <a:pos x="connsiteX1" y="connsiteY1"/>
                </a:cxn>
                <a:cxn ang="0">
                  <a:pos x="connsiteX2" y="connsiteY2"/>
                </a:cxn>
                <a:cxn ang="0">
                  <a:pos x="connsiteX3" y="connsiteY3"/>
                </a:cxn>
              </a:cxnLst>
              <a:rect l="l" t="t" r="r" b="b"/>
              <a:pathLst>
                <a:path w="31453" h="15064">
                  <a:moveTo>
                    <a:pt x="0" y="806"/>
                  </a:moveTo>
                  <a:cubicBezTo>
                    <a:pt x="10469" y="180"/>
                    <a:pt x="20939" y="-178"/>
                    <a:pt x="31453" y="90"/>
                  </a:cubicBezTo>
                  <a:cubicBezTo>
                    <a:pt x="27471" y="11902"/>
                    <a:pt x="17225" y="15437"/>
                    <a:pt x="5727" y="15034"/>
                  </a:cubicBezTo>
                  <a:cubicBezTo>
                    <a:pt x="3758" y="10291"/>
                    <a:pt x="1834" y="5549"/>
                    <a:pt x="0" y="806"/>
                  </a:cubicBezTo>
                  <a:close/>
                </a:path>
              </a:pathLst>
            </a:custGeom>
            <a:solidFill>
              <a:srgbClr val="D5EB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8ED6E4C9-3720-0E30-90CC-8453CE06BAF6}"/>
                </a:ext>
              </a:extLst>
            </p:cNvPr>
            <p:cNvSpPr/>
            <p:nvPr/>
          </p:nvSpPr>
          <p:spPr>
            <a:xfrm flipH="1">
              <a:off x="3295985" y="3046034"/>
              <a:ext cx="49363" cy="31967"/>
            </a:xfrm>
            <a:custGeom>
              <a:avLst/>
              <a:gdLst>
                <a:gd name="connsiteX0" fmla="*/ 6219 w 41385"/>
                <a:gd name="connsiteY0" fmla="*/ 1790 h 26800"/>
                <a:gd name="connsiteX1" fmla="*/ 26353 w 41385"/>
                <a:gd name="connsiteY1" fmla="*/ 940 h 26800"/>
                <a:gd name="connsiteX2" fmla="*/ 36285 w 41385"/>
                <a:gd name="connsiteY2" fmla="*/ 0 h 26800"/>
                <a:gd name="connsiteX3" fmla="*/ 41386 w 41385"/>
                <a:gd name="connsiteY3" fmla="*/ 26800 h 26800"/>
                <a:gd name="connsiteX4" fmla="*/ 0 w 41385"/>
                <a:gd name="connsiteY4" fmla="*/ 26219 h 26800"/>
                <a:gd name="connsiteX5" fmla="*/ 6219 w 41385"/>
                <a:gd name="connsiteY5" fmla="*/ 1790 h 2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85" h="26800">
                  <a:moveTo>
                    <a:pt x="6219" y="1790"/>
                  </a:moveTo>
                  <a:cubicBezTo>
                    <a:pt x="12930" y="2148"/>
                    <a:pt x="19686" y="1700"/>
                    <a:pt x="26353" y="940"/>
                  </a:cubicBezTo>
                  <a:cubicBezTo>
                    <a:pt x="28858" y="716"/>
                    <a:pt x="33825" y="224"/>
                    <a:pt x="36285" y="0"/>
                  </a:cubicBezTo>
                  <a:cubicBezTo>
                    <a:pt x="39865" y="8501"/>
                    <a:pt x="40894" y="17673"/>
                    <a:pt x="41386" y="26800"/>
                  </a:cubicBezTo>
                  <a:cubicBezTo>
                    <a:pt x="27605" y="26353"/>
                    <a:pt x="13780" y="26174"/>
                    <a:pt x="0" y="26219"/>
                  </a:cubicBezTo>
                  <a:cubicBezTo>
                    <a:pt x="2013" y="18076"/>
                    <a:pt x="4071" y="9888"/>
                    <a:pt x="6219" y="1790"/>
                  </a:cubicBezTo>
                  <a:close/>
                </a:path>
              </a:pathLst>
            </a:custGeom>
            <a:solidFill>
              <a:srgbClr val="A4DA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3D18AD52-1ABC-D30D-0B46-935CA10DAFA2}"/>
                </a:ext>
              </a:extLst>
            </p:cNvPr>
            <p:cNvSpPr/>
            <p:nvPr/>
          </p:nvSpPr>
          <p:spPr>
            <a:xfrm flipH="1">
              <a:off x="3267859" y="3045927"/>
              <a:ext cx="22092" cy="32928"/>
            </a:xfrm>
            <a:custGeom>
              <a:avLst/>
              <a:gdLst>
                <a:gd name="connsiteX0" fmla="*/ 0 w 18522"/>
                <a:gd name="connsiteY0" fmla="*/ 134 h 27605"/>
                <a:gd name="connsiteX1" fmla="*/ 18523 w 18522"/>
                <a:gd name="connsiteY1" fmla="*/ 0 h 27605"/>
                <a:gd name="connsiteX2" fmla="*/ 13154 w 18522"/>
                <a:gd name="connsiteY2" fmla="*/ 27605 h 27605"/>
                <a:gd name="connsiteX3" fmla="*/ 1163 w 18522"/>
                <a:gd name="connsiteY3" fmla="*/ 20760 h 27605"/>
                <a:gd name="connsiteX4" fmla="*/ 0 w 18522"/>
                <a:gd name="connsiteY4" fmla="*/ 134 h 27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22" h="27605">
                  <a:moveTo>
                    <a:pt x="0" y="134"/>
                  </a:moveTo>
                  <a:cubicBezTo>
                    <a:pt x="4653" y="89"/>
                    <a:pt x="13870" y="0"/>
                    <a:pt x="18523" y="0"/>
                  </a:cubicBezTo>
                  <a:cubicBezTo>
                    <a:pt x="16823" y="9217"/>
                    <a:pt x="14988" y="18389"/>
                    <a:pt x="13154" y="27605"/>
                  </a:cubicBezTo>
                  <a:cubicBezTo>
                    <a:pt x="10156" y="25905"/>
                    <a:pt x="4161" y="22460"/>
                    <a:pt x="1163" y="20760"/>
                  </a:cubicBezTo>
                  <a:cubicBezTo>
                    <a:pt x="761" y="13870"/>
                    <a:pt x="403" y="6980"/>
                    <a:pt x="0" y="134"/>
                  </a:cubicBezTo>
                  <a:close/>
                </a:path>
              </a:pathLst>
            </a:custGeom>
            <a:solidFill>
              <a:srgbClr val="F4F6F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D49FDA14-DB79-E473-3602-8EAE9A05FAC0}"/>
                </a:ext>
              </a:extLst>
            </p:cNvPr>
            <p:cNvSpPr/>
            <p:nvPr/>
          </p:nvSpPr>
          <p:spPr>
            <a:xfrm flipH="1">
              <a:off x="2567042" y="3048037"/>
              <a:ext cx="83571" cy="34553"/>
            </a:xfrm>
            <a:custGeom>
              <a:avLst/>
              <a:gdLst>
                <a:gd name="connsiteX0" fmla="*/ 0 w 70064"/>
                <a:gd name="connsiteY0" fmla="*/ 2035 h 28968"/>
                <a:gd name="connsiteX1" fmla="*/ 70065 w 70064"/>
                <a:gd name="connsiteY1" fmla="*/ 1363 h 28968"/>
                <a:gd name="connsiteX2" fmla="*/ 53108 w 70064"/>
                <a:gd name="connsiteY2" fmla="*/ 27806 h 28968"/>
                <a:gd name="connsiteX3" fmla="*/ 13601 w 70064"/>
                <a:gd name="connsiteY3" fmla="*/ 28969 h 28968"/>
                <a:gd name="connsiteX4" fmla="*/ 0 w 70064"/>
                <a:gd name="connsiteY4" fmla="*/ 2035 h 28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64" h="28968">
                  <a:moveTo>
                    <a:pt x="0" y="2035"/>
                  </a:moveTo>
                  <a:cubicBezTo>
                    <a:pt x="23221" y="-1545"/>
                    <a:pt x="46710" y="513"/>
                    <a:pt x="70065" y="1363"/>
                  </a:cubicBezTo>
                  <a:cubicBezTo>
                    <a:pt x="64472" y="10222"/>
                    <a:pt x="58835" y="19036"/>
                    <a:pt x="53108" y="27806"/>
                  </a:cubicBezTo>
                  <a:cubicBezTo>
                    <a:pt x="39909" y="27806"/>
                    <a:pt x="26711" y="27761"/>
                    <a:pt x="13601" y="28969"/>
                  </a:cubicBezTo>
                  <a:cubicBezTo>
                    <a:pt x="8993" y="20021"/>
                    <a:pt x="4429" y="11028"/>
                    <a:pt x="0" y="2035"/>
                  </a:cubicBezTo>
                  <a:close/>
                </a:path>
              </a:pathLst>
            </a:custGeom>
            <a:solidFill>
              <a:srgbClr val="5C9E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F17188E0-0A71-F1FB-04F4-C2464CD6BB7B}"/>
                </a:ext>
              </a:extLst>
            </p:cNvPr>
            <p:cNvSpPr/>
            <p:nvPr/>
          </p:nvSpPr>
          <p:spPr>
            <a:xfrm flipH="1">
              <a:off x="3434501" y="3056226"/>
              <a:ext cx="9480" cy="10727"/>
            </a:xfrm>
            <a:custGeom>
              <a:avLst/>
              <a:gdLst>
                <a:gd name="connsiteX0" fmla="*/ 2334 w 7947"/>
                <a:gd name="connsiteY0" fmla="*/ 0 h 8993"/>
                <a:gd name="connsiteX1" fmla="*/ 5645 w 7947"/>
                <a:gd name="connsiteY1" fmla="*/ 8993 h 8993"/>
                <a:gd name="connsiteX2" fmla="*/ 2334 w 7947"/>
                <a:gd name="connsiteY2" fmla="*/ 0 h 8993"/>
              </a:gdLst>
              <a:ahLst/>
              <a:cxnLst>
                <a:cxn ang="0">
                  <a:pos x="connsiteX0" y="connsiteY0"/>
                </a:cxn>
                <a:cxn ang="0">
                  <a:pos x="connsiteX1" y="connsiteY1"/>
                </a:cxn>
                <a:cxn ang="0">
                  <a:pos x="connsiteX2" y="connsiteY2"/>
                </a:cxn>
              </a:cxnLst>
              <a:rect l="l" t="t" r="r" b="b"/>
              <a:pathLst>
                <a:path w="7947" h="8993">
                  <a:moveTo>
                    <a:pt x="2334" y="0"/>
                  </a:moveTo>
                  <a:cubicBezTo>
                    <a:pt x="8464" y="447"/>
                    <a:pt x="9582" y="3445"/>
                    <a:pt x="5645" y="8993"/>
                  </a:cubicBezTo>
                  <a:cubicBezTo>
                    <a:pt x="-529" y="8501"/>
                    <a:pt x="-1648" y="5503"/>
                    <a:pt x="2334" y="0"/>
                  </a:cubicBezTo>
                  <a:close/>
                </a:path>
              </a:pathLst>
            </a:custGeom>
            <a:solidFill>
              <a:srgbClr val="7491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Freeform: Shape 115">
              <a:extLst>
                <a:ext uri="{FF2B5EF4-FFF2-40B4-BE49-F238E27FC236}">
                  <a16:creationId xmlns:a16="http://schemas.microsoft.com/office/drawing/2014/main" id="{8DC1EA60-DC2B-E8C5-7C08-6D3EC0EA9E95}"/>
                </a:ext>
              </a:extLst>
            </p:cNvPr>
            <p:cNvSpPr/>
            <p:nvPr/>
          </p:nvSpPr>
          <p:spPr>
            <a:xfrm flipH="1">
              <a:off x="3848619" y="3057400"/>
              <a:ext cx="253050" cy="247569"/>
            </a:xfrm>
            <a:custGeom>
              <a:avLst/>
              <a:gdLst>
                <a:gd name="connsiteX0" fmla="*/ 1119 w 212149"/>
                <a:gd name="connsiteY0" fmla="*/ 7561 h 207555"/>
                <a:gd name="connsiteX1" fmla="*/ 116730 w 212149"/>
                <a:gd name="connsiteY1" fmla="*/ 179 h 207555"/>
                <a:gd name="connsiteX2" fmla="*/ 119415 w 212149"/>
                <a:gd name="connsiteY2" fmla="*/ 0 h 207555"/>
                <a:gd name="connsiteX3" fmla="*/ 210419 w 212149"/>
                <a:gd name="connsiteY3" fmla="*/ 492 h 207555"/>
                <a:gd name="connsiteX4" fmla="*/ 210688 w 212149"/>
                <a:gd name="connsiteY4" fmla="*/ 77537 h 207555"/>
                <a:gd name="connsiteX5" fmla="*/ 205587 w 212149"/>
                <a:gd name="connsiteY5" fmla="*/ 9977 h 207555"/>
                <a:gd name="connsiteX6" fmla="*/ 65099 w 212149"/>
                <a:gd name="connsiteY6" fmla="*/ 10201 h 207555"/>
                <a:gd name="connsiteX7" fmla="*/ 63846 w 212149"/>
                <a:gd name="connsiteY7" fmla="*/ 206348 h 207555"/>
                <a:gd name="connsiteX8" fmla="*/ 59551 w 212149"/>
                <a:gd name="connsiteY8" fmla="*/ 207556 h 207555"/>
                <a:gd name="connsiteX9" fmla="*/ 59372 w 212149"/>
                <a:gd name="connsiteY9" fmla="*/ 183798 h 207555"/>
                <a:gd name="connsiteX10" fmla="*/ 59909 w 212149"/>
                <a:gd name="connsiteY10" fmla="*/ 129079 h 207555"/>
                <a:gd name="connsiteX11" fmla="*/ 59238 w 212149"/>
                <a:gd name="connsiteY11" fmla="*/ 11364 h 207555"/>
                <a:gd name="connsiteX12" fmla="*/ 0 w 212149"/>
                <a:gd name="connsiteY12" fmla="*/ 11588 h 207555"/>
                <a:gd name="connsiteX13" fmla="*/ 1119 w 212149"/>
                <a:gd name="connsiteY13" fmla="*/ 7561 h 20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149" h="207555">
                  <a:moveTo>
                    <a:pt x="1119" y="7561"/>
                  </a:moveTo>
                  <a:cubicBezTo>
                    <a:pt x="39507" y="2908"/>
                    <a:pt x="78342" y="4698"/>
                    <a:pt x="116730" y="179"/>
                  </a:cubicBezTo>
                  <a:lnTo>
                    <a:pt x="119415" y="0"/>
                  </a:lnTo>
                  <a:cubicBezTo>
                    <a:pt x="149705" y="2685"/>
                    <a:pt x="180084" y="2192"/>
                    <a:pt x="210419" y="492"/>
                  </a:cubicBezTo>
                  <a:cubicBezTo>
                    <a:pt x="212969" y="26084"/>
                    <a:pt x="212388" y="51900"/>
                    <a:pt x="210688" y="77537"/>
                  </a:cubicBezTo>
                  <a:cubicBezTo>
                    <a:pt x="210106" y="54943"/>
                    <a:pt x="211180" y="32080"/>
                    <a:pt x="205587" y="9977"/>
                  </a:cubicBezTo>
                  <a:cubicBezTo>
                    <a:pt x="158832" y="6398"/>
                    <a:pt x="111898" y="8232"/>
                    <a:pt x="65099" y="10201"/>
                  </a:cubicBezTo>
                  <a:cubicBezTo>
                    <a:pt x="62996" y="75524"/>
                    <a:pt x="62504" y="140980"/>
                    <a:pt x="63846" y="206348"/>
                  </a:cubicBezTo>
                  <a:lnTo>
                    <a:pt x="59551" y="207556"/>
                  </a:lnTo>
                  <a:cubicBezTo>
                    <a:pt x="59551" y="199592"/>
                    <a:pt x="59461" y="191672"/>
                    <a:pt x="59372" y="183798"/>
                  </a:cubicBezTo>
                  <a:cubicBezTo>
                    <a:pt x="59059" y="165543"/>
                    <a:pt x="59461" y="147289"/>
                    <a:pt x="59909" y="129079"/>
                  </a:cubicBezTo>
                  <a:cubicBezTo>
                    <a:pt x="59954" y="89841"/>
                    <a:pt x="60580" y="50603"/>
                    <a:pt x="59238" y="11364"/>
                  </a:cubicBezTo>
                  <a:cubicBezTo>
                    <a:pt x="39462" y="10738"/>
                    <a:pt x="19731" y="10872"/>
                    <a:pt x="0" y="11588"/>
                  </a:cubicBezTo>
                  <a:cubicBezTo>
                    <a:pt x="268" y="10604"/>
                    <a:pt x="850" y="8590"/>
                    <a:pt x="1119" y="7561"/>
                  </a:cubicBezTo>
                  <a:close/>
                </a:path>
              </a:pathLst>
            </a:cu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Rectangle: Rounded Corners 116">
              <a:extLst>
                <a:ext uri="{FF2B5EF4-FFF2-40B4-BE49-F238E27FC236}">
                  <a16:creationId xmlns:a16="http://schemas.microsoft.com/office/drawing/2014/main" id="{3EE7D8FE-CA81-71EA-939B-BE54B844BDC6}"/>
                </a:ext>
              </a:extLst>
            </p:cNvPr>
            <p:cNvSpPr/>
            <p:nvPr/>
          </p:nvSpPr>
          <p:spPr>
            <a:xfrm flipH="1">
              <a:off x="1722185" y="5121377"/>
              <a:ext cx="930136" cy="162876"/>
            </a:xfrm>
            <a:prstGeom prst="roundRect">
              <a:avLst/>
            </a:pr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Freeform: Shape 117">
              <a:extLst>
                <a:ext uri="{FF2B5EF4-FFF2-40B4-BE49-F238E27FC236}">
                  <a16:creationId xmlns:a16="http://schemas.microsoft.com/office/drawing/2014/main" id="{7732468A-2E91-562D-C6F6-FD1E10E096AC}"/>
                </a:ext>
              </a:extLst>
            </p:cNvPr>
            <p:cNvSpPr/>
            <p:nvPr/>
          </p:nvSpPr>
          <p:spPr>
            <a:xfrm flipH="1">
              <a:off x="2916650" y="3056149"/>
              <a:ext cx="20651" cy="28416"/>
            </a:xfrm>
            <a:custGeom>
              <a:avLst/>
              <a:gdLst>
                <a:gd name="connsiteX0" fmla="*/ 0 w 17314"/>
                <a:gd name="connsiteY0" fmla="*/ 6911 h 23823"/>
                <a:gd name="connsiteX1" fmla="*/ 17315 w 17314"/>
                <a:gd name="connsiteY1" fmla="*/ 21 h 23823"/>
                <a:gd name="connsiteX2" fmla="*/ 4519 w 17314"/>
                <a:gd name="connsiteY2" fmla="*/ 23823 h 23823"/>
                <a:gd name="connsiteX3" fmla="*/ 0 w 17314"/>
                <a:gd name="connsiteY3" fmla="*/ 6911 h 23823"/>
              </a:gdLst>
              <a:ahLst/>
              <a:cxnLst>
                <a:cxn ang="0">
                  <a:pos x="connsiteX0" y="connsiteY0"/>
                </a:cxn>
                <a:cxn ang="0">
                  <a:pos x="connsiteX1" y="connsiteY1"/>
                </a:cxn>
                <a:cxn ang="0">
                  <a:pos x="connsiteX2" y="connsiteY2"/>
                </a:cxn>
                <a:cxn ang="0">
                  <a:pos x="connsiteX3" y="connsiteY3"/>
                </a:cxn>
              </a:cxnLst>
              <a:rect l="l" t="t" r="r" b="b"/>
              <a:pathLst>
                <a:path w="17314" h="23823">
                  <a:moveTo>
                    <a:pt x="0" y="6911"/>
                  </a:moveTo>
                  <a:cubicBezTo>
                    <a:pt x="4564" y="2079"/>
                    <a:pt x="10335" y="-248"/>
                    <a:pt x="17315" y="21"/>
                  </a:cubicBezTo>
                  <a:cubicBezTo>
                    <a:pt x="13199" y="8030"/>
                    <a:pt x="8859" y="15949"/>
                    <a:pt x="4519" y="23823"/>
                  </a:cubicBezTo>
                  <a:cubicBezTo>
                    <a:pt x="2774" y="18231"/>
                    <a:pt x="1298" y="12593"/>
                    <a:pt x="0" y="6911"/>
                  </a:cubicBezTo>
                  <a:close/>
                </a:path>
              </a:pathLst>
            </a:custGeom>
            <a:solidFill>
              <a:srgbClr val="7576A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9" name="Freeform: Shape 118">
              <a:extLst>
                <a:ext uri="{FF2B5EF4-FFF2-40B4-BE49-F238E27FC236}">
                  <a16:creationId xmlns:a16="http://schemas.microsoft.com/office/drawing/2014/main" id="{2D366157-1ACF-F616-0662-CA8267BFABD3}"/>
                </a:ext>
              </a:extLst>
            </p:cNvPr>
            <p:cNvSpPr/>
            <p:nvPr/>
          </p:nvSpPr>
          <p:spPr>
            <a:xfrm flipH="1">
              <a:off x="2901172" y="3064391"/>
              <a:ext cx="275908" cy="242980"/>
            </a:xfrm>
            <a:custGeom>
              <a:avLst/>
              <a:gdLst>
                <a:gd name="connsiteX0" fmla="*/ 197802 w 231313"/>
                <a:gd name="connsiteY0" fmla="*/ 20223 h 203707"/>
                <a:gd name="connsiteX1" fmla="*/ 201023 w 231313"/>
                <a:gd name="connsiteY1" fmla="*/ 0 h 203707"/>
                <a:gd name="connsiteX2" fmla="*/ 205542 w 231313"/>
                <a:gd name="connsiteY2" fmla="*/ 16912 h 203707"/>
                <a:gd name="connsiteX3" fmla="*/ 211627 w 231313"/>
                <a:gd name="connsiteY3" fmla="*/ 16510 h 203707"/>
                <a:gd name="connsiteX4" fmla="*/ 225765 w 231313"/>
                <a:gd name="connsiteY4" fmla="*/ 134 h 203707"/>
                <a:gd name="connsiteX5" fmla="*/ 231313 w 231313"/>
                <a:gd name="connsiteY5" fmla="*/ 69573 h 203707"/>
                <a:gd name="connsiteX6" fmla="*/ 228718 w 231313"/>
                <a:gd name="connsiteY6" fmla="*/ 94449 h 203707"/>
                <a:gd name="connsiteX7" fmla="*/ 221515 w 231313"/>
                <a:gd name="connsiteY7" fmla="*/ 97268 h 203707"/>
                <a:gd name="connsiteX8" fmla="*/ 229210 w 231313"/>
                <a:gd name="connsiteY8" fmla="*/ 108543 h 203707"/>
                <a:gd name="connsiteX9" fmla="*/ 219233 w 231313"/>
                <a:gd name="connsiteY9" fmla="*/ 142457 h 203707"/>
                <a:gd name="connsiteX10" fmla="*/ 135835 w 231313"/>
                <a:gd name="connsiteY10" fmla="*/ 143217 h 203707"/>
                <a:gd name="connsiteX11" fmla="*/ 104471 w 231313"/>
                <a:gd name="connsiteY11" fmla="*/ 124605 h 203707"/>
                <a:gd name="connsiteX12" fmla="*/ 61967 w 231313"/>
                <a:gd name="connsiteY12" fmla="*/ 144918 h 203707"/>
                <a:gd name="connsiteX13" fmla="*/ 105142 w 231313"/>
                <a:gd name="connsiteY13" fmla="*/ 130600 h 203707"/>
                <a:gd name="connsiteX14" fmla="*/ 136148 w 231313"/>
                <a:gd name="connsiteY14" fmla="*/ 148586 h 203707"/>
                <a:gd name="connsiteX15" fmla="*/ 89304 w 231313"/>
                <a:gd name="connsiteY15" fmla="*/ 172612 h 203707"/>
                <a:gd name="connsiteX16" fmla="*/ 65278 w 231313"/>
                <a:gd name="connsiteY16" fmla="*/ 203708 h 203707"/>
                <a:gd name="connsiteX17" fmla="*/ 46173 w 231313"/>
                <a:gd name="connsiteY17" fmla="*/ 139325 h 203707"/>
                <a:gd name="connsiteX18" fmla="*/ 0 w 231313"/>
                <a:gd name="connsiteY18" fmla="*/ 138251 h 203707"/>
                <a:gd name="connsiteX19" fmla="*/ 2908 w 231313"/>
                <a:gd name="connsiteY19" fmla="*/ 136864 h 203707"/>
                <a:gd name="connsiteX20" fmla="*/ 38075 w 231313"/>
                <a:gd name="connsiteY20" fmla="*/ 116283 h 203707"/>
                <a:gd name="connsiteX21" fmla="*/ 74852 w 231313"/>
                <a:gd name="connsiteY21" fmla="*/ 114896 h 203707"/>
                <a:gd name="connsiteX22" fmla="*/ 124068 w 231313"/>
                <a:gd name="connsiteY22" fmla="*/ 91899 h 203707"/>
                <a:gd name="connsiteX23" fmla="*/ 212432 w 231313"/>
                <a:gd name="connsiteY23" fmla="*/ 87156 h 203707"/>
                <a:gd name="connsiteX24" fmla="*/ 135074 w 231313"/>
                <a:gd name="connsiteY24" fmla="*/ 84427 h 203707"/>
                <a:gd name="connsiteX25" fmla="*/ 161248 w 231313"/>
                <a:gd name="connsiteY25" fmla="*/ 77447 h 203707"/>
                <a:gd name="connsiteX26" fmla="*/ 159145 w 231313"/>
                <a:gd name="connsiteY26" fmla="*/ 50782 h 203707"/>
                <a:gd name="connsiteX27" fmla="*/ 188540 w 231313"/>
                <a:gd name="connsiteY27" fmla="*/ 47113 h 203707"/>
                <a:gd name="connsiteX28" fmla="*/ 197802 w 231313"/>
                <a:gd name="connsiteY28" fmla="*/ 20223 h 203707"/>
                <a:gd name="connsiteX29" fmla="*/ 190285 w 231313"/>
                <a:gd name="connsiteY29" fmla="*/ 94405 h 203707"/>
                <a:gd name="connsiteX30" fmla="*/ 216593 w 231313"/>
                <a:gd name="connsiteY30" fmla="*/ 104650 h 203707"/>
                <a:gd name="connsiteX31" fmla="*/ 217085 w 231313"/>
                <a:gd name="connsiteY31" fmla="*/ 93733 h 203707"/>
                <a:gd name="connsiteX32" fmla="*/ 190285 w 231313"/>
                <a:gd name="connsiteY32" fmla="*/ 94405 h 20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1313" h="203707">
                  <a:moveTo>
                    <a:pt x="197802" y="20223"/>
                  </a:moveTo>
                  <a:cubicBezTo>
                    <a:pt x="198876" y="13467"/>
                    <a:pt x="199726" y="6666"/>
                    <a:pt x="201023" y="0"/>
                  </a:cubicBezTo>
                  <a:cubicBezTo>
                    <a:pt x="202321" y="5682"/>
                    <a:pt x="203797" y="11320"/>
                    <a:pt x="205542" y="16912"/>
                  </a:cubicBezTo>
                  <a:cubicBezTo>
                    <a:pt x="207063" y="16823"/>
                    <a:pt x="210106" y="16599"/>
                    <a:pt x="211627" y="16510"/>
                  </a:cubicBezTo>
                  <a:cubicBezTo>
                    <a:pt x="216504" y="11185"/>
                    <a:pt x="221023" y="5593"/>
                    <a:pt x="225765" y="134"/>
                  </a:cubicBezTo>
                  <a:cubicBezTo>
                    <a:pt x="230060" y="23042"/>
                    <a:pt x="227645" y="46576"/>
                    <a:pt x="231313" y="69573"/>
                  </a:cubicBezTo>
                  <a:cubicBezTo>
                    <a:pt x="230419" y="77850"/>
                    <a:pt x="229568" y="86127"/>
                    <a:pt x="228718" y="94449"/>
                  </a:cubicBezTo>
                  <a:cubicBezTo>
                    <a:pt x="226929" y="95165"/>
                    <a:pt x="223305" y="96552"/>
                    <a:pt x="221515" y="97268"/>
                  </a:cubicBezTo>
                  <a:cubicBezTo>
                    <a:pt x="224065" y="100982"/>
                    <a:pt x="226615" y="104740"/>
                    <a:pt x="229210" y="108543"/>
                  </a:cubicBezTo>
                  <a:cubicBezTo>
                    <a:pt x="225900" y="119818"/>
                    <a:pt x="222723" y="131182"/>
                    <a:pt x="219233" y="142457"/>
                  </a:cubicBezTo>
                  <a:cubicBezTo>
                    <a:pt x="192522" y="128318"/>
                    <a:pt x="163843" y="146797"/>
                    <a:pt x="135835" y="143217"/>
                  </a:cubicBezTo>
                  <a:cubicBezTo>
                    <a:pt x="122413" y="143710"/>
                    <a:pt x="113733" y="132345"/>
                    <a:pt x="104471" y="124605"/>
                  </a:cubicBezTo>
                  <a:cubicBezTo>
                    <a:pt x="92302" y="135119"/>
                    <a:pt x="77805" y="142099"/>
                    <a:pt x="61967" y="144918"/>
                  </a:cubicBezTo>
                  <a:cubicBezTo>
                    <a:pt x="78119" y="153553"/>
                    <a:pt x="91988" y="138072"/>
                    <a:pt x="105142" y="130600"/>
                  </a:cubicBezTo>
                  <a:cubicBezTo>
                    <a:pt x="114583" y="137938"/>
                    <a:pt x="124023" y="146081"/>
                    <a:pt x="136148" y="148586"/>
                  </a:cubicBezTo>
                  <a:cubicBezTo>
                    <a:pt x="119325" y="153642"/>
                    <a:pt x="102458" y="160756"/>
                    <a:pt x="89304" y="172612"/>
                  </a:cubicBezTo>
                  <a:cubicBezTo>
                    <a:pt x="81116" y="182814"/>
                    <a:pt x="74763" y="194491"/>
                    <a:pt x="65278" y="203708"/>
                  </a:cubicBezTo>
                  <a:cubicBezTo>
                    <a:pt x="66844" y="181471"/>
                    <a:pt x="67873" y="152479"/>
                    <a:pt x="46173" y="139325"/>
                  </a:cubicBezTo>
                  <a:cubicBezTo>
                    <a:pt x="31051" y="135790"/>
                    <a:pt x="15346" y="137714"/>
                    <a:pt x="0" y="138251"/>
                  </a:cubicBezTo>
                  <a:lnTo>
                    <a:pt x="2908" y="136864"/>
                  </a:lnTo>
                  <a:cubicBezTo>
                    <a:pt x="15928" y="132301"/>
                    <a:pt x="26532" y="123486"/>
                    <a:pt x="38075" y="116283"/>
                  </a:cubicBezTo>
                  <a:cubicBezTo>
                    <a:pt x="49842" y="111988"/>
                    <a:pt x="62638" y="115701"/>
                    <a:pt x="74852" y="114896"/>
                  </a:cubicBezTo>
                  <a:cubicBezTo>
                    <a:pt x="93957" y="114941"/>
                    <a:pt x="108856" y="101518"/>
                    <a:pt x="124068" y="91899"/>
                  </a:cubicBezTo>
                  <a:cubicBezTo>
                    <a:pt x="153060" y="85590"/>
                    <a:pt x="183037" y="89259"/>
                    <a:pt x="212432" y="87156"/>
                  </a:cubicBezTo>
                  <a:cubicBezTo>
                    <a:pt x="186617" y="86664"/>
                    <a:pt x="160845" y="85098"/>
                    <a:pt x="135074" y="84427"/>
                  </a:cubicBezTo>
                  <a:cubicBezTo>
                    <a:pt x="143799" y="82235"/>
                    <a:pt x="152524" y="79774"/>
                    <a:pt x="161248" y="77447"/>
                  </a:cubicBezTo>
                  <a:cubicBezTo>
                    <a:pt x="160890" y="68499"/>
                    <a:pt x="160667" y="59551"/>
                    <a:pt x="159145" y="50782"/>
                  </a:cubicBezTo>
                  <a:cubicBezTo>
                    <a:pt x="168944" y="50066"/>
                    <a:pt x="179413" y="51497"/>
                    <a:pt x="188540" y="47113"/>
                  </a:cubicBezTo>
                  <a:cubicBezTo>
                    <a:pt x="195744" y="40133"/>
                    <a:pt x="196147" y="29485"/>
                    <a:pt x="197802" y="20223"/>
                  </a:cubicBezTo>
                  <a:close/>
                  <a:moveTo>
                    <a:pt x="190285" y="94405"/>
                  </a:moveTo>
                  <a:cubicBezTo>
                    <a:pt x="195520" y="103934"/>
                    <a:pt x="207466" y="102279"/>
                    <a:pt x="216593" y="104650"/>
                  </a:cubicBezTo>
                  <a:cubicBezTo>
                    <a:pt x="216728" y="101921"/>
                    <a:pt x="216951" y="96463"/>
                    <a:pt x="217085" y="93733"/>
                  </a:cubicBezTo>
                  <a:cubicBezTo>
                    <a:pt x="208137" y="93823"/>
                    <a:pt x="199189" y="93912"/>
                    <a:pt x="190285" y="94405"/>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1E12912F-C8F5-875B-D86E-ED22829180E0}"/>
                </a:ext>
              </a:extLst>
            </p:cNvPr>
            <p:cNvSpPr/>
            <p:nvPr/>
          </p:nvSpPr>
          <p:spPr>
            <a:xfrm flipH="1">
              <a:off x="2478344" y="3064552"/>
              <a:ext cx="26683" cy="1084048"/>
            </a:xfrm>
            <a:custGeom>
              <a:avLst/>
              <a:gdLst>
                <a:gd name="connsiteX0" fmla="*/ 0 w 22370"/>
                <a:gd name="connsiteY0" fmla="*/ 0 h 908833"/>
                <a:gd name="connsiteX1" fmla="*/ 22371 w 22370"/>
                <a:gd name="connsiteY1" fmla="*/ 492 h 908833"/>
                <a:gd name="connsiteX2" fmla="*/ 21252 w 22370"/>
                <a:gd name="connsiteY2" fmla="*/ 895366 h 908833"/>
                <a:gd name="connsiteX3" fmla="*/ 850 w 22370"/>
                <a:gd name="connsiteY3" fmla="*/ 908833 h 908833"/>
                <a:gd name="connsiteX4" fmla="*/ 268 w 22370"/>
                <a:gd name="connsiteY4" fmla="*/ 398288 h 908833"/>
                <a:gd name="connsiteX5" fmla="*/ 0 w 22370"/>
                <a:gd name="connsiteY5" fmla="*/ 0 h 90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70" h="908833">
                  <a:moveTo>
                    <a:pt x="0" y="0"/>
                  </a:moveTo>
                  <a:cubicBezTo>
                    <a:pt x="7427" y="134"/>
                    <a:pt x="14899" y="313"/>
                    <a:pt x="22371" y="492"/>
                  </a:cubicBezTo>
                  <a:cubicBezTo>
                    <a:pt x="20491" y="298783"/>
                    <a:pt x="22013" y="597075"/>
                    <a:pt x="21252" y="895366"/>
                  </a:cubicBezTo>
                  <a:cubicBezTo>
                    <a:pt x="14138" y="899393"/>
                    <a:pt x="7293" y="903867"/>
                    <a:pt x="850" y="908833"/>
                  </a:cubicBezTo>
                  <a:cubicBezTo>
                    <a:pt x="-1387" y="738681"/>
                    <a:pt x="1700" y="568440"/>
                    <a:pt x="268" y="398288"/>
                  </a:cubicBezTo>
                  <a:cubicBezTo>
                    <a:pt x="313" y="265541"/>
                    <a:pt x="1387" y="132748"/>
                    <a:pt x="0" y="0"/>
                  </a:cubicBezTo>
                  <a:close/>
                </a:path>
              </a:pathLst>
            </a:custGeom>
            <a:solidFill>
              <a:srgbClr val="AFD6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1" name="Freeform: Shape 120">
              <a:extLst>
                <a:ext uri="{FF2B5EF4-FFF2-40B4-BE49-F238E27FC236}">
                  <a16:creationId xmlns:a16="http://schemas.microsoft.com/office/drawing/2014/main" id="{1BBF1E62-F841-72E7-5726-1286DD6CDB58}"/>
                </a:ext>
              </a:extLst>
            </p:cNvPr>
            <p:cNvSpPr/>
            <p:nvPr/>
          </p:nvSpPr>
          <p:spPr>
            <a:xfrm flipH="1">
              <a:off x="4029988" y="3070478"/>
              <a:ext cx="75781" cy="140886"/>
            </a:xfrm>
            <a:custGeom>
              <a:avLst/>
              <a:gdLst>
                <a:gd name="connsiteX0" fmla="*/ 3439 w 63532"/>
                <a:gd name="connsiteY0" fmla="*/ 624 h 118115"/>
                <a:gd name="connsiteX1" fmla="*/ 62676 w 63532"/>
                <a:gd name="connsiteY1" fmla="*/ 400 h 118115"/>
                <a:gd name="connsiteX2" fmla="*/ 63347 w 63532"/>
                <a:gd name="connsiteY2" fmla="*/ 118115 h 118115"/>
                <a:gd name="connsiteX3" fmla="*/ 2946 w 63532"/>
                <a:gd name="connsiteY3" fmla="*/ 117623 h 118115"/>
                <a:gd name="connsiteX4" fmla="*/ 3439 w 63532"/>
                <a:gd name="connsiteY4" fmla="*/ 624 h 118115"/>
                <a:gd name="connsiteX5" fmla="*/ 10821 w 63532"/>
                <a:gd name="connsiteY5" fmla="*/ 19192 h 118115"/>
                <a:gd name="connsiteX6" fmla="*/ 11044 w 63532"/>
                <a:gd name="connsiteY6" fmla="*/ 44068 h 118115"/>
                <a:gd name="connsiteX7" fmla="*/ 20619 w 63532"/>
                <a:gd name="connsiteY7" fmla="*/ 39907 h 118115"/>
                <a:gd name="connsiteX8" fmla="*/ 10821 w 63532"/>
                <a:gd name="connsiteY8" fmla="*/ 19192 h 118115"/>
                <a:gd name="connsiteX9" fmla="*/ 42990 w 63532"/>
                <a:gd name="connsiteY9" fmla="*/ 26798 h 118115"/>
                <a:gd name="connsiteX10" fmla="*/ 49299 w 63532"/>
                <a:gd name="connsiteY10" fmla="*/ 39191 h 118115"/>
                <a:gd name="connsiteX11" fmla="*/ 42990 w 63532"/>
                <a:gd name="connsiteY11" fmla="*/ 26798 h 118115"/>
                <a:gd name="connsiteX12" fmla="*/ 10955 w 63532"/>
                <a:gd name="connsiteY12" fmla="*/ 74268 h 118115"/>
                <a:gd name="connsiteX13" fmla="*/ 10418 w 63532"/>
                <a:gd name="connsiteY13" fmla="*/ 80264 h 118115"/>
                <a:gd name="connsiteX14" fmla="*/ 57218 w 63532"/>
                <a:gd name="connsiteY14" fmla="*/ 79817 h 118115"/>
                <a:gd name="connsiteX15" fmla="*/ 57486 w 63532"/>
                <a:gd name="connsiteY15" fmla="*/ 74000 h 118115"/>
                <a:gd name="connsiteX16" fmla="*/ 10955 w 63532"/>
                <a:gd name="connsiteY16" fmla="*/ 74268 h 11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532" h="118115">
                  <a:moveTo>
                    <a:pt x="3439" y="624"/>
                  </a:moveTo>
                  <a:cubicBezTo>
                    <a:pt x="23170" y="-92"/>
                    <a:pt x="42901" y="-226"/>
                    <a:pt x="62676" y="400"/>
                  </a:cubicBezTo>
                  <a:cubicBezTo>
                    <a:pt x="64018" y="39639"/>
                    <a:pt x="63392" y="78877"/>
                    <a:pt x="63347" y="118115"/>
                  </a:cubicBezTo>
                  <a:cubicBezTo>
                    <a:pt x="43214" y="117713"/>
                    <a:pt x="23080" y="117713"/>
                    <a:pt x="2946" y="117623"/>
                  </a:cubicBezTo>
                  <a:cubicBezTo>
                    <a:pt x="172" y="78787"/>
                    <a:pt x="-2199" y="39281"/>
                    <a:pt x="3439" y="624"/>
                  </a:cubicBezTo>
                  <a:close/>
                  <a:moveTo>
                    <a:pt x="10821" y="19192"/>
                  </a:moveTo>
                  <a:cubicBezTo>
                    <a:pt x="10776" y="27424"/>
                    <a:pt x="10866" y="35746"/>
                    <a:pt x="11044" y="44068"/>
                  </a:cubicBezTo>
                  <a:cubicBezTo>
                    <a:pt x="13416" y="43039"/>
                    <a:pt x="18248" y="40936"/>
                    <a:pt x="20619" y="39907"/>
                  </a:cubicBezTo>
                  <a:cubicBezTo>
                    <a:pt x="18874" y="32256"/>
                    <a:pt x="20664" y="21608"/>
                    <a:pt x="10821" y="19192"/>
                  </a:cubicBezTo>
                  <a:close/>
                  <a:moveTo>
                    <a:pt x="42990" y="26798"/>
                  </a:moveTo>
                  <a:cubicBezTo>
                    <a:pt x="37755" y="30914"/>
                    <a:pt x="42095" y="44560"/>
                    <a:pt x="49299" y="39191"/>
                  </a:cubicBezTo>
                  <a:cubicBezTo>
                    <a:pt x="54354" y="35030"/>
                    <a:pt x="50104" y="21563"/>
                    <a:pt x="42990" y="26798"/>
                  </a:cubicBezTo>
                  <a:close/>
                  <a:moveTo>
                    <a:pt x="10955" y="74268"/>
                  </a:moveTo>
                  <a:lnTo>
                    <a:pt x="10418" y="80264"/>
                  </a:lnTo>
                  <a:cubicBezTo>
                    <a:pt x="25988" y="79235"/>
                    <a:pt x="41603" y="79190"/>
                    <a:pt x="57218" y="79817"/>
                  </a:cubicBezTo>
                  <a:lnTo>
                    <a:pt x="57486" y="74000"/>
                  </a:lnTo>
                  <a:cubicBezTo>
                    <a:pt x="41961" y="74000"/>
                    <a:pt x="26480" y="74134"/>
                    <a:pt x="10955" y="74268"/>
                  </a:cubicBezTo>
                  <a:close/>
                </a:path>
              </a:pathLst>
            </a:custGeom>
            <a:solidFill>
              <a:srgbClr val="FE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Freeform: Shape 121">
              <a:extLst>
                <a:ext uri="{FF2B5EF4-FFF2-40B4-BE49-F238E27FC236}">
                  <a16:creationId xmlns:a16="http://schemas.microsoft.com/office/drawing/2014/main" id="{A2516BFD-DA56-57C6-3F67-21D29C190FBE}"/>
                </a:ext>
              </a:extLst>
            </p:cNvPr>
            <p:cNvSpPr/>
            <p:nvPr/>
          </p:nvSpPr>
          <p:spPr>
            <a:xfrm flipH="1">
              <a:off x="1959454" y="4547734"/>
              <a:ext cx="289090" cy="85547"/>
            </a:xfrm>
            <a:custGeom>
              <a:avLst/>
              <a:gdLst>
                <a:gd name="connsiteX0" fmla="*/ 0 w 242364"/>
                <a:gd name="connsiteY0" fmla="*/ 0 h 71720"/>
                <a:gd name="connsiteX1" fmla="*/ 235922 w 242364"/>
                <a:gd name="connsiteY1" fmla="*/ 67783 h 71720"/>
                <a:gd name="connsiteX2" fmla="*/ 242364 w 242364"/>
                <a:gd name="connsiteY2" fmla="*/ 69394 h 71720"/>
                <a:gd name="connsiteX3" fmla="*/ 761 w 242364"/>
                <a:gd name="connsiteY3" fmla="*/ 71721 h 71720"/>
                <a:gd name="connsiteX4" fmla="*/ 0 w 242364"/>
                <a:gd name="connsiteY4" fmla="*/ 0 h 71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364" h="71720">
                  <a:moveTo>
                    <a:pt x="0" y="0"/>
                  </a:moveTo>
                  <a:cubicBezTo>
                    <a:pt x="76284" y="29977"/>
                    <a:pt x="155163" y="53511"/>
                    <a:pt x="235922" y="67783"/>
                  </a:cubicBezTo>
                  <a:lnTo>
                    <a:pt x="242364" y="69394"/>
                  </a:lnTo>
                  <a:cubicBezTo>
                    <a:pt x="161919" y="73376"/>
                    <a:pt x="81250" y="69170"/>
                    <a:pt x="761" y="71721"/>
                  </a:cubicBezTo>
                  <a:cubicBezTo>
                    <a:pt x="537" y="47829"/>
                    <a:pt x="626" y="23892"/>
                    <a:pt x="0" y="0"/>
                  </a:cubicBezTo>
                  <a:close/>
                </a:path>
              </a:pathLst>
            </a:custGeom>
            <a:solidFill>
              <a:srgbClr val="FE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3" name="Freeform: Shape 122">
              <a:extLst>
                <a:ext uri="{FF2B5EF4-FFF2-40B4-BE49-F238E27FC236}">
                  <a16:creationId xmlns:a16="http://schemas.microsoft.com/office/drawing/2014/main" id="{1CCC3759-19F1-158A-9FAA-251245BD7FA0}"/>
                </a:ext>
              </a:extLst>
            </p:cNvPr>
            <p:cNvSpPr/>
            <p:nvPr/>
          </p:nvSpPr>
          <p:spPr>
            <a:xfrm flipH="1">
              <a:off x="3721656" y="3080700"/>
              <a:ext cx="57424" cy="39246"/>
            </a:xfrm>
            <a:custGeom>
              <a:avLst/>
              <a:gdLst>
                <a:gd name="connsiteX0" fmla="*/ 34108 w 48143"/>
                <a:gd name="connsiteY0" fmla="*/ 18 h 32903"/>
                <a:gd name="connsiteX1" fmla="*/ 42117 w 48143"/>
                <a:gd name="connsiteY1" fmla="*/ 19973 h 32903"/>
                <a:gd name="connsiteX2" fmla="*/ 36300 w 48143"/>
                <a:gd name="connsiteY2" fmla="*/ 9011 h 32903"/>
                <a:gd name="connsiteX3" fmla="*/ 10485 w 48143"/>
                <a:gd name="connsiteY3" fmla="*/ 32903 h 32903"/>
                <a:gd name="connsiteX4" fmla="*/ 283 w 48143"/>
                <a:gd name="connsiteY4" fmla="*/ 13396 h 32903"/>
                <a:gd name="connsiteX5" fmla="*/ 8784 w 48143"/>
                <a:gd name="connsiteY5" fmla="*/ 4403 h 32903"/>
                <a:gd name="connsiteX6" fmla="*/ 29679 w 48143"/>
                <a:gd name="connsiteY6" fmla="*/ 12770 h 32903"/>
                <a:gd name="connsiteX7" fmla="*/ 34108 w 48143"/>
                <a:gd name="connsiteY7" fmla="*/ 18 h 3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43" h="32903">
                  <a:moveTo>
                    <a:pt x="34108" y="18"/>
                  </a:moveTo>
                  <a:cubicBezTo>
                    <a:pt x="44622" y="-608"/>
                    <a:pt x="55092" y="15007"/>
                    <a:pt x="42117" y="19973"/>
                  </a:cubicBezTo>
                  <a:cubicBezTo>
                    <a:pt x="40640" y="17244"/>
                    <a:pt x="37732" y="11785"/>
                    <a:pt x="36300" y="9011"/>
                  </a:cubicBezTo>
                  <a:cubicBezTo>
                    <a:pt x="29992" y="19212"/>
                    <a:pt x="22967" y="29950"/>
                    <a:pt x="10485" y="32903"/>
                  </a:cubicBezTo>
                  <a:cubicBezTo>
                    <a:pt x="7129" y="26595"/>
                    <a:pt x="-1685" y="21405"/>
                    <a:pt x="283" y="13396"/>
                  </a:cubicBezTo>
                  <a:cubicBezTo>
                    <a:pt x="2431" y="11159"/>
                    <a:pt x="6637" y="6685"/>
                    <a:pt x="8784" y="4403"/>
                  </a:cubicBezTo>
                  <a:cubicBezTo>
                    <a:pt x="15719" y="7222"/>
                    <a:pt x="22699" y="9996"/>
                    <a:pt x="29679" y="12770"/>
                  </a:cubicBezTo>
                  <a:cubicBezTo>
                    <a:pt x="30797" y="9593"/>
                    <a:pt x="33034" y="3195"/>
                    <a:pt x="34108" y="18"/>
                  </a:cubicBezTo>
                  <a:close/>
                </a:path>
              </a:pathLst>
            </a:custGeom>
            <a:solidFill>
              <a:srgbClr val="E4EF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4" name="Freeform: Shape 123">
              <a:extLst>
                <a:ext uri="{FF2B5EF4-FFF2-40B4-BE49-F238E27FC236}">
                  <a16:creationId xmlns:a16="http://schemas.microsoft.com/office/drawing/2014/main" id="{109A80B2-A7CC-EACB-493C-C38941528842}"/>
                </a:ext>
              </a:extLst>
            </p:cNvPr>
            <p:cNvSpPr/>
            <p:nvPr/>
          </p:nvSpPr>
          <p:spPr>
            <a:xfrm flipH="1">
              <a:off x="3310713" y="3082323"/>
              <a:ext cx="152098" cy="33408"/>
            </a:xfrm>
            <a:custGeom>
              <a:avLst/>
              <a:gdLst>
                <a:gd name="connsiteX0" fmla="*/ 1747 w 127514"/>
                <a:gd name="connsiteY0" fmla="*/ 28008 h 28008"/>
                <a:gd name="connsiteX1" fmla="*/ 1210 w 127514"/>
                <a:gd name="connsiteY1" fmla="*/ 0 h 28008"/>
                <a:gd name="connsiteX2" fmla="*/ 127515 w 127514"/>
                <a:gd name="connsiteY2" fmla="*/ 3042 h 28008"/>
                <a:gd name="connsiteX3" fmla="*/ 67561 w 127514"/>
                <a:gd name="connsiteY3" fmla="*/ 7964 h 28008"/>
                <a:gd name="connsiteX4" fmla="*/ 81342 w 127514"/>
                <a:gd name="connsiteY4" fmla="*/ 13557 h 28008"/>
                <a:gd name="connsiteX5" fmla="*/ 84295 w 127514"/>
                <a:gd name="connsiteY5" fmla="*/ 18344 h 28008"/>
                <a:gd name="connsiteX6" fmla="*/ 49217 w 127514"/>
                <a:gd name="connsiteY6" fmla="*/ 25503 h 28008"/>
                <a:gd name="connsiteX7" fmla="*/ 12395 w 127514"/>
                <a:gd name="connsiteY7" fmla="*/ 26576 h 28008"/>
                <a:gd name="connsiteX8" fmla="*/ 1747 w 127514"/>
                <a:gd name="connsiteY8" fmla="*/ 28008 h 2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4" h="28008">
                  <a:moveTo>
                    <a:pt x="1747" y="28008"/>
                  </a:moveTo>
                  <a:cubicBezTo>
                    <a:pt x="-625" y="18791"/>
                    <a:pt x="-356" y="9306"/>
                    <a:pt x="1210" y="0"/>
                  </a:cubicBezTo>
                  <a:cubicBezTo>
                    <a:pt x="43222" y="3982"/>
                    <a:pt x="85592" y="-2908"/>
                    <a:pt x="127515" y="3042"/>
                  </a:cubicBezTo>
                  <a:cubicBezTo>
                    <a:pt x="107739" y="6935"/>
                    <a:pt x="87650" y="8367"/>
                    <a:pt x="67561" y="7964"/>
                  </a:cubicBezTo>
                  <a:cubicBezTo>
                    <a:pt x="72170" y="9754"/>
                    <a:pt x="76778" y="11498"/>
                    <a:pt x="81342" y="13557"/>
                  </a:cubicBezTo>
                  <a:cubicBezTo>
                    <a:pt x="82057" y="14765"/>
                    <a:pt x="83534" y="17136"/>
                    <a:pt x="84295" y="18344"/>
                  </a:cubicBezTo>
                  <a:cubicBezTo>
                    <a:pt x="72214" y="18747"/>
                    <a:pt x="60850" y="22997"/>
                    <a:pt x="49217" y="25503"/>
                  </a:cubicBezTo>
                  <a:cubicBezTo>
                    <a:pt x="37003" y="27113"/>
                    <a:pt x="24654" y="25771"/>
                    <a:pt x="12395" y="26576"/>
                  </a:cubicBezTo>
                  <a:cubicBezTo>
                    <a:pt x="9755" y="26934"/>
                    <a:pt x="4386" y="27650"/>
                    <a:pt x="1747" y="28008"/>
                  </a:cubicBezTo>
                  <a:close/>
                </a:path>
              </a:pathLst>
            </a:custGeom>
            <a:solidFill>
              <a:srgbClr val="3757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5" name="Freeform: Shape 124">
              <a:extLst>
                <a:ext uri="{FF2B5EF4-FFF2-40B4-BE49-F238E27FC236}">
                  <a16:creationId xmlns:a16="http://schemas.microsoft.com/office/drawing/2014/main" id="{B5C8F8FB-593D-1EE3-854F-EAAB37389631}"/>
                </a:ext>
              </a:extLst>
            </p:cNvPr>
            <p:cNvSpPr/>
            <p:nvPr/>
          </p:nvSpPr>
          <p:spPr>
            <a:xfrm flipH="1">
              <a:off x="2544281" y="3080615"/>
              <a:ext cx="126255" cy="370048"/>
            </a:xfrm>
            <a:custGeom>
              <a:avLst/>
              <a:gdLst>
                <a:gd name="connsiteX0" fmla="*/ 30304 w 105849"/>
                <a:gd name="connsiteY0" fmla="*/ 1655 h 310237"/>
                <a:gd name="connsiteX1" fmla="*/ 69811 w 105849"/>
                <a:gd name="connsiteY1" fmla="*/ 492 h 310237"/>
                <a:gd name="connsiteX2" fmla="*/ 76612 w 105849"/>
                <a:gd name="connsiteY2" fmla="*/ 0 h 310237"/>
                <a:gd name="connsiteX3" fmla="*/ 105604 w 105849"/>
                <a:gd name="connsiteY3" fmla="*/ 48947 h 310237"/>
                <a:gd name="connsiteX4" fmla="*/ 72808 w 105849"/>
                <a:gd name="connsiteY4" fmla="*/ 95076 h 310237"/>
                <a:gd name="connsiteX5" fmla="*/ 72764 w 105849"/>
                <a:gd name="connsiteY5" fmla="*/ 232432 h 310237"/>
                <a:gd name="connsiteX6" fmla="*/ 67932 w 105849"/>
                <a:gd name="connsiteY6" fmla="*/ 274265 h 310237"/>
                <a:gd name="connsiteX7" fmla="*/ 39834 w 105849"/>
                <a:gd name="connsiteY7" fmla="*/ 275384 h 310237"/>
                <a:gd name="connsiteX8" fmla="*/ 37239 w 105849"/>
                <a:gd name="connsiteY8" fmla="*/ 304958 h 310237"/>
                <a:gd name="connsiteX9" fmla="*/ 35897 w 105849"/>
                <a:gd name="connsiteY9" fmla="*/ 307553 h 310237"/>
                <a:gd name="connsiteX10" fmla="*/ 29633 w 105849"/>
                <a:gd name="connsiteY10" fmla="*/ 310237 h 310237"/>
                <a:gd name="connsiteX11" fmla="*/ 30036 w 105849"/>
                <a:gd name="connsiteY11" fmla="*/ 94091 h 310237"/>
                <a:gd name="connsiteX12" fmla="*/ 954 w 105849"/>
                <a:gd name="connsiteY12" fmla="*/ 57672 h 310237"/>
                <a:gd name="connsiteX13" fmla="*/ 25785 w 105849"/>
                <a:gd name="connsiteY13" fmla="*/ 2013 h 310237"/>
                <a:gd name="connsiteX14" fmla="*/ 30304 w 105849"/>
                <a:gd name="connsiteY14" fmla="*/ 1655 h 31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849" h="310237">
                  <a:moveTo>
                    <a:pt x="30304" y="1655"/>
                  </a:moveTo>
                  <a:cubicBezTo>
                    <a:pt x="43413" y="447"/>
                    <a:pt x="56612" y="537"/>
                    <a:pt x="69811" y="492"/>
                  </a:cubicBezTo>
                  <a:cubicBezTo>
                    <a:pt x="71511" y="358"/>
                    <a:pt x="74911" y="134"/>
                    <a:pt x="76612" y="0"/>
                  </a:cubicBezTo>
                  <a:cubicBezTo>
                    <a:pt x="90929" y="12751"/>
                    <a:pt x="108109" y="27516"/>
                    <a:pt x="105604" y="48947"/>
                  </a:cubicBezTo>
                  <a:cubicBezTo>
                    <a:pt x="107573" y="70647"/>
                    <a:pt x="90392" y="86038"/>
                    <a:pt x="72808" y="95076"/>
                  </a:cubicBezTo>
                  <a:cubicBezTo>
                    <a:pt x="71958" y="140846"/>
                    <a:pt x="73122" y="186661"/>
                    <a:pt x="72764" y="232432"/>
                  </a:cubicBezTo>
                  <a:cubicBezTo>
                    <a:pt x="72137" y="246346"/>
                    <a:pt x="75090" y="261559"/>
                    <a:pt x="67932" y="274265"/>
                  </a:cubicBezTo>
                  <a:cubicBezTo>
                    <a:pt x="58536" y="274713"/>
                    <a:pt x="49140" y="275070"/>
                    <a:pt x="39834" y="275384"/>
                  </a:cubicBezTo>
                  <a:cubicBezTo>
                    <a:pt x="39073" y="285227"/>
                    <a:pt x="38268" y="295115"/>
                    <a:pt x="37239" y="304958"/>
                  </a:cubicBezTo>
                  <a:cubicBezTo>
                    <a:pt x="36881" y="305629"/>
                    <a:pt x="36210" y="306926"/>
                    <a:pt x="35897" y="307553"/>
                  </a:cubicBezTo>
                  <a:lnTo>
                    <a:pt x="29633" y="310237"/>
                  </a:lnTo>
                  <a:cubicBezTo>
                    <a:pt x="31020" y="238203"/>
                    <a:pt x="30394" y="166125"/>
                    <a:pt x="30036" y="94091"/>
                  </a:cubicBezTo>
                  <a:cubicBezTo>
                    <a:pt x="16926" y="85367"/>
                    <a:pt x="1401" y="75300"/>
                    <a:pt x="954" y="57672"/>
                  </a:cubicBezTo>
                  <a:cubicBezTo>
                    <a:pt x="-3610" y="35525"/>
                    <a:pt x="8783" y="15078"/>
                    <a:pt x="25785" y="2013"/>
                  </a:cubicBezTo>
                  <a:cubicBezTo>
                    <a:pt x="26904" y="1924"/>
                    <a:pt x="29185" y="1745"/>
                    <a:pt x="30304" y="1655"/>
                  </a:cubicBezTo>
                  <a:close/>
                </a:path>
              </a:pathLst>
            </a:custGeom>
            <a:solidFill>
              <a:srgbClr val="2638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6" name="Freeform: Shape 125">
              <a:extLst>
                <a:ext uri="{FF2B5EF4-FFF2-40B4-BE49-F238E27FC236}">
                  <a16:creationId xmlns:a16="http://schemas.microsoft.com/office/drawing/2014/main" id="{50C611D0-4590-ED1B-4808-FC207F2C4835}"/>
                </a:ext>
              </a:extLst>
            </p:cNvPr>
            <p:cNvSpPr/>
            <p:nvPr/>
          </p:nvSpPr>
          <p:spPr>
            <a:xfrm flipH="1">
              <a:off x="3291767" y="3085952"/>
              <a:ext cx="90457" cy="27904"/>
            </a:xfrm>
            <a:custGeom>
              <a:avLst/>
              <a:gdLst>
                <a:gd name="connsiteX0" fmla="*/ 59954 w 75836"/>
                <a:gd name="connsiteY0" fmla="*/ 0 h 23394"/>
                <a:gd name="connsiteX1" fmla="*/ 75837 w 75836"/>
                <a:gd name="connsiteY1" fmla="*/ 2148 h 23394"/>
                <a:gd name="connsiteX2" fmla="*/ 63220 w 75836"/>
                <a:gd name="connsiteY2" fmla="*/ 22550 h 23394"/>
                <a:gd name="connsiteX3" fmla="*/ 20850 w 75836"/>
                <a:gd name="connsiteY3" fmla="*/ 22058 h 23394"/>
                <a:gd name="connsiteX4" fmla="*/ 16733 w 75836"/>
                <a:gd name="connsiteY4" fmla="*/ 15302 h 23394"/>
                <a:gd name="connsiteX5" fmla="*/ 13780 w 75836"/>
                <a:gd name="connsiteY5" fmla="*/ 10514 h 23394"/>
                <a:gd name="connsiteX6" fmla="*/ 0 w 75836"/>
                <a:gd name="connsiteY6" fmla="*/ 4922 h 23394"/>
                <a:gd name="connsiteX7" fmla="*/ 59954 w 75836"/>
                <a:gd name="connsiteY7" fmla="*/ 0 h 2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36" h="23394">
                  <a:moveTo>
                    <a:pt x="59954" y="0"/>
                  </a:moveTo>
                  <a:cubicBezTo>
                    <a:pt x="65233" y="582"/>
                    <a:pt x="70557" y="1297"/>
                    <a:pt x="75837" y="2148"/>
                  </a:cubicBezTo>
                  <a:cubicBezTo>
                    <a:pt x="71631" y="8904"/>
                    <a:pt x="67425" y="15749"/>
                    <a:pt x="63220" y="22550"/>
                  </a:cubicBezTo>
                  <a:cubicBezTo>
                    <a:pt x="49081" y="23534"/>
                    <a:pt x="34854" y="23981"/>
                    <a:pt x="20850" y="22058"/>
                  </a:cubicBezTo>
                  <a:lnTo>
                    <a:pt x="16733" y="15302"/>
                  </a:lnTo>
                  <a:cubicBezTo>
                    <a:pt x="15973" y="14094"/>
                    <a:pt x="14496" y="11722"/>
                    <a:pt x="13780" y="10514"/>
                  </a:cubicBezTo>
                  <a:cubicBezTo>
                    <a:pt x="9217" y="8456"/>
                    <a:pt x="4608" y="6711"/>
                    <a:pt x="0" y="4922"/>
                  </a:cubicBezTo>
                  <a:cubicBezTo>
                    <a:pt x="20089" y="5324"/>
                    <a:pt x="40178" y="3892"/>
                    <a:pt x="59954" y="0"/>
                  </a:cubicBezTo>
                  <a:close/>
                </a:path>
              </a:pathLst>
            </a:custGeom>
            <a:solidFill>
              <a:srgbClr val="334D8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7" name="Freeform: Shape 126">
              <a:extLst>
                <a:ext uri="{FF2B5EF4-FFF2-40B4-BE49-F238E27FC236}">
                  <a16:creationId xmlns:a16="http://schemas.microsoft.com/office/drawing/2014/main" id="{8D0A0AF0-9DD3-233B-E593-39AF9387FCC3}"/>
                </a:ext>
              </a:extLst>
            </p:cNvPr>
            <p:cNvSpPr/>
            <p:nvPr/>
          </p:nvSpPr>
          <p:spPr>
            <a:xfrm flipH="1">
              <a:off x="2892091" y="3084085"/>
              <a:ext cx="229434" cy="283113"/>
            </a:xfrm>
            <a:custGeom>
              <a:avLst/>
              <a:gdLst>
                <a:gd name="connsiteX0" fmla="*/ 184737 w 192351"/>
                <a:gd name="connsiteY0" fmla="*/ 53063 h 237353"/>
                <a:gd name="connsiteX1" fmla="*/ 191225 w 192351"/>
                <a:gd name="connsiteY1" fmla="*/ 0 h 237353"/>
                <a:gd name="connsiteX2" fmla="*/ 191807 w 192351"/>
                <a:gd name="connsiteY2" fmla="*/ 237353 h 237353"/>
                <a:gd name="connsiteX3" fmla="*/ 0 w 192351"/>
                <a:gd name="connsiteY3" fmla="*/ 235832 h 237353"/>
                <a:gd name="connsiteX4" fmla="*/ 18702 w 192351"/>
                <a:gd name="connsiteY4" fmla="*/ 187198 h 237353"/>
                <a:gd name="connsiteX5" fmla="*/ 42728 w 192351"/>
                <a:gd name="connsiteY5" fmla="*/ 156103 h 237353"/>
                <a:gd name="connsiteX6" fmla="*/ 89572 w 192351"/>
                <a:gd name="connsiteY6" fmla="*/ 132077 h 237353"/>
                <a:gd name="connsiteX7" fmla="*/ 147513 w 192351"/>
                <a:gd name="connsiteY7" fmla="*/ 124337 h 237353"/>
                <a:gd name="connsiteX8" fmla="*/ 171539 w 192351"/>
                <a:gd name="connsiteY8" fmla="*/ 129258 h 237353"/>
                <a:gd name="connsiteX9" fmla="*/ 172657 w 192351"/>
                <a:gd name="connsiteY9" fmla="*/ 125947 h 237353"/>
                <a:gd name="connsiteX10" fmla="*/ 182635 w 192351"/>
                <a:gd name="connsiteY10" fmla="*/ 92033 h 237353"/>
                <a:gd name="connsiteX11" fmla="*/ 174939 w 192351"/>
                <a:gd name="connsiteY11" fmla="*/ 80758 h 237353"/>
                <a:gd name="connsiteX12" fmla="*/ 182142 w 192351"/>
                <a:gd name="connsiteY12" fmla="*/ 77940 h 237353"/>
                <a:gd name="connsiteX13" fmla="*/ 184737 w 192351"/>
                <a:gd name="connsiteY13" fmla="*/ 53063 h 23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51" h="237353">
                  <a:moveTo>
                    <a:pt x="184737" y="53063"/>
                  </a:moveTo>
                  <a:cubicBezTo>
                    <a:pt x="188138" y="35570"/>
                    <a:pt x="190330" y="17807"/>
                    <a:pt x="191225" y="0"/>
                  </a:cubicBezTo>
                  <a:cubicBezTo>
                    <a:pt x="193328" y="79103"/>
                    <a:pt x="191851" y="158206"/>
                    <a:pt x="191807" y="237353"/>
                  </a:cubicBezTo>
                  <a:cubicBezTo>
                    <a:pt x="127871" y="236280"/>
                    <a:pt x="63891" y="237846"/>
                    <a:pt x="0" y="235832"/>
                  </a:cubicBezTo>
                  <a:cubicBezTo>
                    <a:pt x="6219" y="219636"/>
                    <a:pt x="13154" y="203663"/>
                    <a:pt x="18702" y="187198"/>
                  </a:cubicBezTo>
                  <a:cubicBezTo>
                    <a:pt x="28187" y="177982"/>
                    <a:pt x="34540" y="166304"/>
                    <a:pt x="42728" y="156103"/>
                  </a:cubicBezTo>
                  <a:cubicBezTo>
                    <a:pt x="55882" y="144246"/>
                    <a:pt x="72750" y="137133"/>
                    <a:pt x="89572" y="132077"/>
                  </a:cubicBezTo>
                  <a:cubicBezTo>
                    <a:pt x="109035" y="130824"/>
                    <a:pt x="128363" y="128050"/>
                    <a:pt x="147513" y="124337"/>
                  </a:cubicBezTo>
                  <a:cubicBezTo>
                    <a:pt x="155969" y="121965"/>
                    <a:pt x="163709" y="126797"/>
                    <a:pt x="171539" y="129258"/>
                  </a:cubicBezTo>
                  <a:lnTo>
                    <a:pt x="172657" y="125947"/>
                  </a:lnTo>
                  <a:cubicBezTo>
                    <a:pt x="176147" y="114672"/>
                    <a:pt x="179324" y="103308"/>
                    <a:pt x="182635" y="92033"/>
                  </a:cubicBezTo>
                  <a:cubicBezTo>
                    <a:pt x="180040" y="88230"/>
                    <a:pt x="177489" y="84472"/>
                    <a:pt x="174939" y="80758"/>
                  </a:cubicBezTo>
                  <a:cubicBezTo>
                    <a:pt x="176729" y="80042"/>
                    <a:pt x="180353" y="78655"/>
                    <a:pt x="182142" y="77940"/>
                  </a:cubicBezTo>
                  <a:cubicBezTo>
                    <a:pt x="182993" y="69618"/>
                    <a:pt x="183843" y="61340"/>
                    <a:pt x="184737" y="53063"/>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8" name="Freeform: Shape 127">
              <a:extLst>
                <a:ext uri="{FF2B5EF4-FFF2-40B4-BE49-F238E27FC236}">
                  <a16:creationId xmlns:a16="http://schemas.microsoft.com/office/drawing/2014/main" id="{D6949A09-779E-771C-8E83-EE4219203149}"/>
                </a:ext>
              </a:extLst>
            </p:cNvPr>
            <p:cNvSpPr/>
            <p:nvPr/>
          </p:nvSpPr>
          <p:spPr>
            <a:xfrm flipH="1">
              <a:off x="2778001" y="3084778"/>
              <a:ext cx="45597" cy="508323"/>
            </a:xfrm>
            <a:custGeom>
              <a:avLst/>
              <a:gdLst>
                <a:gd name="connsiteX0" fmla="*/ 198 w 38227"/>
                <a:gd name="connsiteY0" fmla="*/ 358 h 426162"/>
                <a:gd name="connsiteX1" fmla="*/ 27266 w 38227"/>
                <a:gd name="connsiteY1" fmla="*/ 0 h 426162"/>
                <a:gd name="connsiteX2" fmla="*/ 26998 w 38227"/>
                <a:gd name="connsiteY2" fmla="*/ 93912 h 426162"/>
                <a:gd name="connsiteX3" fmla="*/ 38228 w 38227"/>
                <a:gd name="connsiteY3" fmla="*/ 99639 h 426162"/>
                <a:gd name="connsiteX4" fmla="*/ 29682 w 38227"/>
                <a:gd name="connsiteY4" fmla="*/ 135432 h 426162"/>
                <a:gd name="connsiteX5" fmla="*/ 30040 w 38227"/>
                <a:gd name="connsiteY5" fmla="*/ 158027 h 426162"/>
                <a:gd name="connsiteX6" fmla="*/ 28832 w 38227"/>
                <a:gd name="connsiteY6" fmla="*/ 271446 h 426162"/>
                <a:gd name="connsiteX7" fmla="*/ 5701 w 38227"/>
                <a:gd name="connsiteY7" fmla="*/ 318022 h 426162"/>
                <a:gd name="connsiteX8" fmla="*/ 5611 w 38227"/>
                <a:gd name="connsiteY8" fmla="*/ 407639 h 426162"/>
                <a:gd name="connsiteX9" fmla="*/ 600 w 38227"/>
                <a:gd name="connsiteY9" fmla="*/ 426162 h 426162"/>
                <a:gd name="connsiteX10" fmla="*/ 1182 w 38227"/>
                <a:gd name="connsiteY10" fmla="*/ 420480 h 426162"/>
                <a:gd name="connsiteX11" fmla="*/ 19 w 38227"/>
                <a:gd name="connsiteY11" fmla="*/ 336321 h 426162"/>
                <a:gd name="connsiteX12" fmla="*/ 198 w 38227"/>
                <a:gd name="connsiteY12" fmla="*/ 358 h 42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27" h="426162">
                  <a:moveTo>
                    <a:pt x="198" y="358"/>
                  </a:moveTo>
                  <a:cubicBezTo>
                    <a:pt x="9191" y="224"/>
                    <a:pt x="18229" y="89"/>
                    <a:pt x="27266" y="0"/>
                  </a:cubicBezTo>
                  <a:cubicBezTo>
                    <a:pt x="25745" y="31274"/>
                    <a:pt x="25790" y="62593"/>
                    <a:pt x="26998" y="93912"/>
                  </a:cubicBezTo>
                  <a:cubicBezTo>
                    <a:pt x="29817" y="95344"/>
                    <a:pt x="35409" y="98207"/>
                    <a:pt x="38228" y="99639"/>
                  </a:cubicBezTo>
                  <a:cubicBezTo>
                    <a:pt x="32188" y="110646"/>
                    <a:pt x="28608" y="122771"/>
                    <a:pt x="29682" y="135432"/>
                  </a:cubicBezTo>
                  <a:cubicBezTo>
                    <a:pt x="29772" y="142949"/>
                    <a:pt x="30085" y="150466"/>
                    <a:pt x="30040" y="158027"/>
                  </a:cubicBezTo>
                  <a:cubicBezTo>
                    <a:pt x="27714" y="195789"/>
                    <a:pt x="29817" y="233640"/>
                    <a:pt x="28832" y="271446"/>
                  </a:cubicBezTo>
                  <a:cubicBezTo>
                    <a:pt x="24627" y="288985"/>
                    <a:pt x="3911" y="298604"/>
                    <a:pt x="5701" y="318022"/>
                  </a:cubicBezTo>
                  <a:cubicBezTo>
                    <a:pt x="4851" y="347909"/>
                    <a:pt x="6819" y="377797"/>
                    <a:pt x="5611" y="407639"/>
                  </a:cubicBezTo>
                  <a:cubicBezTo>
                    <a:pt x="5477" y="414127"/>
                    <a:pt x="3464" y="420391"/>
                    <a:pt x="600" y="426162"/>
                  </a:cubicBezTo>
                  <a:lnTo>
                    <a:pt x="1182" y="420480"/>
                  </a:lnTo>
                  <a:cubicBezTo>
                    <a:pt x="2480" y="392427"/>
                    <a:pt x="-250" y="364374"/>
                    <a:pt x="19" y="336321"/>
                  </a:cubicBezTo>
                  <a:cubicBezTo>
                    <a:pt x="-26" y="224334"/>
                    <a:pt x="3553" y="112301"/>
                    <a:pt x="198" y="358"/>
                  </a:cubicBezTo>
                  <a:close/>
                </a:path>
              </a:pathLst>
            </a:custGeom>
            <a:solidFill>
              <a:srgbClr val="5492C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9" name="Freeform: Shape 128">
              <a:extLst>
                <a:ext uri="{FF2B5EF4-FFF2-40B4-BE49-F238E27FC236}">
                  <a16:creationId xmlns:a16="http://schemas.microsoft.com/office/drawing/2014/main" id="{02C5F2C9-3BFB-2EB1-E7B3-A54858BA10C5}"/>
                </a:ext>
              </a:extLst>
            </p:cNvPr>
            <p:cNvSpPr/>
            <p:nvPr/>
          </p:nvSpPr>
          <p:spPr>
            <a:xfrm flipH="1">
              <a:off x="2074354" y="3082856"/>
              <a:ext cx="340356" cy="239725"/>
            </a:xfrm>
            <a:custGeom>
              <a:avLst/>
              <a:gdLst>
                <a:gd name="connsiteX0" fmla="*/ 1013 w 285345"/>
                <a:gd name="connsiteY0" fmla="*/ 0 h 200978"/>
                <a:gd name="connsiteX1" fmla="*/ 285345 w 285345"/>
                <a:gd name="connsiteY1" fmla="*/ 134 h 200978"/>
                <a:gd name="connsiteX2" fmla="*/ 282795 w 285345"/>
                <a:gd name="connsiteY2" fmla="*/ 38880 h 200978"/>
                <a:gd name="connsiteX3" fmla="*/ 269686 w 285345"/>
                <a:gd name="connsiteY3" fmla="*/ 46800 h 200978"/>
                <a:gd name="connsiteX4" fmla="*/ 269417 w 285345"/>
                <a:gd name="connsiteY4" fmla="*/ 32885 h 200978"/>
                <a:gd name="connsiteX5" fmla="*/ 145349 w 285345"/>
                <a:gd name="connsiteY5" fmla="*/ 32214 h 200978"/>
                <a:gd name="connsiteX6" fmla="*/ 144409 w 285345"/>
                <a:gd name="connsiteY6" fmla="*/ 63891 h 200978"/>
                <a:gd name="connsiteX7" fmla="*/ 120115 w 285345"/>
                <a:gd name="connsiteY7" fmla="*/ 92928 h 200978"/>
                <a:gd name="connsiteX8" fmla="*/ 101100 w 285345"/>
                <a:gd name="connsiteY8" fmla="*/ 93689 h 200978"/>
                <a:gd name="connsiteX9" fmla="*/ 99265 w 285345"/>
                <a:gd name="connsiteY9" fmla="*/ 123800 h 200978"/>
                <a:gd name="connsiteX10" fmla="*/ 121278 w 285345"/>
                <a:gd name="connsiteY10" fmla="*/ 121160 h 200978"/>
                <a:gd name="connsiteX11" fmla="*/ 119846 w 285345"/>
                <a:gd name="connsiteY11" fmla="*/ 141115 h 200978"/>
                <a:gd name="connsiteX12" fmla="*/ 131032 w 285345"/>
                <a:gd name="connsiteY12" fmla="*/ 176281 h 200978"/>
                <a:gd name="connsiteX13" fmla="*/ 105440 w 285345"/>
                <a:gd name="connsiteY13" fmla="*/ 198563 h 200978"/>
                <a:gd name="connsiteX14" fmla="*/ 297 w 285345"/>
                <a:gd name="connsiteY14" fmla="*/ 200979 h 200978"/>
                <a:gd name="connsiteX15" fmla="*/ 1013 w 285345"/>
                <a:gd name="connsiteY15" fmla="*/ 0 h 200978"/>
                <a:gd name="connsiteX16" fmla="*/ 15375 w 285345"/>
                <a:gd name="connsiteY16" fmla="*/ 32214 h 200978"/>
                <a:gd name="connsiteX17" fmla="*/ 15823 w 285345"/>
                <a:gd name="connsiteY17" fmla="*/ 63757 h 200978"/>
                <a:gd name="connsiteX18" fmla="*/ 88080 w 285345"/>
                <a:gd name="connsiteY18" fmla="*/ 64741 h 200978"/>
                <a:gd name="connsiteX19" fmla="*/ 87901 w 285345"/>
                <a:gd name="connsiteY19" fmla="*/ 32706 h 200978"/>
                <a:gd name="connsiteX20" fmla="*/ 15375 w 285345"/>
                <a:gd name="connsiteY20" fmla="*/ 32214 h 200978"/>
                <a:gd name="connsiteX21" fmla="*/ 97476 w 285345"/>
                <a:gd name="connsiteY21" fmla="*/ 63891 h 200978"/>
                <a:gd name="connsiteX22" fmla="*/ 125171 w 285345"/>
                <a:gd name="connsiteY22" fmla="*/ 64293 h 200978"/>
                <a:gd name="connsiteX23" fmla="*/ 124544 w 285345"/>
                <a:gd name="connsiteY23" fmla="*/ 30200 h 200978"/>
                <a:gd name="connsiteX24" fmla="*/ 98773 w 285345"/>
                <a:gd name="connsiteY24" fmla="*/ 30648 h 200978"/>
                <a:gd name="connsiteX25" fmla="*/ 97476 w 285345"/>
                <a:gd name="connsiteY25" fmla="*/ 63891 h 200978"/>
                <a:gd name="connsiteX26" fmla="*/ 14212 w 285345"/>
                <a:gd name="connsiteY26" fmla="*/ 80579 h 200978"/>
                <a:gd name="connsiteX27" fmla="*/ 16673 w 285345"/>
                <a:gd name="connsiteY27" fmla="*/ 94539 h 200978"/>
                <a:gd name="connsiteX28" fmla="*/ 66291 w 285345"/>
                <a:gd name="connsiteY28" fmla="*/ 92302 h 200978"/>
                <a:gd name="connsiteX29" fmla="*/ 86380 w 285345"/>
                <a:gd name="connsiteY29" fmla="*/ 95747 h 200978"/>
                <a:gd name="connsiteX30" fmla="*/ 84948 w 285345"/>
                <a:gd name="connsiteY30" fmla="*/ 80356 h 200978"/>
                <a:gd name="connsiteX31" fmla="*/ 70049 w 285345"/>
                <a:gd name="connsiteY31" fmla="*/ 84427 h 200978"/>
                <a:gd name="connsiteX32" fmla="*/ 14212 w 285345"/>
                <a:gd name="connsiteY32" fmla="*/ 80579 h 200978"/>
                <a:gd name="connsiteX33" fmla="*/ 27232 w 285345"/>
                <a:gd name="connsiteY33" fmla="*/ 107916 h 200978"/>
                <a:gd name="connsiteX34" fmla="*/ 27366 w 285345"/>
                <a:gd name="connsiteY34" fmla="*/ 120086 h 200978"/>
                <a:gd name="connsiteX35" fmla="*/ 74971 w 285345"/>
                <a:gd name="connsiteY35" fmla="*/ 121920 h 200978"/>
                <a:gd name="connsiteX36" fmla="*/ 70899 w 285345"/>
                <a:gd name="connsiteY36" fmla="*/ 108409 h 200978"/>
                <a:gd name="connsiteX37" fmla="*/ 27232 w 285345"/>
                <a:gd name="connsiteY37" fmla="*/ 107916 h 200978"/>
                <a:gd name="connsiteX38" fmla="*/ 27098 w 285345"/>
                <a:gd name="connsiteY38" fmla="*/ 150555 h 200978"/>
                <a:gd name="connsiteX39" fmla="*/ 24726 w 285345"/>
                <a:gd name="connsiteY39" fmla="*/ 155879 h 200978"/>
                <a:gd name="connsiteX40" fmla="*/ 22400 w 285345"/>
                <a:gd name="connsiteY40" fmla="*/ 156192 h 200978"/>
                <a:gd name="connsiteX41" fmla="*/ 25666 w 285345"/>
                <a:gd name="connsiteY41" fmla="*/ 183843 h 200978"/>
                <a:gd name="connsiteX42" fmla="*/ 48081 w 285345"/>
                <a:gd name="connsiteY42" fmla="*/ 184514 h 200978"/>
                <a:gd name="connsiteX43" fmla="*/ 49021 w 285345"/>
                <a:gd name="connsiteY43" fmla="*/ 176237 h 200978"/>
                <a:gd name="connsiteX44" fmla="*/ 52421 w 285345"/>
                <a:gd name="connsiteY44" fmla="*/ 188809 h 200978"/>
                <a:gd name="connsiteX45" fmla="*/ 51168 w 285345"/>
                <a:gd name="connsiteY45" fmla="*/ 193283 h 200978"/>
                <a:gd name="connsiteX46" fmla="*/ 102129 w 285345"/>
                <a:gd name="connsiteY46" fmla="*/ 184514 h 200978"/>
                <a:gd name="connsiteX47" fmla="*/ 124589 w 285345"/>
                <a:gd name="connsiteY47" fmla="*/ 177266 h 200978"/>
                <a:gd name="connsiteX48" fmla="*/ 123784 w 285345"/>
                <a:gd name="connsiteY48" fmla="*/ 154582 h 200978"/>
                <a:gd name="connsiteX49" fmla="*/ 103740 w 285345"/>
                <a:gd name="connsiteY49" fmla="*/ 156908 h 200978"/>
                <a:gd name="connsiteX50" fmla="*/ 97386 w 285345"/>
                <a:gd name="connsiteY50" fmla="*/ 177803 h 200978"/>
                <a:gd name="connsiteX51" fmla="*/ 85530 w 285345"/>
                <a:gd name="connsiteY51" fmla="*/ 163172 h 200978"/>
                <a:gd name="connsiteX52" fmla="*/ 86335 w 285345"/>
                <a:gd name="connsiteY52" fmla="*/ 151808 h 200978"/>
                <a:gd name="connsiteX53" fmla="*/ 66067 w 285345"/>
                <a:gd name="connsiteY53" fmla="*/ 152971 h 200978"/>
                <a:gd name="connsiteX54" fmla="*/ 27098 w 285345"/>
                <a:gd name="connsiteY54" fmla="*/ 150555 h 20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345" h="200978">
                  <a:moveTo>
                    <a:pt x="1013" y="0"/>
                  </a:moveTo>
                  <a:cubicBezTo>
                    <a:pt x="95776" y="1074"/>
                    <a:pt x="190583" y="-134"/>
                    <a:pt x="285345" y="134"/>
                  </a:cubicBezTo>
                  <a:cubicBezTo>
                    <a:pt x="284092" y="13020"/>
                    <a:pt x="283332" y="25950"/>
                    <a:pt x="282795" y="38880"/>
                  </a:cubicBezTo>
                  <a:cubicBezTo>
                    <a:pt x="278410" y="41520"/>
                    <a:pt x="274026" y="44115"/>
                    <a:pt x="269686" y="46800"/>
                  </a:cubicBezTo>
                  <a:cubicBezTo>
                    <a:pt x="269641" y="43310"/>
                    <a:pt x="269507" y="36375"/>
                    <a:pt x="269417" y="32885"/>
                  </a:cubicBezTo>
                  <a:cubicBezTo>
                    <a:pt x="228076" y="32169"/>
                    <a:pt x="186690" y="31811"/>
                    <a:pt x="145349" y="32214"/>
                  </a:cubicBezTo>
                  <a:cubicBezTo>
                    <a:pt x="144991" y="42773"/>
                    <a:pt x="144723" y="53287"/>
                    <a:pt x="144409" y="63891"/>
                  </a:cubicBezTo>
                  <a:cubicBezTo>
                    <a:pt x="130227" y="65099"/>
                    <a:pt x="117744" y="78208"/>
                    <a:pt x="120115" y="92928"/>
                  </a:cubicBezTo>
                  <a:cubicBezTo>
                    <a:pt x="113762" y="93152"/>
                    <a:pt x="107408" y="93420"/>
                    <a:pt x="101100" y="93689"/>
                  </a:cubicBezTo>
                  <a:cubicBezTo>
                    <a:pt x="100429" y="103711"/>
                    <a:pt x="99802" y="113733"/>
                    <a:pt x="99265" y="123800"/>
                  </a:cubicBezTo>
                  <a:cubicBezTo>
                    <a:pt x="106558" y="122905"/>
                    <a:pt x="113896" y="122055"/>
                    <a:pt x="121278" y="121160"/>
                  </a:cubicBezTo>
                  <a:cubicBezTo>
                    <a:pt x="120965" y="127826"/>
                    <a:pt x="120339" y="134448"/>
                    <a:pt x="119846" y="141115"/>
                  </a:cubicBezTo>
                  <a:cubicBezTo>
                    <a:pt x="126513" y="151495"/>
                    <a:pt x="136848" y="163083"/>
                    <a:pt x="131032" y="176281"/>
                  </a:cubicBezTo>
                  <a:cubicBezTo>
                    <a:pt x="125529" y="185945"/>
                    <a:pt x="118101" y="198697"/>
                    <a:pt x="105440" y="198563"/>
                  </a:cubicBezTo>
                  <a:cubicBezTo>
                    <a:pt x="70407" y="200218"/>
                    <a:pt x="35106" y="195073"/>
                    <a:pt x="297" y="200979"/>
                  </a:cubicBezTo>
                  <a:cubicBezTo>
                    <a:pt x="1505" y="134001"/>
                    <a:pt x="-1448" y="66978"/>
                    <a:pt x="1013" y="0"/>
                  </a:cubicBezTo>
                  <a:close/>
                  <a:moveTo>
                    <a:pt x="15375" y="32214"/>
                  </a:moveTo>
                  <a:cubicBezTo>
                    <a:pt x="15286" y="42728"/>
                    <a:pt x="15330" y="53242"/>
                    <a:pt x="15823" y="63757"/>
                  </a:cubicBezTo>
                  <a:cubicBezTo>
                    <a:pt x="39893" y="63712"/>
                    <a:pt x="64009" y="63757"/>
                    <a:pt x="88080" y="64741"/>
                  </a:cubicBezTo>
                  <a:cubicBezTo>
                    <a:pt x="87991" y="54048"/>
                    <a:pt x="87946" y="43354"/>
                    <a:pt x="87901" y="32706"/>
                  </a:cubicBezTo>
                  <a:cubicBezTo>
                    <a:pt x="63696" y="32214"/>
                    <a:pt x="39535" y="32214"/>
                    <a:pt x="15375" y="32214"/>
                  </a:cubicBezTo>
                  <a:close/>
                  <a:moveTo>
                    <a:pt x="97476" y="63891"/>
                  </a:moveTo>
                  <a:cubicBezTo>
                    <a:pt x="106692" y="63891"/>
                    <a:pt x="115909" y="64070"/>
                    <a:pt x="125171" y="64293"/>
                  </a:cubicBezTo>
                  <a:cubicBezTo>
                    <a:pt x="124992" y="52929"/>
                    <a:pt x="124768" y="41565"/>
                    <a:pt x="124544" y="30200"/>
                  </a:cubicBezTo>
                  <a:cubicBezTo>
                    <a:pt x="115909" y="30335"/>
                    <a:pt x="107319" y="30469"/>
                    <a:pt x="98773" y="30648"/>
                  </a:cubicBezTo>
                  <a:cubicBezTo>
                    <a:pt x="98057" y="41699"/>
                    <a:pt x="97744" y="52795"/>
                    <a:pt x="97476" y="63891"/>
                  </a:cubicBezTo>
                  <a:close/>
                  <a:moveTo>
                    <a:pt x="14212" y="80579"/>
                  </a:moveTo>
                  <a:cubicBezTo>
                    <a:pt x="14838" y="84069"/>
                    <a:pt x="16046" y="91049"/>
                    <a:pt x="16673" y="94539"/>
                  </a:cubicBezTo>
                  <a:cubicBezTo>
                    <a:pt x="33227" y="94136"/>
                    <a:pt x="49781" y="94047"/>
                    <a:pt x="66291" y="92302"/>
                  </a:cubicBezTo>
                  <a:cubicBezTo>
                    <a:pt x="72868" y="93957"/>
                    <a:pt x="79624" y="94763"/>
                    <a:pt x="86380" y="95747"/>
                  </a:cubicBezTo>
                  <a:cubicBezTo>
                    <a:pt x="85843" y="90601"/>
                    <a:pt x="85395" y="85456"/>
                    <a:pt x="84948" y="80356"/>
                  </a:cubicBezTo>
                  <a:cubicBezTo>
                    <a:pt x="81235" y="81385"/>
                    <a:pt x="73763" y="83398"/>
                    <a:pt x="70049" y="84427"/>
                  </a:cubicBezTo>
                  <a:cubicBezTo>
                    <a:pt x="51929" y="78879"/>
                    <a:pt x="32824" y="80669"/>
                    <a:pt x="14212" y="80579"/>
                  </a:cubicBezTo>
                  <a:close/>
                  <a:moveTo>
                    <a:pt x="27232" y="107916"/>
                  </a:moveTo>
                  <a:cubicBezTo>
                    <a:pt x="27232" y="111943"/>
                    <a:pt x="27321" y="116015"/>
                    <a:pt x="27366" y="120086"/>
                  </a:cubicBezTo>
                  <a:cubicBezTo>
                    <a:pt x="43204" y="121294"/>
                    <a:pt x="59087" y="121786"/>
                    <a:pt x="74971" y="121920"/>
                  </a:cubicBezTo>
                  <a:cubicBezTo>
                    <a:pt x="73628" y="117402"/>
                    <a:pt x="72241" y="112883"/>
                    <a:pt x="70899" y="108409"/>
                  </a:cubicBezTo>
                  <a:cubicBezTo>
                    <a:pt x="56314" y="108006"/>
                    <a:pt x="41773" y="107782"/>
                    <a:pt x="27232" y="107916"/>
                  </a:cubicBezTo>
                  <a:close/>
                  <a:moveTo>
                    <a:pt x="27098" y="150555"/>
                  </a:moveTo>
                  <a:lnTo>
                    <a:pt x="24726" y="155879"/>
                  </a:lnTo>
                  <a:lnTo>
                    <a:pt x="22400" y="156192"/>
                  </a:lnTo>
                  <a:cubicBezTo>
                    <a:pt x="23071" y="165409"/>
                    <a:pt x="23966" y="174715"/>
                    <a:pt x="25666" y="183843"/>
                  </a:cubicBezTo>
                  <a:cubicBezTo>
                    <a:pt x="33093" y="183977"/>
                    <a:pt x="40565" y="184156"/>
                    <a:pt x="48081" y="184514"/>
                  </a:cubicBezTo>
                  <a:cubicBezTo>
                    <a:pt x="48305" y="182456"/>
                    <a:pt x="48797" y="178295"/>
                    <a:pt x="49021" y="176237"/>
                  </a:cubicBezTo>
                  <a:cubicBezTo>
                    <a:pt x="49871" y="179368"/>
                    <a:pt x="51571" y="185677"/>
                    <a:pt x="52421" y="188809"/>
                  </a:cubicBezTo>
                  <a:lnTo>
                    <a:pt x="51168" y="193283"/>
                  </a:lnTo>
                  <a:cubicBezTo>
                    <a:pt x="68036" y="191672"/>
                    <a:pt x="89422" y="199055"/>
                    <a:pt x="102129" y="184514"/>
                  </a:cubicBezTo>
                  <a:cubicBezTo>
                    <a:pt x="109690" y="182769"/>
                    <a:pt x="120786" y="186348"/>
                    <a:pt x="124589" y="177266"/>
                  </a:cubicBezTo>
                  <a:cubicBezTo>
                    <a:pt x="127631" y="169973"/>
                    <a:pt x="124589" y="162009"/>
                    <a:pt x="123784" y="154582"/>
                  </a:cubicBezTo>
                  <a:cubicBezTo>
                    <a:pt x="117073" y="155253"/>
                    <a:pt x="110048" y="154448"/>
                    <a:pt x="103740" y="156908"/>
                  </a:cubicBezTo>
                  <a:cubicBezTo>
                    <a:pt x="98907" y="162680"/>
                    <a:pt x="96581" y="170286"/>
                    <a:pt x="97386" y="177803"/>
                  </a:cubicBezTo>
                  <a:cubicBezTo>
                    <a:pt x="93673" y="172702"/>
                    <a:pt x="89601" y="167915"/>
                    <a:pt x="85530" y="163172"/>
                  </a:cubicBezTo>
                  <a:cubicBezTo>
                    <a:pt x="85753" y="160353"/>
                    <a:pt x="86156" y="154626"/>
                    <a:pt x="86335" y="151808"/>
                  </a:cubicBezTo>
                  <a:cubicBezTo>
                    <a:pt x="79534" y="152121"/>
                    <a:pt x="72778" y="152479"/>
                    <a:pt x="66067" y="152971"/>
                  </a:cubicBezTo>
                  <a:cubicBezTo>
                    <a:pt x="53137" y="152389"/>
                    <a:pt x="39715" y="146394"/>
                    <a:pt x="27098" y="150555"/>
                  </a:cubicBezTo>
                  <a:close/>
                </a:path>
              </a:pathLst>
            </a:custGeom>
            <a:solidFill>
              <a:srgbClr val="3065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0" name="Freeform: Shape 129">
              <a:extLst>
                <a:ext uri="{FF2B5EF4-FFF2-40B4-BE49-F238E27FC236}">
                  <a16:creationId xmlns:a16="http://schemas.microsoft.com/office/drawing/2014/main" id="{4A37B100-4EA7-DF4C-F100-BD04056C3ACD}"/>
                </a:ext>
              </a:extLst>
            </p:cNvPr>
            <p:cNvSpPr/>
            <p:nvPr/>
          </p:nvSpPr>
          <p:spPr>
            <a:xfrm flipH="1">
              <a:off x="2071792" y="3083017"/>
              <a:ext cx="342564" cy="242088"/>
            </a:xfrm>
            <a:custGeom>
              <a:avLst/>
              <a:gdLst>
                <a:gd name="connsiteX0" fmla="*/ 285048 w 287195"/>
                <a:gd name="connsiteY0" fmla="*/ 0 h 202959"/>
                <a:gd name="connsiteX1" fmla="*/ 286748 w 287195"/>
                <a:gd name="connsiteY1" fmla="*/ 24026 h 202959"/>
                <a:gd name="connsiteX2" fmla="*/ 287195 w 287195"/>
                <a:gd name="connsiteY2" fmla="*/ 201874 h 202959"/>
                <a:gd name="connsiteX3" fmla="*/ 216683 w 287195"/>
                <a:gd name="connsiteY3" fmla="*/ 202858 h 202959"/>
                <a:gd name="connsiteX4" fmla="*/ 0 w 287195"/>
                <a:gd name="connsiteY4" fmla="*/ 200844 h 202959"/>
                <a:gd name="connsiteX5" fmla="*/ 105142 w 287195"/>
                <a:gd name="connsiteY5" fmla="*/ 198428 h 202959"/>
                <a:gd name="connsiteX6" fmla="*/ 130734 w 287195"/>
                <a:gd name="connsiteY6" fmla="*/ 176147 h 202959"/>
                <a:gd name="connsiteX7" fmla="*/ 119549 w 287195"/>
                <a:gd name="connsiteY7" fmla="*/ 140980 h 202959"/>
                <a:gd name="connsiteX8" fmla="*/ 120981 w 287195"/>
                <a:gd name="connsiteY8" fmla="*/ 121026 h 202959"/>
                <a:gd name="connsiteX9" fmla="*/ 119817 w 287195"/>
                <a:gd name="connsiteY9" fmla="*/ 92794 h 202959"/>
                <a:gd name="connsiteX10" fmla="*/ 144112 w 287195"/>
                <a:gd name="connsiteY10" fmla="*/ 63757 h 202959"/>
                <a:gd name="connsiteX11" fmla="*/ 228450 w 287195"/>
                <a:gd name="connsiteY11" fmla="*/ 64965 h 202959"/>
                <a:gd name="connsiteX12" fmla="*/ 228987 w 287195"/>
                <a:gd name="connsiteY12" fmla="*/ 59372 h 202959"/>
                <a:gd name="connsiteX13" fmla="*/ 230105 w 287195"/>
                <a:gd name="connsiteY13" fmla="*/ 38746 h 202959"/>
                <a:gd name="connsiteX14" fmla="*/ 231805 w 287195"/>
                <a:gd name="connsiteY14" fmla="*/ 64294 h 202959"/>
                <a:gd name="connsiteX15" fmla="*/ 269836 w 287195"/>
                <a:gd name="connsiteY15" fmla="*/ 64383 h 202959"/>
                <a:gd name="connsiteX16" fmla="*/ 269388 w 287195"/>
                <a:gd name="connsiteY16" fmla="*/ 46665 h 202959"/>
                <a:gd name="connsiteX17" fmla="*/ 282497 w 287195"/>
                <a:gd name="connsiteY17" fmla="*/ 38746 h 202959"/>
                <a:gd name="connsiteX18" fmla="*/ 285048 w 287195"/>
                <a:gd name="connsiteY18" fmla="*/ 0 h 202959"/>
                <a:gd name="connsiteX19" fmla="*/ 149213 w 287195"/>
                <a:gd name="connsiteY19" fmla="*/ 97268 h 202959"/>
                <a:gd name="connsiteX20" fmla="*/ 149929 w 287195"/>
                <a:gd name="connsiteY20" fmla="*/ 108677 h 202959"/>
                <a:gd name="connsiteX21" fmla="*/ 256816 w 287195"/>
                <a:gd name="connsiteY21" fmla="*/ 107961 h 202959"/>
                <a:gd name="connsiteX22" fmla="*/ 256100 w 287195"/>
                <a:gd name="connsiteY22" fmla="*/ 98700 h 202959"/>
                <a:gd name="connsiteX23" fmla="*/ 149213 w 287195"/>
                <a:gd name="connsiteY23" fmla="*/ 97268 h 202959"/>
                <a:gd name="connsiteX24" fmla="*/ 150286 w 287195"/>
                <a:gd name="connsiteY24" fmla="*/ 115433 h 202959"/>
                <a:gd name="connsiteX25" fmla="*/ 150331 w 287195"/>
                <a:gd name="connsiteY25" fmla="*/ 126126 h 202959"/>
                <a:gd name="connsiteX26" fmla="*/ 211627 w 287195"/>
                <a:gd name="connsiteY26" fmla="*/ 126082 h 202959"/>
                <a:gd name="connsiteX27" fmla="*/ 210598 w 287195"/>
                <a:gd name="connsiteY27" fmla="*/ 115791 h 202959"/>
                <a:gd name="connsiteX28" fmla="*/ 150286 w 287195"/>
                <a:gd name="connsiteY28" fmla="*/ 115433 h 202959"/>
                <a:gd name="connsiteX29" fmla="*/ 153195 w 287195"/>
                <a:gd name="connsiteY29" fmla="*/ 157177 h 202959"/>
                <a:gd name="connsiteX30" fmla="*/ 166393 w 287195"/>
                <a:gd name="connsiteY30" fmla="*/ 177087 h 202959"/>
                <a:gd name="connsiteX31" fmla="*/ 168138 w 287195"/>
                <a:gd name="connsiteY31" fmla="*/ 163038 h 202959"/>
                <a:gd name="connsiteX32" fmla="*/ 153195 w 287195"/>
                <a:gd name="connsiteY32" fmla="*/ 157177 h 20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87195" h="202959">
                  <a:moveTo>
                    <a:pt x="285048" y="0"/>
                  </a:moveTo>
                  <a:cubicBezTo>
                    <a:pt x="285764" y="7964"/>
                    <a:pt x="286345" y="15973"/>
                    <a:pt x="286748" y="24026"/>
                  </a:cubicBezTo>
                  <a:cubicBezTo>
                    <a:pt x="287285" y="83264"/>
                    <a:pt x="286435" y="142591"/>
                    <a:pt x="287195" y="201874"/>
                  </a:cubicBezTo>
                  <a:cubicBezTo>
                    <a:pt x="263706" y="203484"/>
                    <a:pt x="240172" y="202813"/>
                    <a:pt x="216683" y="202858"/>
                  </a:cubicBezTo>
                  <a:cubicBezTo>
                    <a:pt x="144425" y="202008"/>
                    <a:pt x="72168" y="203395"/>
                    <a:pt x="0" y="200844"/>
                  </a:cubicBezTo>
                  <a:cubicBezTo>
                    <a:pt x="34809" y="194939"/>
                    <a:pt x="70110" y="200084"/>
                    <a:pt x="105142" y="198428"/>
                  </a:cubicBezTo>
                  <a:cubicBezTo>
                    <a:pt x="117804" y="198563"/>
                    <a:pt x="125231" y="185811"/>
                    <a:pt x="130734" y="176147"/>
                  </a:cubicBezTo>
                  <a:cubicBezTo>
                    <a:pt x="136551" y="162948"/>
                    <a:pt x="126215" y="151360"/>
                    <a:pt x="119549" y="140980"/>
                  </a:cubicBezTo>
                  <a:cubicBezTo>
                    <a:pt x="120041" y="134314"/>
                    <a:pt x="120668" y="127692"/>
                    <a:pt x="120981" y="121026"/>
                  </a:cubicBezTo>
                  <a:cubicBezTo>
                    <a:pt x="121115" y="111585"/>
                    <a:pt x="120175" y="102189"/>
                    <a:pt x="119817" y="92794"/>
                  </a:cubicBezTo>
                  <a:cubicBezTo>
                    <a:pt x="117446" y="78074"/>
                    <a:pt x="129929" y="64965"/>
                    <a:pt x="144112" y="63757"/>
                  </a:cubicBezTo>
                  <a:cubicBezTo>
                    <a:pt x="172165" y="65725"/>
                    <a:pt x="200352" y="65725"/>
                    <a:pt x="228450" y="64965"/>
                  </a:cubicBezTo>
                  <a:lnTo>
                    <a:pt x="228987" y="59372"/>
                  </a:lnTo>
                  <a:cubicBezTo>
                    <a:pt x="229479" y="52482"/>
                    <a:pt x="229747" y="45636"/>
                    <a:pt x="230105" y="38746"/>
                  </a:cubicBezTo>
                  <a:cubicBezTo>
                    <a:pt x="230955" y="47247"/>
                    <a:pt x="231224" y="55748"/>
                    <a:pt x="231805" y="64294"/>
                  </a:cubicBezTo>
                  <a:cubicBezTo>
                    <a:pt x="244423" y="64249"/>
                    <a:pt x="257129" y="64294"/>
                    <a:pt x="269836" y="64383"/>
                  </a:cubicBezTo>
                  <a:cubicBezTo>
                    <a:pt x="269657" y="58477"/>
                    <a:pt x="269522" y="52527"/>
                    <a:pt x="269388" y="46665"/>
                  </a:cubicBezTo>
                  <a:cubicBezTo>
                    <a:pt x="273728" y="43981"/>
                    <a:pt x="278113" y="41386"/>
                    <a:pt x="282497" y="38746"/>
                  </a:cubicBezTo>
                  <a:cubicBezTo>
                    <a:pt x="283035" y="25816"/>
                    <a:pt x="283795" y="12886"/>
                    <a:pt x="285048" y="0"/>
                  </a:cubicBezTo>
                  <a:close/>
                  <a:moveTo>
                    <a:pt x="149213" y="97268"/>
                  </a:moveTo>
                  <a:cubicBezTo>
                    <a:pt x="149392" y="100131"/>
                    <a:pt x="149750" y="105814"/>
                    <a:pt x="149929" y="108677"/>
                  </a:cubicBezTo>
                  <a:cubicBezTo>
                    <a:pt x="185543" y="108901"/>
                    <a:pt x="221202" y="105635"/>
                    <a:pt x="256816" y="107961"/>
                  </a:cubicBezTo>
                  <a:cubicBezTo>
                    <a:pt x="256637" y="105635"/>
                    <a:pt x="256279" y="100982"/>
                    <a:pt x="256100" y="98700"/>
                  </a:cubicBezTo>
                  <a:cubicBezTo>
                    <a:pt x="220441" y="98565"/>
                    <a:pt x="184827" y="97536"/>
                    <a:pt x="149213" y="97268"/>
                  </a:cubicBezTo>
                  <a:close/>
                  <a:moveTo>
                    <a:pt x="150286" y="115433"/>
                  </a:moveTo>
                  <a:cubicBezTo>
                    <a:pt x="150331" y="118118"/>
                    <a:pt x="150331" y="123486"/>
                    <a:pt x="150331" y="126126"/>
                  </a:cubicBezTo>
                  <a:cubicBezTo>
                    <a:pt x="170733" y="125992"/>
                    <a:pt x="191180" y="125903"/>
                    <a:pt x="211627" y="126082"/>
                  </a:cubicBezTo>
                  <a:cubicBezTo>
                    <a:pt x="211403" y="123486"/>
                    <a:pt x="210867" y="118386"/>
                    <a:pt x="210598" y="115791"/>
                  </a:cubicBezTo>
                  <a:cubicBezTo>
                    <a:pt x="190509" y="116059"/>
                    <a:pt x="170375" y="116149"/>
                    <a:pt x="150286" y="115433"/>
                  </a:cubicBezTo>
                  <a:close/>
                  <a:moveTo>
                    <a:pt x="153195" y="157177"/>
                  </a:moveTo>
                  <a:cubicBezTo>
                    <a:pt x="152971" y="166572"/>
                    <a:pt x="154805" y="177131"/>
                    <a:pt x="166393" y="177087"/>
                  </a:cubicBezTo>
                  <a:cubicBezTo>
                    <a:pt x="166841" y="173597"/>
                    <a:pt x="167691" y="166528"/>
                    <a:pt x="168138" y="163038"/>
                  </a:cubicBezTo>
                  <a:cubicBezTo>
                    <a:pt x="163127" y="161025"/>
                    <a:pt x="158161" y="159056"/>
                    <a:pt x="153195" y="157177"/>
                  </a:cubicBezTo>
                  <a:close/>
                </a:path>
              </a:pathLst>
            </a:custGeom>
            <a:solidFill>
              <a:srgbClr val="3A6C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1" name="Freeform: Shape 130">
              <a:extLst>
                <a:ext uri="{FF2B5EF4-FFF2-40B4-BE49-F238E27FC236}">
                  <a16:creationId xmlns:a16="http://schemas.microsoft.com/office/drawing/2014/main" id="{D0D3F074-5887-B37F-9353-59770649C2C1}"/>
                </a:ext>
              </a:extLst>
            </p:cNvPr>
            <p:cNvSpPr/>
            <p:nvPr/>
          </p:nvSpPr>
          <p:spPr>
            <a:xfrm flipH="1">
              <a:off x="3186100" y="3088728"/>
              <a:ext cx="16810" cy="28444"/>
            </a:xfrm>
            <a:custGeom>
              <a:avLst/>
              <a:gdLst>
                <a:gd name="connsiteX0" fmla="*/ 0 w 14093"/>
                <a:gd name="connsiteY0" fmla="*/ 0 h 23847"/>
                <a:gd name="connsiteX1" fmla="*/ 14094 w 14093"/>
                <a:gd name="connsiteY1" fmla="*/ 671 h 23847"/>
                <a:gd name="connsiteX2" fmla="*/ 13154 w 14093"/>
                <a:gd name="connsiteY2" fmla="*/ 23847 h 23847"/>
                <a:gd name="connsiteX3" fmla="*/ 0 w 14093"/>
                <a:gd name="connsiteY3" fmla="*/ 0 h 23847"/>
              </a:gdLst>
              <a:ahLst/>
              <a:cxnLst>
                <a:cxn ang="0">
                  <a:pos x="connsiteX0" y="connsiteY0"/>
                </a:cxn>
                <a:cxn ang="0">
                  <a:pos x="connsiteX1" y="connsiteY1"/>
                </a:cxn>
                <a:cxn ang="0">
                  <a:pos x="connsiteX2" y="connsiteY2"/>
                </a:cxn>
                <a:cxn ang="0">
                  <a:pos x="connsiteX3" y="connsiteY3"/>
                </a:cxn>
              </a:cxnLst>
              <a:rect l="l" t="t" r="r" b="b"/>
              <a:pathLst>
                <a:path w="14093" h="23847">
                  <a:moveTo>
                    <a:pt x="0" y="0"/>
                  </a:moveTo>
                  <a:cubicBezTo>
                    <a:pt x="3490" y="179"/>
                    <a:pt x="10559" y="492"/>
                    <a:pt x="14094" y="671"/>
                  </a:cubicBezTo>
                  <a:cubicBezTo>
                    <a:pt x="13870" y="8367"/>
                    <a:pt x="13557" y="16107"/>
                    <a:pt x="13154" y="23847"/>
                  </a:cubicBezTo>
                  <a:cubicBezTo>
                    <a:pt x="5145" y="18255"/>
                    <a:pt x="3132" y="8546"/>
                    <a:pt x="0" y="0"/>
                  </a:cubicBezTo>
                  <a:close/>
                </a:path>
              </a:pathLst>
            </a:custGeom>
            <a:solidFill>
              <a:srgbClr val="7987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Freeform: Shape 131">
              <a:extLst>
                <a:ext uri="{FF2B5EF4-FFF2-40B4-BE49-F238E27FC236}">
                  <a16:creationId xmlns:a16="http://schemas.microsoft.com/office/drawing/2014/main" id="{ACF7EC94-0C60-4B00-0E80-CD743830E2AC}"/>
                </a:ext>
              </a:extLst>
            </p:cNvPr>
            <p:cNvSpPr/>
            <p:nvPr/>
          </p:nvSpPr>
          <p:spPr>
            <a:xfrm flipH="1">
              <a:off x="4081177" y="3093370"/>
              <a:ext cx="11700" cy="29672"/>
            </a:xfrm>
            <a:custGeom>
              <a:avLst/>
              <a:gdLst>
                <a:gd name="connsiteX0" fmla="*/ 11 w 9809"/>
                <a:gd name="connsiteY0" fmla="*/ 0 h 24876"/>
                <a:gd name="connsiteX1" fmla="*/ 9810 w 9809"/>
                <a:gd name="connsiteY1" fmla="*/ 20715 h 24876"/>
                <a:gd name="connsiteX2" fmla="*/ 235 w 9809"/>
                <a:gd name="connsiteY2" fmla="*/ 24876 h 24876"/>
                <a:gd name="connsiteX3" fmla="*/ 11 w 9809"/>
                <a:gd name="connsiteY3" fmla="*/ 0 h 24876"/>
              </a:gdLst>
              <a:ahLst/>
              <a:cxnLst>
                <a:cxn ang="0">
                  <a:pos x="connsiteX0" y="connsiteY0"/>
                </a:cxn>
                <a:cxn ang="0">
                  <a:pos x="connsiteX1" y="connsiteY1"/>
                </a:cxn>
                <a:cxn ang="0">
                  <a:pos x="connsiteX2" y="connsiteY2"/>
                </a:cxn>
                <a:cxn ang="0">
                  <a:pos x="connsiteX3" y="connsiteY3"/>
                </a:cxn>
              </a:cxnLst>
              <a:rect l="l" t="t" r="r" b="b"/>
              <a:pathLst>
                <a:path w="9809" h="24876">
                  <a:moveTo>
                    <a:pt x="11" y="0"/>
                  </a:moveTo>
                  <a:cubicBezTo>
                    <a:pt x="9855" y="2416"/>
                    <a:pt x="8065" y="13065"/>
                    <a:pt x="9810" y="20715"/>
                  </a:cubicBezTo>
                  <a:cubicBezTo>
                    <a:pt x="7439" y="21744"/>
                    <a:pt x="2606" y="23847"/>
                    <a:pt x="235" y="24876"/>
                  </a:cubicBezTo>
                  <a:cubicBezTo>
                    <a:pt x="56" y="16554"/>
                    <a:pt x="-33" y="8232"/>
                    <a:pt x="11" y="0"/>
                  </a:cubicBezTo>
                  <a:close/>
                </a:path>
              </a:pathLst>
            </a:custGeom>
            <a:solidFill>
              <a:srgbClr val="CBC8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 name="Freeform: Shape 132">
              <a:extLst>
                <a:ext uri="{FF2B5EF4-FFF2-40B4-BE49-F238E27FC236}">
                  <a16:creationId xmlns:a16="http://schemas.microsoft.com/office/drawing/2014/main" id="{0F1E9141-4766-CE54-3629-2F5BCD9FCDEA}"/>
                </a:ext>
              </a:extLst>
            </p:cNvPr>
            <p:cNvSpPr/>
            <p:nvPr/>
          </p:nvSpPr>
          <p:spPr>
            <a:xfrm flipH="1">
              <a:off x="3904364" y="3093009"/>
              <a:ext cx="53693" cy="38277"/>
            </a:xfrm>
            <a:custGeom>
              <a:avLst/>
              <a:gdLst>
                <a:gd name="connsiteX0" fmla="*/ 0 w 45014"/>
                <a:gd name="connsiteY0" fmla="*/ 23882 h 32091"/>
                <a:gd name="connsiteX1" fmla="*/ 20715 w 45014"/>
                <a:gd name="connsiteY1" fmla="*/ 79 h 32091"/>
                <a:gd name="connsiteX2" fmla="*/ 40625 w 45014"/>
                <a:gd name="connsiteY2" fmla="*/ 31577 h 32091"/>
                <a:gd name="connsiteX3" fmla="*/ 0 w 45014"/>
                <a:gd name="connsiteY3" fmla="*/ 23882 h 32091"/>
              </a:gdLst>
              <a:ahLst/>
              <a:cxnLst>
                <a:cxn ang="0">
                  <a:pos x="connsiteX0" y="connsiteY0"/>
                </a:cxn>
                <a:cxn ang="0">
                  <a:pos x="connsiteX1" y="connsiteY1"/>
                </a:cxn>
                <a:cxn ang="0">
                  <a:pos x="connsiteX2" y="connsiteY2"/>
                </a:cxn>
                <a:cxn ang="0">
                  <a:pos x="connsiteX3" y="connsiteY3"/>
                </a:cxn>
              </a:cxnLst>
              <a:rect l="l" t="t" r="r" b="b"/>
              <a:pathLst>
                <a:path w="45014" h="32091">
                  <a:moveTo>
                    <a:pt x="0" y="23882"/>
                  </a:moveTo>
                  <a:cubicBezTo>
                    <a:pt x="5458" y="15336"/>
                    <a:pt x="7740" y="34"/>
                    <a:pt x="20715" y="79"/>
                  </a:cubicBezTo>
                  <a:cubicBezTo>
                    <a:pt x="37538" y="-1353"/>
                    <a:pt x="52795" y="16947"/>
                    <a:pt x="40625" y="31577"/>
                  </a:cubicBezTo>
                  <a:cubicBezTo>
                    <a:pt x="26890" y="30369"/>
                    <a:pt x="9754" y="36678"/>
                    <a:pt x="0" y="23882"/>
                  </a:cubicBezTo>
                  <a:close/>
                </a:path>
              </a:pathLst>
            </a:custGeom>
            <a:solidFill>
              <a:srgbClr val="F6D2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 name="Freeform: Shape 133">
              <a:extLst>
                <a:ext uri="{FF2B5EF4-FFF2-40B4-BE49-F238E27FC236}">
                  <a16:creationId xmlns:a16="http://schemas.microsoft.com/office/drawing/2014/main" id="{3B6FB546-D024-D626-21E9-79814675CAEF}"/>
                </a:ext>
              </a:extLst>
            </p:cNvPr>
            <p:cNvSpPr/>
            <p:nvPr/>
          </p:nvSpPr>
          <p:spPr>
            <a:xfrm flipH="1">
              <a:off x="3727136" y="3091449"/>
              <a:ext cx="44722" cy="33941"/>
            </a:xfrm>
            <a:custGeom>
              <a:avLst/>
              <a:gdLst>
                <a:gd name="connsiteX0" fmla="*/ 4429 w 37493"/>
                <a:gd name="connsiteY0" fmla="*/ 23892 h 28455"/>
                <a:gd name="connsiteX1" fmla="*/ 30245 w 37493"/>
                <a:gd name="connsiteY1" fmla="*/ 0 h 28455"/>
                <a:gd name="connsiteX2" fmla="*/ 36062 w 37493"/>
                <a:gd name="connsiteY2" fmla="*/ 10962 h 28455"/>
                <a:gd name="connsiteX3" fmla="*/ 37493 w 37493"/>
                <a:gd name="connsiteY3" fmla="*/ 13915 h 28455"/>
                <a:gd name="connsiteX4" fmla="*/ 18433 w 37493"/>
                <a:gd name="connsiteY4" fmla="*/ 28456 h 28455"/>
                <a:gd name="connsiteX5" fmla="*/ 0 w 37493"/>
                <a:gd name="connsiteY5" fmla="*/ 25726 h 28455"/>
                <a:gd name="connsiteX6" fmla="*/ 4429 w 37493"/>
                <a:gd name="connsiteY6" fmla="*/ 23892 h 2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93" h="28455">
                  <a:moveTo>
                    <a:pt x="4429" y="23892"/>
                  </a:moveTo>
                  <a:cubicBezTo>
                    <a:pt x="16912" y="20939"/>
                    <a:pt x="23937" y="10201"/>
                    <a:pt x="30245" y="0"/>
                  </a:cubicBezTo>
                  <a:cubicBezTo>
                    <a:pt x="31677" y="2774"/>
                    <a:pt x="34585" y="8232"/>
                    <a:pt x="36062" y="10962"/>
                  </a:cubicBezTo>
                  <a:cubicBezTo>
                    <a:pt x="36420" y="11722"/>
                    <a:pt x="37135" y="13154"/>
                    <a:pt x="37493" y="13915"/>
                  </a:cubicBezTo>
                  <a:cubicBezTo>
                    <a:pt x="30961" y="18523"/>
                    <a:pt x="24653" y="23400"/>
                    <a:pt x="18433" y="28456"/>
                  </a:cubicBezTo>
                  <a:cubicBezTo>
                    <a:pt x="12259" y="27516"/>
                    <a:pt x="6130" y="26576"/>
                    <a:pt x="0" y="25726"/>
                  </a:cubicBezTo>
                  <a:lnTo>
                    <a:pt x="4429" y="23892"/>
                  </a:ln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904B93A6-1F5B-6A94-A621-147096CC3740}"/>
                </a:ext>
              </a:extLst>
            </p:cNvPr>
            <p:cNvSpPr/>
            <p:nvPr/>
          </p:nvSpPr>
          <p:spPr>
            <a:xfrm flipH="1">
              <a:off x="3134952" y="3259055"/>
              <a:ext cx="53878" cy="65587"/>
            </a:xfrm>
            <a:custGeom>
              <a:avLst/>
              <a:gdLst>
                <a:gd name="connsiteX0" fmla="*/ 4572 w 45170"/>
                <a:gd name="connsiteY0" fmla="*/ 4133 h 54986"/>
                <a:gd name="connsiteX1" fmla="*/ 40409 w 45170"/>
                <a:gd name="connsiteY1" fmla="*/ 8920 h 54986"/>
                <a:gd name="connsiteX2" fmla="*/ 32311 w 45170"/>
                <a:gd name="connsiteY2" fmla="*/ 53796 h 54986"/>
                <a:gd name="connsiteX3" fmla="*/ 4572 w 45170"/>
                <a:gd name="connsiteY3" fmla="*/ 4133 h 54986"/>
                <a:gd name="connsiteX4" fmla="*/ 4616 w 45170"/>
                <a:gd name="connsiteY4" fmla="*/ 4714 h 54986"/>
                <a:gd name="connsiteX5" fmla="*/ 11283 w 45170"/>
                <a:gd name="connsiteY5" fmla="*/ 51022 h 54986"/>
                <a:gd name="connsiteX6" fmla="*/ 40051 w 45170"/>
                <a:gd name="connsiteY6" fmla="*/ 41850 h 54986"/>
                <a:gd name="connsiteX7" fmla="*/ 34503 w 45170"/>
                <a:gd name="connsiteY7" fmla="*/ 5967 h 54986"/>
                <a:gd name="connsiteX8" fmla="*/ 4616 w 45170"/>
                <a:gd name="connsiteY8" fmla="*/ 4714 h 5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70" h="54986">
                  <a:moveTo>
                    <a:pt x="4572" y="4133"/>
                  </a:moveTo>
                  <a:cubicBezTo>
                    <a:pt x="16025" y="-968"/>
                    <a:pt x="32445" y="-3294"/>
                    <a:pt x="40409" y="8920"/>
                  </a:cubicBezTo>
                  <a:cubicBezTo>
                    <a:pt x="48329" y="23461"/>
                    <a:pt x="46852" y="43774"/>
                    <a:pt x="32311" y="53796"/>
                  </a:cubicBezTo>
                  <a:cubicBezTo>
                    <a:pt x="3856" y="62207"/>
                    <a:pt x="-7017" y="23998"/>
                    <a:pt x="4572" y="4133"/>
                  </a:cubicBezTo>
                  <a:close/>
                  <a:moveTo>
                    <a:pt x="4616" y="4714"/>
                  </a:moveTo>
                  <a:cubicBezTo>
                    <a:pt x="321" y="20687"/>
                    <a:pt x="813" y="37420"/>
                    <a:pt x="11283" y="51022"/>
                  </a:cubicBezTo>
                  <a:cubicBezTo>
                    <a:pt x="21439" y="50574"/>
                    <a:pt x="34011" y="52275"/>
                    <a:pt x="40051" y="41850"/>
                  </a:cubicBezTo>
                  <a:cubicBezTo>
                    <a:pt x="41304" y="30083"/>
                    <a:pt x="45241" y="14513"/>
                    <a:pt x="34503" y="5967"/>
                  </a:cubicBezTo>
                  <a:cubicBezTo>
                    <a:pt x="26763" y="-3115"/>
                    <a:pt x="14280" y="3730"/>
                    <a:pt x="4616" y="4714"/>
                  </a:cubicBez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F97CD992-5404-9D81-5A5D-8E9A43E91AEE}"/>
                </a:ext>
              </a:extLst>
            </p:cNvPr>
            <p:cNvSpPr/>
            <p:nvPr/>
          </p:nvSpPr>
          <p:spPr>
            <a:xfrm flipH="1">
              <a:off x="3114728" y="3485140"/>
              <a:ext cx="49865" cy="66869"/>
            </a:xfrm>
            <a:custGeom>
              <a:avLst/>
              <a:gdLst>
                <a:gd name="connsiteX0" fmla="*/ 1074 w 41806"/>
                <a:gd name="connsiteY0" fmla="*/ 0 h 56061"/>
                <a:gd name="connsiteX1" fmla="*/ 1834 w 41806"/>
                <a:gd name="connsiteY1" fmla="*/ 3087 h 56061"/>
                <a:gd name="connsiteX2" fmla="*/ 4519 w 41806"/>
                <a:gd name="connsiteY2" fmla="*/ 11141 h 56061"/>
                <a:gd name="connsiteX3" fmla="*/ 8859 w 41806"/>
                <a:gd name="connsiteY3" fmla="*/ 23489 h 56061"/>
                <a:gd name="connsiteX4" fmla="*/ 33377 w 41806"/>
                <a:gd name="connsiteY4" fmla="*/ 28321 h 56061"/>
                <a:gd name="connsiteX5" fmla="*/ 38925 w 41806"/>
                <a:gd name="connsiteY5" fmla="*/ 1924 h 56061"/>
                <a:gd name="connsiteX6" fmla="*/ 36419 w 41806"/>
                <a:gd name="connsiteY6" fmla="*/ 31945 h 56061"/>
                <a:gd name="connsiteX7" fmla="*/ 2729 w 41806"/>
                <a:gd name="connsiteY7" fmla="*/ 39015 h 56061"/>
                <a:gd name="connsiteX8" fmla="*/ 761 w 41806"/>
                <a:gd name="connsiteY8" fmla="*/ 51050 h 56061"/>
                <a:gd name="connsiteX9" fmla="*/ 0 w 41806"/>
                <a:gd name="connsiteY9" fmla="*/ 56061 h 56061"/>
                <a:gd name="connsiteX10" fmla="*/ 1074 w 41806"/>
                <a:gd name="connsiteY10" fmla="*/ 0 h 5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6" h="56061">
                  <a:moveTo>
                    <a:pt x="1074" y="0"/>
                  </a:moveTo>
                  <a:lnTo>
                    <a:pt x="1834" y="3087"/>
                  </a:lnTo>
                  <a:lnTo>
                    <a:pt x="4519" y="11141"/>
                  </a:lnTo>
                  <a:cubicBezTo>
                    <a:pt x="5951" y="15257"/>
                    <a:pt x="7382" y="19328"/>
                    <a:pt x="8859" y="23489"/>
                  </a:cubicBezTo>
                  <a:cubicBezTo>
                    <a:pt x="16733" y="26397"/>
                    <a:pt x="24966" y="28232"/>
                    <a:pt x="33377" y="28321"/>
                  </a:cubicBezTo>
                  <a:cubicBezTo>
                    <a:pt x="35212" y="19507"/>
                    <a:pt x="37225" y="10738"/>
                    <a:pt x="38925" y="1924"/>
                  </a:cubicBezTo>
                  <a:cubicBezTo>
                    <a:pt x="41475" y="11543"/>
                    <a:pt x="44876" y="24071"/>
                    <a:pt x="36419" y="31945"/>
                  </a:cubicBezTo>
                  <a:cubicBezTo>
                    <a:pt x="26040" y="37180"/>
                    <a:pt x="13915" y="37001"/>
                    <a:pt x="2729" y="39015"/>
                  </a:cubicBezTo>
                  <a:cubicBezTo>
                    <a:pt x="2237" y="42012"/>
                    <a:pt x="1253" y="48052"/>
                    <a:pt x="761" y="51050"/>
                  </a:cubicBezTo>
                  <a:cubicBezTo>
                    <a:pt x="582" y="52303"/>
                    <a:pt x="179" y="54808"/>
                    <a:pt x="0" y="56061"/>
                  </a:cubicBezTo>
                  <a:cubicBezTo>
                    <a:pt x="1387" y="37404"/>
                    <a:pt x="2685" y="18657"/>
                    <a:pt x="1074" y="0"/>
                  </a:cubicBez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06A01C9F-D03B-9A02-0D57-15F1DFCC3BF6}"/>
                </a:ext>
              </a:extLst>
            </p:cNvPr>
            <p:cNvSpPr/>
            <p:nvPr/>
          </p:nvSpPr>
          <p:spPr>
            <a:xfrm flipH="1">
              <a:off x="4044329" y="3101022"/>
              <a:ext cx="12915" cy="17674"/>
            </a:xfrm>
            <a:custGeom>
              <a:avLst/>
              <a:gdLst>
                <a:gd name="connsiteX0" fmla="*/ 2308 w 10828"/>
                <a:gd name="connsiteY0" fmla="*/ 1191 h 14818"/>
                <a:gd name="connsiteX1" fmla="*/ 8617 w 10828"/>
                <a:gd name="connsiteY1" fmla="*/ 13585 h 14818"/>
                <a:gd name="connsiteX2" fmla="*/ 2308 w 10828"/>
                <a:gd name="connsiteY2" fmla="*/ 1191 h 14818"/>
              </a:gdLst>
              <a:ahLst/>
              <a:cxnLst>
                <a:cxn ang="0">
                  <a:pos x="connsiteX0" y="connsiteY0"/>
                </a:cxn>
                <a:cxn ang="0">
                  <a:pos x="connsiteX1" y="connsiteY1"/>
                </a:cxn>
                <a:cxn ang="0">
                  <a:pos x="connsiteX2" y="connsiteY2"/>
                </a:cxn>
              </a:cxnLst>
              <a:rect l="l" t="t" r="r" b="b"/>
              <a:pathLst>
                <a:path w="10828" h="14818">
                  <a:moveTo>
                    <a:pt x="2308" y="1191"/>
                  </a:moveTo>
                  <a:cubicBezTo>
                    <a:pt x="9422" y="-4044"/>
                    <a:pt x="13673" y="9424"/>
                    <a:pt x="8617" y="13585"/>
                  </a:cubicBezTo>
                  <a:cubicBezTo>
                    <a:pt x="1413" y="18954"/>
                    <a:pt x="-2927" y="5307"/>
                    <a:pt x="2308" y="1191"/>
                  </a:cubicBezTo>
                  <a:close/>
                </a:path>
              </a:pathLst>
            </a:custGeom>
            <a:solidFill>
              <a:srgbClr val="CCC9C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C9248D3E-724F-6921-94B1-805EA6A050D9}"/>
                </a:ext>
              </a:extLst>
            </p:cNvPr>
            <p:cNvSpPr/>
            <p:nvPr/>
          </p:nvSpPr>
          <p:spPr>
            <a:xfrm flipH="1">
              <a:off x="3235410" y="3104204"/>
              <a:ext cx="212615" cy="47573"/>
            </a:xfrm>
            <a:custGeom>
              <a:avLst/>
              <a:gdLst>
                <a:gd name="connsiteX0" fmla="*/ 125500 w 178250"/>
                <a:gd name="connsiteY0" fmla="*/ 5682 h 39884"/>
                <a:gd name="connsiteX1" fmla="*/ 133777 w 178250"/>
                <a:gd name="connsiteY1" fmla="*/ 1208 h 39884"/>
                <a:gd name="connsiteX2" fmla="*/ 138296 w 178250"/>
                <a:gd name="connsiteY2" fmla="*/ 7024 h 39884"/>
                <a:gd name="connsiteX3" fmla="*/ 178250 w 178250"/>
                <a:gd name="connsiteY3" fmla="*/ 7964 h 39884"/>
                <a:gd name="connsiteX4" fmla="*/ 177624 w 178250"/>
                <a:gd name="connsiteY4" fmla="*/ 37807 h 39884"/>
                <a:gd name="connsiteX5" fmla="*/ 42460 w 178250"/>
                <a:gd name="connsiteY5" fmla="*/ 38925 h 39884"/>
                <a:gd name="connsiteX6" fmla="*/ 0 w 178250"/>
                <a:gd name="connsiteY6" fmla="*/ 8232 h 39884"/>
                <a:gd name="connsiteX7" fmla="*/ 36822 w 178250"/>
                <a:gd name="connsiteY7" fmla="*/ 7159 h 39884"/>
                <a:gd name="connsiteX8" fmla="*/ 71900 w 178250"/>
                <a:gd name="connsiteY8" fmla="*/ 0 h 39884"/>
                <a:gd name="connsiteX9" fmla="*/ 76016 w 178250"/>
                <a:gd name="connsiteY9" fmla="*/ 6756 h 39884"/>
                <a:gd name="connsiteX10" fmla="*/ 118386 w 178250"/>
                <a:gd name="connsiteY10" fmla="*/ 7248 h 39884"/>
                <a:gd name="connsiteX11" fmla="*/ 125500 w 178250"/>
                <a:gd name="connsiteY11" fmla="*/ 5682 h 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250" h="39884">
                  <a:moveTo>
                    <a:pt x="125500" y="5682"/>
                  </a:moveTo>
                  <a:cubicBezTo>
                    <a:pt x="128229" y="4206"/>
                    <a:pt x="131003" y="2729"/>
                    <a:pt x="133777" y="1208"/>
                  </a:cubicBezTo>
                  <a:cubicBezTo>
                    <a:pt x="134896" y="2685"/>
                    <a:pt x="137177" y="5593"/>
                    <a:pt x="138296" y="7024"/>
                  </a:cubicBezTo>
                  <a:cubicBezTo>
                    <a:pt x="151629" y="7382"/>
                    <a:pt x="164917" y="7740"/>
                    <a:pt x="178250" y="7964"/>
                  </a:cubicBezTo>
                  <a:cubicBezTo>
                    <a:pt x="178026" y="17897"/>
                    <a:pt x="177803" y="27829"/>
                    <a:pt x="177624" y="37807"/>
                  </a:cubicBezTo>
                  <a:cubicBezTo>
                    <a:pt x="132614" y="40088"/>
                    <a:pt x="87470" y="40536"/>
                    <a:pt x="42460" y="38925"/>
                  </a:cubicBezTo>
                  <a:cubicBezTo>
                    <a:pt x="23668" y="36285"/>
                    <a:pt x="8635" y="24921"/>
                    <a:pt x="0" y="8232"/>
                  </a:cubicBezTo>
                  <a:cubicBezTo>
                    <a:pt x="12259" y="7427"/>
                    <a:pt x="24608" y="8769"/>
                    <a:pt x="36822" y="7159"/>
                  </a:cubicBezTo>
                  <a:cubicBezTo>
                    <a:pt x="48455" y="4653"/>
                    <a:pt x="59819" y="403"/>
                    <a:pt x="71900" y="0"/>
                  </a:cubicBezTo>
                  <a:lnTo>
                    <a:pt x="76016" y="6756"/>
                  </a:lnTo>
                  <a:cubicBezTo>
                    <a:pt x="90020" y="8680"/>
                    <a:pt x="104248" y="8232"/>
                    <a:pt x="118386" y="7248"/>
                  </a:cubicBezTo>
                  <a:cubicBezTo>
                    <a:pt x="120131" y="6845"/>
                    <a:pt x="123710" y="6085"/>
                    <a:pt x="125500" y="5682"/>
                  </a:cubicBezTo>
                  <a:close/>
                </a:path>
              </a:pathLst>
            </a:custGeom>
            <a:solidFill>
              <a:srgbClr val="60BF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89AC3BCD-84E8-EB20-B0EB-17FA2EE5D677}"/>
                </a:ext>
              </a:extLst>
            </p:cNvPr>
            <p:cNvSpPr/>
            <p:nvPr/>
          </p:nvSpPr>
          <p:spPr>
            <a:xfrm flipH="1">
              <a:off x="3957629" y="3110072"/>
              <a:ext cx="34636" cy="30208"/>
            </a:xfrm>
            <a:custGeom>
              <a:avLst/>
              <a:gdLst>
                <a:gd name="connsiteX0" fmla="*/ 0 w 29037"/>
                <a:gd name="connsiteY0" fmla="*/ 14991 h 25326"/>
                <a:gd name="connsiteX1" fmla="*/ 23400 w 29037"/>
                <a:gd name="connsiteY1" fmla="*/ 47 h 25326"/>
                <a:gd name="connsiteX2" fmla="*/ 29037 w 29037"/>
                <a:gd name="connsiteY2" fmla="*/ 25326 h 25326"/>
                <a:gd name="connsiteX3" fmla="*/ 0 w 29037"/>
                <a:gd name="connsiteY3" fmla="*/ 14991 h 25326"/>
              </a:gdLst>
              <a:ahLst/>
              <a:cxnLst>
                <a:cxn ang="0">
                  <a:pos x="connsiteX0" y="connsiteY0"/>
                </a:cxn>
                <a:cxn ang="0">
                  <a:pos x="connsiteX1" y="connsiteY1"/>
                </a:cxn>
                <a:cxn ang="0">
                  <a:pos x="connsiteX2" y="connsiteY2"/>
                </a:cxn>
                <a:cxn ang="0">
                  <a:pos x="connsiteX3" y="connsiteY3"/>
                </a:cxn>
              </a:cxnLst>
              <a:rect l="l" t="t" r="r" b="b"/>
              <a:pathLst>
                <a:path w="29037" h="25326">
                  <a:moveTo>
                    <a:pt x="0" y="14991"/>
                  </a:moveTo>
                  <a:cubicBezTo>
                    <a:pt x="-45" y="2150"/>
                    <a:pt x="13199" y="-400"/>
                    <a:pt x="23400" y="47"/>
                  </a:cubicBezTo>
                  <a:cubicBezTo>
                    <a:pt x="25413" y="8459"/>
                    <a:pt x="27292" y="16825"/>
                    <a:pt x="29037" y="25326"/>
                  </a:cubicBezTo>
                  <a:cubicBezTo>
                    <a:pt x="19418" y="22642"/>
                    <a:pt x="3445" y="27429"/>
                    <a:pt x="0" y="14991"/>
                  </a:cubicBezTo>
                  <a:close/>
                </a:path>
              </a:pathLst>
            </a:custGeom>
            <a:solidFill>
              <a:srgbClr val="95AD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4189B3B9-EC6C-CBD6-1500-09A71A2C5788}"/>
                </a:ext>
              </a:extLst>
            </p:cNvPr>
            <p:cNvSpPr/>
            <p:nvPr/>
          </p:nvSpPr>
          <p:spPr>
            <a:xfrm flipH="1">
              <a:off x="3397381" y="3114023"/>
              <a:ext cx="63347" cy="36609"/>
            </a:xfrm>
            <a:custGeom>
              <a:avLst/>
              <a:gdLst>
                <a:gd name="connsiteX0" fmla="*/ 0 w 53108"/>
                <a:gd name="connsiteY0" fmla="*/ 1432 h 30692"/>
                <a:gd name="connsiteX1" fmla="*/ 10648 w 53108"/>
                <a:gd name="connsiteY1" fmla="*/ 0 h 30692"/>
                <a:gd name="connsiteX2" fmla="*/ 53108 w 53108"/>
                <a:gd name="connsiteY2" fmla="*/ 30693 h 30692"/>
                <a:gd name="connsiteX3" fmla="*/ 3311 w 53108"/>
                <a:gd name="connsiteY3" fmla="*/ 30379 h 30692"/>
                <a:gd name="connsiteX4" fmla="*/ 0 w 53108"/>
                <a:gd name="connsiteY4" fmla="*/ 1432 h 30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 h="30692">
                  <a:moveTo>
                    <a:pt x="0" y="1432"/>
                  </a:moveTo>
                  <a:cubicBezTo>
                    <a:pt x="2640" y="1074"/>
                    <a:pt x="8009" y="358"/>
                    <a:pt x="10648" y="0"/>
                  </a:cubicBezTo>
                  <a:cubicBezTo>
                    <a:pt x="19284" y="16689"/>
                    <a:pt x="34317" y="28053"/>
                    <a:pt x="53108" y="30693"/>
                  </a:cubicBezTo>
                  <a:cubicBezTo>
                    <a:pt x="36509" y="30290"/>
                    <a:pt x="19910" y="30469"/>
                    <a:pt x="3311" y="30379"/>
                  </a:cubicBezTo>
                  <a:cubicBezTo>
                    <a:pt x="2819" y="20626"/>
                    <a:pt x="2103" y="10917"/>
                    <a:pt x="0" y="1432"/>
                  </a:cubicBezTo>
                  <a:close/>
                </a:path>
              </a:pathLst>
            </a:custGeom>
            <a:solidFill>
              <a:srgbClr val="7ACA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E04BB108-11D4-DC27-5B7F-6A1EA2FA6977}"/>
                </a:ext>
              </a:extLst>
            </p:cNvPr>
            <p:cNvSpPr/>
            <p:nvPr/>
          </p:nvSpPr>
          <p:spPr>
            <a:xfrm flipH="1">
              <a:off x="3211677" y="3113862"/>
              <a:ext cx="15623" cy="37357"/>
            </a:xfrm>
            <a:custGeom>
              <a:avLst/>
              <a:gdLst>
                <a:gd name="connsiteX0" fmla="*/ 0 w 13098"/>
                <a:gd name="connsiteY0" fmla="*/ 0 h 31319"/>
                <a:gd name="connsiteX1" fmla="*/ 12662 w 13098"/>
                <a:gd name="connsiteY1" fmla="*/ 403 h 31319"/>
                <a:gd name="connsiteX2" fmla="*/ 12796 w 13098"/>
                <a:gd name="connsiteY2" fmla="*/ 28858 h 31319"/>
                <a:gd name="connsiteX3" fmla="*/ 492 w 13098"/>
                <a:gd name="connsiteY3" fmla="*/ 31319 h 31319"/>
                <a:gd name="connsiteX4" fmla="*/ 0 w 13098"/>
                <a:gd name="connsiteY4" fmla="*/ 0 h 31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8" h="31319">
                  <a:moveTo>
                    <a:pt x="0" y="0"/>
                  </a:moveTo>
                  <a:cubicBezTo>
                    <a:pt x="3177" y="90"/>
                    <a:pt x="9485" y="313"/>
                    <a:pt x="12662" y="403"/>
                  </a:cubicBezTo>
                  <a:cubicBezTo>
                    <a:pt x="12528" y="9888"/>
                    <a:pt x="13601" y="19373"/>
                    <a:pt x="12796" y="28858"/>
                  </a:cubicBezTo>
                  <a:cubicBezTo>
                    <a:pt x="9709" y="29485"/>
                    <a:pt x="3535" y="30737"/>
                    <a:pt x="492" y="31319"/>
                  </a:cubicBezTo>
                  <a:cubicBezTo>
                    <a:pt x="313" y="20894"/>
                    <a:pt x="224" y="10425"/>
                    <a:pt x="0" y="0"/>
                  </a:cubicBezTo>
                  <a:close/>
                </a:path>
              </a:pathLst>
            </a:custGeom>
            <a:solidFill>
              <a:srgbClr val="F9FB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00A878AC-A214-7B46-4D2D-1A53BEAAB090}"/>
                </a:ext>
              </a:extLst>
            </p:cNvPr>
            <p:cNvSpPr/>
            <p:nvPr/>
          </p:nvSpPr>
          <p:spPr>
            <a:xfrm flipH="1">
              <a:off x="2309652" y="3121281"/>
              <a:ext cx="86765" cy="38796"/>
            </a:xfrm>
            <a:custGeom>
              <a:avLst/>
              <a:gdLst>
                <a:gd name="connsiteX0" fmla="*/ 37 w 72741"/>
                <a:gd name="connsiteY0" fmla="*/ 0 h 32526"/>
                <a:gd name="connsiteX1" fmla="*/ 72563 w 72741"/>
                <a:gd name="connsiteY1" fmla="*/ 492 h 32526"/>
                <a:gd name="connsiteX2" fmla="*/ 72742 w 72741"/>
                <a:gd name="connsiteY2" fmla="*/ 32527 h 32526"/>
                <a:gd name="connsiteX3" fmla="*/ 484 w 72741"/>
                <a:gd name="connsiteY3" fmla="*/ 31543 h 32526"/>
                <a:gd name="connsiteX4" fmla="*/ 37 w 72741"/>
                <a:gd name="connsiteY4" fmla="*/ 0 h 32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41" h="32526">
                  <a:moveTo>
                    <a:pt x="37" y="0"/>
                  </a:moveTo>
                  <a:cubicBezTo>
                    <a:pt x="24197" y="0"/>
                    <a:pt x="48358" y="0"/>
                    <a:pt x="72563" y="492"/>
                  </a:cubicBezTo>
                  <a:cubicBezTo>
                    <a:pt x="72608" y="11141"/>
                    <a:pt x="72652" y="21834"/>
                    <a:pt x="72742" y="32527"/>
                  </a:cubicBezTo>
                  <a:cubicBezTo>
                    <a:pt x="48671" y="31543"/>
                    <a:pt x="24555" y="31498"/>
                    <a:pt x="484" y="31543"/>
                  </a:cubicBezTo>
                  <a:cubicBezTo>
                    <a:pt x="-8" y="21029"/>
                    <a:pt x="-52" y="10514"/>
                    <a:pt x="37" y="0"/>
                  </a:cubicBezTo>
                  <a:close/>
                </a:path>
              </a:pathLst>
            </a:custGeom>
            <a:solidFill>
              <a:srgbClr val="7ABA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AFC726E5-1540-C1B9-45CD-192414C968C4}"/>
                </a:ext>
              </a:extLst>
            </p:cNvPr>
            <p:cNvSpPr/>
            <p:nvPr/>
          </p:nvSpPr>
          <p:spPr>
            <a:xfrm flipH="1">
              <a:off x="2265410" y="3118880"/>
              <a:ext cx="33033" cy="40665"/>
            </a:xfrm>
            <a:custGeom>
              <a:avLst/>
              <a:gdLst>
                <a:gd name="connsiteX0" fmla="*/ 0 w 27694"/>
                <a:gd name="connsiteY0" fmla="*/ 33690 h 34092"/>
                <a:gd name="connsiteX1" fmla="*/ 1298 w 27694"/>
                <a:gd name="connsiteY1" fmla="*/ 447 h 34092"/>
                <a:gd name="connsiteX2" fmla="*/ 27069 w 27694"/>
                <a:gd name="connsiteY2" fmla="*/ 0 h 34092"/>
                <a:gd name="connsiteX3" fmla="*/ 27695 w 27694"/>
                <a:gd name="connsiteY3" fmla="*/ 34093 h 34092"/>
                <a:gd name="connsiteX4" fmla="*/ 0 w 27694"/>
                <a:gd name="connsiteY4" fmla="*/ 33690 h 3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4" h="34092">
                  <a:moveTo>
                    <a:pt x="0" y="33690"/>
                  </a:moveTo>
                  <a:cubicBezTo>
                    <a:pt x="268" y="22595"/>
                    <a:pt x="582" y="11499"/>
                    <a:pt x="1298" y="447"/>
                  </a:cubicBezTo>
                  <a:cubicBezTo>
                    <a:pt x="9843" y="268"/>
                    <a:pt x="18433" y="134"/>
                    <a:pt x="27069" y="0"/>
                  </a:cubicBezTo>
                  <a:cubicBezTo>
                    <a:pt x="27292" y="11364"/>
                    <a:pt x="27516" y="22729"/>
                    <a:pt x="27695" y="34093"/>
                  </a:cubicBezTo>
                  <a:cubicBezTo>
                    <a:pt x="18433" y="33869"/>
                    <a:pt x="9217" y="33735"/>
                    <a:pt x="0" y="33690"/>
                  </a:cubicBezTo>
                  <a:close/>
                </a:path>
              </a:pathLst>
            </a:custGeom>
            <a:solidFill>
              <a:srgbClr val="F6FA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FEB6A201-B619-D5F8-CE56-6607AEFF1C51}"/>
                </a:ext>
              </a:extLst>
            </p:cNvPr>
            <p:cNvSpPr/>
            <p:nvPr/>
          </p:nvSpPr>
          <p:spPr>
            <a:xfrm flipH="1">
              <a:off x="2092499" y="3121090"/>
              <a:ext cx="149962" cy="39978"/>
            </a:xfrm>
            <a:custGeom>
              <a:avLst/>
              <a:gdLst>
                <a:gd name="connsiteX0" fmla="*/ 940 w 125723"/>
                <a:gd name="connsiteY0" fmla="*/ 161 h 33516"/>
                <a:gd name="connsiteX1" fmla="*/ 125008 w 125723"/>
                <a:gd name="connsiteY1" fmla="*/ 832 h 33516"/>
                <a:gd name="connsiteX2" fmla="*/ 125276 w 125723"/>
                <a:gd name="connsiteY2" fmla="*/ 14746 h 33516"/>
                <a:gd name="connsiteX3" fmla="*/ 125724 w 125723"/>
                <a:gd name="connsiteY3" fmla="*/ 32464 h 33516"/>
                <a:gd name="connsiteX4" fmla="*/ 87693 w 125723"/>
                <a:gd name="connsiteY4" fmla="*/ 32375 h 33516"/>
                <a:gd name="connsiteX5" fmla="*/ 85993 w 125723"/>
                <a:gd name="connsiteY5" fmla="*/ 6827 h 33516"/>
                <a:gd name="connsiteX6" fmla="*/ 6130 w 125723"/>
                <a:gd name="connsiteY6" fmla="*/ 6827 h 33516"/>
                <a:gd name="connsiteX7" fmla="*/ 6443 w 125723"/>
                <a:gd name="connsiteY7" fmla="*/ 27453 h 33516"/>
                <a:gd name="connsiteX8" fmla="*/ 84875 w 125723"/>
                <a:gd name="connsiteY8" fmla="*/ 27453 h 33516"/>
                <a:gd name="connsiteX9" fmla="*/ 84338 w 125723"/>
                <a:gd name="connsiteY9" fmla="*/ 33046 h 33516"/>
                <a:gd name="connsiteX10" fmla="*/ 0 w 125723"/>
                <a:gd name="connsiteY10" fmla="*/ 31838 h 33516"/>
                <a:gd name="connsiteX11" fmla="*/ 940 w 125723"/>
                <a:gd name="connsiteY11" fmla="*/ 161 h 3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723" h="33516">
                  <a:moveTo>
                    <a:pt x="940" y="161"/>
                  </a:moveTo>
                  <a:cubicBezTo>
                    <a:pt x="42281" y="-242"/>
                    <a:pt x="83667" y="161"/>
                    <a:pt x="125008" y="832"/>
                  </a:cubicBezTo>
                  <a:cubicBezTo>
                    <a:pt x="125097" y="4322"/>
                    <a:pt x="125231" y="11257"/>
                    <a:pt x="125276" y="14746"/>
                  </a:cubicBezTo>
                  <a:cubicBezTo>
                    <a:pt x="125410" y="20608"/>
                    <a:pt x="125545" y="26558"/>
                    <a:pt x="125724" y="32464"/>
                  </a:cubicBezTo>
                  <a:cubicBezTo>
                    <a:pt x="113017" y="32375"/>
                    <a:pt x="100311" y="32330"/>
                    <a:pt x="87693" y="32375"/>
                  </a:cubicBezTo>
                  <a:cubicBezTo>
                    <a:pt x="87112" y="23829"/>
                    <a:pt x="86843" y="15328"/>
                    <a:pt x="85993" y="6827"/>
                  </a:cubicBezTo>
                  <a:cubicBezTo>
                    <a:pt x="59327" y="6424"/>
                    <a:pt x="32706" y="6514"/>
                    <a:pt x="6130" y="6827"/>
                  </a:cubicBezTo>
                  <a:cubicBezTo>
                    <a:pt x="6174" y="13673"/>
                    <a:pt x="6309" y="20563"/>
                    <a:pt x="6443" y="27453"/>
                  </a:cubicBezTo>
                  <a:cubicBezTo>
                    <a:pt x="32572" y="28437"/>
                    <a:pt x="58746" y="27274"/>
                    <a:pt x="84875" y="27453"/>
                  </a:cubicBezTo>
                  <a:lnTo>
                    <a:pt x="84338" y="33046"/>
                  </a:lnTo>
                  <a:cubicBezTo>
                    <a:pt x="56240" y="33806"/>
                    <a:pt x="28053" y="33806"/>
                    <a:pt x="0" y="31838"/>
                  </a:cubicBezTo>
                  <a:cubicBezTo>
                    <a:pt x="313" y="21234"/>
                    <a:pt x="582" y="10720"/>
                    <a:pt x="940" y="161"/>
                  </a:cubicBezTo>
                  <a:close/>
                </a:path>
              </a:pathLst>
            </a:custGeom>
            <a:solidFill>
              <a:srgbClr val="E8E5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3400E746-6415-6A0F-80CE-1DE342A46D51}"/>
                </a:ext>
              </a:extLst>
            </p:cNvPr>
            <p:cNvSpPr/>
            <p:nvPr/>
          </p:nvSpPr>
          <p:spPr>
            <a:xfrm flipH="1">
              <a:off x="2139890" y="3128911"/>
              <a:ext cx="95259" cy="25401"/>
            </a:xfrm>
            <a:custGeom>
              <a:avLst/>
              <a:gdLst>
                <a:gd name="connsiteX0" fmla="*/ 0 w 79863"/>
                <a:gd name="connsiteY0" fmla="*/ 269 h 21295"/>
                <a:gd name="connsiteX1" fmla="*/ 79864 w 79863"/>
                <a:gd name="connsiteY1" fmla="*/ 269 h 21295"/>
                <a:gd name="connsiteX2" fmla="*/ 78745 w 79863"/>
                <a:gd name="connsiteY2" fmla="*/ 20895 h 21295"/>
                <a:gd name="connsiteX3" fmla="*/ 313 w 79863"/>
                <a:gd name="connsiteY3" fmla="*/ 20895 h 21295"/>
                <a:gd name="connsiteX4" fmla="*/ 0 w 79863"/>
                <a:gd name="connsiteY4" fmla="*/ 269 h 21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63" h="21295">
                  <a:moveTo>
                    <a:pt x="0" y="269"/>
                  </a:moveTo>
                  <a:cubicBezTo>
                    <a:pt x="26576" y="-44"/>
                    <a:pt x="53198" y="-133"/>
                    <a:pt x="79864" y="269"/>
                  </a:cubicBezTo>
                  <a:cubicBezTo>
                    <a:pt x="79506" y="7160"/>
                    <a:pt x="79237" y="14005"/>
                    <a:pt x="78745" y="20895"/>
                  </a:cubicBezTo>
                  <a:cubicBezTo>
                    <a:pt x="52616" y="20716"/>
                    <a:pt x="26442" y="21880"/>
                    <a:pt x="313" y="20895"/>
                  </a:cubicBezTo>
                  <a:cubicBezTo>
                    <a:pt x="179" y="14005"/>
                    <a:pt x="45" y="7115"/>
                    <a:pt x="0" y="269"/>
                  </a:cubicBezTo>
                  <a:close/>
                </a:path>
              </a:pathLst>
            </a:custGeom>
            <a:solidFill>
              <a:srgbClr val="F2E5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607A16BD-3CBC-9E5D-4005-0F4B28C59884}"/>
                </a:ext>
              </a:extLst>
            </p:cNvPr>
            <p:cNvSpPr/>
            <p:nvPr/>
          </p:nvSpPr>
          <p:spPr>
            <a:xfrm flipH="1">
              <a:off x="2046195" y="3134197"/>
              <a:ext cx="14873" cy="188546"/>
            </a:xfrm>
            <a:custGeom>
              <a:avLst/>
              <a:gdLst>
                <a:gd name="connsiteX0" fmla="*/ 48 w 12470"/>
                <a:gd name="connsiteY0" fmla="*/ 0 h 158071"/>
                <a:gd name="connsiteX1" fmla="*/ 12352 w 12470"/>
                <a:gd name="connsiteY1" fmla="*/ 2058 h 158071"/>
                <a:gd name="connsiteX2" fmla="*/ 11815 w 12470"/>
                <a:gd name="connsiteY2" fmla="*/ 156953 h 158071"/>
                <a:gd name="connsiteX3" fmla="*/ 629 w 12470"/>
                <a:gd name="connsiteY3" fmla="*/ 158072 h 158071"/>
                <a:gd name="connsiteX4" fmla="*/ 48 w 12470"/>
                <a:gd name="connsiteY4" fmla="*/ 0 h 15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0" h="158071">
                  <a:moveTo>
                    <a:pt x="48" y="0"/>
                  </a:moveTo>
                  <a:cubicBezTo>
                    <a:pt x="3135" y="537"/>
                    <a:pt x="9309" y="1566"/>
                    <a:pt x="12352" y="2058"/>
                  </a:cubicBezTo>
                  <a:cubicBezTo>
                    <a:pt x="12396" y="53690"/>
                    <a:pt x="12799" y="105321"/>
                    <a:pt x="11815" y="156953"/>
                  </a:cubicBezTo>
                  <a:cubicBezTo>
                    <a:pt x="9041" y="157222"/>
                    <a:pt x="3448" y="157803"/>
                    <a:pt x="629" y="158072"/>
                  </a:cubicBezTo>
                  <a:cubicBezTo>
                    <a:pt x="-489" y="105411"/>
                    <a:pt x="272" y="52706"/>
                    <a:pt x="48" y="0"/>
                  </a:cubicBezTo>
                  <a:close/>
                </a:path>
              </a:pathLst>
            </a:custGeom>
            <a:solidFill>
              <a:srgbClr val="DE7E6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079A0238-B4E3-C448-DF5A-75077B726928}"/>
                </a:ext>
              </a:extLst>
            </p:cNvPr>
            <p:cNvSpPr/>
            <p:nvPr/>
          </p:nvSpPr>
          <p:spPr>
            <a:xfrm flipH="1">
              <a:off x="3720360" y="3151647"/>
              <a:ext cx="55366" cy="45714"/>
            </a:xfrm>
            <a:custGeom>
              <a:avLst/>
              <a:gdLst>
                <a:gd name="connsiteX0" fmla="*/ 2482 w 46417"/>
                <a:gd name="connsiteY0" fmla="*/ 16465 h 38325"/>
                <a:gd name="connsiteX1" fmla="*/ 30535 w 46417"/>
                <a:gd name="connsiteY1" fmla="*/ 0 h 38325"/>
                <a:gd name="connsiteX2" fmla="*/ 46418 w 46417"/>
                <a:gd name="connsiteY2" fmla="*/ 25234 h 38325"/>
                <a:gd name="connsiteX3" fmla="*/ 29014 w 46417"/>
                <a:gd name="connsiteY3" fmla="*/ 11722 h 38325"/>
                <a:gd name="connsiteX4" fmla="*/ 18768 w 46417"/>
                <a:gd name="connsiteY4" fmla="*/ 36956 h 38325"/>
                <a:gd name="connsiteX5" fmla="*/ 2482 w 46417"/>
                <a:gd name="connsiteY5" fmla="*/ 16465 h 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7" h="38325">
                  <a:moveTo>
                    <a:pt x="2482" y="16465"/>
                  </a:moveTo>
                  <a:cubicBezTo>
                    <a:pt x="11117" y="9038"/>
                    <a:pt x="26597" y="12975"/>
                    <a:pt x="30535" y="0"/>
                  </a:cubicBezTo>
                  <a:cubicBezTo>
                    <a:pt x="40467" y="4832"/>
                    <a:pt x="43599" y="15436"/>
                    <a:pt x="46418" y="25234"/>
                  </a:cubicBezTo>
                  <a:cubicBezTo>
                    <a:pt x="40467" y="20939"/>
                    <a:pt x="34606" y="16420"/>
                    <a:pt x="29014" y="11722"/>
                  </a:cubicBezTo>
                  <a:cubicBezTo>
                    <a:pt x="28521" y="20984"/>
                    <a:pt x="26463" y="30916"/>
                    <a:pt x="18768" y="36956"/>
                  </a:cubicBezTo>
                  <a:cubicBezTo>
                    <a:pt x="6956" y="43220"/>
                    <a:pt x="-5393" y="26532"/>
                    <a:pt x="2482" y="16465"/>
                  </a:cubicBezTo>
                  <a:close/>
                </a:path>
              </a:pathLst>
            </a:custGeom>
            <a:solidFill>
              <a:srgbClr val="DDE8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95FB3E05-864E-2DA9-A35A-147B32BA3665}"/>
                </a:ext>
              </a:extLst>
            </p:cNvPr>
            <p:cNvSpPr/>
            <p:nvPr/>
          </p:nvSpPr>
          <p:spPr>
            <a:xfrm flipH="1">
              <a:off x="4037202" y="3158745"/>
              <a:ext cx="56141" cy="7471"/>
            </a:xfrm>
            <a:custGeom>
              <a:avLst/>
              <a:gdLst>
                <a:gd name="connsiteX0" fmla="*/ 537 w 47067"/>
                <a:gd name="connsiteY0" fmla="*/ 268 h 6263"/>
                <a:gd name="connsiteX1" fmla="*/ 47068 w 47067"/>
                <a:gd name="connsiteY1" fmla="*/ 0 h 6263"/>
                <a:gd name="connsiteX2" fmla="*/ 46800 w 47067"/>
                <a:gd name="connsiteY2" fmla="*/ 5816 h 6263"/>
                <a:gd name="connsiteX3" fmla="*/ 0 w 47067"/>
                <a:gd name="connsiteY3" fmla="*/ 6264 h 6263"/>
                <a:gd name="connsiteX4" fmla="*/ 537 w 47067"/>
                <a:gd name="connsiteY4" fmla="*/ 268 h 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67" h="6263">
                  <a:moveTo>
                    <a:pt x="537" y="268"/>
                  </a:moveTo>
                  <a:cubicBezTo>
                    <a:pt x="16062" y="134"/>
                    <a:pt x="31543" y="0"/>
                    <a:pt x="47068" y="0"/>
                  </a:cubicBezTo>
                  <a:lnTo>
                    <a:pt x="46800" y="5816"/>
                  </a:lnTo>
                  <a:cubicBezTo>
                    <a:pt x="31185" y="5190"/>
                    <a:pt x="15570" y="5235"/>
                    <a:pt x="0" y="6264"/>
                  </a:cubicBezTo>
                  <a:lnTo>
                    <a:pt x="537" y="268"/>
                  </a:lnTo>
                  <a:close/>
                </a:path>
              </a:pathLst>
            </a:custGeom>
            <a:solidFill>
              <a:srgbClr val="CFCF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83EAAB2C-90B7-1029-D27D-C907E0491ECF}"/>
                </a:ext>
              </a:extLst>
            </p:cNvPr>
            <p:cNvSpPr/>
            <p:nvPr/>
          </p:nvSpPr>
          <p:spPr>
            <a:xfrm flipH="1">
              <a:off x="3836114" y="3167490"/>
              <a:ext cx="180914" cy="41521"/>
            </a:xfrm>
            <a:custGeom>
              <a:avLst/>
              <a:gdLst>
                <a:gd name="connsiteX0" fmla="*/ 0 w 151673"/>
                <a:gd name="connsiteY0" fmla="*/ 7343 h 34810"/>
                <a:gd name="connsiteX1" fmla="*/ 17002 w 151673"/>
                <a:gd name="connsiteY1" fmla="*/ 51 h 34810"/>
                <a:gd name="connsiteX2" fmla="*/ 123531 w 151673"/>
                <a:gd name="connsiteY2" fmla="*/ 274 h 34810"/>
                <a:gd name="connsiteX3" fmla="*/ 139549 w 151673"/>
                <a:gd name="connsiteY3" fmla="*/ 10789 h 34810"/>
                <a:gd name="connsiteX4" fmla="*/ 119683 w 151673"/>
                <a:gd name="connsiteY4" fmla="*/ 11594 h 34810"/>
                <a:gd name="connsiteX5" fmla="*/ 120265 w 151673"/>
                <a:gd name="connsiteY5" fmla="*/ 25822 h 34810"/>
                <a:gd name="connsiteX6" fmla="*/ 142546 w 151673"/>
                <a:gd name="connsiteY6" fmla="*/ 21437 h 34810"/>
                <a:gd name="connsiteX7" fmla="*/ 151674 w 151673"/>
                <a:gd name="connsiteY7" fmla="*/ 17902 h 34810"/>
                <a:gd name="connsiteX8" fmla="*/ 142323 w 151673"/>
                <a:gd name="connsiteY8" fmla="*/ 34233 h 34810"/>
                <a:gd name="connsiteX9" fmla="*/ 99102 w 151673"/>
                <a:gd name="connsiteY9" fmla="*/ 32622 h 34810"/>
                <a:gd name="connsiteX10" fmla="*/ 114404 w 151673"/>
                <a:gd name="connsiteY10" fmla="*/ 8059 h 34810"/>
                <a:gd name="connsiteX11" fmla="*/ 42952 w 151673"/>
                <a:gd name="connsiteY11" fmla="*/ 12891 h 34810"/>
                <a:gd name="connsiteX12" fmla="*/ 20671 w 151673"/>
                <a:gd name="connsiteY12" fmla="*/ 14994 h 34810"/>
                <a:gd name="connsiteX13" fmla="*/ 11767 w 151673"/>
                <a:gd name="connsiteY13" fmla="*/ 29625 h 34810"/>
                <a:gd name="connsiteX14" fmla="*/ 0 w 151673"/>
                <a:gd name="connsiteY14" fmla="*/ 7343 h 3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673" h="34810">
                  <a:moveTo>
                    <a:pt x="0" y="7343"/>
                  </a:moveTo>
                  <a:cubicBezTo>
                    <a:pt x="5235" y="4033"/>
                    <a:pt x="10335" y="-531"/>
                    <a:pt x="17002" y="51"/>
                  </a:cubicBezTo>
                  <a:cubicBezTo>
                    <a:pt x="52527" y="51"/>
                    <a:pt x="88051" y="-84"/>
                    <a:pt x="123531" y="274"/>
                  </a:cubicBezTo>
                  <a:cubicBezTo>
                    <a:pt x="131048" y="-844"/>
                    <a:pt x="135522" y="5599"/>
                    <a:pt x="139549" y="10789"/>
                  </a:cubicBezTo>
                  <a:cubicBezTo>
                    <a:pt x="132927" y="11012"/>
                    <a:pt x="126305" y="11281"/>
                    <a:pt x="119683" y="11594"/>
                  </a:cubicBezTo>
                  <a:cubicBezTo>
                    <a:pt x="119818" y="15129"/>
                    <a:pt x="120131" y="22287"/>
                    <a:pt x="120265" y="25822"/>
                  </a:cubicBezTo>
                  <a:cubicBezTo>
                    <a:pt x="127737" y="24748"/>
                    <a:pt x="135343" y="23987"/>
                    <a:pt x="142546" y="21437"/>
                  </a:cubicBezTo>
                  <a:cubicBezTo>
                    <a:pt x="144828" y="20542"/>
                    <a:pt x="149392" y="18797"/>
                    <a:pt x="151674" y="17902"/>
                  </a:cubicBezTo>
                  <a:cubicBezTo>
                    <a:pt x="148542" y="23271"/>
                    <a:pt x="147826" y="30743"/>
                    <a:pt x="142323" y="34233"/>
                  </a:cubicBezTo>
                  <a:cubicBezTo>
                    <a:pt x="127916" y="36067"/>
                    <a:pt x="113509" y="32980"/>
                    <a:pt x="99102" y="32622"/>
                  </a:cubicBezTo>
                  <a:cubicBezTo>
                    <a:pt x="111630" y="30385"/>
                    <a:pt x="113285" y="18663"/>
                    <a:pt x="114404" y="8059"/>
                  </a:cubicBezTo>
                  <a:cubicBezTo>
                    <a:pt x="90646" y="10520"/>
                    <a:pt x="66799" y="11325"/>
                    <a:pt x="42952" y="12891"/>
                  </a:cubicBezTo>
                  <a:cubicBezTo>
                    <a:pt x="35480" y="13205"/>
                    <a:pt x="28008" y="13876"/>
                    <a:pt x="20671" y="14994"/>
                  </a:cubicBezTo>
                  <a:cubicBezTo>
                    <a:pt x="17404" y="19692"/>
                    <a:pt x="14586" y="24658"/>
                    <a:pt x="11767" y="29625"/>
                  </a:cubicBezTo>
                  <a:cubicBezTo>
                    <a:pt x="7875" y="22153"/>
                    <a:pt x="3982" y="14726"/>
                    <a:pt x="0" y="7343"/>
                  </a:cubicBezTo>
                  <a:close/>
                </a:path>
              </a:pathLst>
            </a:custGeom>
            <a:solidFill>
              <a:srgbClr val="8DA4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0" name="Oval 149">
              <a:extLst>
                <a:ext uri="{FF2B5EF4-FFF2-40B4-BE49-F238E27FC236}">
                  <a16:creationId xmlns:a16="http://schemas.microsoft.com/office/drawing/2014/main" id="{134C66EC-001F-EC3E-CB0F-761F43B9A4AF}"/>
                </a:ext>
              </a:extLst>
            </p:cNvPr>
            <p:cNvSpPr/>
            <p:nvPr/>
          </p:nvSpPr>
          <p:spPr>
            <a:xfrm flipH="1">
              <a:off x="3500444" y="3156626"/>
              <a:ext cx="48283" cy="46615"/>
            </a:xfrm>
            <a:prstGeom prst="ellipse">
              <a:avLst/>
            </a:pr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699FDAA0-E386-A3F7-D07B-759E463632E2}"/>
                </a:ext>
              </a:extLst>
            </p:cNvPr>
            <p:cNvSpPr/>
            <p:nvPr/>
          </p:nvSpPr>
          <p:spPr>
            <a:xfrm flipH="1">
              <a:off x="3029094" y="3166804"/>
              <a:ext cx="161541" cy="60839"/>
            </a:xfrm>
            <a:custGeom>
              <a:avLst/>
              <a:gdLst>
                <a:gd name="connsiteX0" fmla="*/ 58925 w 135432"/>
                <a:gd name="connsiteY0" fmla="*/ 0 h 51005"/>
                <a:gd name="connsiteX1" fmla="*/ 102279 w 135432"/>
                <a:gd name="connsiteY1" fmla="*/ 11812 h 51005"/>
                <a:gd name="connsiteX2" fmla="*/ 135432 w 135432"/>
                <a:gd name="connsiteY2" fmla="*/ 6040 h 51005"/>
                <a:gd name="connsiteX3" fmla="*/ 86217 w 135432"/>
                <a:gd name="connsiteY3" fmla="*/ 29037 h 51005"/>
                <a:gd name="connsiteX4" fmla="*/ 49439 w 135432"/>
                <a:gd name="connsiteY4" fmla="*/ 30424 h 51005"/>
                <a:gd name="connsiteX5" fmla="*/ 14273 w 135432"/>
                <a:gd name="connsiteY5" fmla="*/ 51005 h 51005"/>
                <a:gd name="connsiteX6" fmla="*/ 1745 w 135432"/>
                <a:gd name="connsiteY6" fmla="*/ 44160 h 51005"/>
                <a:gd name="connsiteX7" fmla="*/ 0 w 135432"/>
                <a:gd name="connsiteY7" fmla="*/ 20268 h 51005"/>
                <a:gd name="connsiteX8" fmla="*/ 58925 w 135432"/>
                <a:gd name="connsiteY8" fmla="*/ 0 h 5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432" h="51005">
                  <a:moveTo>
                    <a:pt x="58925" y="0"/>
                  </a:moveTo>
                  <a:cubicBezTo>
                    <a:pt x="74137" y="582"/>
                    <a:pt x="87156" y="10648"/>
                    <a:pt x="102279" y="11812"/>
                  </a:cubicBezTo>
                  <a:cubicBezTo>
                    <a:pt x="113554" y="11588"/>
                    <a:pt x="124516" y="8546"/>
                    <a:pt x="135432" y="6040"/>
                  </a:cubicBezTo>
                  <a:cubicBezTo>
                    <a:pt x="120220" y="15660"/>
                    <a:pt x="105321" y="29082"/>
                    <a:pt x="86217" y="29037"/>
                  </a:cubicBezTo>
                  <a:cubicBezTo>
                    <a:pt x="74002" y="29843"/>
                    <a:pt x="61206" y="26129"/>
                    <a:pt x="49439" y="30424"/>
                  </a:cubicBezTo>
                  <a:cubicBezTo>
                    <a:pt x="37896" y="37628"/>
                    <a:pt x="27292" y="46442"/>
                    <a:pt x="14273" y="51005"/>
                  </a:cubicBezTo>
                  <a:cubicBezTo>
                    <a:pt x="11141" y="49305"/>
                    <a:pt x="4877" y="45860"/>
                    <a:pt x="1745" y="44160"/>
                  </a:cubicBezTo>
                  <a:cubicBezTo>
                    <a:pt x="1208" y="36151"/>
                    <a:pt x="626" y="28187"/>
                    <a:pt x="0" y="20268"/>
                  </a:cubicBezTo>
                  <a:cubicBezTo>
                    <a:pt x="16375" y="6443"/>
                    <a:pt x="37807" y="671"/>
                    <a:pt x="58925" y="0"/>
                  </a:cubicBezTo>
                  <a:close/>
                </a:path>
              </a:pathLst>
            </a:custGeom>
            <a:solidFill>
              <a:srgbClr val="3858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42AAAA8F-1687-3D89-ADEB-A10D1014FF66}"/>
                </a:ext>
              </a:extLst>
            </p:cNvPr>
            <p:cNvSpPr/>
            <p:nvPr/>
          </p:nvSpPr>
          <p:spPr>
            <a:xfrm flipH="1">
              <a:off x="3300266" y="3171446"/>
              <a:ext cx="71659" cy="62119"/>
            </a:xfrm>
            <a:custGeom>
              <a:avLst/>
              <a:gdLst>
                <a:gd name="connsiteX0" fmla="*/ 43220 w 60077"/>
                <a:gd name="connsiteY0" fmla="*/ 29932 h 52079"/>
                <a:gd name="connsiteX1" fmla="*/ 59998 w 60077"/>
                <a:gd name="connsiteY1" fmla="*/ 0 h 52079"/>
                <a:gd name="connsiteX2" fmla="*/ 59640 w 60077"/>
                <a:gd name="connsiteY2" fmla="*/ 52079 h 52079"/>
                <a:gd name="connsiteX3" fmla="*/ 55032 w 60077"/>
                <a:gd name="connsiteY3" fmla="*/ 52079 h 52079"/>
                <a:gd name="connsiteX4" fmla="*/ 0 w 60077"/>
                <a:gd name="connsiteY4" fmla="*/ 51408 h 52079"/>
                <a:gd name="connsiteX5" fmla="*/ 1253 w 60077"/>
                <a:gd name="connsiteY5" fmla="*/ 8680 h 52079"/>
                <a:gd name="connsiteX6" fmla="*/ 10827 w 60077"/>
                <a:gd name="connsiteY6" fmla="*/ 11185 h 52079"/>
                <a:gd name="connsiteX7" fmla="*/ 9530 w 60077"/>
                <a:gd name="connsiteY7" fmla="*/ 29798 h 52079"/>
                <a:gd name="connsiteX8" fmla="*/ 43220 w 60077"/>
                <a:gd name="connsiteY8" fmla="*/ 29932 h 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77" h="52079">
                  <a:moveTo>
                    <a:pt x="43220" y="29932"/>
                  </a:moveTo>
                  <a:cubicBezTo>
                    <a:pt x="46307" y="18389"/>
                    <a:pt x="44115" y="984"/>
                    <a:pt x="59998" y="0"/>
                  </a:cubicBezTo>
                  <a:cubicBezTo>
                    <a:pt x="60267" y="17360"/>
                    <a:pt x="59775" y="34719"/>
                    <a:pt x="59640" y="52079"/>
                  </a:cubicBezTo>
                  <a:lnTo>
                    <a:pt x="55032" y="52079"/>
                  </a:lnTo>
                  <a:cubicBezTo>
                    <a:pt x="36688" y="51855"/>
                    <a:pt x="18299" y="51945"/>
                    <a:pt x="0" y="51408"/>
                  </a:cubicBezTo>
                  <a:cubicBezTo>
                    <a:pt x="89" y="37135"/>
                    <a:pt x="671" y="22908"/>
                    <a:pt x="1253" y="8680"/>
                  </a:cubicBezTo>
                  <a:cubicBezTo>
                    <a:pt x="3669" y="9306"/>
                    <a:pt x="8456" y="10559"/>
                    <a:pt x="10827" y="11185"/>
                  </a:cubicBezTo>
                  <a:cubicBezTo>
                    <a:pt x="10380" y="17360"/>
                    <a:pt x="9933" y="23579"/>
                    <a:pt x="9530" y="29798"/>
                  </a:cubicBezTo>
                  <a:cubicBezTo>
                    <a:pt x="20715" y="30066"/>
                    <a:pt x="31945" y="30111"/>
                    <a:pt x="43220" y="29932"/>
                  </a:cubicBezTo>
                  <a:close/>
                </a:path>
              </a:pathLst>
            </a:custGeom>
            <a:solidFill>
              <a:srgbClr val="FE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EA03D7FD-28B0-49A6-B53F-531836F78059}"/>
                </a:ext>
              </a:extLst>
            </p:cNvPr>
            <p:cNvSpPr/>
            <p:nvPr/>
          </p:nvSpPr>
          <p:spPr>
            <a:xfrm flipH="1">
              <a:off x="1847758" y="3913570"/>
              <a:ext cx="240266" cy="155654"/>
            </a:xfrm>
            <a:custGeom>
              <a:avLst/>
              <a:gdLst>
                <a:gd name="connsiteX0" fmla="*/ 28820 w 201432"/>
                <a:gd name="connsiteY0" fmla="*/ 4385 h 130495"/>
                <a:gd name="connsiteX1" fmla="*/ 78975 w 201432"/>
                <a:gd name="connsiteY1" fmla="*/ 3625 h 130495"/>
                <a:gd name="connsiteX2" fmla="*/ 89624 w 201432"/>
                <a:gd name="connsiteY2" fmla="*/ 9307 h 130495"/>
                <a:gd name="connsiteX3" fmla="*/ 141345 w 201432"/>
                <a:gd name="connsiteY3" fmla="*/ 62773 h 130495"/>
                <a:gd name="connsiteX4" fmla="*/ 142419 w 201432"/>
                <a:gd name="connsiteY4" fmla="*/ 68768 h 130495"/>
                <a:gd name="connsiteX5" fmla="*/ 125462 w 201432"/>
                <a:gd name="connsiteY5" fmla="*/ 69439 h 130495"/>
                <a:gd name="connsiteX6" fmla="*/ 126536 w 201432"/>
                <a:gd name="connsiteY6" fmla="*/ 97582 h 130495"/>
                <a:gd name="connsiteX7" fmla="*/ 103717 w 201432"/>
                <a:gd name="connsiteY7" fmla="*/ 119147 h 130495"/>
                <a:gd name="connsiteX8" fmla="*/ 201433 w 201432"/>
                <a:gd name="connsiteY8" fmla="*/ 118476 h 130495"/>
                <a:gd name="connsiteX9" fmla="*/ 200762 w 201432"/>
                <a:gd name="connsiteY9" fmla="*/ 122861 h 130495"/>
                <a:gd name="connsiteX10" fmla="*/ 179107 w 201432"/>
                <a:gd name="connsiteY10" fmla="*/ 129303 h 130495"/>
                <a:gd name="connsiteX11" fmla="*/ 117408 w 201432"/>
                <a:gd name="connsiteY11" fmla="*/ 127738 h 130495"/>
                <a:gd name="connsiteX12" fmla="*/ 69356 w 201432"/>
                <a:gd name="connsiteY12" fmla="*/ 130467 h 130495"/>
                <a:gd name="connsiteX13" fmla="*/ 18709 w 201432"/>
                <a:gd name="connsiteY13" fmla="*/ 129840 h 130495"/>
                <a:gd name="connsiteX14" fmla="*/ 410 w 201432"/>
                <a:gd name="connsiteY14" fmla="*/ 70961 h 130495"/>
                <a:gd name="connsiteX15" fmla="*/ 28820 w 201432"/>
                <a:gd name="connsiteY15" fmla="*/ 4385 h 130495"/>
                <a:gd name="connsiteX16" fmla="*/ 34234 w 201432"/>
                <a:gd name="connsiteY16" fmla="*/ 13826 h 130495"/>
                <a:gd name="connsiteX17" fmla="*/ 9626 w 201432"/>
                <a:gd name="connsiteY17" fmla="*/ 79775 h 130495"/>
                <a:gd name="connsiteX18" fmla="*/ 55218 w 201432"/>
                <a:gd name="connsiteY18" fmla="*/ 93555 h 130495"/>
                <a:gd name="connsiteX19" fmla="*/ 72712 w 201432"/>
                <a:gd name="connsiteY19" fmla="*/ 31007 h 130495"/>
                <a:gd name="connsiteX20" fmla="*/ 34234 w 201432"/>
                <a:gd name="connsiteY20" fmla="*/ 13826 h 130495"/>
                <a:gd name="connsiteX21" fmla="*/ 105373 w 201432"/>
                <a:gd name="connsiteY21" fmla="*/ 77940 h 130495"/>
                <a:gd name="connsiteX22" fmla="*/ 108147 w 201432"/>
                <a:gd name="connsiteY22" fmla="*/ 93823 h 130495"/>
                <a:gd name="connsiteX23" fmla="*/ 105373 w 201432"/>
                <a:gd name="connsiteY23" fmla="*/ 77940 h 13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1432" h="130495">
                  <a:moveTo>
                    <a:pt x="28820" y="4385"/>
                  </a:moveTo>
                  <a:cubicBezTo>
                    <a:pt x="44972" y="-1118"/>
                    <a:pt x="62645" y="-1521"/>
                    <a:pt x="78975" y="3625"/>
                  </a:cubicBezTo>
                  <a:cubicBezTo>
                    <a:pt x="82555" y="5370"/>
                    <a:pt x="86089" y="7294"/>
                    <a:pt x="89624" y="9307"/>
                  </a:cubicBezTo>
                  <a:cubicBezTo>
                    <a:pt x="111726" y="22058"/>
                    <a:pt x="122643" y="46308"/>
                    <a:pt x="141345" y="62773"/>
                  </a:cubicBezTo>
                  <a:cubicBezTo>
                    <a:pt x="141614" y="64249"/>
                    <a:pt x="142150" y="67247"/>
                    <a:pt x="142419" y="68768"/>
                  </a:cubicBezTo>
                  <a:cubicBezTo>
                    <a:pt x="136737" y="68947"/>
                    <a:pt x="131055" y="69171"/>
                    <a:pt x="125462" y="69439"/>
                  </a:cubicBezTo>
                  <a:cubicBezTo>
                    <a:pt x="125730" y="78790"/>
                    <a:pt x="126088" y="88186"/>
                    <a:pt x="126536" y="97582"/>
                  </a:cubicBezTo>
                  <a:cubicBezTo>
                    <a:pt x="119288" y="105143"/>
                    <a:pt x="111413" y="112078"/>
                    <a:pt x="103717" y="119147"/>
                  </a:cubicBezTo>
                  <a:cubicBezTo>
                    <a:pt x="136245" y="117223"/>
                    <a:pt x="169398" y="126529"/>
                    <a:pt x="201433" y="118476"/>
                  </a:cubicBezTo>
                  <a:cubicBezTo>
                    <a:pt x="201254" y="119550"/>
                    <a:pt x="200896" y="121742"/>
                    <a:pt x="200762" y="122861"/>
                  </a:cubicBezTo>
                  <a:cubicBezTo>
                    <a:pt x="193603" y="125277"/>
                    <a:pt x="186355" y="127469"/>
                    <a:pt x="179107" y="129303"/>
                  </a:cubicBezTo>
                  <a:cubicBezTo>
                    <a:pt x="158481" y="131406"/>
                    <a:pt x="137989" y="127648"/>
                    <a:pt x="117408" y="127738"/>
                  </a:cubicBezTo>
                  <a:cubicBezTo>
                    <a:pt x="101301" y="127558"/>
                    <a:pt x="85373" y="130019"/>
                    <a:pt x="69356" y="130467"/>
                  </a:cubicBezTo>
                  <a:cubicBezTo>
                    <a:pt x="52444" y="130646"/>
                    <a:pt x="35576" y="129930"/>
                    <a:pt x="18709" y="129840"/>
                  </a:cubicBezTo>
                  <a:cubicBezTo>
                    <a:pt x="1528" y="115702"/>
                    <a:pt x="3318" y="90960"/>
                    <a:pt x="410" y="70961"/>
                  </a:cubicBezTo>
                  <a:cubicBezTo>
                    <a:pt x="-2454" y="45279"/>
                    <a:pt x="9984" y="21074"/>
                    <a:pt x="28820" y="4385"/>
                  </a:cubicBezTo>
                  <a:close/>
                  <a:moveTo>
                    <a:pt x="34234" y="13826"/>
                  </a:moveTo>
                  <a:cubicBezTo>
                    <a:pt x="11326" y="26085"/>
                    <a:pt x="3183" y="55748"/>
                    <a:pt x="9626" y="79775"/>
                  </a:cubicBezTo>
                  <a:cubicBezTo>
                    <a:pt x="15264" y="98029"/>
                    <a:pt x="40140" y="103532"/>
                    <a:pt x="55218" y="93555"/>
                  </a:cubicBezTo>
                  <a:cubicBezTo>
                    <a:pt x="75530" y="80759"/>
                    <a:pt x="79334" y="52348"/>
                    <a:pt x="72712" y="31007"/>
                  </a:cubicBezTo>
                  <a:cubicBezTo>
                    <a:pt x="67745" y="15660"/>
                    <a:pt x="49178" y="4564"/>
                    <a:pt x="34234" y="13826"/>
                  </a:cubicBezTo>
                  <a:close/>
                  <a:moveTo>
                    <a:pt x="105373" y="77940"/>
                  </a:moveTo>
                  <a:cubicBezTo>
                    <a:pt x="101704" y="82370"/>
                    <a:pt x="102241" y="91363"/>
                    <a:pt x="108147" y="93823"/>
                  </a:cubicBezTo>
                  <a:cubicBezTo>
                    <a:pt x="114903" y="92392"/>
                    <a:pt x="111368" y="77359"/>
                    <a:pt x="105373" y="77940"/>
                  </a:cubicBezTo>
                  <a:close/>
                </a:path>
              </a:pathLst>
            </a:custGeom>
            <a:solidFill>
              <a:srgbClr val="FE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EB4A0430-08D9-E97E-723E-F72E04127704}"/>
                </a:ext>
              </a:extLst>
            </p:cNvPr>
            <p:cNvSpPr/>
            <p:nvPr/>
          </p:nvSpPr>
          <p:spPr>
            <a:xfrm flipH="1">
              <a:off x="2918142" y="3176195"/>
              <a:ext cx="31967" cy="13021"/>
            </a:xfrm>
            <a:custGeom>
              <a:avLst/>
              <a:gdLst>
                <a:gd name="connsiteX0" fmla="*/ 0 w 26800"/>
                <a:gd name="connsiteY0" fmla="*/ 671 h 10916"/>
                <a:gd name="connsiteX1" fmla="*/ 26800 w 26800"/>
                <a:gd name="connsiteY1" fmla="*/ 0 h 10916"/>
                <a:gd name="connsiteX2" fmla="*/ 26308 w 26800"/>
                <a:gd name="connsiteY2" fmla="*/ 10917 h 10916"/>
                <a:gd name="connsiteX3" fmla="*/ 0 w 26800"/>
                <a:gd name="connsiteY3" fmla="*/ 671 h 10916"/>
              </a:gdLst>
              <a:ahLst/>
              <a:cxnLst>
                <a:cxn ang="0">
                  <a:pos x="connsiteX0" y="connsiteY0"/>
                </a:cxn>
                <a:cxn ang="0">
                  <a:pos x="connsiteX1" y="connsiteY1"/>
                </a:cxn>
                <a:cxn ang="0">
                  <a:pos x="connsiteX2" y="connsiteY2"/>
                </a:cxn>
                <a:cxn ang="0">
                  <a:pos x="connsiteX3" y="connsiteY3"/>
                </a:cxn>
              </a:cxnLst>
              <a:rect l="l" t="t" r="r" b="b"/>
              <a:pathLst>
                <a:path w="26800" h="10916">
                  <a:moveTo>
                    <a:pt x="0" y="671"/>
                  </a:moveTo>
                  <a:cubicBezTo>
                    <a:pt x="8904" y="179"/>
                    <a:pt x="17852" y="89"/>
                    <a:pt x="26800" y="0"/>
                  </a:cubicBezTo>
                  <a:cubicBezTo>
                    <a:pt x="26666" y="2729"/>
                    <a:pt x="26442" y="8188"/>
                    <a:pt x="26308" y="10917"/>
                  </a:cubicBezTo>
                  <a:cubicBezTo>
                    <a:pt x="17181" y="8546"/>
                    <a:pt x="5235" y="10201"/>
                    <a:pt x="0" y="671"/>
                  </a:cubicBezTo>
                  <a:close/>
                </a:path>
              </a:pathLst>
            </a:custGeom>
            <a:solidFill>
              <a:srgbClr val="A1B6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FABD4C82-1B56-206D-080B-E07EE6DBFF93}"/>
                </a:ext>
              </a:extLst>
            </p:cNvPr>
            <p:cNvSpPr/>
            <p:nvPr/>
          </p:nvSpPr>
          <p:spPr>
            <a:xfrm flipH="1">
              <a:off x="3953200" y="3182867"/>
              <a:ext cx="39171" cy="21826"/>
            </a:xfrm>
            <a:custGeom>
              <a:avLst/>
              <a:gdLst>
                <a:gd name="connsiteX0" fmla="*/ 0 w 32840"/>
                <a:gd name="connsiteY0" fmla="*/ 2103 h 18299"/>
                <a:gd name="connsiteX1" fmla="*/ 22281 w 32840"/>
                <a:gd name="connsiteY1" fmla="*/ 0 h 18299"/>
                <a:gd name="connsiteX2" fmla="*/ 32840 w 32840"/>
                <a:gd name="connsiteY2" fmla="*/ 6935 h 18299"/>
                <a:gd name="connsiteX3" fmla="*/ 1566 w 32840"/>
                <a:gd name="connsiteY3" fmla="*/ 18299 h 18299"/>
                <a:gd name="connsiteX4" fmla="*/ 0 w 32840"/>
                <a:gd name="connsiteY4" fmla="*/ 2103 h 1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40" h="18299">
                  <a:moveTo>
                    <a:pt x="0" y="2103"/>
                  </a:moveTo>
                  <a:cubicBezTo>
                    <a:pt x="7338" y="984"/>
                    <a:pt x="14810" y="313"/>
                    <a:pt x="22281" y="0"/>
                  </a:cubicBezTo>
                  <a:cubicBezTo>
                    <a:pt x="25905" y="2148"/>
                    <a:pt x="29395" y="4474"/>
                    <a:pt x="32840" y="6935"/>
                  </a:cubicBezTo>
                  <a:cubicBezTo>
                    <a:pt x="23221" y="12662"/>
                    <a:pt x="12617" y="16465"/>
                    <a:pt x="1566" y="18299"/>
                  </a:cubicBezTo>
                  <a:cubicBezTo>
                    <a:pt x="1163" y="14228"/>
                    <a:pt x="358" y="6174"/>
                    <a:pt x="0" y="2103"/>
                  </a:cubicBezTo>
                  <a:close/>
                </a:path>
              </a:pathLst>
            </a:custGeom>
            <a:solidFill>
              <a:srgbClr val="4777A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A41F42D5-1B01-59F7-D28B-AA39C760FAD8}"/>
                </a:ext>
              </a:extLst>
            </p:cNvPr>
            <p:cNvSpPr/>
            <p:nvPr/>
          </p:nvSpPr>
          <p:spPr>
            <a:xfrm flipH="1">
              <a:off x="3845612" y="3180145"/>
              <a:ext cx="28657" cy="18145"/>
            </a:xfrm>
            <a:custGeom>
              <a:avLst/>
              <a:gdLst>
                <a:gd name="connsiteX0" fmla="*/ 0 w 24026"/>
                <a:gd name="connsiteY0" fmla="*/ 984 h 15212"/>
                <a:gd name="connsiteX1" fmla="*/ 19865 w 24026"/>
                <a:gd name="connsiteY1" fmla="*/ 179 h 15212"/>
                <a:gd name="connsiteX2" fmla="*/ 24026 w 24026"/>
                <a:gd name="connsiteY2" fmla="*/ 0 h 15212"/>
                <a:gd name="connsiteX3" fmla="*/ 22863 w 24026"/>
                <a:gd name="connsiteY3" fmla="*/ 10827 h 15212"/>
                <a:gd name="connsiteX4" fmla="*/ 582 w 24026"/>
                <a:gd name="connsiteY4" fmla="*/ 15212 h 15212"/>
                <a:gd name="connsiteX5" fmla="*/ 0 w 24026"/>
                <a:gd name="connsiteY5" fmla="*/ 984 h 1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26" h="15212">
                  <a:moveTo>
                    <a:pt x="0" y="984"/>
                  </a:moveTo>
                  <a:cubicBezTo>
                    <a:pt x="6622" y="671"/>
                    <a:pt x="13244" y="403"/>
                    <a:pt x="19865" y="179"/>
                  </a:cubicBezTo>
                  <a:lnTo>
                    <a:pt x="24026" y="0"/>
                  </a:lnTo>
                  <a:cubicBezTo>
                    <a:pt x="23758" y="2729"/>
                    <a:pt x="23131" y="8098"/>
                    <a:pt x="22863" y="10827"/>
                  </a:cubicBezTo>
                  <a:cubicBezTo>
                    <a:pt x="15660" y="13378"/>
                    <a:pt x="8054" y="14138"/>
                    <a:pt x="582" y="15212"/>
                  </a:cubicBezTo>
                  <a:cubicBezTo>
                    <a:pt x="447" y="11677"/>
                    <a:pt x="134" y="4519"/>
                    <a:pt x="0" y="984"/>
                  </a:cubicBezTo>
                  <a:close/>
                </a:path>
              </a:pathLst>
            </a:custGeom>
            <a:solidFill>
              <a:srgbClr val="6384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FE9A44A7-9B36-5CA2-45EF-A65B757B0FDD}"/>
                </a:ext>
              </a:extLst>
            </p:cNvPr>
            <p:cNvSpPr/>
            <p:nvPr/>
          </p:nvSpPr>
          <p:spPr>
            <a:xfrm flipH="1">
              <a:off x="3379556" y="3177371"/>
              <a:ext cx="79570" cy="65694"/>
            </a:xfrm>
            <a:custGeom>
              <a:avLst/>
              <a:gdLst>
                <a:gd name="connsiteX0" fmla="*/ 0 w 66709"/>
                <a:gd name="connsiteY0" fmla="*/ 2819 h 55076"/>
                <a:gd name="connsiteX1" fmla="*/ 12886 w 66709"/>
                <a:gd name="connsiteY1" fmla="*/ 1611 h 55076"/>
                <a:gd name="connsiteX2" fmla="*/ 16196 w 66709"/>
                <a:gd name="connsiteY2" fmla="*/ 28814 h 55076"/>
                <a:gd name="connsiteX3" fmla="*/ 48231 w 66709"/>
                <a:gd name="connsiteY3" fmla="*/ 24384 h 55076"/>
                <a:gd name="connsiteX4" fmla="*/ 53198 w 66709"/>
                <a:gd name="connsiteY4" fmla="*/ 0 h 55076"/>
                <a:gd name="connsiteX5" fmla="*/ 66710 w 66709"/>
                <a:gd name="connsiteY5" fmla="*/ 761 h 55076"/>
                <a:gd name="connsiteX6" fmla="*/ 63712 w 66709"/>
                <a:gd name="connsiteY6" fmla="*/ 55077 h 55076"/>
                <a:gd name="connsiteX7" fmla="*/ 1745 w 66709"/>
                <a:gd name="connsiteY7" fmla="*/ 46979 h 55076"/>
                <a:gd name="connsiteX8" fmla="*/ 0 w 66709"/>
                <a:gd name="connsiteY8" fmla="*/ 2819 h 5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709" h="55076">
                  <a:moveTo>
                    <a:pt x="0" y="2819"/>
                  </a:moveTo>
                  <a:cubicBezTo>
                    <a:pt x="3221" y="2550"/>
                    <a:pt x="9664" y="1924"/>
                    <a:pt x="12886" y="1611"/>
                  </a:cubicBezTo>
                  <a:cubicBezTo>
                    <a:pt x="13870" y="10648"/>
                    <a:pt x="14988" y="19731"/>
                    <a:pt x="16196" y="28814"/>
                  </a:cubicBezTo>
                  <a:cubicBezTo>
                    <a:pt x="26755" y="27426"/>
                    <a:pt x="38388" y="29037"/>
                    <a:pt x="48231" y="24384"/>
                  </a:cubicBezTo>
                  <a:cubicBezTo>
                    <a:pt x="50692" y="16420"/>
                    <a:pt x="51766" y="8143"/>
                    <a:pt x="53198" y="0"/>
                  </a:cubicBezTo>
                  <a:cubicBezTo>
                    <a:pt x="56598" y="179"/>
                    <a:pt x="63309" y="582"/>
                    <a:pt x="66710" y="761"/>
                  </a:cubicBezTo>
                  <a:cubicBezTo>
                    <a:pt x="63622" y="18657"/>
                    <a:pt x="60714" y="36912"/>
                    <a:pt x="63712" y="55077"/>
                  </a:cubicBezTo>
                  <a:cubicBezTo>
                    <a:pt x="46486" y="39954"/>
                    <a:pt x="22281" y="50871"/>
                    <a:pt x="1745" y="46979"/>
                  </a:cubicBezTo>
                  <a:cubicBezTo>
                    <a:pt x="1119" y="32259"/>
                    <a:pt x="268" y="17539"/>
                    <a:pt x="0" y="2819"/>
                  </a:cubicBezTo>
                  <a:close/>
                </a:path>
              </a:pathLst>
            </a:custGeom>
            <a:solidFill>
              <a:srgbClr val="FEFE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8" name="Freeform: Shape 157">
              <a:extLst>
                <a:ext uri="{FF2B5EF4-FFF2-40B4-BE49-F238E27FC236}">
                  <a16:creationId xmlns:a16="http://schemas.microsoft.com/office/drawing/2014/main" id="{1F895482-BD24-2C1F-D788-D14D2926CF17}"/>
                </a:ext>
              </a:extLst>
            </p:cNvPr>
            <p:cNvSpPr/>
            <p:nvPr/>
          </p:nvSpPr>
          <p:spPr>
            <a:xfrm flipH="1">
              <a:off x="2335639" y="3178972"/>
              <a:ext cx="62119" cy="16649"/>
            </a:xfrm>
            <a:custGeom>
              <a:avLst/>
              <a:gdLst>
                <a:gd name="connsiteX0" fmla="*/ 0 w 52079"/>
                <a:gd name="connsiteY0" fmla="*/ 0 h 13959"/>
                <a:gd name="connsiteX1" fmla="*/ 52079 w 52079"/>
                <a:gd name="connsiteY1" fmla="*/ 11722 h 13959"/>
                <a:gd name="connsiteX2" fmla="*/ 2461 w 52079"/>
                <a:gd name="connsiteY2" fmla="*/ 13959 h 13959"/>
                <a:gd name="connsiteX3" fmla="*/ 0 w 52079"/>
                <a:gd name="connsiteY3" fmla="*/ 0 h 13959"/>
              </a:gdLst>
              <a:ahLst/>
              <a:cxnLst>
                <a:cxn ang="0">
                  <a:pos x="connsiteX0" y="connsiteY0"/>
                </a:cxn>
                <a:cxn ang="0">
                  <a:pos x="connsiteX1" y="connsiteY1"/>
                </a:cxn>
                <a:cxn ang="0">
                  <a:pos x="connsiteX2" y="connsiteY2"/>
                </a:cxn>
                <a:cxn ang="0">
                  <a:pos x="connsiteX3" y="connsiteY3"/>
                </a:cxn>
              </a:cxnLst>
              <a:rect l="l" t="t" r="r" b="b"/>
              <a:pathLst>
                <a:path w="52079" h="13959">
                  <a:moveTo>
                    <a:pt x="0" y="0"/>
                  </a:moveTo>
                  <a:cubicBezTo>
                    <a:pt x="17628" y="2595"/>
                    <a:pt x="34988" y="6711"/>
                    <a:pt x="52079" y="11722"/>
                  </a:cubicBezTo>
                  <a:cubicBezTo>
                    <a:pt x="35570" y="13467"/>
                    <a:pt x="19015" y="13557"/>
                    <a:pt x="2461" y="13959"/>
                  </a:cubicBezTo>
                  <a:cubicBezTo>
                    <a:pt x="1834" y="10469"/>
                    <a:pt x="626" y="3490"/>
                    <a:pt x="0" y="0"/>
                  </a:cubicBezTo>
                  <a:close/>
                </a:path>
              </a:pathLst>
            </a:custGeom>
            <a:solidFill>
              <a:srgbClr val="B2C0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9" name="Freeform: Shape 158">
              <a:extLst>
                <a:ext uri="{FF2B5EF4-FFF2-40B4-BE49-F238E27FC236}">
                  <a16:creationId xmlns:a16="http://schemas.microsoft.com/office/drawing/2014/main" id="{6B42E448-EB49-B012-4CF2-108A7152B3A6}"/>
                </a:ext>
              </a:extLst>
            </p:cNvPr>
            <p:cNvSpPr/>
            <p:nvPr/>
          </p:nvSpPr>
          <p:spPr>
            <a:xfrm flipH="1">
              <a:off x="3173612" y="3186762"/>
              <a:ext cx="304300" cy="179649"/>
            </a:xfrm>
            <a:custGeom>
              <a:avLst/>
              <a:gdLst>
                <a:gd name="connsiteX0" fmla="*/ 157535 w 255115"/>
                <a:gd name="connsiteY0" fmla="*/ 1298 h 150613"/>
                <a:gd name="connsiteX1" fmla="*/ 164201 w 255115"/>
                <a:gd name="connsiteY1" fmla="*/ 0 h 150613"/>
                <a:gd name="connsiteX2" fmla="*/ 162814 w 255115"/>
                <a:gd name="connsiteY2" fmla="*/ 37762 h 150613"/>
                <a:gd name="connsiteX3" fmla="*/ 193462 w 255115"/>
                <a:gd name="connsiteY3" fmla="*/ 40088 h 150613"/>
                <a:gd name="connsiteX4" fmla="*/ 226526 w 255115"/>
                <a:gd name="connsiteY4" fmla="*/ 48500 h 150613"/>
                <a:gd name="connsiteX5" fmla="*/ 237488 w 255115"/>
                <a:gd name="connsiteY5" fmla="*/ 4071 h 150613"/>
                <a:gd name="connsiteX6" fmla="*/ 243080 w 255115"/>
                <a:gd name="connsiteY6" fmla="*/ 35793 h 150613"/>
                <a:gd name="connsiteX7" fmla="*/ 242588 w 255115"/>
                <a:gd name="connsiteY7" fmla="*/ 27427 h 150613"/>
                <a:gd name="connsiteX8" fmla="*/ 255116 w 255115"/>
                <a:gd name="connsiteY8" fmla="*/ 34272 h 150613"/>
                <a:gd name="connsiteX9" fmla="*/ 252208 w 255115"/>
                <a:gd name="connsiteY9" fmla="*/ 35659 h 150613"/>
                <a:gd name="connsiteX10" fmla="*/ 235564 w 255115"/>
                <a:gd name="connsiteY10" fmla="*/ 112301 h 150613"/>
                <a:gd name="connsiteX11" fmla="*/ 244512 w 255115"/>
                <a:gd name="connsiteY11" fmla="*/ 150510 h 150613"/>
                <a:gd name="connsiteX12" fmla="*/ 0 w 255115"/>
                <a:gd name="connsiteY12" fmla="*/ 150510 h 150613"/>
                <a:gd name="connsiteX13" fmla="*/ 134 w 255115"/>
                <a:gd name="connsiteY13" fmla="*/ 147915 h 150613"/>
                <a:gd name="connsiteX14" fmla="*/ 8411 w 255115"/>
                <a:gd name="connsiteY14" fmla="*/ 147602 h 150613"/>
                <a:gd name="connsiteX15" fmla="*/ 43936 w 255115"/>
                <a:gd name="connsiteY15" fmla="*/ 144068 h 150613"/>
                <a:gd name="connsiteX16" fmla="*/ 117178 w 255115"/>
                <a:gd name="connsiteY16" fmla="*/ 81787 h 150613"/>
                <a:gd name="connsiteX17" fmla="*/ 112391 w 255115"/>
                <a:gd name="connsiteY17" fmla="*/ 68678 h 150613"/>
                <a:gd name="connsiteX18" fmla="*/ 149526 w 255115"/>
                <a:gd name="connsiteY18" fmla="*/ 63712 h 150613"/>
                <a:gd name="connsiteX19" fmla="*/ 143889 w 255115"/>
                <a:gd name="connsiteY19" fmla="*/ 39238 h 150613"/>
                <a:gd name="connsiteX20" fmla="*/ 148497 w 255115"/>
                <a:gd name="connsiteY20" fmla="*/ 39238 h 150613"/>
                <a:gd name="connsiteX21" fmla="*/ 154940 w 255115"/>
                <a:gd name="connsiteY21" fmla="*/ 38388 h 150613"/>
                <a:gd name="connsiteX22" fmla="*/ 157535 w 255115"/>
                <a:gd name="connsiteY22" fmla="*/ 1253 h 15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5115" h="150613">
                  <a:moveTo>
                    <a:pt x="157535" y="1298"/>
                  </a:moveTo>
                  <a:cubicBezTo>
                    <a:pt x="159190" y="984"/>
                    <a:pt x="162501" y="358"/>
                    <a:pt x="164201" y="0"/>
                  </a:cubicBezTo>
                  <a:cubicBezTo>
                    <a:pt x="163217" y="12170"/>
                    <a:pt x="156506" y="26442"/>
                    <a:pt x="162814" y="37762"/>
                  </a:cubicBezTo>
                  <a:cubicBezTo>
                    <a:pt x="172881" y="39686"/>
                    <a:pt x="183216" y="39507"/>
                    <a:pt x="193462" y="40088"/>
                  </a:cubicBezTo>
                  <a:cubicBezTo>
                    <a:pt x="204424" y="42997"/>
                    <a:pt x="215430" y="45994"/>
                    <a:pt x="226526" y="48500"/>
                  </a:cubicBezTo>
                  <a:cubicBezTo>
                    <a:pt x="228405" y="33422"/>
                    <a:pt x="226750" y="16331"/>
                    <a:pt x="237488" y="4071"/>
                  </a:cubicBezTo>
                  <a:cubicBezTo>
                    <a:pt x="239411" y="14631"/>
                    <a:pt x="241201" y="25189"/>
                    <a:pt x="243080" y="35793"/>
                  </a:cubicBezTo>
                  <a:cubicBezTo>
                    <a:pt x="242946" y="33690"/>
                    <a:pt x="242722" y="29529"/>
                    <a:pt x="242588" y="27427"/>
                  </a:cubicBezTo>
                  <a:cubicBezTo>
                    <a:pt x="245720" y="29127"/>
                    <a:pt x="251984" y="32572"/>
                    <a:pt x="255116" y="34272"/>
                  </a:cubicBezTo>
                  <a:lnTo>
                    <a:pt x="252208" y="35659"/>
                  </a:lnTo>
                  <a:cubicBezTo>
                    <a:pt x="230195" y="54629"/>
                    <a:pt x="229300" y="85948"/>
                    <a:pt x="235564" y="112301"/>
                  </a:cubicBezTo>
                  <a:cubicBezTo>
                    <a:pt x="238785" y="124963"/>
                    <a:pt x="242812" y="137491"/>
                    <a:pt x="244512" y="150510"/>
                  </a:cubicBezTo>
                  <a:cubicBezTo>
                    <a:pt x="162993" y="150913"/>
                    <a:pt x="81519" y="149973"/>
                    <a:pt x="0" y="150510"/>
                  </a:cubicBezTo>
                  <a:lnTo>
                    <a:pt x="134" y="147915"/>
                  </a:lnTo>
                  <a:cubicBezTo>
                    <a:pt x="2192" y="147826"/>
                    <a:pt x="6353" y="147692"/>
                    <a:pt x="8411" y="147602"/>
                  </a:cubicBezTo>
                  <a:cubicBezTo>
                    <a:pt x="20134" y="146528"/>
                    <a:pt x="32751" y="147871"/>
                    <a:pt x="43936" y="144068"/>
                  </a:cubicBezTo>
                  <a:cubicBezTo>
                    <a:pt x="65501" y="119952"/>
                    <a:pt x="93644" y="103621"/>
                    <a:pt x="117178" y="81787"/>
                  </a:cubicBezTo>
                  <a:cubicBezTo>
                    <a:pt x="115567" y="77403"/>
                    <a:pt x="113956" y="73018"/>
                    <a:pt x="112391" y="68678"/>
                  </a:cubicBezTo>
                  <a:cubicBezTo>
                    <a:pt x="124918" y="68678"/>
                    <a:pt x="137446" y="67202"/>
                    <a:pt x="149526" y="63712"/>
                  </a:cubicBezTo>
                  <a:cubicBezTo>
                    <a:pt x="147602" y="55569"/>
                    <a:pt x="145723" y="47381"/>
                    <a:pt x="143889" y="39238"/>
                  </a:cubicBezTo>
                  <a:lnTo>
                    <a:pt x="148497" y="39238"/>
                  </a:lnTo>
                  <a:cubicBezTo>
                    <a:pt x="148497" y="39238"/>
                    <a:pt x="154940" y="38388"/>
                    <a:pt x="154940" y="38388"/>
                  </a:cubicBezTo>
                  <a:cubicBezTo>
                    <a:pt x="157042" y="26129"/>
                    <a:pt x="156685" y="13646"/>
                    <a:pt x="157535" y="1253"/>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0" name="Freeform: Shape 159">
              <a:extLst>
                <a:ext uri="{FF2B5EF4-FFF2-40B4-BE49-F238E27FC236}">
                  <a16:creationId xmlns:a16="http://schemas.microsoft.com/office/drawing/2014/main" id="{32BBA9C2-5028-A9E5-2C5A-B7B2BAC064FF}"/>
                </a:ext>
              </a:extLst>
            </p:cNvPr>
            <p:cNvSpPr/>
            <p:nvPr/>
          </p:nvSpPr>
          <p:spPr>
            <a:xfrm flipH="1">
              <a:off x="2270037" y="3193701"/>
              <a:ext cx="26270" cy="36823"/>
            </a:xfrm>
            <a:custGeom>
              <a:avLst/>
              <a:gdLst>
                <a:gd name="connsiteX0" fmla="*/ 1834 w 22025"/>
                <a:gd name="connsiteY0" fmla="*/ 761 h 30871"/>
                <a:gd name="connsiteX1" fmla="*/ 20849 w 22025"/>
                <a:gd name="connsiteY1" fmla="*/ 0 h 30871"/>
                <a:gd name="connsiteX2" fmla="*/ 22013 w 22025"/>
                <a:gd name="connsiteY2" fmla="*/ 28232 h 30871"/>
                <a:gd name="connsiteX3" fmla="*/ 0 w 22025"/>
                <a:gd name="connsiteY3" fmla="*/ 30872 h 30871"/>
                <a:gd name="connsiteX4" fmla="*/ 1834 w 22025"/>
                <a:gd name="connsiteY4" fmla="*/ 761 h 30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5" h="30871">
                  <a:moveTo>
                    <a:pt x="1834" y="761"/>
                  </a:moveTo>
                  <a:cubicBezTo>
                    <a:pt x="8143" y="492"/>
                    <a:pt x="14496" y="224"/>
                    <a:pt x="20849" y="0"/>
                  </a:cubicBezTo>
                  <a:cubicBezTo>
                    <a:pt x="21207" y="9396"/>
                    <a:pt x="22147" y="18791"/>
                    <a:pt x="22013" y="28232"/>
                  </a:cubicBezTo>
                  <a:cubicBezTo>
                    <a:pt x="14630" y="29127"/>
                    <a:pt x="7293" y="29977"/>
                    <a:pt x="0" y="30872"/>
                  </a:cubicBezTo>
                  <a:cubicBezTo>
                    <a:pt x="537" y="20805"/>
                    <a:pt x="1163" y="10783"/>
                    <a:pt x="1834" y="761"/>
                  </a:cubicBezTo>
                  <a:close/>
                </a:path>
              </a:pathLst>
            </a:custGeom>
            <a:solidFill>
              <a:srgbClr val="A0BB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1" name="Freeform: Shape 160">
              <a:extLst>
                <a:ext uri="{FF2B5EF4-FFF2-40B4-BE49-F238E27FC236}">
                  <a16:creationId xmlns:a16="http://schemas.microsoft.com/office/drawing/2014/main" id="{48EE9732-AB19-408A-CDC4-144B42AB2367}"/>
                </a:ext>
              </a:extLst>
            </p:cNvPr>
            <p:cNvSpPr/>
            <p:nvPr/>
          </p:nvSpPr>
          <p:spPr>
            <a:xfrm flipH="1">
              <a:off x="2108027" y="3199037"/>
              <a:ext cx="128349" cy="13622"/>
            </a:xfrm>
            <a:custGeom>
              <a:avLst/>
              <a:gdLst>
                <a:gd name="connsiteX0" fmla="*/ 0 w 107603"/>
                <a:gd name="connsiteY0" fmla="*/ 0 h 11420"/>
                <a:gd name="connsiteX1" fmla="*/ 106887 w 107603"/>
                <a:gd name="connsiteY1" fmla="*/ 1432 h 11420"/>
                <a:gd name="connsiteX2" fmla="*/ 107603 w 107603"/>
                <a:gd name="connsiteY2" fmla="*/ 10693 h 11420"/>
                <a:gd name="connsiteX3" fmla="*/ 716 w 107603"/>
                <a:gd name="connsiteY3" fmla="*/ 11409 h 11420"/>
                <a:gd name="connsiteX4" fmla="*/ 0 w 107603"/>
                <a:gd name="connsiteY4" fmla="*/ 0 h 1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03" h="11420">
                  <a:moveTo>
                    <a:pt x="0" y="0"/>
                  </a:moveTo>
                  <a:cubicBezTo>
                    <a:pt x="35614" y="268"/>
                    <a:pt x="71228" y="1297"/>
                    <a:pt x="106887" y="1432"/>
                  </a:cubicBezTo>
                  <a:cubicBezTo>
                    <a:pt x="107066" y="3713"/>
                    <a:pt x="107424" y="8367"/>
                    <a:pt x="107603" y="10693"/>
                  </a:cubicBezTo>
                  <a:cubicBezTo>
                    <a:pt x="71989" y="8367"/>
                    <a:pt x="36330" y="11633"/>
                    <a:pt x="716" y="11409"/>
                  </a:cubicBezTo>
                  <a:cubicBezTo>
                    <a:pt x="537" y="8546"/>
                    <a:pt x="179" y="2863"/>
                    <a:pt x="0" y="0"/>
                  </a:cubicBezTo>
                  <a:close/>
                </a:path>
              </a:pathLst>
            </a:custGeom>
            <a:solidFill>
              <a:srgbClr val="75A8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2" name="Freeform: Shape 161">
              <a:extLst>
                <a:ext uri="{FF2B5EF4-FFF2-40B4-BE49-F238E27FC236}">
                  <a16:creationId xmlns:a16="http://schemas.microsoft.com/office/drawing/2014/main" id="{AC5C2F29-A67E-B6AC-5DED-296BB5B921A2}"/>
                </a:ext>
              </a:extLst>
            </p:cNvPr>
            <p:cNvSpPr/>
            <p:nvPr/>
          </p:nvSpPr>
          <p:spPr>
            <a:xfrm flipH="1">
              <a:off x="2729224" y="3203626"/>
              <a:ext cx="59196" cy="42694"/>
            </a:xfrm>
            <a:custGeom>
              <a:avLst/>
              <a:gdLst>
                <a:gd name="connsiteX0" fmla="*/ 8735 w 49628"/>
                <a:gd name="connsiteY0" fmla="*/ 0 h 35793"/>
                <a:gd name="connsiteX1" fmla="*/ 21531 w 49628"/>
                <a:gd name="connsiteY1" fmla="*/ 6085 h 35793"/>
                <a:gd name="connsiteX2" fmla="*/ 44931 w 49628"/>
                <a:gd name="connsiteY2" fmla="*/ 6935 h 35793"/>
                <a:gd name="connsiteX3" fmla="*/ 49629 w 49628"/>
                <a:gd name="connsiteY3" fmla="*/ 31230 h 35793"/>
                <a:gd name="connsiteX4" fmla="*/ 189 w 49628"/>
                <a:gd name="connsiteY4" fmla="*/ 35793 h 35793"/>
                <a:gd name="connsiteX5" fmla="*/ 8735 w 49628"/>
                <a:gd name="connsiteY5" fmla="*/ 0 h 3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28" h="35793">
                  <a:moveTo>
                    <a:pt x="8735" y="0"/>
                  </a:moveTo>
                  <a:cubicBezTo>
                    <a:pt x="12941" y="2103"/>
                    <a:pt x="17191" y="4116"/>
                    <a:pt x="21531" y="6085"/>
                  </a:cubicBezTo>
                  <a:cubicBezTo>
                    <a:pt x="29271" y="6666"/>
                    <a:pt x="37101" y="6756"/>
                    <a:pt x="44931" y="6935"/>
                  </a:cubicBezTo>
                  <a:cubicBezTo>
                    <a:pt x="46497" y="15033"/>
                    <a:pt x="48108" y="23087"/>
                    <a:pt x="49629" y="31230"/>
                  </a:cubicBezTo>
                  <a:cubicBezTo>
                    <a:pt x="33030" y="31409"/>
                    <a:pt x="16475" y="32751"/>
                    <a:pt x="189" y="35793"/>
                  </a:cubicBezTo>
                  <a:cubicBezTo>
                    <a:pt x="-884" y="23131"/>
                    <a:pt x="2695" y="11006"/>
                    <a:pt x="8735" y="0"/>
                  </a:cubicBezTo>
                  <a:close/>
                </a:path>
              </a:pathLst>
            </a:custGeom>
            <a:solidFill>
              <a:srgbClr val="BED8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 name="Freeform: Shape 162">
              <a:extLst>
                <a:ext uri="{FF2B5EF4-FFF2-40B4-BE49-F238E27FC236}">
                  <a16:creationId xmlns:a16="http://schemas.microsoft.com/office/drawing/2014/main" id="{4143BE8A-8A0C-6C13-85B5-A7B1A49F9D30}"/>
                </a:ext>
              </a:extLst>
            </p:cNvPr>
            <p:cNvSpPr/>
            <p:nvPr/>
          </p:nvSpPr>
          <p:spPr>
            <a:xfrm flipH="1">
              <a:off x="4030211" y="3210779"/>
              <a:ext cx="72044" cy="66303"/>
            </a:xfrm>
            <a:custGeom>
              <a:avLst/>
              <a:gdLst>
                <a:gd name="connsiteX0" fmla="*/ 0 w 60400"/>
                <a:gd name="connsiteY0" fmla="*/ 0 h 55586"/>
                <a:gd name="connsiteX1" fmla="*/ 60401 w 60400"/>
                <a:gd name="connsiteY1" fmla="*/ 492 h 55586"/>
                <a:gd name="connsiteX2" fmla="*/ 59864 w 60400"/>
                <a:gd name="connsiteY2" fmla="*/ 55211 h 55586"/>
                <a:gd name="connsiteX3" fmla="*/ 57269 w 60400"/>
                <a:gd name="connsiteY3" fmla="*/ 55345 h 55586"/>
                <a:gd name="connsiteX4" fmla="*/ 30022 w 60400"/>
                <a:gd name="connsiteY4" fmla="*/ 51095 h 55586"/>
                <a:gd name="connsiteX5" fmla="*/ 30290 w 60400"/>
                <a:gd name="connsiteY5" fmla="*/ 48052 h 55586"/>
                <a:gd name="connsiteX6" fmla="*/ 45189 w 60400"/>
                <a:gd name="connsiteY6" fmla="*/ 43041 h 55586"/>
                <a:gd name="connsiteX7" fmla="*/ 46531 w 60400"/>
                <a:gd name="connsiteY7" fmla="*/ 17673 h 55586"/>
                <a:gd name="connsiteX8" fmla="*/ 12393 w 60400"/>
                <a:gd name="connsiteY8" fmla="*/ 18389 h 55586"/>
                <a:gd name="connsiteX9" fmla="*/ 20089 w 60400"/>
                <a:gd name="connsiteY9" fmla="*/ 51766 h 55586"/>
                <a:gd name="connsiteX10" fmla="*/ 18120 w 60400"/>
                <a:gd name="connsiteY10" fmla="*/ 53690 h 55586"/>
                <a:gd name="connsiteX11" fmla="*/ 2595 w 60400"/>
                <a:gd name="connsiteY11" fmla="*/ 52258 h 55586"/>
                <a:gd name="connsiteX12" fmla="*/ 0 w 60400"/>
                <a:gd name="connsiteY12" fmla="*/ 0 h 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00" h="55586">
                  <a:moveTo>
                    <a:pt x="0" y="0"/>
                  </a:moveTo>
                  <a:cubicBezTo>
                    <a:pt x="20134" y="90"/>
                    <a:pt x="40267" y="90"/>
                    <a:pt x="60401" y="492"/>
                  </a:cubicBezTo>
                  <a:cubicBezTo>
                    <a:pt x="59954" y="18702"/>
                    <a:pt x="59551" y="36956"/>
                    <a:pt x="59864" y="55211"/>
                  </a:cubicBezTo>
                  <a:lnTo>
                    <a:pt x="57269" y="55345"/>
                  </a:lnTo>
                  <a:cubicBezTo>
                    <a:pt x="48679" y="54137"/>
                    <a:pt x="35122" y="58611"/>
                    <a:pt x="30022" y="51095"/>
                  </a:cubicBezTo>
                  <a:lnTo>
                    <a:pt x="30290" y="48052"/>
                  </a:lnTo>
                  <a:cubicBezTo>
                    <a:pt x="34451" y="44965"/>
                    <a:pt x="39417" y="43310"/>
                    <a:pt x="45189" y="43041"/>
                  </a:cubicBezTo>
                  <a:cubicBezTo>
                    <a:pt x="45636" y="34540"/>
                    <a:pt x="46084" y="26129"/>
                    <a:pt x="46531" y="17673"/>
                  </a:cubicBezTo>
                  <a:cubicBezTo>
                    <a:pt x="35122" y="17897"/>
                    <a:pt x="23758" y="18165"/>
                    <a:pt x="12393" y="18389"/>
                  </a:cubicBezTo>
                  <a:cubicBezTo>
                    <a:pt x="15525" y="29216"/>
                    <a:pt x="24653" y="40223"/>
                    <a:pt x="20089" y="51766"/>
                  </a:cubicBezTo>
                  <a:lnTo>
                    <a:pt x="18120" y="53690"/>
                  </a:lnTo>
                  <a:cubicBezTo>
                    <a:pt x="14228" y="53332"/>
                    <a:pt x="6488" y="52616"/>
                    <a:pt x="2595" y="52258"/>
                  </a:cubicBezTo>
                  <a:cubicBezTo>
                    <a:pt x="-447" y="34988"/>
                    <a:pt x="1790" y="17360"/>
                    <a:pt x="0" y="0"/>
                  </a:cubicBezTo>
                  <a:close/>
                </a:path>
              </a:pathLst>
            </a:custGeom>
            <a:solidFill>
              <a:srgbClr val="F5516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4" name="Freeform: Shape 163">
              <a:extLst>
                <a:ext uri="{FF2B5EF4-FFF2-40B4-BE49-F238E27FC236}">
                  <a16:creationId xmlns:a16="http://schemas.microsoft.com/office/drawing/2014/main" id="{86F84D13-72C4-EBCE-4544-A31014A72D5E}"/>
                </a:ext>
              </a:extLst>
            </p:cNvPr>
            <p:cNvSpPr/>
            <p:nvPr/>
          </p:nvSpPr>
          <p:spPr>
            <a:xfrm flipH="1">
              <a:off x="2325287" y="3211533"/>
              <a:ext cx="56942" cy="16750"/>
            </a:xfrm>
            <a:custGeom>
              <a:avLst/>
              <a:gdLst>
                <a:gd name="connsiteX0" fmla="*/ 0 w 47739"/>
                <a:gd name="connsiteY0" fmla="*/ 39 h 14043"/>
                <a:gd name="connsiteX1" fmla="*/ 43668 w 47739"/>
                <a:gd name="connsiteY1" fmla="*/ 531 h 14043"/>
                <a:gd name="connsiteX2" fmla="*/ 47739 w 47739"/>
                <a:gd name="connsiteY2" fmla="*/ 14043 h 14043"/>
                <a:gd name="connsiteX3" fmla="*/ 134 w 47739"/>
                <a:gd name="connsiteY3" fmla="*/ 12209 h 14043"/>
                <a:gd name="connsiteX4" fmla="*/ 0 w 47739"/>
                <a:gd name="connsiteY4" fmla="*/ 39 h 1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39" h="14043">
                  <a:moveTo>
                    <a:pt x="0" y="39"/>
                  </a:moveTo>
                  <a:cubicBezTo>
                    <a:pt x="14541" y="-95"/>
                    <a:pt x="29082" y="129"/>
                    <a:pt x="43668" y="531"/>
                  </a:cubicBezTo>
                  <a:cubicBezTo>
                    <a:pt x="45010" y="5005"/>
                    <a:pt x="46397" y="9524"/>
                    <a:pt x="47739" y="14043"/>
                  </a:cubicBezTo>
                  <a:cubicBezTo>
                    <a:pt x="31856" y="13909"/>
                    <a:pt x="15973" y="13417"/>
                    <a:pt x="134" y="12209"/>
                  </a:cubicBezTo>
                  <a:cubicBezTo>
                    <a:pt x="90" y="8137"/>
                    <a:pt x="45" y="4066"/>
                    <a:pt x="0" y="39"/>
                  </a:cubicBezTo>
                  <a:close/>
                </a:path>
              </a:pathLst>
            </a:custGeom>
            <a:solidFill>
              <a:srgbClr val="C0D6E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5" name="Freeform: Shape 164">
              <a:extLst>
                <a:ext uri="{FF2B5EF4-FFF2-40B4-BE49-F238E27FC236}">
                  <a16:creationId xmlns:a16="http://schemas.microsoft.com/office/drawing/2014/main" id="{37A2418B-048D-4F9A-2A7C-4BFC1B26A085}"/>
                </a:ext>
              </a:extLst>
            </p:cNvPr>
            <p:cNvSpPr/>
            <p:nvPr/>
          </p:nvSpPr>
          <p:spPr>
            <a:xfrm flipH="1">
              <a:off x="2915581" y="3213019"/>
              <a:ext cx="187585" cy="28605"/>
            </a:xfrm>
            <a:custGeom>
              <a:avLst/>
              <a:gdLst>
                <a:gd name="connsiteX0" fmla="*/ 0 w 157266"/>
                <a:gd name="connsiteY0" fmla="*/ 20313 h 23981"/>
                <a:gd name="connsiteX1" fmla="*/ 42504 w 157266"/>
                <a:gd name="connsiteY1" fmla="*/ 0 h 23981"/>
                <a:gd name="connsiteX2" fmla="*/ 73868 w 157266"/>
                <a:gd name="connsiteY2" fmla="*/ 18612 h 23981"/>
                <a:gd name="connsiteX3" fmla="*/ 157266 w 157266"/>
                <a:gd name="connsiteY3" fmla="*/ 17852 h 23981"/>
                <a:gd name="connsiteX4" fmla="*/ 156148 w 157266"/>
                <a:gd name="connsiteY4" fmla="*/ 21163 h 23981"/>
                <a:gd name="connsiteX5" fmla="*/ 132122 w 157266"/>
                <a:gd name="connsiteY5" fmla="*/ 16241 h 23981"/>
                <a:gd name="connsiteX6" fmla="*/ 74181 w 157266"/>
                <a:gd name="connsiteY6" fmla="*/ 23981 h 23981"/>
                <a:gd name="connsiteX7" fmla="*/ 43175 w 157266"/>
                <a:gd name="connsiteY7" fmla="*/ 5995 h 23981"/>
                <a:gd name="connsiteX8" fmla="*/ 0 w 157266"/>
                <a:gd name="connsiteY8" fmla="*/ 20313 h 23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266" h="23981">
                  <a:moveTo>
                    <a:pt x="0" y="20313"/>
                  </a:moveTo>
                  <a:cubicBezTo>
                    <a:pt x="15838" y="17494"/>
                    <a:pt x="30335" y="10514"/>
                    <a:pt x="42504" y="0"/>
                  </a:cubicBezTo>
                  <a:cubicBezTo>
                    <a:pt x="51766" y="7740"/>
                    <a:pt x="60446" y="19105"/>
                    <a:pt x="73868" y="18612"/>
                  </a:cubicBezTo>
                  <a:cubicBezTo>
                    <a:pt x="101876" y="22192"/>
                    <a:pt x="130556" y="3713"/>
                    <a:pt x="157266" y="17852"/>
                  </a:cubicBezTo>
                  <a:lnTo>
                    <a:pt x="156148" y="21163"/>
                  </a:lnTo>
                  <a:cubicBezTo>
                    <a:pt x="148318" y="18702"/>
                    <a:pt x="140578" y="13870"/>
                    <a:pt x="132122" y="16241"/>
                  </a:cubicBezTo>
                  <a:cubicBezTo>
                    <a:pt x="112972" y="19955"/>
                    <a:pt x="93644" y="22729"/>
                    <a:pt x="74181" y="23981"/>
                  </a:cubicBezTo>
                  <a:cubicBezTo>
                    <a:pt x="62056" y="21476"/>
                    <a:pt x="52616" y="13333"/>
                    <a:pt x="43175" y="5995"/>
                  </a:cubicBezTo>
                  <a:cubicBezTo>
                    <a:pt x="30021" y="13467"/>
                    <a:pt x="16152" y="28948"/>
                    <a:pt x="0" y="20313"/>
                  </a:cubicBezTo>
                  <a:close/>
                </a:path>
              </a:pathLst>
            </a:custGeom>
            <a:solidFill>
              <a:srgbClr val="B7C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Freeform: Shape 165">
              <a:extLst>
                <a:ext uri="{FF2B5EF4-FFF2-40B4-BE49-F238E27FC236}">
                  <a16:creationId xmlns:a16="http://schemas.microsoft.com/office/drawing/2014/main" id="{F26FD7EC-6CAE-025E-1987-9E2B9AB7EA98}"/>
                </a:ext>
              </a:extLst>
            </p:cNvPr>
            <p:cNvSpPr/>
            <p:nvPr/>
          </p:nvSpPr>
          <p:spPr>
            <a:xfrm flipH="1">
              <a:off x="1642401" y="5176882"/>
              <a:ext cx="1123539" cy="257215"/>
            </a:xfrm>
            <a:custGeom>
              <a:avLst/>
              <a:gdLst>
                <a:gd name="connsiteX0" fmla="*/ 78655 w 941941"/>
                <a:gd name="connsiteY0" fmla="*/ 12705 h 215641"/>
                <a:gd name="connsiteX1" fmla="*/ 104426 w 941941"/>
                <a:gd name="connsiteY1" fmla="*/ 312 h 215641"/>
                <a:gd name="connsiteX2" fmla="*/ 265540 w 941941"/>
                <a:gd name="connsiteY2" fmla="*/ 41026 h 215641"/>
                <a:gd name="connsiteX3" fmla="*/ 467593 w 941941"/>
                <a:gd name="connsiteY3" fmla="*/ 90018 h 215641"/>
                <a:gd name="connsiteX4" fmla="*/ 508755 w 941941"/>
                <a:gd name="connsiteY4" fmla="*/ 100935 h 215641"/>
                <a:gd name="connsiteX5" fmla="*/ 791879 w 941941"/>
                <a:gd name="connsiteY5" fmla="*/ 172924 h 215641"/>
                <a:gd name="connsiteX6" fmla="*/ 941942 w 941941"/>
                <a:gd name="connsiteY6" fmla="*/ 214579 h 215641"/>
                <a:gd name="connsiteX7" fmla="*/ 576136 w 941941"/>
                <a:gd name="connsiteY7" fmla="*/ 215026 h 215641"/>
                <a:gd name="connsiteX8" fmla="*/ 515242 w 941941"/>
                <a:gd name="connsiteY8" fmla="*/ 198293 h 215641"/>
                <a:gd name="connsiteX9" fmla="*/ 390772 w 941941"/>
                <a:gd name="connsiteY9" fmla="*/ 168719 h 215641"/>
                <a:gd name="connsiteX10" fmla="*/ 76105 w 941941"/>
                <a:gd name="connsiteY10" fmla="*/ 89660 h 215641"/>
                <a:gd name="connsiteX11" fmla="*/ 13691 w 941941"/>
                <a:gd name="connsiteY11" fmla="*/ 74448 h 215641"/>
                <a:gd name="connsiteX12" fmla="*/ 4787 w 941941"/>
                <a:gd name="connsiteY12" fmla="*/ 62815 h 215641"/>
                <a:gd name="connsiteX13" fmla="*/ 0 w 941941"/>
                <a:gd name="connsiteY13" fmla="*/ 56597 h 215641"/>
                <a:gd name="connsiteX14" fmla="*/ 47471 w 941941"/>
                <a:gd name="connsiteY14" fmla="*/ 28141 h 215641"/>
                <a:gd name="connsiteX15" fmla="*/ 78655 w 941941"/>
                <a:gd name="connsiteY15" fmla="*/ 12705 h 21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41" h="215641">
                  <a:moveTo>
                    <a:pt x="78655" y="12705"/>
                  </a:moveTo>
                  <a:cubicBezTo>
                    <a:pt x="86306" y="6844"/>
                    <a:pt x="93644" y="-1747"/>
                    <a:pt x="104426" y="312"/>
                  </a:cubicBezTo>
                  <a:cubicBezTo>
                    <a:pt x="158116" y="13958"/>
                    <a:pt x="211851" y="27425"/>
                    <a:pt x="265540" y="41026"/>
                  </a:cubicBezTo>
                  <a:cubicBezTo>
                    <a:pt x="333055" y="56775"/>
                    <a:pt x="399496" y="76954"/>
                    <a:pt x="467593" y="90018"/>
                  </a:cubicBezTo>
                  <a:cubicBezTo>
                    <a:pt x="481284" y="93777"/>
                    <a:pt x="494885" y="97758"/>
                    <a:pt x="508755" y="100935"/>
                  </a:cubicBezTo>
                  <a:cubicBezTo>
                    <a:pt x="603204" y="124603"/>
                    <a:pt x="697519" y="148853"/>
                    <a:pt x="791879" y="172924"/>
                  </a:cubicBezTo>
                  <a:cubicBezTo>
                    <a:pt x="842258" y="185497"/>
                    <a:pt x="891384" y="202632"/>
                    <a:pt x="941942" y="214579"/>
                  </a:cubicBezTo>
                  <a:cubicBezTo>
                    <a:pt x="820021" y="216144"/>
                    <a:pt x="698056" y="215697"/>
                    <a:pt x="576136" y="215026"/>
                  </a:cubicBezTo>
                  <a:cubicBezTo>
                    <a:pt x="556494" y="207286"/>
                    <a:pt x="535913" y="202409"/>
                    <a:pt x="515242" y="198293"/>
                  </a:cubicBezTo>
                  <a:cubicBezTo>
                    <a:pt x="473857" y="187957"/>
                    <a:pt x="432247" y="178517"/>
                    <a:pt x="390772" y="168719"/>
                  </a:cubicBezTo>
                  <a:cubicBezTo>
                    <a:pt x="285719" y="143037"/>
                    <a:pt x="180979" y="116103"/>
                    <a:pt x="76105" y="89660"/>
                  </a:cubicBezTo>
                  <a:cubicBezTo>
                    <a:pt x="55345" y="84470"/>
                    <a:pt x="34540" y="79415"/>
                    <a:pt x="13691" y="74448"/>
                  </a:cubicBezTo>
                  <a:cubicBezTo>
                    <a:pt x="10693" y="70556"/>
                    <a:pt x="7740" y="66663"/>
                    <a:pt x="4787" y="62815"/>
                  </a:cubicBezTo>
                  <a:cubicBezTo>
                    <a:pt x="3176" y="60668"/>
                    <a:pt x="1566" y="58610"/>
                    <a:pt x="0" y="56597"/>
                  </a:cubicBezTo>
                  <a:cubicBezTo>
                    <a:pt x="15391" y="46395"/>
                    <a:pt x="28545" y="31720"/>
                    <a:pt x="47471" y="28141"/>
                  </a:cubicBezTo>
                  <a:cubicBezTo>
                    <a:pt x="58924" y="25501"/>
                    <a:pt x="69797" y="20535"/>
                    <a:pt x="78655" y="12705"/>
                  </a:cubicBezTo>
                  <a:close/>
                </a:path>
              </a:pathLst>
            </a:custGeom>
            <a:solidFill>
              <a:srgbClr val="B7C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7" name="Freeform: Shape 166">
              <a:extLst>
                <a:ext uri="{FF2B5EF4-FFF2-40B4-BE49-F238E27FC236}">
                  <a16:creationId xmlns:a16="http://schemas.microsoft.com/office/drawing/2014/main" id="{E0E9E59F-D091-E32F-D3A4-6378382E56FC}"/>
                </a:ext>
              </a:extLst>
            </p:cNvPr>
            <p:cNvSpPr/>
            <p:nvPr/>
          </p:nvSpPr>
          <p:spPr>
            <a:xfrm flipH="1">
              <a:off x="3952134" y="3219567"/>
              <a:ext cx="50164" cy="37586"/>
            </a:xfrm>
            <a:custGeom>
              <a:avLst/>
              <a:gdLst>
                <a:gd name="connsiteX0" fmla="*/ 0 w 42056"/>
                <a:gd name="connsiteY0" fmla="*/ 282 h 31511"/>
                <a:gd name="connsiteX1" fmla="*/ 42057 w 42056"/>
                <a:gd name="connsiteY1" fmla="*/ 6770 h 31511"/>
                <a:gd name="connsiteX2" fmla="*/ 39507 w 42056"/>
                <a:gd name="connsiteY2" fmla="*/ 30036 h 31511"/>
                <a:gd name="connsiteX3" fmla="*/ 31185 w 42056"/>
                <a:gd name="connsiteY3" fmla="*/ 31512 h 31511"/>
                <a:gd name="connsiteX4" fmla="*/ 7606 w 42056"/>
                <a:gd name="connsiteY4" fmla="*/ 26143 h 31511"/>
                <a:gd name="connsiteX5" fmla="*/ 1163 w 42056"/>
                <a:gd name="connsiteY5" fmla="*/ 24264 h 31511"/>
                <a:gd name="connsiteX6" fmla="*/ 0 w 42056"/>
                <a:gd name="connsiteY6" fmla="*/ 282 h 31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56" h="31511">
                  <a:moveTo>
                    <a:pt x="0" y="282"/>
                  </a:moveTo>
                  <a:cubicBezTo>
                    <a:pt x="14317" y="-299"/>
                    <a:pt x="29216" y="-702"/>
                    <a:pt x="42057" y="6770"/>
                  </a:cubicBezTo>
                  <a:cubicBezTo>
                    <a:pt x="40983" y="14465"/>
                    <a:pt x="40088" y="22250"/>
                    <a:pt x="39507" y="30036"/>
                  </a:cubicBezTo>
                  <a:cubicBezTo>
                    <a:pt x="37404" y="30438"/>
                    <a:pt x="33288" y="31154"/>
                    <a:pt x="31185" y="31512"/>
                  </a:cubicBezTo>
                  <a:cubicBezTo>
                    <a:pt x="23266" y="29857"/>
                    <a:pt x="15436" y="28112"/>
                    <a:pt x="7606" y="26143"/>
                  </a:cubicBezTo>
                  <a:cubicBezTo>
                    <a:pt x="5995" y="25651"/>
                    <a:pt x="2774" y="24711"/>
                    <a:pt x="1163" y="24264"/>
                  </a:cubicBezTo>
                  <a:cubicBezTo>
                    <a:pt x="537" y="16255"/>
                    <a:pt x="268" y="8246"/>
                    <a:pt x="0" y="282"/>
                  </a:cubicBezTo>
                  <a:close/>
                </a:path>
              </a:pathLst>
            </a:custGeom>
            <a:solidFill>
              <a:srgbClr val="86A8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8" name="Freeform: Shape 167">
              <a:extLst>
                <a:ext uri="{FF2B5EF4-FFF2-40B4-BE49-F238E27FC236}">
                  <a16:creationId xmlns:a16="http://schemas.microsoft.com/office/drawing/2014/main" id="{A31BFE32-24CF-C52B-A17A-483A1F1F0774}"/>
                </a:ext>
              </a:extLst>
            </p:cNvPr>
            <p:cNvSpPr/>
            <p:nvPr/>
          </p:nvSpPr>
          <p:spPr>
            <a:xfrm flipH="1">
              <a:off x="2161929" y="3220705"/>
              <a:ext cx="73166" cy="12755"/>
            </a:xfrm>
            <a:custGeom>
              <a:avLst/>
              <a:gdLst>
                <a:gd name="connsiteX0" fmla="*/ 0 w 61340"/>
                <a:gd name="connsiteY0" fmla="*/ 0 h 10693"/>
                <a:gd name="connsiteX1" fmla="*/ 60312 w 61340"/>
                <a:gd name="connsiteY1" fmla="*/ 358 h 10693"/>
                <a:gd name="connsiteX2" fmla="*/ 61341 w 61340"/>
                <a:gd name="connsiteY2" fmla="*/ 10648 h 10693"/>
                <a:gd name="connsiteX3" fmla="*/ 45 w 61340"/>
                <a:gd name="connsiteY3" fmla="*/ 10693 h 10693"/>
                <a:gd name="connsiteX4" fmla="*/ 0 w 61340"/>
                <a:gd name="connsiteY4" fmla="*/ 0 h 1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0" h="10693">
                  <a:moveTo>
                    <a:pt x="0" y="0"/>
                  </a:moveTo>
                  <a:cubicBezTo>
                    <a:pt x="20089" y="716"/>
                    <a:pt x="40223" y="626"/>
                    <a:pt x="60312" y="358"/>
                  </a:cubicBezTo>
                  <a:cubicBezTo>
                    <a:pt x="60580" y="2953"/>
                    <a:pt x="61117" y="8053"/>
                    <a:pt x="61341" y="10648"/>
                  </a:cubicBezTo>
                  <a:cubicBezTo>
                    <a:pt x="40894" y="10469"/>
                    <a:pt x="20447" y="10559"/>
                    <a:pt x="45" y="10693"/>
                  </a:cubicBezTo>
                  <a:cubicBezTo>
                    <a:pt x="45" y="8053"/>
                    <a:pt x="45" y="2685"/>
                    <a:pt x="0" y="0"/>
                  </a:cubicBezTo>
                  <a:close/>
                </a:path>
              </a:pathLst>
            </a:custGeom>
            <a:solidFill>
              <a:srgbClr val="84B3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Freeform: Shape 168">
              <a:extLst>
                <a:ext uri="{FF2B5EF4-FFF2-40B4-BE49-F238E27FC236}">
                  <a16:creationId xmlns:a16="http://schemas.microsoft.com/office/drawing/2014/main" id="{43831F59-B13F-FDF8-E0E5-B748CC52D3B9}"/>
                </a:ext>
              </a:extLst>
            </p:cNvPr>
            <p:cNvSpPr/>
            <p:nvPr/>
          </p:nvSpPr>
          <p:spPr>
            <a:xfrm flipH="1">
              <a:off x="4033944" y="3231859"/>
              <a:ext cx="53526" cy="46398"/>
            </a:xfrm>
            <a:custGeom>
              <a:avLst/>
              <a:gdLst>
                <a:gd name="connsiteX0" fmla="*/ 0 w 44875"/>
                <a:gd name="connsiteY0" fmla="*/ 716 h 38899"/>
                <a:gd name="connsiteX1" fmla="*/ 34138 w 44875"/>
                <a:gd name="connsiteY1" fmla="*/ 0 h 38899"/>
                <a:gd name="connsiteX2" fmla="*/ 32795 w 44875"/>
                <a:gd name="connsiteY2" fmla="*/ 25368 h 38899"/>
                <a:gd name="connsiteX3" fmla="*/ 17897 w 44875"/>
                <a:gd name="connsiteY3" fmla="*/ 30379 h 38899"/>
                <a:gd name="connsiteX4" fmla="*/ 17628 w 44875"/>
                <a:gd name="connsiteY4" fmla="*/ 33422 h 38899"/>
                <a:gd name="connsiteX5" fmla="*/ 44876 w 44875"/>
                <a:gd name="connsiteY5" fmla="*/ 37672 h 38899"/>
                <a:gd name="connsiteX6" fmla="*/ 4206 w 44875"/>
                <a:gd name="connsiteY6" fmla="*/ 37538 h 38899"/>
                <a:gd name="connsiteX7" fmla="*/ 5727 w 44875"/>
                <a:gd name="connsiteY7" fmla="*/ 36017 h 38899"/>
                <a:gd name="connsiteX8" fmla="*/ 7696 w 44875"/>
                <a:gd name="connsiteY8" fmla="*/ 34093 h 38899"/>
                <a:gd name="connsiteX9" fmla="*/ 0 w 44875"/>
                <a:gd name="connsiteY9" fmla="*/ 716 h 3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5" h="38899">
                  <a:moveTo>
                    <a:pt x="0" y="716"/>
                  </a:moveTo>
                  <a:cubicBezTo>
                    <a:pt x="11364" y="492"/>
                    <a:pt x="22729" y="224"/>
                    <a:pt x="34138" y="0"/>
                  </a:cubicBezTo>
                  <a:cubicBezTo>
                    <a:pt x="33690" y="8456"/>
                    <a:pt x="33243" y="16867"/>
                    <a:pt x="32795" y="25368"/>
                  </a:cubicBezTo>
                  <a:cubicBezTo>
                    <a:pt x="27024" y="25637"/>
                    <a:pt x="22058" y="27292"/>
                    <a:pt x="17897" y="30379"/>
                  </a:cubicBezTo>
                  <a:lnTo>
                    <a:pt x="17628" y="33422"/>
                  </a:lnTo>
                  <a:cubicBezTo>
                    <a:pt x="22729" y="40938"/>
                    <a:pt x="36285" y="36464"/>
                    <a:pt x="44876" y="37672"/>
                  </a:cubicBezTo>
                  <a:cubicBezTo>
                    <a:pt x="31364" y="39104"/>
                    <a:pt x="17673" y="39551"/>
                    <a:pt x="4206" y="37538"/>
                  </a:cubicBezTo>
                  <a:lnTo>
                    <a:pt x="5727" y="36017"/>
                  </a:lnTo>
                  <a:lnTo>
                    <a:pt x="7696" y="34093"/>
                  </a:lnTo>
                  <a:cubicBezTo>
                    <a:pt x="12259" y="22550"/>
                    <a:pt x="3132" y="11543"/>
                    <a:pt x="0" y="716"/>
                  </a:cubicBezTo>
                  <a:close/>
                </a:path>
              </a:pathLst>
            </a:custGeom>
            <a:solidFill>
              <a:srgbClr val="F7C7C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0" name="Freeform: Shape 169">
              <a:extLst>
                <a:ext uri="{FF2B5EF4-FFF2-40B4-BE49-F238E27FC236}">
                  <a16:creationId xmlns:a16="http://schemas.microsoft.com/office/drawing/2014/main" id="{6FD1DF45-B27D-E3E8-0813-7FDAC4927BCD}"/>
                </a:ext>
              </a:extLst>
            </p:cNvPr>
            <p:cNvSpPr/>
            <p:nvPr/>
          </p:nvSpPr>
          <p:spPr>
            <a:xfrm flipH="1">
              <a:off x="3098351" y="3228097"/>
              <a:ext cx="112514" cy="1079270"/>
            </a:xfrm>
            <a:custGeom>
              <a:avLst/>
              <a:gdLst>
                <a:gd name="connsiteX0" fmla="*/ 11680 w 94329"/>
                <a:gd name="connsiteY0" fmla="*/ 77648 h 904827"/>
                <a:gd name="connsiteX1" fmla="*/ 28324 w 94329"/>
                <a:gd name="connsiteY1" fmla="*/ 1006 h 904827"/>
                <a:gd name="connsiteX2" fmla="*/ 74497 w 94329"/>
                <a:gd name="connsiteY2" fmla="*/ 2080 h 904827"/>
                <a:gd name="connsiteX3" fmla="*/ 93601 w 94329"/>
                <a:gd name="connsiteY3" fmla="*/ 66462 h 904827"/>
                <a:gd name="connsiteX4" fmla="*/ 74900 w 94329"/>
                <a:gd name="connsiteY4" fmla="*/ 115096 h 904827"/>
                <a:gd name="connsiteX5" fmla="*/ 70649 w 94329"/>
                <a:gd name="connsiteY5" fmla="*/ 114873 h 904827"/>
                <a:gd name="connsiteX6" fmla="*/ 67607 w 94329"/>
                <a:gd name="connsiteY6" fmla="*/ 103195 h 904827"/>
                <a:gd name="connsiteX7" fmla="*/ 36780 w 94329"/>
                <a:gd name="connsiteY7" fmla="*/ 100242 h 904827"/>
                <a:gd name="connsiteX8" fmla="*/ 37093 w 94329"/>
                <a:gd name="connsiteY8" fmla="*/ 114694 h 904827"/>
                <a:gd name="connsiteX9" fmla="*/ 37809 w 94329"/>
                <a:gd name="connsiteY9" fmla="*/ 149995 h 904827"/>
                <a:gd name="connsiteX10" fmla="*/ 39867 w 94329"/>
                <a:gd name="connsiteY10" fmla="*/ 215496 h 904827"/>
                <a:gd name="connsiteX11" fmla="*/ 38793 w 94329"/>
                <a:gd name="connsiteY11" fmla="*/ 271557 h 904827"/>
                <a:gd name="connsiteX12" fmla="*/ 36198 w 94329"/>
                <a:gd name="connsiteY12" fmla="*/ 295226 h 904827"/>
                <a:gd name="connsiteX13" fmla="*/ 30740 w 94329"/>
                <a:gd name="connsiteY13" fmla="*/ 359430 h 904827"/>
                <a:gd name="connsiteX14" fmla="*/ 22776 w 94329"/>
                <a:gd name="connsiteY14" fmla="*/ 438845 h 904827"/>
                <a:gd name="connsiteX15" fmla="*/ 17273 w 94329"/>
                <a:gd name="connsiteY15" fmla="*/ 682150 h 904827"/>
                <a:gd name="connsiteX16" fmla="*/ 48323 w 94329"/>
                <a:gd name="connsiteY16" fmla="*/ 838208 h 904827"/>
                <a:gd name="connsiteX17" fmla="*/ 71231 w 94329"/>
                <a:gd name="connsiteY17" fmla="*/ 897401 h 904827"/>
                <a:gd name="connsiteX18" fmla="*/ 74810 w 94329"/>
                <a:gd name="connsiteY18" fmla="*/ 904291 h 904827"/>
                <a:gd name="connsiteX19" fmla="*/ 64475 w 94329"/>
                <a:gd name="connsiteY19" fmla="*/ 904828 h 904827"/>
                <a:gd name="connsiteX20" fmla="*/ 53066 w 94329"/>
                <a:gd name="connsiteY20" fmla="*/ 894716 h 904827"/>
                <a:gd name="connsiteX21" fmla="*/ 897 w 94329"/>
                <a:gd name="connsiteY21" fmla="*/ 645059 h 904827"/>
                <a:gd name="connsiteX22" fmla="*/ 5461 w 94329"/>
                <a:gd name="connsiteY22" fmla="*/ 469046 h 904827"/>
                <a:gd name="connsiteX23" fmla="*/ 14901 w 94329"/>
                <a:gd name="connsiteY23" fmla="*/ 368646 h 904827"/>
                <a:gd name="connsiteX24" fmla="*/ 21076 w 94329"/>
                <a:gd name="connsiteY24" fmla="*/ 296523 h 904827"/>
                <a:gd name="connsiteX25" fmla="*/ 22105 w 94329"/>
                <a:gd name="connsiteY25" fmla="*/ 149637 h 904827"/>
                <a:gd name="connsiteX26" fmla="*/ 20628 w 94329"/>
                <a:gd name="connsiteY26" fmla="*/ 115857 h 904827"/>
                <a:gd name="connsiteX27" fmla="*/ 11680 w 94329"/>
                <a:gd name="connsiteY27" fmla="*/ 77648 h 904827"/>
                <a:gd name="connsiteX28" fmla="*/ 23044 w 94329"/>
                <a:gd name="connsiteY28" fmla="*/ 30088 h 904827"/>
                <a:gd name="connsiteX29" fmla="*/ 50784 w 94329"/>
                <a:gd name="connsiteY29" fmla="*/ 79751 h 904827"/>
                <a:gd name="connsiteX30" fmla="*/ 58882 w 94329"/>
                <a:gd name="connsiteY30" fmla="*/ 34875 h 904827"/>
                <a:gd name="connsiteX31" fmla="*/ 23044 w 94329"/>
                <a:gd name="connsiteY31" fmla="*/ 30088 h 90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329" h="904827">
                  <a:moveTo>
                    <a:pt x="11680" y="77648"/>
                  </a:moveTo>
                  <a:cubicBezTo>
                    <a:pt x="5416" y="51295"/>
                    <a:pt x="6311" y="19976"/>
                    <a:pt x="28324" y="1006"/>
                  </a:cubicBezTo>
                  <a:cubicBezTo>
                    <a:pt x="43670" y="469"/>
                    <a:pt x="59374" y="-1455"/>
                    <a:pt x="74497" y="2080"/>
                  </a:cubicBezTo>
                  <a:cubicBezTo>
                    <a:pt x="96196" y="15233"/>
                    <a:pt x="95167" y="44226"/>
                    <a:pt x="93601" y="66462"/>
                  </a:cubicBezTo>
                  <a:cubicBezTo>
                    <a:pt x="88054" y="82927"/>
                    <a:pt x="81119" y="98900"/>
                    <a:pt x="74900" y="115096"/>
                  </a:cubicBezTo>
                  <a:lnTo>
                    <a:pt x="70649" y="114873"/>
                  </a:lnTo>
                  <a:cubicBezTo>
                    <a:pt x="69889" y="111965"/>
                    <a:pt x="68367" y="106103"/>
                    <a:pt x="67607" y="103195"/>
                  </a:cubicBezTo>
                  <a:cubicBezTo>
                    <a:pt x="57316" y="102256"/>
                    <a:pt x="47026" y="101271"/>
                    <a:pt x="36780" y="100242"/>
                  </a:cubicBezTo>
                  <a:cubicBezTo>
                    <a:pt x="36825" y="103866"/>
                    <a:pt x="37004" y="111070"/>
                    <a:pt x="37093" y="114694"/>
                  </a:cubicBezTo>
                  <a:cubicBezTo>
                    <a:pt x="37317" y="126416"/>
                    <a:pt x="37585" y="138183"/>
                    <a:pt x="37809" y="149995"/>
                  </a:cubicBezTo>
                  <a:cubicBezTo>
                    <a:pt x="38167" y="171828"/>
                    <a:pt x="37451" y="193752"/>
                    <a:pt x="39867" y="215496"/>
                  </a:cubicBezTo>
                  <a:cubicBezTo>
                    <a:pt x="41478" y="234153"/>
                    <a:pt x="40180" y="252900"/>
                    <a:pt x="38793" y="271557"/>
                  </a:cubicBezTo>
                  <a:cubicBezTo>
                    <a:pt x="37809" y="279432"/>
                    <a:pt x="36914" y="287306"/>
                    <a:pt x="36198" y="295226"/>
                  </a:cubicBezTo>
                  <a:cubicBezTo>
                    <a:pt x="34274" y="316612"/>
                    <a:pt x="32932" y="338043"/>
                    <a:pt x="30740" y="359430"/>
                  </a:cubicBezTo>
                  <a:cubicBezTo>
                    <a:pt x="28145" y="385916"/>
                    <a:pt x="25102" y="412314"/>
                    <a:pt x="22776" y="438845"/>
                  </a:cubicBezTo>
                  <a:cubicBezTo>
                    <a:pt x="13962" y="519559"/>
                    <a:pt x="11232" y="601123"/>
                    <a:pt x="17273" y="682150"/>
                  </a:cubicBezTo>
                  <a:cubicBezTo>
                    <a:pt x="21926" y="735079"/>
                    <a:pt x="32261" y="787516"/>
                    <a:pt x="48323" y="838208"/>
                  </a:cubicBezTo>
                  <a:cubicBezTo>
                    <a:pt x="54855" y="858297"/>
                    <a:pt x="60806" y="878833"/>
                    <a:pt x="71231" y="897401"/>
                  </a:cubicBezTo>
                  <a:lnTo>
                    <a:pt x="74810" y="904291"/>
                  </a:lnTo>
                  <a:cubicBezTo>
                    <a:pt x="72215" y="904425"/>
                    <a:pt x="67070" y="904693"/>
                    <a:pt x="64475" y="904828"/>
                  </a:cubicBezTo>
                  <a:cubicBezTo>
                    <a:pt x="61611" y="902278"/>
                    <a:pt x="55929" y="897267"/>
                    <a:pt x="53066" y="894716"/>
                  </a:cubicBezTo>
                  <a:cubicBezTo>
                    <a:pt x="21389" y="815300"/>
                    <a:pt x="4163" y="730470"/>
                    <a:pt x="897" y="645059"/>
                  </a:cubicBezTo>
                  <a:cubicBezTo>
                    <a:pt x="-1071" y="586403"/>
                    <a:pt x="92" y="527523"/>
                    <a:pt x="5461" y="469046"/>
                  </a:cubicBezTo>
                  <a:cubicBezTo>
                    <a:pt x="8637" y="435579"/>
                    <a:pt x="11680" y="402113"/>
                    <a:pt x="14901" y="368646"/>
                  </a:cubicBezTo>
                  <a:cubicBezTo>
                    <a:pt x="17899" y="344710"/>
                    <a:pt x="19778" y="320639"/>
                    <a:pt x="21076" y="296523"/>
                  </a:cubicBezTo>
                  <a:cubicBezTo>
                    <a:pt x="23894" y="247621"/>
                    <a:pt x="22955" y="198584"/>
                    <a:pt x="22105" y="149637"/>
                  </a:cubicBezTo>
                  <a:cubicBezTo>
                    <a:pt x="21926" y="138362"/>
                    <a:pt x="21568" y="127087"/>
                    <a:pt x="20628" y="115857"/>
                  </a:cubicBezTo>
                  <a:cubicBezTo>
                    <a:pt x="18928" y="102837"/>
                    <a:pt x="14901" y="90310"/>
                    <a:pt x="11680" y="77648"/>
                  </a:cubicBezTo>
                  <a:close/>
                  <a:moveTo>
                    <a:pt x="23044" y="30088"/>
                  </a:moveTo>
                  <a:cubicBezTo>
                    <a:pt x="11456" y="49953"/>
                    <a:pt x="22328" y="88162"/>
                    <a:pt x="50784" y="79751"/>
                  </a:cubicBezTo>
                  <a:cubicBezTo>
                    <a:pt x="65325" y="69729"/>
                    <a:pt x="66801" y="49416"/>
                    <a:pt x="58882" y="34875"/>
                  </a:cubicBezTo>
                  <a:cubicBezTo>
                    <a:pt x="50918" y="22660"/>
                    <a:pt x="34498" y="24987"/>
                    <a:pt x="23044" y="30088"/>
                  </a:cubicBezTo>
                  <a:close/>
                </a:path>
              </a:pathLst>
            </a:custGeom>
            <a:solidFill>
              <a:srgbClr val="FB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1" name="Freeform: Shape 170">
              <a:extLst>
                <a:ext uri="{FF2B5EF4-FFF2-40B4-BE49-F238E27FC236}">
                  <a16:creationId xmlns:a16="http://schemas.microsoft.com/office/drawing/2014/main" id="{EF5BF151-B937-D92B-980E-84E72A603736}"/>
                </a:ext>
              </a:extLst>
            </p:cNvPr>
            <p:cNvSpPr/>
            <p:nvPr/>
          </p:nvSpPr>
          <p:spPr>
            <a:xfrm flipH="1">
              <a:off x="3720542" y="3242638"/>
              <a:ext cx="47955" cy="30699"/>
            </a:xfrm>
            <a:custGeom>
              <a:avLst/>
              <a:gdLst>
                <a:gd name="connsiteX0" fmla="*/ 31811 w 40204"/>
                <a:gd name="connsiteY0" fmla="*/ 0 h 25737"/>
                <a:gd name="connsiteX1" fmla="*/ 38970 w 40204"/>
                <a:gd name="connsiteY1" fmla="*/ 761 h 25737"/>
                <a:gd name="connsiteX2" fmla="*/ 89 w 40204"/>
                <a:gd name="connsiteY2" fmla="*/ 16778 h 25737"/>
                <a:gd name="connsiteX3" fmla="*/ 0 w 40204"/>
                <a:gd name="connsiteY3" fmla="*/ 4429 h 25737"/>
                <a:gd name="connsiteX4" fmla="*/ 21297 w 40204"/>
                <a:gd name="connsiteY4" fmla="*/ 14988 h 25737"/>
                <a:gd name="connsiteX5" fmla="*/ 31811 w 40204"/>
                <a:gd name="connsiteY5" fmla="*/ 0 h 2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04" h="25737">
                  <a:moveTo>
                    <a:pt x="31811" y="0"/>
                  </a:moveTo>
                  <a:cubicBezTo>
                    <a:pt x="33601" y="179"/>
                    <a:pt x="37180" y="537"/>
                    <a:pt x="38970" y="761"/>
                  </a:cubicBezTo>
                  <a:cubicBezTo>
                    <a:pt x="47247" y="24339"/>
                    <a:pt x="11633" y="34451"/>
                    <a:pt x="89" y="16778"/>
                  </a:cubicBezTo>
                  <a:cubicBezTo>
                    <a:pt x="45" y="13691"/>
                    <a:pt x="0" y="7517"/>
                    <a:pt x="0" y="4429"/>
                  </a:cubicBezTo>
                  <a:cubicBezTo>
                    <a:pt x="7293" y="7472"/>
                    <a:pt x="14496" y="10827"/>
                    <a:pt x="21297" y="14988"/>
                  </a:cubicBezTo>
                  <a:cubicBezTo>
                    <a:pt x="24697" y="9888"/>
                    <a:pt x="28232" y="4922"/>
                    <a:pt x="31811" y="0"/>
                  </a:cubicBezTo>
                  <a:close/>
                </a:path>
              </a:pathLst>
            </a:custGeom>
            <a:solidFill>
              <a:srgbClr val="E5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2" name="Freeform: Shape 171">
              <a:extLst>
                <a:ext uri="{FF2B5EF4-FFF2-40B4-BE49-F238E27FC236}">
                  <a16:creationId xmlns:a16="http://schemas.microsoft.com/office/drawing/2014/main" id="{1DA90652-19E2-580B-9E86-6A825C9E0C9B}"/>
                </a:ext>
              </a:extLst>
            </p:cNvPr>
            <p:cNvSpPr/>
            <p:nvPr/>
          </p:nvSpPr>
          <p:spPr>
            <a:xfrm flipH="1">
              <a:off x="3849508" y="3244555"/>
              <a:ext cx="49792" cy="75144"/>
            </a:xfrm>
            <a:custGeom>
              <a:avLst/>
              <a:gdLst>
                <a:gd name="connsiteX0" fmla="*/ 0 w 41743"/>
                <a:gd name="connsiteY0" fmla="*/ 1123 h 62999"/>
                <a:gd name="connsiteX1" fmla="*/ 40178 w 41743"/>
                <a:gd name="connsiteY1" fmla="*/ 407 h 62999"/>
                <a:gd name="connsiteX2" fmla="*/ 41744 w 41743"/>
                <a:gd name="connsiteY2" fmla="*/ 61165 h 62999"/>
                <a:gd name="connsiteX3" fmla="*/ 447 w 41743"/>
                <a:gd name="connsiteY3" fmla="*/ 62866 h 62999"/>
                <a:gd name="connsiteX4" fmla="*/ 0 w 41743"/>
                <a:gd name="connsiteY4" fmla="*/ 1123 h 6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43" h="62999">
                  <a:moveTo>
                    <a:pt x="0" y="1123"/>
                  </a:moveTo>
                  <a:cubicBezTo>
                    <a:pt x="13333" y="-86"/>
                    <a:pt x="26755" y="-309"/>
                    <a:pt x="40178" y="407"/>
                  </a:cubicBezTo>
                  <a:cubicBezTo>
                    <a:pt x="41878" y="20585"/>
                    <a:pt x="41699" y="40898"/>
                    <a:pt x="41744" y="61165"/>
                  </a:cubicBezTo>
                  <a:cubicBezTo>
                    <a:pt x="28008" y="62776"/>
                    <a:pt x="14228" y="63268"/>
                    <a:pt x="447" y="62866"/>
                  </a:cubicBezTo>
                  <a:cubicBezTo>
                    <a:pt x="45" y="42285"/>
                    <a:pt x="0" y="21704"/>
                    <a:pt x="0" y="1123"/>
                  </a:cubicBezTo>
                  <a:close/>
                </a:path>
              </a:pathLst>
            </a:custGeom>
            <a:solidFill>
              <a:srgbClr val="8DB4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3" name="Freeform: Shape 172">
              <a:extLst>
                <a:ext uri="{FF2B5EF4-FFF2-40B4-BE49-F238E27FC236}">
                  <a16:creationId xmlns:a16="http://schemas.microsoft.com/office/drawing/2014/main" id="{EACB9AC0-57EF-D3E0-A099-D572F3179728}"/>
                </a:ext>
              </a:extLst>
            </p:cNvPr>
            <p:cNvSpPr/>
            <p:nvPr/>
          </p:nvSpPr>
          <p:spPr>
            <a:xfrm flipH="1">
              <a:off x="3965100" y="3250750"/>
              <a:ext cx="32341" cy="17718"/>
            </a:xfrm>
            <a:custGeom>
              <a:avLst/>
              <a:gdLst>
                <a:gd name="connsiteX0" fmla="*/ 3535 w 27113"/>
                <a:gd name="connsiteY0" fmla="*/ 0 h 14854"/>
                <a:gd name="connsiteX1" fmla="*/ 27113 w 27113"/>
                <a:gd name="connsiteY1" fmla="*/ 5369 h 14854"/>
                <a:gd name="connsiteX2" fmla="*/ 0 w 27113"/>
                <a:gd name="connsiteY2" fmla="*/ 14854 h 14854"/>
                <a:gd name="connsiteX3" fmla="*/ 3535 w 27113"/>
                <a:gd name="connsiteY3" fmla="*/ 0 h 14854"/>
              </a:gdLst>
              <a:ahLst/>
              <a:cxnLst>
                <a:cxn ang="0">
                  <a:pos x="connsiteX0" y="connsiteY0"/>
                </a:cxn>
                <a:cxn ang="0">
                  <a:pos x="connsiteX1" y="connsiteY1"/>
                </a:cxn>
                <a:cxn ang="0">
                  <a:pos x="connsiteX2" y="connsiteY2"/>
                </a:cxn>
                <a:cxn ang="0">
                  <a:pos x="connsiteX3" y="connsiteY3"/>
                </a:cxn>
              </a:cxnLst>
              <a:rect l="l" t="t" r="r" b="b"/>
              <a:pathLst>
                <a:path w="27113" h="14854">
                  <a:moveTo>
                    <a:pt x="3535" y="0"/>
                  </a:moveTo>
                  <a:cubicBezTo>
                    <a:pt x="11364" y="1969"/>
                    <a:pt x="19194" y="3713"/>
                    <a:pt x="27113" y="5369"/>
                  </a:cubicBezTo>
                  <a:cubicBezTo>
                    <a:pt x="19373" y="11722"/>
                    <a:pt x="9709" y="13825"/>
                    <a:pt x="0" y="14854"/>
                  </a:cubicBezTo>
                  <a:cubicBezTo>
                    <a:pt x="1342" y="9888"/>
                    <a:pt x="2506" y="4966"/>
                    <a:pt x="3535" y="0"/>
                  </a:cubicBezTo>
                  <a:close/>
                </a:path>
              </a:pathLst>
            </a:custGeom>
            <a:solidFill>
              <a:srgbClr val="5983B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4" name="Freeform: Shape 173">
              <a:extLst>
                <a:ext uri="{FF2B5EF4-FFF2-40B4-BE49-F238E27FC236}">
                  <a16:creationId xmlns:a16="http://schemas.microsoft.com/office/drawing/2014/main" id="{1DE5E32F-AC3C-FF16-A645-F90A0E6E5DD2}"/>
                </a:ext>
              </a:extLst>
            </p:cNvPr>
            <p:cNvSpPr/>
            <p:nvPr/>
          </p:nvSpPr>
          <p:spPr>
            <a:xfrm flipH="1">
              <a:off x="2335906" y="3260696"/>
              <a:ext cx="49311" cy="47371"/>
            </a:xfrm>
            <a:custGeom>
              <a:avLst/>
              <a:gdLst>
                <a:gd name="connsiteX0" fmla="*/ 2371 w 41341"/>
                <a:gd name="connsiteY0" fmla="*/ 1460 h 39714"/>
                <a:gd name="connsiteX1" fmla="*/ 41341 w 41341"/>
                <a:gd name="connsiteY1" fmla="*/ 3876 h 39714"/>
                <a:gd name="connsiteX2" fmla="*/ 39775 w 41341"/>
                <a:gd name="connsiteY2" fmla="*/ 10722 h 39714"/>
                <a:gd name="connsiteX3" fmla="*/ 27695 w 41341"/>
                <a:gd name="connsiteY3" fmla="*/ 39714 h 39714"/>
                <a:gd name="connsiteX4" fmla="*/ 24295 w 41341"/>
                <a:gd name="connsiteY4" fmla="*/ 27142 h 39714"/>
                <a:gd name="connsiteX5" fmla="*/ 25503 w 41341"/>
                <a:gd name="connsiteY5" fmla="*/ 11214 h 39714"/>
                <a:gd name="connsiteX6" fmla="*/ 0 w 41341"/>
                <a:gd name="connsiteY6" fmla="*/ 6784 h 39714"/>
                <a:gd name="connsiteX7" fmla="*/ 2371 w 41341"/>
                <a:gd name="connsiteY7" fmla="*/ 1460 h 3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41" h="39714">
                  <a:moveTo>
                    <a:pt x="2371" y="1460"/>
                  </a:moveTo>
                  <a:cubicBezTo>
                    <a:pt x="14989" y="-2701"/>
                    <a:pt x="28411" y="3294"/>
                    <a:pt x="41341" y="3876"/>
                  </a:cubicBezTo>
                  <a:cubicBezTo>
                    <a:pt x="40939" y="5576"/>
                    <a:pt x="40178" y="9021"/>
                    <a:pt x="39775" y="10722"/>
                  </a:cubicBezTo>
                  <a:cubicBezTo>
                    <a:pt x="34988" y="20072"/>
                    <a:pt x="30335" y="29513"/>
                    <a:pt x="27695" y="39714"/>
                  </a:cubicBezTo>
                  <a:cubicBezTo>
                    <a:pt x="26845" y="36582"/>
                    <a:pt x="25145" y="30274"/>
                    <a:pt x="24295" y="27142"/>
                  </a:cubicBezTo>
                  <a:cubicBezTo>
                    <a:pt x="24608" y="21773"/>
                    <a:pt x="25145" y="16493"/>
                    <a:pt x="25503" y="11214"/>
                  </a:cubicBezTo>
                  <a:cubicBezTo>
                    <a:pt x="17986" y="5397"/>
                    <a:pt x="8904" y="4681"/>
                    <a:pt x="0" y="6784"/>
                  </a:cubicBezTo>
                  <a:lnTo>
                    <a:pt x="2371" y="1460"/>
                  </a:lnTo>
                  <a:close/>
                </a:path>
              </a:pathLst>
            </a:custGeom>
            <a:solidFill>
              <a:srgbClr val="4D60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5" name="Freeform: Shape 174">
              <a:extLst>
                <a:ext uri="{FF2B5EF4-FFF2-40B4-BE49-F238E27FC236}">
                  <a16:creationId xmlns:a16="http://schemas.microsoft.com/office/drawing/2014/main" id="{C116CAB9-9643-ED58-BF81-9BF88C32E739}"/>
                </a:ext>
              </a:extLst>
            </p:cNvPr>
            <p:cNvSpPr/>
            <p:nvPr/>
          </p:nvSpPr>
          <p:spPr>
            <a:xfrm flipH="1">
              <a:off x="2311732" y="3263931"/>
              <a:ext cx="26042" cy="26096"/>
            </a:xfrm>
            <a:custGeom>
              <a:avLst/>
              <a:gdLst>
                <a:gd name="connsiteX0" fmla="*/ 1566 w 21833"/>
                <a:gd name="connsiteY0" fmla="*/ 1163 h 21878"/>
                <a:gd name="connsiteX1" fmla="*/ 21834 w 21833"/>
                <a:gd name="connsiteY1" fmla="*/ 0 h 21878"/>
                <a:gd name="connsiteX2" fmla="*/ 21029 w 21833"/>
                <a:gd name="connsiteY2" fmla="*/ 11364 h 21878"/>
                <a:gd name="connsiteX3" fmla="*/ 19820 w 21833"/>
                <a:gd name="connsiteY3" fmla="*/ 21879 h 21878"/>
                <a:gd name="connsiteX4" fmla="*/ 4519 w 21833"/>
                <a:gd name="connsiteY4" fmla="*/ 21879 h 21878"/>
                <a:gd name="connsiteX5" fmla="*/ 0 w 21833"/>
                <a:gd name="connsiteY5" fmla="*/ 8053 h 21878"/>
                <a:gd name="connsiteX6" fmla="*/ 1566 w 21833"/>
                <a:gd name="connsiteY6" fmla="*/ 1208 h 2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3" h="21878">
                  <a:moveTo>
                    <a:pt x="1566" y="1163"/>
                  </a:moveTo>
                  <a:cubicBezTo>
                    <a:pt x="8277" y="671"/>
                    <a:pt x="15033" y="313"/>
                    <a:pt x="21834" y="0"/>
                  </a:cubicBezTo>
                  <a:cubicBezTo>
                    <a:pt x="21655" y="2819"/>
                    <a:pt x="21252" y="8545"/>
                    <a:pt x="21029" y="11364"/>
                  </a:cubicBezTo>
                  <a:cubicBezTo>
                    <a:pt x="20760" y="14004"/>
                    <a:pt x="20134" y="19239"/>
                    <a:pt x="19820" y="21879"/>
                  </a:cubicBezTo>
                  <a:cubicBezTo>
                    <a:pt x="15973" y="21879"/>
                    <a:pt x="8322" y="21879"/>
                    <a:pt x="4519" y="21879"/>
                  </a:cubicBezTo>
                  <a:cubicBezTo>
                    <a:pt x="3356" y="18433"/>
                    <a:pt x="1119" y="11498"/>
                    <a:pt x="0" y="8053"/>
                  </a:cubicBezTo>
                  <a:cubicBezTo>
                    <a:pt x="403" y="6353"/>
                    <a:pt x="1163" y="2908"/>
                    <a:pt x="1566" y="1208"/>
                  </a:cubicBezTo>
                  <a:close/>
                </a:path>
              </a:pathLst>
            </a:custGeom>
            <a:solidFill>
              <a:srgbClr val="D8D9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6" name="Freeform: Shape 175">
              <a:extLst>
                <a:ext uri="{FF2B5EF4-FFF2-40B4-BE49-F238E27FC236}">
                  <a16:creationId xmlns:a16="http://schemas.microsoft.com/office/drawing/2014/main" id="{0D87BBE6-F25D-872A-8B0A-759E7CF3797B}"/>
                </a:ext>
              </a:extLst>
            </p:cNvPr>
            <p:cNvSpPr/>
            <p:nvPr/>
          </p:nvSpPr>
          <p:spPr>
            <a:xfrm flipH="1">
              <a:off x="2207133" y="5057373"/>
              <a:ext cx="1926334" cy="63951"/>
            </a:xfrm>
            <a:custGeom>
              <a:avLst/>
              <a:gdLst>
                <a:gd name="connsiteX0" fmla="*/ 485 w 1614980"/>
                <a:gd name="connsiteY0" fmla="*/ 283 h 53615"/>
                <a:gd name="connsiteX1" fmla="*/ 1542052 w 1614980"/>
                <a:gd name="connsiteY1" fmla="*/ 373 h 53615"/>
                <a:gd name="connsiteX2" fmla="*/ 1614981 w 1614980"/>
                <a:gd name="connsiteY2" fmla="*/ 2386 h 53615"/>
                <a:gd name="connsiteX3" fmla="*/ 1519279 w 1614980"/>
                <a:gd name="connsiteY3" fmla="*/ 16346 h 53615"/>
                <a:gd name="connsiteX4" fmla="*/ 1240047 w 1614980"/>
                <a:gd name="connsiteY4" fmla="*/ 53615 h 53615"/>
                <a:gd name="connsiteX5" fmla="*/ 1239197 w 1614980"/>
                <a:gd name="connsiteY5" fmla="*/ 40953 h 53615"/>
                <a:gd name="connsiteX6" fmla="*/ 1121348 w 1614980"/>
                <a:gd name="connsiteY6" fmla="*/ 39208 h 53615"/>
                <a:gd name="connsiteX7" fmla="*/ 553087 w 1614980"/>
                <a:gd name="connsiteY7" fmla="*/ 41490 h 53615"/>
                <a:gd name="connsiteX8" fmla="*/ 399445 w 1614980"/>
                <a:gd name="connsiteY8" fmla="*/ 45069 h 53615"/>
                <a:gd name="connsiteX9" fmla="*/ 261328 w 1614980"/>
                <a:gd name="connsiteY9" fmla="*/ 45786 h 53615"/>
                <a:gd name="connsiteX10" fmla="*/ 212426 w 1614980"/>
                <a:gd name="connsiteY10" fmla="*/ 41848 h 53615"/>
                <a:gd name="connsiteX11" fmla="*/ 21469 w 1614980"/>
                <a:gd name="connsiteY11" fmla="*/ 17151 h 53615"/>
                <a:gd name="connsiteX12" fmla="*/ 485 w 1614980"/>
                <a:gd name="connsiteY12" fmla="*/ 283 h 53615"/>
                <a:gd name="connsiteX13" fmla="*/ 288486 w 1614980"/>
                <a:gd name="connsiteY13" fmla="*/ 35495 h 53615"/>
                <a:gd name="connsiteX14" fmla="*/ 369871 w 1614980"/>
                <a:gd name="connsiteY14" fmla="*/ 38537 h 53615"/>
                <a:gd name="connsiteX15" fmla="*/ 499263 w 1614980"/>
                <a:gd name="connsiteY15" fmla="*/ 36166 h 53615"/>
                <a:gd name="connsiteX16" fmla="*/ 364860 w 1614980"/>
                <a:gd name="connsiteY16" fmla="*/ 32497 h 53615"/>
                <a:gd name="connsiteX17" fmla="*/ 288486 w 1614980"/>
                <a:gd name="connsiteY17" fmla="*/ 35495 h 5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4980" h="53615">
                  <a:moveTo>
                    <a:pt x="485" y="283"/>
                  </a:moveTo>
                  <a:cubicBezTo>
                    <a:pt x="514341" y="283"/>
                    <a:pt x="1028197" y="149"/>
                    <a:pt x="1542052" y="373"/>
                  </a:cubicBezTo>
                  <a:cubicBezTo>
                    <a:pt x="1566347" y="1044"/>
                    <a:pt x="1590865" y="-1909"/>
                    <a:pt x="1614981" y="2386"/>
                  </a:cubicBezTo>
                  <a:cubicBezTo>
                    <a:pt x="1583617" y="10037"/>
                    <a:pt x="1551135" y="11245"/>
                    <a:pt x="1519279" y="16346"/>
                  </a:cubicBezTo>
                  <a:cubicBezTo>
                    <a:pt x="1426038" y="27352"/>
                    <a:pt x="1333289" y="42385"/>
                    <a:pt x="1240047" y="53615"/>
                  </a:cubicBezTo>
                  <a:cubicBezTo>
                    <a:pt x="1239779" y="49365"/>
                    <a:pt x="1239466" y="45159"/>
                    <a:pt x="1239197" y="40953"/>
                  </a:cubicBezTo>
                  <a:cubicBezTo>
                    <a:pt x="1200004" y="37508"/>
                    <a:pt x="1160631" y="39388"/>
                    <a:pt x="1121348" y="39208"/>
                  </a:cubicBezTo>
                  <a:cubicBezTo>
                    <a:pt x="931913" y="39477"/>
                    <a:pt x="742388" y="34332"/>
                    <a:pt x="553087" y="41490"/>
                  </a:cubicBezTo>
                  <a:cubicBezTo>
                    <a:pt x="501813" y="40730"/>
                    <a:pt x="450719" y="48694"/>
                    <a:pt x="399445" y="45069"/>
                  </a:cubicBezTo>
                  <a:cubicBezTo>
                    <a:pt x="353406" y="43817"/>
                    <a:pt x="306964" y="37150"/>
                    <a:pt x="261328" y="45786"/>
                  </a:cubicBezTo>
                  <a:cubicBezTo>
                    <a:pt x="244908" y="46725"/>
                    <a:pt x="228622" y="43951"/>
                    <a:pt x="212426" y="41848"/>
                  </a:cubicBezTo>
                  <a:cubicBezTo>
                    <a:pt x="148893" y="32900"/>
                    <a:pt x="85226" y="24712"/>
                    <a:pt x="21469" y="17151"/>
                  </a:cubicBezTo>
                  <a:cubicBezTo>
                    <a:pt x="11134" y="15719"/>
                    <a:pt x="-2781" y="14690"/>
                    <a:pt x="485" y="283"/>
                  </a:cubicBezTo>
                  <a:close/>
                  <a:moveTo>
                    <a:pt x="288486" y="35495"/>
                  </a:moveTo>
                  <a:cubicBezTo>
                    <a:pt x="315510" y="38448"/>
                    <a:pt x="342757" y="37598"/>
                    <a:pt x="369871" y="38537"/>
                  </a:cubicBezTo>
                  <a:cubicBezTo>
                    <a:pt x="413002" y="37911"/>
                    <a:pt x="456311" y="41267"/>
                    <a:pt x="499263" y="36166"/>
                  </a:cubicBezTo>
                  <a:cubicBezTo>
                    <a:pt x="454477" y="33929"/>
                    <a:pt x="409691" y="33347"/>
                    <a:pt x="364860" y="32497"/>
                  </a:cubicBezTo>
                  <a:cubicBezTo>
                    <a:pt x="339402" y="32452"/>
                    <a:pt x="313720" y="31245"/>
                    <a:pt x="288486" y="35495"/>
                  </a:cubicBezTo>
                  <a:close/>
                </a:path>
              </a:pathLst>
            </a:custGeom>
            <a:solidFill>
              <a:srgbClr val="657E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7" name="Freeform: Shape 176">
              <a:extLst>
                <a:ext uri="{FF2B5EF4-FFF2-40B4-BE49-F238E27FC236}">
                  <a16:creationId xmlns:a16="http://schemas.microsoft.com/office/drawing/2014/main" id="{DEB1A92A-B78B-8E79-6B79-8A9C0CE39423}"/>
                </a:ext>
              </a:extLst>
            </p:cNvPr>
            <p:cNvSpPr/>
            <p:nvPr/>
          </p:nvSpPr>
          <p:spPr>
            <a:xfrm flipH="1">
              <a:off x="2754893" y="3268916"/>
              <a:ext cx="34314" cy="140974"/>
            </a:xfrm>
            <a:custGeom>
              <a:avLst/>
              <a:gdLst>
                <a:gd name="connsiteX0" fmla="*/ 1208 w 28768"/>
                <a:gd name="connsiteY0" fmla="*/ 3651 h 118189"/>
                <a:gd name="connsiteX1" fmla="*/ 22460 w 28768"/>
                <a:gd name="connsiteY1" fmla="*/ 1280 h 118189"/>
                <a:gd name="connsiteX2" fmla="*/ 27963 w 28768"/>
                <a:gd name="connsiteY2" fmla="*/ 25217 h 118189"/>
                <a:gd name="connsiteX3" fmla="*/ 28769 w 28768"/>
                <a:gd name="connsiteY3" fmla="*/ 112105 h 118189"/>
                <a:gd name="connsiteX4" fmla="*/ 26084 w 28768"/>
                <a:gd name="connsiteY4" fmla="*/ 114342 h 118189"/>
                <a:gd name="connsiteX5" fmla="*/ 6622 w 28768"/>
                <a:gd name="connsiteY5" fmla="*/ 118189 h 118189"/>
                <a:gd name="connsiteX6" fmla="*/ 0 w 28768"/>
                <a:gd name="connsiteY6" fmla="*/ 117071 h 118189"/>
                <a:gd name="connsiteX7" fmla="*/ 1208 w 28768"/>
                <a:gd name="connsiteY7" fmla="*/ 3651 h 11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68" h="118189">
                  <a:moveTo>
                    <a:pt x="1208" y="3651"/>
                  </a:moveTo>
                  <a:cubicBezTo>
                    <a:pt x="8053" y="2533"/>
                    <a:pt x="15525" y="-2255"/>
                    <a:pt x="22460" y="1280"/>
                  </a:cubicBezTo>
                  <a:cubicBezTo>
                    <a:pt x="28813" y="7544"/>
                    <a:pt x="27292" y="17074"/>
                    <a:pt x="27963" y="25217"/>
                  </a:cubicBezTo>
                  <a:cubicBezTo>
                    <a:pt x="27829" y="54164"/>
                    <a:pt x="26979" y="83157"/>
                    <a:pt x="28769" y="112105"/>
                  </a:cubicBezTo>
                  <a:lnTo>
                    <a:pt x="26084" y="114342"/>
                  </a:lnTo>
                  <a:cubicBezTo>
                    <a:pt x="19597" y="115908"/>
                    <a:pt x="13154" y="117205"/>
                    <a:pt x="6622" y="118189"/>
                  </a:cubicBezTo>
                  <a:cubicBezTo>
                    <a:pt x="4966" y="117921"/>
                    <a:pt x="1655" y="117339"/>
                    <a:pt x="0" y="117071"/>
                  </a:cubicBezTo>
                  <a:cubicBezTo>
                    <a:pt x="984" y="79264"/>
                    <a:pt x="-1119" y="41413"/>
                    <a:pt x="1208" y="3651"/>
                  </a:cubicBezTo>
                  <a:close/>
                </a:path>
              </a:pathLst>
            </a:custGeom>
            <a:solidFill>
              <a:srgbClr val="FB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8" name="Freeform: Shape 177">
              <a:extLst>
                <a:ext uri="{FF2B5EF4-FFF2-40B4-BE49-F238E27FC236}">
                  <a16:creationId xmlns:a16="http://schemas.microsoft.com/office/drawing/2014/main" id="{9968F20F-AA49-CDCC-DD24-7317A21C8B95}"/>
                </a:ext>
              </a:extLst>
            </p:cNvPr>
            <p:cNvSpPr/>
            <p:nvPr/>
          </p:nvSpPr>
          <p:spPr>
            <a:xfrm flipH="1">
              <a:off x="2354799" y="3267502"/>
              <a:ext cx="33195" cy="34641"/>
            </a:xfrm>
            <a:custGeom>
              <a:avLst/>
              <a:gdLst>
                <a:gd name="connsiteX0" fmla="*/ 2326 w 27829"/>
                <a:gd name="connsiteY0" fmla="*/ 1079 h 29042"/>
                <a:gd name="connsiteX1" fmla="*/ 27829 w 27829"/>
                <a:gd name="connsiteY1" fmla="*/ 5508 h 29042"/>
                <a:gd name="connsiteX2" fmla="*/ 3266 w 27829"/>
                <a:gd name="connsiteY2" fmla="*/ 29042 h 29042"/>
                <a:gd name="connsiteX3" fmla="*/ 0 w 27829"/>
                <a:gd name="connsiteY3" fmla="*/ 1392 h 29042"/>
                <a:gd name="connsiteX4" fmla="*/ 2326 w 27829"/>
                <a:gd name="connsiteY4" fmla="*/ 1079 h 29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29" h="29042">
                  <a:moveTo>
                    <a:pt x="2326" y="1079"/>
                  </a:moveTo>
                  <a:cubicBezTo>
                    <a:pt x="11230" y="-1024"/>
                    <a:pt x="20313" y="-308"/>
                    <a:pt x="27829" y="5508"/>
                  </a:cubicBezTo>
                  <a:cubicBezTo>
                    <a:pt x="20894" y="14591"/>
                    <a:pt x="12214" y="22063"/>
                    <a:pt x="3266" y="29042"/>
                  </a:cubicBezTo>
                  <a:cubicBezTo>
                    <a:pt x="1566" y="19915"/>
                    <a:pt x="671" y="10609"/>
                    <a:pt x="0" y="1392"/>
                  </a:cubicBezTo>
                  <a:lnTo>
                    <a:pt x="2326" y="1079"/>
                  </a:lnTo>
                  <a:close/>
                </a:path>
              </a:pathLst>
            </a:custGeom>
            <a:solidFill>
              <a:srgbClr val="F1D8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9" name="Freeform: Shape 178">
              <a:extLst>
                <a:ext uri="{FF2B5EF4-FFF2-40B4-BE49-F238E27FC236}">
                  <a16:creationId xmlns:a16="http://schemas.microsoft.com/office/drawing/2014/main" id="{2B6DFC84-F58A-5FAE-9399-5F0FE2547095}"/>
                </a:ext>
              </a:extLst>
            </p:cNvPr>
            <p:cNvSpPr/>
            <p:nvPr/>
          </p:nvSpPr>
          <p:spPr>
            <a:xfrm flipH="1">
              <a:off x="2264524" y="3267241"/>
              <a:ext cx="34213" cy="35703"/>
            </a:xfrm>
            <a:custGeom>
              <a:avLst/>
              <a:gdLst>
                <a:gd name="connsiteX0" fmla="*/ 6510 w 28683"/>
                <a:gd name="connsiteY0" fmla="*/ 2327 h 29932"/>
                <a:gd name="connsiteX1" fmla="*/ 26554 w 28683"/>
                <a:gd name="connsiteY1" fmla="*/ 0 h 29932"/>
                <a:gd name="connsiteX2" fmla="*/ 27360 w 28683"/>
                <a:gd name="connsiteY2" fmla="*/ 22684 h 29932"/>
                <a:gd name="connsiteX3" fmla="*/ 4900 w 28683"/>
                <a:gd name="connsiteY3" fmla="*/ 29932 h 29932"/>
                <a:gd name="connsiteX4" fmla="*/ 157 w 28683"/>
                <a:gd name="connsiteY4" fmla="*/ 23221 h 29932"/>
                <a:gd name="connsiteX5" fmla="*/ 6510 w 28683"/>
                <a:gd name="connsiteY5" fmla="*/ 2327 h 2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83" h="29932">
                  <a:moveTo>
                    <a:pt x="6510" y="2327"/>
                  </a:moveTo>
                  <a:cubicBezTo>
                    <a:pt x="12819" y="-134"/>
                    <a:pt x="19843" y="671"/>
                    <a:pt x="26554" y="0"/>
                  </a:cubicBezTo>
                  <a:cubicBezTo>
                    <a:pt x="27360" y="7427"/>
                    <a:pt x="30402" y="15391"/>
                    <a:pt x="27360" y="22684"/>
                  </a:cubicBezTo>
                  <a:cubicBezTo>
                    <a:pt x="23557" y="31766"/>
                    <a:pt x="12461" y="28187"/>
                    <a:pt x="4900" y="29932"/>
                  </a:cubicBezTo>
                  <a:cubicBezTo>
                    <a:pt x="3691" y="28232"/>
                    <a:pt x="1320" y="24921"/>
                    <a:pt x="157" y="23221"/>
                  </a:cubicBezTo>
                  <a:cubicBezTo>
                    <a:pt x="-649" y="15704"/>
                    <a:pt x="1678" y="8098"/>
                    <a:pt x="6510" y="2327"/>
                  </a:cubicBezTo>
                  <a:close/>
                </a:path>
              </a:pathLst>
            </a:custGeom>
            <a:solidFill>
              <a:srgbClr val="EEF1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0" name="Freeform: Shape 179">
              <a:extLst>
                <a:ext uri="{FF2B5EF4-FFF2-40B4-BE49-F238E27FC236}">
                  <a16:creationId xmlns:a16="http://schemas.microsoft.com/office/drawing/2014/main" id="{57559B6A-20A6-B39D-ADFF-FA442FA92B9E}"/>
                </a:ext>
              </a:extLst>
            </p:cNvPr>
            <p:cNvSpPr/>
            <p:nvPr/>
          </p:nvSpPr>
          <p:spPr>
            <a:xfrm flipH="1">
              <a:off x="3965903" y="3271430"/>
              <a:ext cx="35435" cy="26177"/>
            </a:xfrm>
            <a:custGeom>
              <a:avLst/>
              <a:gdLst>
                <a:gd name="connsiteX0" fmla="*/ 492 w 29708"/>
                <a:gd name="connsiteY0" fmla="*/ 2349 h 21946"/>
                <a:gd name="connsiteX1" fmla="*/ 29708 w 29708"/>
                <a:gd name="connsiteY1" fmla="*/ 1275 h 21946"/>
                <a:gd name="connsiteX2" fmla="*/ 26040 w 29708"/>
                <a:gd name="connsiteY2" fmla="*/ 18098 h 21946"/>
                <a:gd name="connsiteX3" fmla="*/ 1611 w 29708"/>
                <a:gd name="connsiteY3" fmla="*/ 21946 h 21946"/>
                <a:gd name="connsiteX4" fmla="*/ 492 w 29708"/>
                <a:gd name="connsiteY4" fmla="*/ 2349 h 21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8" h="21946">
                  <a:moveTo>
                    <a:pt x="492" y="2349"/>
                  </a:moveTo>
                  <a:cubicBezTo>
                    <a:pt x="9172" y="-2438"/>
                    <a:pt x="20134" y="1633"/>
                    <a:pt x="29708" y="1275"/>
                  </a:cubicBezTo>
                  <a:cubicBezTo>
                    <a:pt x="28500" y="6868"/>
                    <a:pt x="27248" y="12461"/>
                    <a:pt x="26040" y="18098"/>
                  </a:cubicBezTo>
                  <a:cubicBezTo>
                    <a:pt x="17852" y="18859"/>
                    <a:pt x="9709" y="20290"/>
                    <a:pt x="1611" y="21946"/>
                  </a:cubicBezTo>
                  <a:cubicBezTo>
                    <a:pt x="1029" y="15414"/>
                    <a:pt x="-895" y="8792"/>
                    <a:pt x="492" y="2349"/>
                  </a:cubicBezTo>
                  <a:close/>
                </a:path>
              </a:pathLst>
            </a:custGeom>
            <a:solidFill>
              <a:srgbClr val="97B6D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1" name="Freeform: Shape 180">
              <a:extLst>
                <a:ext uri="{FF2B5EF4-FFF2-40B4-BE49-F238E27FC236}">
                  <a16:creationId xmlns:a16="http://schemas.microsoft.com/office/drawing/2014/main" id="{292DBD50-ECD4-3CAF-33E4-D67B8FB497F7}"/>
                </a:ext>
              </a:extLst>
            </p:cNvPr>
            <p:cNvSpPr/>
            <p:nvPr/>
          </p:nvSpPr>
          <p:spPr>
            <a:xfrm flipH="1">
              <a:off x="2354800" y="3274072"/>
              <a:ext cx="29298" cy="28872"/>
            </a:xfrm>
            <a:custGeom>
              <a:avLst/>
              <a:gdLst>
                <a:gd name="connsiteX0" fmla="*/ 24563 w 24563"/>
                <a:gd name="connsiteY0" fmla="*/ 0 h 24205"/>
                <a:gd name="connsiteX1" fmla="*/ 23355 w 24563"/>
                <a:gd name="connsiteY1" fmla="*/ 15928 h 24205"/>
                <a:gd name="connsiteX2" fmla="*/ 22416 w 24563"/>
                <a:gd name="connsiteY2" fmla="*/ 24205 h 24205"/>
                <a:gd name="connsiteX3" fmla="*/ 0 w 24563"/>
                <a:gd name="connsiteY3" fmla="*/ 23534 h 24205"/>
                <a:gd name="connsiteX4" fmla="*/ 24563 w 24563"/>
                <a:gd name="connsiteY4" fmla="*/ 0 h 24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3" h="24205">
                  <a:moveTo>
                    <a:pt x="24563" y="0"/>
                  </a:moveTo>
                  <a:cubicBezTo>
                    <a:pt x="24205" y="5279"/>
                    <a:pt x="23668" y="10559"/>
                    <a:pt x="23355" y="15928"/>
                  </a:cubicBezTo>
                  <a:cubicBezTo>
                    <a:pt x="23131" y="17986"/>
                    <a:pt x="22639" y="22147"/>
                    <a:pt x="22416" y="24205"/>
                  </a:cubicBezTo>
                  <a:cubicBezTo>
                    <a:pt x="14899" y="23847"/>
                    <a:pt x="7427" y="23668"/>
                    <a:pt x="0" y="23534"/>
                  </a:cubicBezTo>
                  <a:cubicBezTo>
                    <a:pt x="8948" y="16554"/>
                    <a:pt x="17628" y="9083"/>
                    <a:pt x="24563" y="0"/>
                  </a:cubicBezTo>
                  <a:close/>
                </a:path>
              </a:pathLst>
            </a:custGeom>
            <a:solidFill>
              <a:srgbClr val="D79E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2" name="Freeform: Shape 181">
              <a:extLst>
                <a:ext uri="{FF2B5EF4-FFF2-40B4-BE49-F238E27FC236}">
                  <a16:creationId xmlns:a16="http://schemas.microsoft.com/office/drawing/2014/main" id="{36B4500B-D0ED-A5DE-782D-65DBD4DF26C6}"/>
                </a:ext>
              </a:extLst>
            </p:cNvPr>
            <p:cNvSpPr/>
            <p:nvPr/>
          </p:nvSpPr>
          <p:spPr>
            <a:xfrm flipH="1">
              <a:off x="2213803" y="3270495"/>
              <a:ext cx="17844" cy="23748"/>
            </a:xfrm>
            <a:custGeom>
              <a:avLst/>
              <a:gdLst>
                <a:gd name="connsiteX0" fmla="*/ 17 w 14960"/>
                <a:gd name="connsiteY0" fmla="*/ 0 h 19910"/>
                <a:gd name="connsiteX1" fmla="*/ 14961 w 14960"/>
                <a:gd name="connsiteY1" fmla="*/ 5861 h 19910"/>
                <a:gd name="connsiteX2" fmla="*/ 13216 w 14960"/>
                <a:gd name="connsiteY2" fmla="*/ 19910 h 19910"/>
                <a:gd name="connsiteX3" fmla="*/ 17 w 14960"/>
                <a:gd name="connsiteY3" fmla="*/ 0 h 19910"/>
              </a:gdLst>
              <a:ahLst/>
              <a:cxnLst>
                <a:cxn ang="0">
                  <a:pos x="connsiteX0" y="connsiteY0"/>
                </a:cxn>
                <a:cxn ang="0">
                  <a:pos x="connsiteX1" y="connsiteY1"/>
                </a:cxn>
                <a:cxn ang="0">
                  <a:pos x="connsiteX2" y="connsiteY2"/>
                </a:cxn>
                <a:cxn ang="0">
                  <a:pos x="connsiteX3" y="connsiteY3"/>
                </a:cxn>
              </a:cxnLst>
              <a:rect l="l" t="t" r="r" b="b"/>
              <a:pathLst>
                <a:path w="14960" h="19910">
                  <a:moveTo>
                    <a:pt x="17" y="0"/>
                  </a:moveTo>
                  <a:cubicBezTo>
                    <a:pt x="4983" y="1879"/>
                    <a:pt x="9950" y="3848"/>
                    <a:pt x="14961" y="5861"/>
                  </a:cubicBezTo>
                  <a:cubicBezTo>
                    <a:pt x="14513" y="9351"/>
                    <a:pt x="13663" y="16420"/>
                    <a:pt x="13216" y="19910"/>
                  </a:cubicBezTo>
                  <a:cubicBezTo>
                    <a:pt x="1628" y="19910"/>
                    <a:pt x="-207" y="9396"/>
                    <a:pt x="17" y="0"/>
                  </a:cubicBezTo>
                  <a:close/>
                </a:path>
              </a:pathLst>
            </a:custGeom>
            <a:solidFill>
              <a:srgbClr val="8DBB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3" name="Freeform: Shape 182">
              <a:extLst>
                <a:ext uri="{FF2B5EF4-FFF2-40B4-BE49-F238E27FC236}">
                  <a16:creationId xmlns:a16="http://schemas.microsoft.com/office/drawing/2014/main" id="{E4748C34-4B8C-304B-BAFC-D1A6B2EC7ABE}"/>
                </a:ext>
              </a:extLst>
            </p:cNvPr>
            <p:cNvSpPr/>
            <p:nvPr/>
          </p:nvSpPr>
          <p:spPr>
            <a:xfrm flipH="1">
              <a:off x="4030637" y="3276633"/>
              <a:ext cx="74340" cy="43980"/>
            </a:xfrm>
            <a:custGeom>
              <a:avLst/>
              <a:gdLst>
                <a:gd name="connsiteX0" fmla="*/ 0 w 62324"/>
                <a:gd name="connsiteY0" fmla="*/ 1387 h 36871"/>
                <a:gd name="connsiteX1" fmla="*/ 18881 w 62324"/>
                <a:gd name="connsiteY1" fmla="*/ 0 h 36871"/>
                <a:gd name="connsiteX2" fmla="*/ 59551 w 62324"/>
                <a:gd name="connsiteY2" fmla="*/ 134 h 36871"/>
                <a:gd name="connsiteX3" fmla="*/ 62146 w 62324"/>
                <a:gd name="connsiteY3" fmla="*/ 0 h 36871"/>
                <a:gd name="connsiteX4" fmla="*/ 62325 w 62324"/>
                <a:gd name="connsiteY4" fmla="*/ 23758 h 36871"/>
                <a:gd name="connsiteX5" fmla="*/ 62325 w 62324"/>
                <a:gd name="connsiteY5" fmla="*/ 36017 h 36871"/>
                <a:gd name="connsiteX6" fmla="*/ 2192 w 62324"/>
                <a:gd name="connsiteY6" fmla="*/ 36420 h 36871"/>
                <a:gd name="connsiteX7" fmla="*/ 0 w 62324"/>
                <a:gd name="connsiteY7" fmla="*/ 1387 h 36871"/>
                <a:gd name="connsiteX8" fmla="*/ 16196 w 62324"/>
                <a:gd name="connsiteY8" fmla="*/ 14899 h 36871"/>
                <a:gd name="connsiteX9" fmla="*/ 27203 w 62324"/>
                <a:gd name="connsiteY9" fmla="*/ 21923 h 36871"/>
                <a:gd name="connsiteX10" fmla="*/ 16196 w 62324"/>
                <a:gd name="connsiteY10" fmla="*/ 14899 h 3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324" h="36871">
                  <a:moveTo>
                    <a:pt x="0" y="1387"/>
                  </a:moveTo>
                  <a:cubicBezTo>
                    <a:pt x="6264" y="940"/>
                    <a:pt x="12572" y="447"/>
                    <a:pt x="18881" y="0"/>
                  </a:cubicBezTo>
                  <a:cubicBezTo>
                    <a:pt x="32348" y="2013"/>
                    <a:pt x="46039" y="1566"/>
                    <a:pt x="59551" y="134"/>
                  </a:cubicBezTo>
                  <a:lnTo>
                    <a:pt x="62146" y="0"/>
                  </a:lnTo>
                  <a:cubicBezTo>
                    <a:pt x="62235" y="7875"/>
                    <a:pt x="62325" y="15794"/>
                    <a:pt x="62325" y="23758"/>
                  </a:cubicBezTo>
                  <a:lnTo>
                    <a:pt x="62325" y="36017"/>
                  </a:lnTo>
                  <a:cubicBezTo>
                    <a:pt x="42281" y="37001"/>
                    <a:pt x="22192" y="37135"/>
                    <a:pt x="2192" y="36420"/>
                  </a:cubicBezTo>
                  <a:cubicBezTo>
                    <a:pt x="1476" y="24697"/>
                    <a:pt x="761" y="13020"/>
                    <a:pt x="0" y="1387"/>
                  </a:cubicBezTo>
                  <a:close/>
                  <a:moveTo>
                    <a:pt x="16196" y="14899"/>
                  </a:moveTo>
                  <a:cubicBezTo>
                    <a:pt x="10693" y="21565"/>
                    <a:pt x="22773" y="27829"/>
                    <a:pt x="27203" y="21923"/>
                  </a:cubicBezTo>
                  <a:cubicBezTo>
                    <a:pt x="32885" y="15167"/>
                    <a:pt x="20581" y="8725"/>
                    <a:pt x="16196" y="14899"/>
                  </a:cubicBezTo>
                  <a:close/>
                </a:path>
              </a:pathLst>
            </a:custGeom>
            <a:solidFill>
              <a:srgbClr val="FCFC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4" name="Freeform: Shape 183">
              <a:extLst>
                <a:ext uri="{FF2B5EF4-FFF2-40B4-BE49-F238E27FC236}">
                  <a16:creationId xmlns:a16="http://schemas.microsoft.com/office/drawing/2014/main" id="{7F4CE536-398F-C7C3-A287-82BA4078288B}"/>
                </a:ext>
              </a:extLst>
            </p:cNvPr>
            <p:cNvSpPr/>
            <p:nvPr/>
          </p:nvSpPr>
          <p:spPr>
            <a:xfrm flipH="1">
              <a:off x="2292893" y="3273485"/>
              <a:ext cx="60785" cy="40435"/>
            </a:xfrm>
            <a:custGeom>
              <a:avLst/>
              <a:gdLst>
                <a:gd name="connsiteX0" fmla="*/ 1253 w 50960"/>
                <a:gd name="connsiteY0" fmla="*/ 28993 h 33900"/>
                <a:gd name="connsiteX1" fmla="*/ 13333 w 50960"/>
                <a:gd name="connsiteY1" fmla="*/ 0 h 33900"/>
                <a:gd name="connsiteX2" fmla="*/ 17852 w 50960"/>
                <a:gd name="connsiteY2" fmla="*/ 13825 h 33900"/>
                <a:gd name="connsiteX3" fmla="*/ 33153 w 50960"/>
                <a:gd name="connsiteY3" fmla="*/ 13825 h 33900"/>
                <a:gd name="connsiteX4" fmla="*/ 34361 w 50960"/>
                <a:gd name="connsiteY4" fmla="*/ 3311 h 33900"/>
                <a:gd name="connsiteX5" fmla="*/ 46218 w 50960"/>
                <a:gd name="connsiteY5" fmla="*/ 17941 h 33900"/>
                <a:gd name="connsiteX6" fmla="*/ 50961 w 50960"/>
                <a:gd name="connsiteY6" fmla="*/ 24653 h 33900"/>
                <a:gd name="connsiteX7" fmla="*/ 0 w 50960"/>
                <a:gd name="connsiteY7" fmla="*/ 33422 h 33900"/>
                <a:gd name="connsiteX8" fmla="*/ 1253 w 50960"/>
                <a:gd name="connsiteY8" fmla="*/ 28948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60" h="33900">
                  <a:moveTo>
                    <a:pt x="1253" y="28993"/>
                  </a:moveTo>
                  <a:cubicBezTo>
                    <a:pt x="3892" y="18791"/>
                    <a:pt x="8545" y="9351"/>
                    <a:pt x="13333" y="0"/>
                  </a:cubicBezTo>
                  <a:cubicBezTo>
                    <a:pt x="14451" y="3445"/>
                    <a:pt x="16688" y="10380"/>
                    <a:pt x="17852" y="13825"/>
                  </a:cubicBezTo>
                  <a:cubicBezTo>
                    <a:pt x="21655" y="13825"/>
                    <a:pt x="29306" y="13825"/>
                    <a:pt x="33153" y="13825"/>
                  </a:cubicBezTo>
                  <a:cubicBezTo>
                    <a:pt x="33467" y="11185"/>
                    <a:pt x="34093" y="5951"/>
                    <a:pt x="34361" y="3311"/>
                  </a:cubicBezTo>
                  <a:cubicBezTo>
                    <a:pt x="38433" y="8054"/>
                    <a:pt x="42504" y="12841"/>
                    <a:pt x="46218" y="17941"/>
                  </a:cubicBezTo>
                  <a:cubicBezTo>
                    <a:pt x="47381" y="19642"/>
                    <a:pt x="49752" y="22952"/>
                    <a:pt x="50961" y="24653"/>
                  </a:cubicBezTo>
                  <a:cubicBezTo>
                    <a:pt x="38254" y="39194"/>
                    <a:pt x="16867" y="31811"/>
                    <a:pt x="0" y="33422"/>
                  </a:cubicBezTo>
                  <a:lnTo>
                    <a:pt x="1253" y="28948"/>
                  </a:lnTo>
                  <a:close/>
                </a:path>
              </a:pathLst>
            </a:custGeom>
            <a:solidFill>
              <a:srgbClr val="447BC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36D1694B-C0BB-3F84-67EE-7B66B076DA52}"/>
                </a:ext>
              </a:extLst>
            </p:cNvPr>
            <p:cNvSpPr/>
            <p:nvPr/>
          </p:nvSpPr>
          <p:spPr>
            <a:xfrm flipH="1">
              <a:off x="4070775" y="3291436"/>
              <a:ext cx="16565" cy="14158"/>
            </a:xfrm>
            <a:custGeom>
              <a:avLst/>
              <a:gdLst>
                <a:gd name="connsiteX0" fmla="*/ 1410 w 13887"/>
                <a:gd name="connsiteY0" fmla="*/ 2489 h 11870"/>
                <a:gd name="connsiteX1" fmla="*/ 12416 w 13887"/>
                <a:gd name="connsiteY1" fmla="*/ 9514 h 11870"/>
                <a:gd name="connsiteX2" fmla="*/ 1410 w 13887"/>
                <a:gd name="connsiteY2" fmla="*/ 2489 h 11870"/>
              </a:gdLst>
              <a:ahLst/>
              <a:cxnLst>
                <a:cxn ang="0">
                  <a:pos x="connsiteX0" y="connsiteY0"/>
                </a:cxn>
                <a:cxn ang="0">
                  <a:pos x="connsiteX1" y="connsiteY1"/>
                </a:cxn>
                <a:cxn ang="0">
                  <a:pos x="connsiteX2" y="connsiteY2"/>
                </a:cxn>
              </a:cxnLst>
              <a:rect l="l" t="t" r="r" b="b"/>
              <a:pathLst>
                <a:path w="13887" h="11870">
                  <a:moveTo>
                    <a:pt x="1410" y="2489"/>
                  </a:moveTo>
                  <a:cubicBezTo>
                    <a:pt x="5794" y="-3685"/>
                    <a:pt x="18098" y="2758"/>
                    <a:pt x="12416" y="9514"/>
                  </a:cubicBezTo>
                  <a:cubicBezTo>
                    <a:pt x="7987" y="15420"/>
                    <a:pt x="-4093" y="9156"/>
                    <a:pt x="1410" y="2489"/>
                  </a:cubicBezTo>
                  <a:close/>
                </a:path>
              </a:pathLst>
            </a:custGeom>
            <a:solidFill>
              <a:srgbClr val="DEDC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6" name="Freeform: Shape 185">
              <a:extLst>
                <a:ext uri="{FF2B5EF4-FFF2-40B4-BE49-F238E27FC236}">
                  <a16:creationId xmlns:a16="http://schemas.microsoft.com/office/drawing/2014/main" id="{F7373685-0E04-C383-62E7-40DE74AFCC5D}"/>
                </a:ext>
              </a:extLst>
            </p:cNvPr>
            <p:cNvSpPr/>
            <p:nvPr/>
          </p:nvSpPr>
          <p:spPr>
            <a:xfrm flipH="1">
              <a:off x="3739721" y="3295152"/>
              <a:ext cx="31235" cy="41660"/>
            </a:xfrm>
            <a:custGeom>
              <a:avLst/>
              <a:gdLst>
                <a:gd name="connsiteX0" fmla="*/ 2554 w 26186"/>
                <a:gd name="connsiteY0" fmla="*/ 30245 h 34926"/>
                <a:gd name="connsiteX1" fmla="*/ 11637 w 26186"/>
                <a:gd name="connsiteY1" fmla="*/ 0 h 34926"/>
                <a:gd name="connsiteX2" fmla="*/ 25641 w 26186"/>
                <a:gd name="connsiteY2" fmla="*/ 21431 h 34926"/>
                <a:gd name="connsiteX3" fmla="*/ 2554 w 26186"/>
                <a:gd name="connsiteY3" fmla="*/ 30245 h 34926"/>
              </a:gdLst>
              <a:ahLst/>
              <a:cxnLst>
                <a:cxn ang="0">
                  <a:pos x="connsiteX0" y="connsiteY0"/>
                </a:cxn>
                <a:cxn ang="0">
                  <a:pos x="connsiteX1" y="connsiteY1"/>
                </a:cxn>
                <a:cxn ang="0">
                  <a:pos x="connsiteX2" y="connsiteY2"/>
                </a:cxn>
                <a:cxn ang="0">
                  <a:pos x="connsiteX3" y="connsiteY3"/>
                </a:cxn>
              </a:cxnLst>
              <a:rect l="l" t="t" r="r" b="b"/>
              <a:pathLst>
                <a:path w="26186" h="34926">
                  <a:moveTo>
                    <a:pt x="2554" y="30245"/>
                  </a:moveTo>
                  <a:cubicBezTo>
                    <a:pt x="-3352" y="19418"/>
                    <a:pt x="1525" y="6309"/>
                    <a:pt x="11637" y="0"/>
                  </a:cubicBezTo>
                  <a:cubicBezTo>
                    <a:pt x="17677" y="6085"/>
                    <a:pt x="28773" y="10827"/>
                    <a:pt x="25641" y="21431"/>
                  </a:cubicBezTo>
                  <a:cubicBezTo>
                    <a:pt x="24298" y="31095"/>
                    <a:pt x="8639" y="41028"/>
                    <a:pt x="2554" y="30245"/>
                  </a:cubicBezTo>
                  <a:close/>
                </a:path>
              </a:pathLst>
            </a:custGeom>
            <a:solidFill>
              <a:srgbClr val="A1B8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7" name="Freeform: Shape 186">
              <a:extLst>
                <a:ext uri="{FF2B5EF4-FFF2-40B4-BE49-F238E27FC236}">
                  <a16:creationId xmlns:a16="http://schemas.microsoft.com/office/drawing/2014/main" id="{DB5DB1A7-9A71-D2C1-6014-8D2BE2463417}"/>
                </a:ext>
              </a:extLst>
            </p:cNvPr>
            <p:cNvSpPr/>
            <p:nvPr/>
          </p:nvSpPr>
          <p:spPr>
            <a:xfrm flipH="1">
              <a:off x="3126596" y="3347664"/>
              <a:ext cx="40399" cy="17451"/>
            </a:xfrm>
            <a:custGeom>
              <a:avLst/>
              <a:gdLst>
                <a:gd name="connsiteX0" fmla="*/ 0 w 33869"/>
                <a:gd name="connsiteY0" fmla="*/ 0 h 14630"/>
                <a:gd name="connsiteX1" fmla="*/ 30827 w 33869"/>
                <a:gd name="connsiteY1" fmla="*/ 2953 h 14630"/>
                <a:gd name="connsiteX2" fmla="*/ 33869 w 33869"/>
                <a:gd name="connsiteY2" fmla="*/ 14631 h 14630"/>
                <a:gd name="connsiteX3" fmla="*/ 313 w 33869"/>
                <a:gd name="connsiteY3" fmla="*/ 14452 h 14630"/>
                <a:gd name="connsiteX4" fmla="*/ 0 w 33869"/>
                <a:gd name="connsiteY4" fmla="*/ 0 h 14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69" h="14630">
                  <a:moveTo>
                    <a:pt x="0" y="0"/>
                  </a:moveTo>
                  <a:cubicBezTo>
                    <a:pt x="10246" y="1029"/>
                    <a:pt x="20536" y="2013"/>
                    <a:pt x="30827" y="2953"/>
                  </a:cubicBezTo>
                  <a:cubicBezTo>
                    <a:pt x="31587" y="5861"/>
                    <a:pt x="33109" y="11722"/>
                    <a:pt x="33869" y="14631"/>
                  </a:cubicBezTo>
                  <a:cubicBezTo>
                    <a:pt x="22684" y="14228"/>
                    <a:pt x="11454" y="14407"/>
                    <a:pt x="313" y="14452"/>
                  </a:cubicBezTo>
                  <a:cubicBezTo>
                    <a:pt x="224" y="10827"/>
                    <a:pt x="45" y="3624"/>
                    <a:pt x="0" y="0"/>
                  </a:cubicBezTo>
                  <a:close/>
                </a:path>
              </a:pathLst>
            </a:custGeom>
            <a:solidFill>
              <a:srgbClr val="9FB2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09BA1A23-A747-D7F3-2DAC-01E797F2DC6C}"/>
                </a:ext>
              </a:extLst>
            </p:cNvPr>
            <p:cNvSpPr/>
            <p:nvPr/>
          </p:nvSpPr>
          <p:spPr>
            <a:xfrm flipH="1">
              <a:off x="2891566" y="3372213"/>
              <a:ext cx="75141" cy="35116"/>
            </a:xfrm>
            <a:custGeom>
              <a:avLst/>
              <a:gdLst>
                <a:gd name="connsiteX0" fmla="*/ 4653 w 62996"/>
                <a:gd name="connsiteY0" fmla="*/ 1477 h 29440"/>
                <a:gd name="connsiteX1" fmla="*/ 62996 w 62996"/>
                <a:gd name="connsiteY1" fmla="*/ 1119 h 29440"/>
                <a:gd name="connsiteX2" fmla="*/ 62772 w 62996"/>
                <a:gd name="connsiteY2" fmla="*/ 7025 h 29440"/>
                <a:gd name="connsiteX3" fmla="*/ 10738 w 62996"/>
                <a:gd name="connsiteY3" fmla="*/ 8814 h 29440"/>
                <a:gd name="connsiteX4" fmla="*/ 3579 w 62996"/>
                <a:gd name="connsiteY4" fmla="*/ 16420 h 29440"/>
                <a:gd name="connsiteX5" fmla="*/ 62146 w 62996"/>
                <a:gd name="connsiteY5" fmla="*/ 17136 h 29440"/>
                <a:gd name="connsiteX6" fmla="*/ 61251 w 62996"/>
                <a:gd name="connsiteY6" fmla="*/ 27740 h 29440"/>
                <a:gd name="connsiteX7" fmla="*/ 18881 w 62996"/>
                <a:gd name="connsiteY7" fmla="*/ 29440 h 29440"/>
                <a:gd name="connsiteX8" fmla="*/ 0 w 62996"/>
                <a:gd name="connsiteY8" fmla="*/ 26263 h 29440"/>
                <a:gd name="connsiteX9" fmla="*/ 4653 w 62996"/>
                <a:gd name="connsiteY9" fmla="*/ 1477 h 2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6" h="29440">
                  <a:moveTo>
                    <a:pt x="4653" y="1477"/>
                  </a:moveTo>
                  <a:cubicBezTo>
                    <a:pt x="24071" y="45"/>
                    <a:pt x="43578" y="-805"/>
                    <a:pt x="62996" y="1119"/>
                  </a:cubicBezTo>
                  <a:lnTo>
                    <a:pt x="62772" y="7025"/>
                  </a:lnTo>
                  <a:cubicBezTo>
                    <a:pt x="45457" y="7382"/>
                    <a:pt x="27785" y="5280"/>
                    <a:pt x="10738" y="8814"/>
                  </a:cubicBezTo>
                  <a:cubicBezTo>
                    <a:pt x="8948" y="10693"/>
                    <a:pt x="5369" y="14496"/>
                    <a:pt x="3579" y="16420"/>
                  </a:cubicBezTo>
                  <a:cubicBezTo>
                    <a:pt x="23042" y="17494"/>
                    <a:pt x="42594" y="17091"/>
                    <a:pt x="62146" y="17136"/>
                  </a:cubicBezTo>
                  <a:cubicBezTo>
                    <a:pt x="61833" y="20626"/>
                    <a:pt x="61520" y="24160"/>
                    <a:pt x="61251" y="27740"/>
                  </a:cubicBezTo>
                  <a:cubicBezTo>
                    <a:pt x="47113" y="28590"/>
                    <a:pt x="33019" y="29306"/>
                    <a:pt x="18881" y="29440"/>
                  </a:cubicBezTo>
                  <a:cubicBezTo>
                    <a:pt x="12528" y="28456"/>
                    <a:pt x="6264" y="27382"/>
                    <a:pt x="0" y="26263"/>
                  </a:cubicBezTo>
                  <a:cubicBezTo>
                    <a:pt x="1521" y="17986"/>
                    <a:pt x="3087" y="9709"/>
                    <a:pt x="4653" y="1477"/>
                  </a:cubicBezTo>
                  <a:close/>
                </a:path>
              </a:pathLst>
            </a:custGeom>
            <a:solidFill>
              <a:srgbClr val="EDDD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9" name="Freeform: Shape 188">
              <a:extLst>
                <a:ext uri="{FF2B5EF4-FFF2-40B4-BE49-F238E27FC236}">
                  <a16:creationId xmlns:a16="http://schemas.microsoft.com/office/drawing/2014/main" id="{79EEFD95-C62C-F77A-B363-A212E53BBC26}"/>
                </a:ext>
              </a:extLst>
            </p:cNvPr>
            <p:cNvSpPr/>
            <p:nvPr/>
          </p:nvSpPr>
          <p:spPr>
            <a:xfrm flipH="1">
              <a:off x="2891834" y="3380236"/>
              <a:ext cx="70604" cy="12462"/>
            </a:xfrm>
            <a:custGeom>
              <a:avLst/>
              <a:gdLst>
                <a:gd name="connsiteX0" fmla="*/ 7159 w 59192"/>
                <a:gd name="connsiteY0" fmla="*/ 2089 h 10448"/>
                <a:gd name="connsiteX1" fmla="*/ 59193 w 59192"/>
                <a:gd name="connsiteY1" fmla="*/ 299 h 10448"/>
                <a:gd name="connsiteX2" fmla="*/ 58567 w 59192"/>
                <a:gd name="connsiteY2" fmla="*/ 10411 h 10448"/>
                <a:gd name="connsiteX3" fmla="*/ 0 w 59192"/>
                <a:gd name="connsiteY3" fmla="*/ 9695 h 10448"/>
                <a:gd name="connsiteX4" fmla="*/ 7159 w 59192"/>
                <a:gd name="connsiteY4" fmla="*/ 2089 h 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92" h="10448">
                  <a:moveTo>
                    <a:pt x="7159" y="2089"/>
                  </a:moveTo>
                  <a:cubicBezTo>
                    <a:pt x="24205" y="-1446"/>
                    <a:pt x="41878" y="657"/>
                    <a:pt x="59193" y="299"/>
                  </a:cubicBezTo>
                  <a:cubicBezTo>
                    <a:pt x="59014" y="2805"/>
                    <a:pt x="58701" y="7861"/>
                    <a:pt x="58567" y="10411"/>
                  </a:cubicBezTo>
                  <a:cubicBezTo>
                    <a:pt x="39015" y="10366"/>
                    <a:pt x="19463" y="10769"/>
                    <a:pt x="0" y="9695"/>
                  </a:cubicBezTo>
                  <a:cubicBezTo>
                    <a:pt x="1790" y="7771"/>
                    <a:pt x="5369" y="3968"/>
                    <a:pt x="7159" y="2089"/>
                  </a:cubicBezTo>
                  <a:close/>
                </a:path>
              </a:pathLst>
            </a:custGeom>
            <a:solidFill>
              <a:srgbClr val="D58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0" name="Rectangle 189">
              <a:extLst>
                <a:ext uri="{FF2B5EF4-FFF2-40B4-BE49-F238E27FC236}">
                  <a16:creationId xmlns:a16="http://schemas.microsoft.com/office/drawing/2014/main" id="{7A2FB9F2-32C8-D065-6749-FB7DB50BADD7}"/>
                </a:ext>
              </a:extLst>
            </p:cNvPr>
            <p:cNvSpPr/>
            <p:nvPr/>
          </p:nvSpPr>
          <p:spPr>
            <a:xfrm flipH="1">
              <a:off x="3183470" y="3406583"/>
              <a:ext cx="292217" cy="176834"/>
            </a:xfrm>
            <a:prstGeom prst="rect">
              <a:avLst/>
            </a:prstGeom>
            <a:solidFill>
              <a:srgbClr val="99A7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1" name="Rectangle 190">
              <a:extLst>
                <a:ext uri="{FF2B5EF4-FFF2-40B4-BE49-F238E27FC236}">
                  <a16:creationId xmlns:a16="http://schemas.microsoft.com/office/drawing/2014/main" id="{B9EE5DC2-E266-EB28-1FBA-E4E205FB018F}"/>
                </a:ext>
              </a:extLst>
            </p:cNvPr>
            <p:cNvSpPr/>
            <p:nvPr/>
          </p:nvSpPr>
          <p:spPr>
            <a:xfrm flipH="1">
              <a:off x="2890635" y="3405301"/>
              <a:ext cx="275132" cy="179420"/>
            </a:xfrm>
            <a:prstGeom prst="rect">
              <a:avLst/>
            </a:prstGeom>
            <a:solidFill>
              <a:srgbClr val="A0AEC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2" name="Freeform: Shape 191">
              <a:extLst>
                <a:ext uri="{FF2B5EF4-FFF2-40B4-BE49-F238E27FC236}">
                  <a16:creationId xmlns:a16="http://schemas.microsoft.com/office/drawing/2014/main" id="{ADCA31B0-C456-797D-105F-F297DE1A6B20}"/>
                </a:ext>
              </a:extLst>
            </p:cNvPr>
            <p:cNvSpPr/>
            <p:nvPr/>
          </p:nvSpPr>
          <p:spPr>
            <a:xfrm flipH="1">
              <a:off x="2684449" y="3405301"/>
              <a:ext cx="96861" cy="224248"/>
            </a:xfrm>
            <a:custGeom>
              <a:avLst/>
              <a:gdLst>
                <a:gd name="connsiteX0" fmla="*/ 0 w 81205"/>
                <a:gd name="connsiteY0" fmla="*/ 3848 h 188003"/>
                <a:gd name="connsiteX1" fmla="*/ 19462 w 81205"/>
                <a:gd name="connsiteY1" fmla="*/ 0 h 188003"/>
                <a:gd name="connsiteX2" fmla="*/ 10962 w 81205"/>
                <a:gd name="connsiteY2" fmla="*/ 7696 h 188003"/>
                <a:gd name="connsiteX3" fmla="*/ 43936 w 81205"/>
                <a:gd name="connsiteY3" fmla="*/ 100623 h 188003"/>
                <a:gd name="connsiteX4" fmla="*/ 81206 w 81205"/>
                <a:gd name="connsiteY4" fmla="*/ 188004 h 188003"/>
                <a:gd name="connsiteX5" fmla="*/ 13870 w 81205"/>
                <a:gd name="connsiteY5" fmla="*/ 55524 h 188003"/>
                <a:gd name="connsiteX6" fmla="*/ 0 w 81205"/>
                <a:gd name="connsiteY6" fmla="*/ 3848 h 18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05" h="188003">
                  <a:moveTo>
                    <a:pt x="0" y="3848"/>
                  </a:moveTo>
                  <a:cubicBezTo>
                    <a:pt x="6532" y="2863"/>
                    <a:pt x="12975" y="1566"/>
                    <a:pt x="19462" y="0"/>
                  </a:cubicBezTo>
                  <a:cubicBezTo>
                    <a:pt x="17360" y="1924"/>
                    <a:pt x="13109" y="5772"/>
                    <a:pt x="10962" y="7696"/>
                  </a:cubicBezTo>
                  <a:cubicBezTo>
                    <a:pt x="18836" y="39686"/>
                    <a:pt x="30558" y="70557"/>
                    <a:pt x="43936" y="100623"/>
                  </a:cubicBezTo>
                  <a:cubicBezTo>
                    <a:pt x="56464" y="129705"/>
                    <a:pt x="73287" y="157087"/>
                    <a:pt x="81206" y="188004"/>
                  </a:cubicBezTo>
                  <a:cubicBezTo>
                    <a:pt x="61475" y="142457"/>
                    <a:pt x="31006" y="102279"/>
                    <a:pt x="13870" y="55524"/>
                  </a:cubicBezTo>
                  <a:cubicBezTo>
                    <a:pt x="7472" y="38791"/>
                    <a:pt x="4429" y="21118"/>
                    <a:pt x="0" y="3848"/>
                  </a:cubicBezTo>
                  <a:close/>
                </a:path>
              </a:pathLst>
            </a:custGeom>
            <a:solidFill>
              <a:srgbClr val="BEDF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3" name="Freeform: Shape 192">
              <a:extLst>
                <a:ext uri="{FF2B5EF4-FFF2-40B4-BE49-F238E27FC236}">
                  <a16:creationId xmlns:a16="http://schemas.microsoft.com/office/drawing/2014/main" id="{ACC5E49A-4D2C-D4A1-FF49-E3FE705A0A43}"/>
                </a:ext>
              </a:extLst>
            </p:cNvPr>
            <p:cNvSpPr/>
            <p:nvPr/>
          </p:nvSpPr>
          <p:spPr>
            <a:xfrm flipH="1">
              <a:off x="2589508" y="3407757"/>
              <a:ext cx="36609" cy="36609"/>
            </a:xfrm>
            <a:custGeom>
              <a:avLst/>
              <a:gdLst>
                <a:gd name="connsiteX0" fmla="*/ 2595 w 30692"/>
                <a:gd name="connsiteY0" fmla="*/ 1119 h 30692"/>
                <a:gd name="connsiteX1" fmla="*/ 30693 w 30692"/>
                <a:gd name="connsiteY1" fmla="*/ 0 h 30692"/>
                <a:gd name="connsiteX2" fmla="*/ 18926 w 30692"/>
                <a:gd name="connsiteY2" fmla="*/ 30021 h 30692"/>
                <a:gd name="connsiteX3" fmla="*/ 9888 w 30692"/>
                <a:gd name="connsiteY3" fmla="*/ 7964 h 30692"/>
                <a:gd name="connsiteX4" fmla="*/ 0 w 30692"/>
                <a:gd name="connsiteY4" fmla="*/ 30693 h 30692"/>
                <a:gd name="connsiteX5" fmla="*/ 2595 w 30692"/>
                <a:gd name="connsiteY5" fmla="*/ 1119 h 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92" h="30692">
                  <a:moveTo>
                    <a:pt x="2595" y="1119"/>
                  </a:moveTo>
                  <a:cubicBezTo>
                    <a:pt x="11901" y="805"/>
                    <a:pt x="21297" y="447"/>
                    <a:pt x="30693" y="0"/>
                  </a:cubicBezTo>
                  <a:cubicBezTo>
                    <a:pt x="25234" y="9351"/>
                    <a:pt x="21073" y="19373"/>
                    <a:pt x="18926" y="30021"/>
                  </a:cubicBezTo>
                  <a:cubicBezTo>
                    <a:pt x="20268" y="20626"/>
                    <a:pt x="22952" y="8904"/>
                    <a:pt x="9888" y="7964"/>
                  </a:cubicBezTo>
                  <a:cubicBezTo>
                    <a:pt x="7159" y="15749"/>
                    <a:pt x="4116" y="23534"/>
                    <a:pt x="0" y="30693"/>
                  </a:cubicBezTo>
                  <a:cubicBezTo>
                    <a:pt x="1029" y="20850"/>
                    <a:pt x="1834" y="10962"/>
                    <a:pt x="2595" y="1119"/>
                  </a:cubicBezTo>
                  <a:close/>
                </a:path>
              </a:pathLst>
            </a:custGeom>
            <a:solidFill>
              <a:srgbClr val="2638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4" name="Rectangle 193">
              <a:extLst>
                <a:ext uri="{FF2B5EF4-FFF2-40B4-BE49-F238E27FC236}">
                  <a16:creationId xmlns:a16="http://schemas.microsoft.com/office/drawing/2014/main" id="{4DF6640E-A166-138A-7F52-A78F6C47B147}"/>
                </a:ext>
              </a:extLst>
            </p:cNvPr>
            <p:cNvSpPr/>
            <p:nvPr/>
          </p:nvSpPr>
          <p:spPr>
            <a:xfrm flipH="1">
              <a:off x="3263429" y="3408771"/>
              <a:ext cx="255364" cy="130589"/>
            </a:xfrm>
            <a:prstGeom prst="rect">
              <a:avLst/>
            </a:prstGeom>
            <a:solidFill>
              <a:srgbClr val="99A7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A91730FC-C2CC-EBC2-A665-D811BF59B739}"/>
                </a:ext>
              </a:extLst>
            </p:cNvPr>
            <p:cNvSpPr/>
            <p:nvPr/>
          </p:nvSpPr>
          <p:spPr>
            <a:xfrm flipH="1">
              <a:off x="4019483" y="3434813"/>
              <a:ext cx="60839" cy="16649"/>
            </a:xfrm>
            <a:custGeom>
              <a:avLst/>
              <a:gdLst>
                <a:gd name="connsiteX0" fmla="*/ 0 w 51005"/>
                <a:gd name="connsiteY0" fmla="*/ 0 h 13959"/>
                <a:gd name="connsiteX1" fmla="*/ 51005 w 51005"/>
                <a:gd name="connsiteY1" fmla="*/ 0 h 13959"/>
                <a:gd name="connsiteX2" fmla="*/ 50916 w 51005"/>
                <a:gd name="connsiteY2" fmla="*/ 13601 h 13959"/>
                <a:gd name="connsiteX3" fmla="*/ 313 w 51005"/>
                <a:gd name="connsiteY3" fmla="*/ 13959 h 13959"/>
                <a:gd name="connsiteX4" fmla="*/ 0 w 51005"/>
                <a:gd name="connsiteY4" fmla="*/ 45 h 1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05" h="13959">
                  <a:moveTo>
                    <a:pt x="0" y="0"/>
                  </a:moveTo>
                  <a:cubicBezTo>
                    <a:pt x="17002" y="45"/>
                    <a:pt x="34004" y="45"/>
                    <a:pt x="51005" y="0"/>
                  </a:cubicBezTo>
                  <a:cubicBezTo>
                    <a:pt x="50871" y="4474"/>
                    <a:pt x="50826" y="9038"/>
                    <a:pt x="50916" y="13601"/>
                  </a:cubicBezTo>
                  <a:cubicBezTo>
                    <a:pt x="34048" y="13467"/>
                    <a:pt x="17181" y="13601"/>
                    <a:pt x="313" y="13959"/>
                  </a:cubicBezTo>
                  <a:cubicBezTo>
                    <a:pt x="179" y="9306"/>
                    <a:pt x="89" y="4653"/>
                    <a:pt x="0" y="45"/>
                  </a:cubicBezTo>
                  <a:close/>
                </a:path>
              </a:pathLst>
            </a:custGeom>
            <a:solidFill>
              <a:srgbClr val="7D91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D827689B-FA3F-3B99-3DED-DB96750926E3}"/>
                </a:ext>
              </a:extLst>
            </p:cNvPr>
            <p:cNvSpPr/>
            <p:nvPr/>
          </p:nvSpPr>
          <p:spPr>
            <a:xfrm flipH="1">
              <a:off x="3749650" y="3428465"/>
              <a:ext cx="77427" cy="39649"/>
            </a:xfrm>
            <a:custGeom>
              <a:avLst/>
              <a:gdLst>
                <a:gd name="connsiteX0" fmla="*/ 524 w 64913"/>
                <a:gd name="connsiteY0" fmla="*/ 33241 h 33241"/>
                <a:gd name="connsiteX1" fmla="*/ 49069 w 64913"/>
                <a:gd name="connsiteY1" fmla="*/ 4383 h 33241"/>
                <a:gd name="connsiteX2" fmla="*/ 64907 w 64913"/>
                <a:gd name="connsiteY2" fmla="*/ 32212 h 33241"/>
                <a:gd name="connsiteX3" fmla="*/ 45221 w 64913"/>
                <a:gd name="connsiteY3" fmla="*/ 15076 h 33241"/>
                <a:gd name="connsiteX4" fmla="*/ 18868 w 64913"/>
                <a:gd name="connsiteY4" fmla="*/ 16060 h 33241"/>
                <a:gd name="connsiteX5" fmla="*/ 524 w 64913"/>
                <a:gd name="connsiteY5" fmla="*/ 33241 h 3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913" h="33241">
                  <a:moveTo>
                    <a:pt x="524" y="33241"/>
                  </a:moveTo>
                  <a:cubicBezTo>
                    <a:pt x="-4576" y="6665"/>
                    <a:pt x="28711" y="-7832"/>
                    <a:pt x="49069" y="4383"/>
                  </a:cubicBezTo>
                  <a:cubicBezTo>
                    <a:pt x="58912" y="10110"/>
                    <a:pt x="65131" y="20758"/>
                    <a:pt x="64907" y="32212"/>
                  </a:cubicBezTo>
                  <a:cubicBezTo>
                    <a:pt x="57570" y="27425"/>
                    <a:pt x="51037" y="21608"/>
                    <a:pt x="45221" y="15076"/>
                  </a:cubicBezTo>
                  <a:cubicBezTo>
                    <a:pt x="36452" y="14808"/>
                    <a:pt x="27414" y="13465"/>
                    <a:pt x="18868" y="16060"/>
                  </a:cubicBezTo>
                  <a:cubicBezTo>
                    <a:pt x="12068" y="21027"/>
                    <a:pt x="6520" y="27380"/>
                    <a:pt x="524" y="33241"/>
                  </a:cubicBezTo>
                  <a:close/>
                </a:path>
              </a:pathLst>
            </a:custGeom>
            <a:solidFill>
              <a:srgbClr val="E9A3A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0E3FBC6F-298F-5BAC-1948-3735D03A05FC}"/>
                </a:ext>
              </a:extLst>
            </p:cNvPr>
            <p:cNvSpPr/>
            <p:nvPr/>
          </p:nvSpPr>
          <p:spPr>
            <a:xfrm flipH="1">
              <a:off x="2591185" y="3333113"/>
              <a:ext cx="108732" cy="869817"/>
            </a:xfrm>
            <a:custGeom>
              <a:avLst/>
              <a:gdLst>
                <a:gd name="connsiteX0" fmla="*/ 52447 w 69110"/>
                <a:gd name="connsiteY0" fmla="*/ 2685 h 633360"/>
                <a:gd name="connsiteX1" fmla="*/ 58711 w 69110"/>
                <a:gd name="connsiteY1" fmla="*/ 0 h 633360"/>
                <a:gd name="connsiteX2" fmla="*/ 62469 w 69110"/>
                <a:gd name="connsiteY2" fmla="*/ 54316 h 633360"/>
                <a:gd name="connsiteX3" fmla="*/ 55982 w 69110"/>
                <a:gd name="connsiteY3" fmla="*/ 106708 h 633360"/>
                <a:gd name="connsiteX4" fmla="*/ 18354 w 69110"/>
                <a:gd name="connsiteY4" fmla="*/ 265048 h 633360"/>
                <a:gd name="connsiteX5" fmla="*/ 52224 w 69110"/>
                <a:gd name="connsiteY5" fmla="*/ 474081 h 633360"/>
                <a:gd name="connsiteX6" fmla="*/ 54774 w 69110"/>
                <a:gd name="connsiteY6" fmla="*/ 633360 h 633360"/>
                <a:gd name="connsiteX7" fmla="*/ 44438 w 69110"/>
                <a:gd name="connsiteY7" fmla="*/ 625172 h 633360"/>
                <a:gd name="connsiteX8" fmla="*/ 51910 w 69110"/>
                <a:gd name="connsiteY8" fmla="*/ 592556 h 633360"/>
                <a:gd name="connsiteX9" fmla="*/ 36430 w 69110"/>
                <a:gd name="connsiteY9" fmla="*/ 475557 h 633360"/>
                <a:gd name="connsiteX10" fmla="*/ 55 w 69110"/>
                <a:gd name="connsiteY10" fmla="*/ 309611 h 633360"/>
                <a:gd name="connsiteX11" fmla="*/ 29763 w 69110"/>
                <a:gd name="connsiteY11" fmla="*/ 144202 h 633360"/>
                <a:gd name="connsiteX12" fmla="*/ 52447 w 69110"/>
                <a:gd name="connsiteY12" fmla="*/ 2685 h 63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10" h="633360">
                  <a:moveTo>
                    <a:pt x="52447" y="2685"/>
                  </a:moveTo>
                  <a:lnTo>
                    <a:pt x="58711" y="0"/>
                  </a:lnTo>
                  <a:cubicBezTo>
                    <a:pt x="58487" y="18210"/>
                    <a:pt x="63901" y="36062"/>
                    <a:pt x="62469" y="54316"/>
                  </a:cubicBezTo>
                  <a:cubicBezTo>
                    <a:pt x="61172" y="71855"/>
                    <a:pt x="58442" y="89259"/>
                    <a:pt x="55982" y="106708"/>
                  </a:cubicBezTo>
                  <a:cubicBezTo>
                    <a:pt x="43365" y="159414"/>
                    <a:pt x="28153" y="211672"/>
                    <a:pt x="18354" y="265048"/>
                  </a:cubicBezTo>
                  <a:cubicBezTo>
                    <a:pt x="5603" y="336679"/>
                    <a:pt x="28690" y="407371"/>
                    <a:pt x="52224" y="474081"/>
                  </a:cubicBezTo>
                  <a:cubicBezTo>
                    <a:pt x="70926" y="524772"/>
                    <a:pt x="77234" y="582847"/>
                    <a:pt x="54774" y="633360"/>
                  </a:cubicBezTo>
                  <a:cubicBezTo>
                    <a:pt x="52179" y="631302"/>
                    <a:pt x="47033" y="627231"/>
                    <a:pt x="44438" y="625172"/>
                  </a:cubicBezTo>
                  <a:cubicBezTo>
                    <a:pt x="47212" y="614345"/>
                    <a:pt x="49987" y="603562"/>
                    <a:pt x="51910" y="592556"/>
                  </a:cubicBezTo>
                  <a:cubicBezTo>
                    <a:pt x="57816" y="552915"/>
                    <a:pt x="49629" y="512916"/>
                    <a:pt x="36430" y="475557"/>
                  </a:cubicBezTo>
                  <a:cubicBezTo>
                    <a:pt x="17773" y="422091"/>
                    <a:pt x="-1153" y="367014"/>
                    <a:pt x="55" y="309611"/>
                  </a:cubicBezTo>
                  <a:cubicBezTo>
                    <a:pt x="-79" y="253013"/>
                    <a:pt x="18310" y="198965"/>
                    <a:pt x="29763" y="144202"/>
                  </a:cubicBezTo>
                  <a:cubicBezTo>
                    <a:pt x="39562" y="97447"/>
                    <a:pt x="50702" y="50603"/>
                    <a:pt x="52447" y="2685"/>
                  </a:cubicBezTo>
                  <a:close/>
                </a:path>
              </a:pathLst>
            </a:custGeom>
            <a:solidFill>
              <a:srgbClr val="202F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8" name="Freeform: Shape 197">
              <a:extLst>
                <a:ext uri="{FF2B5EF4-FFF2-40B4-BE49-F238E27FC236}">
                  <a16:creationId xmlns:a16="http://schemas.microsoft.com/office/drawing/2014/main" id="{123E6CEC-E531-182C-F3CA-6CF25B6B29B9}"/>
                </a:ext>
              </a:extLst>
            </p:cNvPr>
            <p:cNvSpPr/>
            <p:nvPr/>
          </p:nvSpPr>
          <p:spPr>
            <a:xfrm flipH="1">
              <a:off x="4322450" y="3451625"/>
              <a:ext cx="49631" cy="90724"/>
            </a:xfrm>
            <a:custGeom>
              <a:avLst/>
              <a:gdLst>
                <a:gd name="connsiteX0" fmla="*/ 0 w 41609"/>
                <a:gd name="connsiteY0" fmla="*/ 21789 h 76060"/>
                <a:gd name="connsiteX1" fmla="*/ 17449 w 41609"/>
                <a:gd name="connsiteY1" fmla="*/ 0 h 76060"/>
                <a:gd name="connsiteX2" fmla="*/ 41610 w 41609"/>
                <a:gd name="connsiteY2" fmla="*/ 55882 h 76060"/>
                <a:gd name="connsiteX3" fmla="*/ 28008 w 41609"/>
                <a:gd name="connsiteY3" fmla="*/ 76060 h 76060"/>
                <a:gd name="connsiteX4" fmla="*/ 0 w 41609"/>
                <a:gd name="connsiteY4" fmla="*/ 21789 h 76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 h="76060">
                  <a:moveTo>
                    <a:pt x="0" y="21789"/>
                  </a:moveTo>
                  <a:cubicBezTo>
                    <a:pt x="8814" y="17225"/>
                    <a:pt x="13870" y="8859"/>
                    <a:pt x="17449" y="0"/>
                  </a:cubicBezTo>
                  <a:cubicBezTo>
                    <a:pt x="23981" y="19194"/>
                    <a:pt x="32393" y="37762"/>
                    <a:pt x="41610" y="55882"/>
                  </a:cubicBezTo>
                  <a:cubicBezTo>
                    <a:pt x="37314" y="62772"/>
                    <a:pt x="32975" y="69618"/>
                    <a:pt x="28008" y="76060"/>
                  </a:cubicBezTo>
                  <a:cubicBezTo>
                    <a:pt x="16420" y="59193"/>
                    <a:pt x="7919" y="40581"/>
                    <a:pt x="0" y="21789"/>
                  </a:cubicBez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9" name="Oval 198">
              <a:extLst>
                <a:ext uri="{FF2B5EF4-FFF2-40B4-BE49-F238E27FC236}">
                  <a16:creationId xmlns:a16="http://schemas.microsoft.com/office/drawing/2014/main" id="{E0184EE6-9B79-0BED-6B72-7206DB1E4A19}"/>
                </a:ext>
              </a:extLst>
            </p:cNvPr>
            <p:cNvSpPr/>
            <p:nvPr/>
          </p:nvSpPr>
          <p:spPr>
            <a:xfrm flipH="1">
              <a:off x="3085272" y="3449203"/>
              <a:ext cx="78413" cy="82296"/>
            </a:xfrm>
            <a:prstGeom prst="ellipse">
              <a:avLst/>
            </a:prstGeom>
            <a:solidFill>
              <a:srgbClr val="FBAD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0" name="Freeform: Shape 199">
              <a:extLst>
                <a:ext uri="{FF2B5EF4-FFF2-40B4-BE49-F238E27FC236}">
                  <a16:creationId xmlns:a16="http://schemas.microsoft.com/office/drawing/2014/main" id="{A1400219-9089-C8C2-45BB-EA83F37680E9}"/>
                </a:ext>
              </a:extLst>
            </p:cNvPr>
            <p:cNvSpPr/>
            <p:nvPr/>
          </p:nvSpPr>
          <p:spPr>
            <a:xfrm flipH="1">
              <a:off x="3776767" y="3458936"/>
              <a:ext cx="17398" cy="21812"/>
            </a:xfrm>
            <a:custGeom>
              <a:avLst/>
              <a:gdLst>
                <a:gd name="connsiteX0" fmla="*/ 0 w 14586"/>
                <a:gd name="connsiteY0" fmla="*/ 4474 h 18286"/>
                <a:gd name="connsiteX1" fmla="*/ 13378 w 14586"/>
                <a:gd name="connsiteY1" fmla="*/ 0 h 18286"/>
                <a:gd name="connsiteX2" fmla="*/ 805 w 14586"/>
                <a:gd name="connsiteY2" fmla="*/ 18210 h 18286"/>
                <a:gd name="connsiteX3" fmla="*/ 0 w 14586"/>
                <a:gd name="connsiteY3" fmla="*/ 4474 h 18286"/>
              </a:gdLst>
              <a:ahLst/>
              <a:cxnLst>
                <a:cxn ang="0">
                  <a:pos x="connsiteX0" y="connsiteY0"/>
                </a:cxn>
                <a:cxn ang="0">
                  <a:pos x="connsiteX1" y="connsiteY1"/>
                </a:cxn>
                <a:cxn ang="0">
                  <a:pos x="connsiteX2" y="connsiteY2"/>
                </a:cxn>
                <a:cxn ang="0">
                  <a:pos x="connsiteX3" y="connsiteY3"/>
                </a:cxn>
              </a:cxnLst>
              <a:rect l="l" t="t" r="r" b="b"/>
              <a:pathLst>
                <a:path w="14586" h="18286">
                  <a:moveTo>
                    <a:pt x="0" y="4474"/>
                  </a:moveTo>
                  <a:cubicBezTo>
                    <a:pt x="4429" y="2998"/>
                    <a:pt x="8904" y="1477"/>
                    <a:pt x="13378" y="0"/>
                  </a:cubicBezTo>
                  <a:cubicBezTo>
                    <a:pt x="16867" y="10604"/>
                    <a:pt x="12841" y="19194"/>
                    <a:pt x="805" y="18210"/>
                  </a:cubicBezTo>
                  <a:cubicBezTo>
                    <a:pt x="626" y="14765"/>
                    <a:pt x="224" y="7919"/>
                    <a:pt x="0" y="4474"/>
                  </a:cubicBezTo>
                  <a:close/>
                </a:path>
              </a:pathLst>
            </a:custGeom>
            <a:solidFill>
              <a:srgbClr val="BFA7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4FA8EE4A-038D-618E-95E9-C3B2223E7E2E}"/>
                </a:ext>
              </a:extLst>
            </p:cNvPr>
            <p:cNvSpPr/>
            <p:nvPr/>
          </p:nvSpPr>
          <p:spPr>
            <a:xfrm flipH="1">
              <a:off x="4015230" y="3473397"/>
              <a:ext cx="110898" cy="69028"/>
            </a:xfrm>
            <a:custGeom>
              <a:avLst/>
              <a:gdLst>
                <a:gd name="connsiteX0" fmla="*/ 865 w 92973"/>
                <a:gd name="connsiteY0" fmla="*/ 807 h 57871"/>
                <a:gd name="connsiteX1" fmla="*/ 92227 w 92973"/>
                <a:gd name="connsiteY1" fmla="*/ 46 h 57871"/>
                <a:gd name="connsiteX2" fmla="*/ 92540 w 92973"/>
                <a:gd name="connsiteY2" fmla="*/ 57181 h 57871"/>
                <a:gd name="connsiteX3" fmla="*/ 238 w 92973"/>
                <a:gd name="connsiteY3" fmla="*/ 57718 h 57871"/>
                <a:gd name="connsiteX4" fmla="*/ 865 w 92973"/>
                <a:gd name="connsiteY4" fmla="*/ 807 h 57871"/>
                <a:gd name="connsiteX5" fmla="*/ 36971 w 92973"/>
                <a:gd name="connsiteY5" fmla="*/ 11366 h 57871"/>
                <a:gd name="connsiteX6" fmla="*/ 36568 w 92973"/>
                <a:gd name="connsiteY6" fmla="*/ 47875 h 57871"/>
                <a:gd name="connsiteX7" fmla="*/ 54778 w 92973"/>
                <a:gd name="connsiteY7" fmla="*/ 46130 h 57871"/>
                <a:gd name="connsiteX8" fmla="*/ 55225 w 92973"/>
                <a:gd name="connsiteY8" fmla="*/ 11008 h 57871"/>
                <a:gd name="connsiteX9" fmla="*/ 36971 w 92973"/>
                <a:gd name="connsiteY9" fmla="*/ 11366 h 5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57871">
                  <a:moveTo>
                    <a:pt x="865" y="807"/>
                  </a:moveTo>
                  <a:cubicBezTo>
                    <a:pt x="31289" y="-670"/>
                    <a:pt x="61758" y="404"/>
                    <a:pt x="92227" y="46"/>
                  </a:cubicBezTo>
                  <a:cubicBezTo>
                    <a:pt x="93211" y="19061"/>
                    <a:pt x="93121" y="38121"/>
                    <a:pt x="92540" y="57181"/>
                  </a:cubicBezTo>
                  <a:cubicBezTo>
                    <a:pt x="61758" y="56823"/>
                    <a:pt x="31020" y="58344"/>
                    <a:pt x="238" y="57718"/>
                  </a:cubicBezTo>
                  <a:cubicBezTo>
                    <a:pt x="-164" y="38748"/>
                    <a:pt x="-120" y="19777"/>
                    <a:pt x="865" y="807"/>
                  </a:cubicBezTo>
                  <a:close/>
                  <a:moveTo>
                    <a:pt x="36971" y="11366"/>
                  </a:moveTo>
                  <a:cubicBezTo>
                    <a:pt x="36345" y="23536"/>
                    <a:pt x="36210" y="35705"/>
                    <a:pt x="36568" y="47875"/>
                  </a:cubicBezTo>
                  <a:cubicBezTo>
                    <a:pt x="42608" y="47293"/>
                    <a:pt x="48693" y="46712"/>
                    <a:pt x="54778" y="46130"/>
                  </a:cubicBezTo>
                  <a:cubicBezTo>
                    <a:pt x="55762" y="34453"/>
                    <a:pt x="55897" y="22685"/>
                    <a:pt x="55225" y="11008"/>
                  </a:cubicBezTo>
                  <a:cubicBezTo>
                    <a:pt x="49141" y="11097"/>
                    <a:pt x="43056" y="11232"/>
                    <a:pt x="36971" y="11366"/>
                  </a:cubicBezTo>
                  <a:close/>
                </a:path>
              </a:pathLst>
            </a:custGeom>
            <a:solidFill>
              <a:srgbClr val="7E93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2" name="Freeform: Shape 201">
              <a:extLst>
                <a:ext uri="{FF2B5EF4-FFF2-40B4-BE49-F238E27FC236}">
                  <a16:creationId xmlns:a16="http://schemas.microsoft.com/office/drawing/2014/main" id="{1FF11091-4FF5-6719-50F3-16F50D23A6E0}"/>
                </a:ext>
              </a:extLst>
            </p:cNvPr>
            <p:cNvSpPr/>
            <p:nvPr/>
          </p:nvSpPr>
          <p:spPr>
            <a:xfrm flipH="1">
              <a:off x="3862155" y="3471780"/>
              <a:ext cx="56942" cy="38387"/>
            </a:xfrm>
            <a:custGeom>
              <a:avLst/>
              <a:gdLst>
                <a:gd name="connsiteX0" fmla="*/ 0 w 47739"/>
                <a:gd name="connsiteY0" fmla="*/ 29276 h 32183"/>
                <a:gd name="connsiteX1" fmla="*/ 16062 w 47739"/>
                <a:gd name="connsiteY1" fmla="*/ 1670 h 32183"/>
                <a:gd name="connsiteX2" fmla="*/ 47739 w 47739"/>
                <a:gd name="connsiteY2" fmla="*/ 5249 h 32183"/>
                <a:gd name="connsiteX3" fmla="*/ 45994 w 47739"/>
                <a:gd name="connsiteY3" fmla="*/ 13169 h 32183"/>
                <a:gd name="connsiteX4" fmla="*/ 10783 w 47739"/>
                <a:gd name="connsiteY4" fmla="*/ 32184 h 32183"/>
                <a:gd name="connsiteX5" fmla="*/ 0 w 47739"/>
                <a:gd name="connsiteY5" fmla="*/ 2927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39" h="32183">
                  <a:moveTo>
                    <a:pt x="0" y="29276"/>
                  </a:moveTo>
                  <a:cubicBezTo>
                    <a:pt x="3579" y="19343"/>
                    <a:pt x="5593" y="6905"/>
                    <a:pt x="16062" y="1670"/>
                  </a:cubicBezTo>
                  <a:cubicBezTo>
                    <a:pt x="26576" y="-2759"/>
                    <a:pt x="37449" y="2744"/>
                    <a:pt x="47739" y="5249"/>
                  </a:cubicBezTo>
                  <a:cubicBezTo>
                    <a:pt x="47292" y="7218"/>
                    <a:pt x="46397" y="11200"/>
                    <a:pt x="45994" y="13169"/>
                  </a:cubicBezTo>
                  <a:cubicBezTo>
                    <a:pt x="32035" y="15182"/>
                    <a:pt x="21700" y="24354"/>
                    <a:pt x="10783" y="32184"/>
                  </a:cubicBezTo>
                  <a:cubicBezTo>
                    <a:pt x="8098" y="31468"/>
                    <a:pt x="2685" y="29991"/>
                    <a:pt x="0" y="29276"/>
                  </a:cubicBezTo>
                  <a:close/>
                </a:path>
              </a:pathLst>
            </a:custGeom>
            <a:solidFill>
              <a:srgbClr val="6E88C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3" name="Oval 202">
              <a:extLst>
                <a:ext uri="{FF2B5EF4-FFF2-40B4-BE49-F238E27FC236}">
                  <a16:creationId xmlns:a16="http://schemas.microsoft.com/office/drawing/2014/main" id="{2657CB3E-EB18-193F-CAE1-C02FA39F8190}"/>
                </a:ext>
              </a:extLst>
            </p:cNvPr>
            <p:cNvSpPr/>
            <p:nvPr/>
          </p:nvSpPr>
          <p:spPr>
            <a:xfrm flipH="1">
              <a:off x="3001769" y="3478403"/>
              <a:ext cx="46051" cy="45720"/>
            </a:xfrm>
            <a:prstGeom prst="ellipse">
              <a:avLst/>
            </a:prstGeom>
            <a:solidFill>
              <a:srgbClr val="8FA7B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4" name="Freeform: Shape 203">
              <a:extLst>
                <a:ext uri="{FF2B5EF4-FFF2-40B4-BE49-F238E27FC236}">
                  <a16:creationId xmlns:a16="http://schemas.microsoft.com/office/drawing/2014/main" id="{10F6F1B0-2D86-C3CC-DA97-B8B7EBE100E8}"/>
                </a:ext>
              </a:extLst>
            </p:cNvPr>
            <p:cNvSpPr/>
            <p:nvPr/>
          </p:nvSpPr>
          <p:spPr>
            <a:xfrm flipH="1">
              <a:off x="4059759" y="3486527"/>
              <a:ext cx="22982" cy="43973"/>
            </a:xfrm>
            <a:custGeom>
              <a:avLst/>
              <a:gdLst>
                <a:gd name="connsiteX0" fmla="*/ 598 w 19268"/>
                <a:gd name="connsiteY0" fmla="*/ 358 h 36866"/>
                <a:gd name="connsiteX1" fmla="*/ 18852 w 19268"/>
                <a:gd name="connsiteY1" fmla="*/ 0 h 36866"/>
                <a:gd name="connsiteX2" fmla="*/ 18405 w 19268"/>
                <a:gd name="connsiteY2" fmla="*/ 35122 h 36866"/>
                <a:gd name="connsiteX3" fmla="*/ 195 w 19268"/>
                <a:gd name="connsiteY3" fmla="*/ 36867 h 36866"/>
                <a:gd name="connsiteX4" fmla="*/ 598 w 19268"/>
                <a:gd name="connsiteY4" fmla="*/ 358 h 36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8" h="36866">
                  <a:moveTo>
                    <a:pt x="598" y="358"/>
                  </a:moveTo>
                  <a:cubicBezTo>
                    <a:pt x="6683" y="224"/>
                    <a:pt x="12768" y="89"/>
                    <a:pt x="18852" y="0"/>
                  </a:cubicBezTo>
                  <a:cubicBezTo>
                    <a:pt x="19524" y="11677"/>
                    <a:pt x="19389" y="23444"/>
                    <a:pt x="18405" y="35122"/>
                  </a:cubicBezTo>
                  <a:cubicBezTo>
                    <a:pt x="12320" y="35704"/>
                    <a:pt x="6235" y="36285"/>
                    <a:pt x="195" y="36867"/>
                  </a:cubicBezTo>
                  <a:cubicBezTo>
                    <a:pt x="-163" y="24697"/>
                    <a:pt x="-28" y="12528"/>
                    <a:pt x="598" y="358"/>
                  </a:cubicBezTo>
                  <a:close/>
                </a:path>
              </a:pathLst>
            </a:custGeom>
            <a:solidFill>
              <a:srgbClr val="F4F6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5" name="Oval 204">
              <a:extLst>
                <a:ext uri="{FF2B5EF4-FFF2-40B4-BE49-F238E27FC236}">
                  <a16:creationId xmlns:a16="http://schemas.microsoft.com/office/drawing/2014/main" id="{8E443C4D-5D10-D00F-5E9C-E902FFA889D1}"/>
                </a:ext>
              </a:extLst>
            </p:cNvPr>
            <p:cNvSpPr/>
            <p:nvPr/>
          </p:nvSpPr>
          <p:spPr>
            <a:xfrm flipH="1">
              <a:off x="3800999" y="3481028"/>
              <a:ext cx="70835" cy="73152"/>
            </a:xfrm>
            <a:prstGeom prst="ellipse">
              <a:avLst/>
            </a:prstGeom>
            <a:solidFill>
              <a:srgbClr val="3865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6" name="Freeform: Shape 205">
              <a:extLst>
                <a:ext uri="{FF2B5EF4-FFF2-40B4-BE49-F238E27FC236}">
                  <a16:creationId xmlns:a16="http://schemas.microsoft.com/office/drawing/2014/main" id="{495B4412-8A77-C621-810C-C2DB07C26C98}"/>
                </a:ext>
              </a:extLst>
            </p:cNvPr>
            <p:cNvSpPr/>
            <p:nvPr/>
          </p:nvSpPr>
          <p:spPr>
            <a:xfrm flipH="1">
              <a:off x="3858582" y="3487487"/>
              <a:ext cx="211866" cy="172001"/>
            </a:xfrm>
            <a:custGeom>
              <a:avLst/>
              <a:gdLst>
                <a:gd name="connsiteX0" fmla="*/ 137669 w 177623"/>
                <a:gd name="connsiteY0" fmla="*/ 19015 h 144201"/>
                <a:gd name="connsiteX1" fmla="*/ 172881 w 177623"/>
                <a:gd name="connsiteY1" fmla="*/ 0 h 144201"/>
                <a:gd name="connsiteX2" fmla="*/ 170554 w 177623"/>
                <a:gd name="connsiteY2" fmla="*/ 8277 h 144201"/>
                <a:gd name="connsiteX3" fmla="*/ 173463 w 177623"/>
                <a:gd name="connsiteY3" fmla="*/ 49395 h 144201"/>
                <a:gd name="connsiteX4" fmla="*/ 177624 w 177623"/>
                <a:gd name="connsiteY4" fmla="*/ 58298 h 144201"/>
                <a:gd name="connsiteX5" fmla="*/ 153195 w 177623"/>
                <a:gd name="connsiteY5" fmla="*/ 51408 h 144201"/>
                <a:gd name="connsiteX6" fmla="*/ 136148 w 177623"/>
                <a:gd name="connsiteY6" fmla="*/ 29843 h 144201"/>
                <a:gd name="connsiteX7" fmla="*/ 128408 w 177623"/>
                <a:gd name="connsiteY7" fmla="*/ 47829 h 144201"/>
                <a:gd name="connsiteX8" fmla="*/ 102234 w 177623"/>
                <a:gd name="connsiteY8" fmla="*/ 81922 h 144201"/>
                <a:gd name="connsiteX9" fmla="*/ 31543 w 177623"/>
                <a:gd name="connsiteY9" fmla="*/ 138117 h 144201"/>
                <a:gd name="connsiteX10" fmla="*/ 13378 w 177623"/>
                <a:gd name="connsiteY10" fmla="*/ 144202 h 144201"/>
                <a:gd name="connsiteX11" fmla="*/ 0 w 177623"/>
                <a:gd name="connsiteY11" fmla="*/ 139057 h 144201"/>
                <a:gd name="connsiteX12" fmla="*/ 23579 w 177623"/>
                <a:gd name="connsiteY12" fmla="*/ 115209 h 144201"/>
                <a:gd name="connsiteX13" fmla="*/ 69439 w 177623"/>
                <a:gd name="connsiteY13" fmla="*/ 82056 h 144201"/>
                <a:gd name="connsiteX14" fmla="*/ 76866 w 177623"/>
                <a:gd name="connsiteY14" fmla="*/ 75121 h 144201"/>
                <a:gd name="connsiteX15" fmla="*/ 73197 w 177623"/>
                <a:gd name="connsiteY15" fmla="*/ 47650 h 144201"/>
                <a:gd name="connsiteX16" fmla="*/ 102592 w 177623"/>
                <a:gd name="connsiteY16" fmla="*/ 43712 h 144201"/>
                <a:gd name="connsiteX17" fmla="*/ 109706 w 177623"/>
                <a:gd name="connsiteY17" fmla="*/ 19597 h 144201"/>
                <a:gd name="connsiteX18" fmla="*/ 118923 w 177623"/>
                <a:gd name="connsiteY18" fmla="*/ 13199 h 144201"/>
                <a:gd name="connsiteX19" fmla="*/ 126887 w 177623"/>
                <a:gd name="connsiteY19" fmla="*/ 16107 h 144201"/>
                <a:gd name="connsiteX20" fmla="*/ 137669 w 177623"/>
                <a:gd name="connsiteY20" fmla="*/ 19015 h 1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623" h="144201">
                  <a:moveTo>
                    <a:pt x="137669" y="19015"/>
                  </a:moveTo>
                  <a:cubicBezTo>
                    <a:pt x="148586" y="11185"/>
                    <a:pt x="158922" y="2013"/>
                    <a:pt x="172881" y="0"/>
                  </a:cubicBezTo>
                  <a:cubicBezTo>
                    <a:pt x="172299" y="2058"/>
                    <a:pt x="171136" y="6219"/>
                    <a:pt x="170554" y="8277"/>
                  </a:cubicBezTo>
                  <a:cubicBezTo>
                    <a:pt x="164514" y="21879"/>
                    <a:pt x="165051" y="36867"/>
                    <a:pt x="173463" y="49395"/>
                  </a:cubicBezTo>
                  <a:cubicBezTo>
                    <a:pt x="174492" y="51632"/>
                    <a:pt x="176595" y="56061"/>
                    <a:pt x="177624" y="58298"/>
                  </a:cubicBezTo>
                  <a:cubicBezTo>
                    <a:pt x="169481" y="56195"/>
                    <a:pt x="160488" y="55927"/>
                    <a:pt x="153195" y="51408"/>
                  </a:cubicBezTo>
                  <a:cubicBezTo>
                    <a:pt x="146394" y="45144"/>
                    <a:pt x="141517" y="37225"/>
                    <a:pt x="136148" y="29843"/>
                  </a:cubicBezTo>
                  <a:cubicBezTo>
                    <a:pt x="133553" y="35838"/>
                    <a:pt x="130958" y="41789"/>
                    <a:pt x="128408" y="47829"/>
                  </a:cubicBezTo>
                  <a:cubicBezTo>
                    <a:pt x="121652" y="60580"/>
                    <a:pt x="112212" y="71586"/>
                    <a:pt x="102234" y="81922"/>
                  </a:cubicBezTo>
                  <a:cubicBezTo>
                    <a:pt x="81966" y="104471"/>
                    <a:pt x="57403" y="122502"/>
                    <a:pt x="31543" y="138117"/>
                  </a:cubicBezTo>
                  <a:cubicBezTo>
                    <a:pt x="25458" y="140085"/>
                    <a:pt x="19373" y="142099"/>
                    <a:pt x="13378" y="144202"/>
                  </a:cubicBezTo>
                  <a:cubicBezTo>
                    <a:pt x="8904" y="142457"/>
                    <a:pt x="4429" y="140757"/>
                    <a:pt x="0" y="139057"/>
                  </a:cubicBezTo>
                  <a:cubicBezTo>
                    <a:pt x="7964" y="131182"/>
                    <a:pt x="15615" y="123084"/>
                    <a:pt x="23579" y="115209"/>
                  </a:cubicBezTo>
                  <a:cubicBezTo>
                    <a:pt x="39283" y="104785"/>
                    <a:pt x="55614" y="95031"/>
                    <a:pt x="69439" y="82056"/>
                  </a:cubicBezTo>
                  <a:cubicBezTo>
                    <a:pt x="71944" y="79774"/>
                    <a:pt x="74360" y="77403"/>
                    <a:pt x="76866" y="75121"/>
                  </a:cubicBezTo>
                  <a:cubicBezTo>
                    <a:pt x="75479" y="65994"/>
                    <a:pt x="74226" y="56822"/>
                    <a:pt x="73197" y="47650"/>
                  </a:cubicBezTo>
                  <a:cubicBezTo>
                    <a:pt x="82772" y="46844"/>
                    <a:pt x="96641" y="54540"/>
                    <a:pt x="102592" y="43712"/>
                  </a:cubicBezTo>
                  <a:cubicBezTo>
                    <a:pt x="108319" y="37046"/>
                    <a:pt x="107872" y="27695"/>
                    <a:pt x="109706" y="19597"/>
                  </a:cubicBezTo>
                  <a:cubicBezTo>
                    <a:pt x="112748" y="17404"/>
                    <a:pt x="115836" y="15302"/>
                    <a:pt x="118923" y="13199"/>
                  </a:cubicBezTo>
                  <a:cubicBezTo>
                    <a:pt x="120891" y="13915"/>
                    <a:pt x="124873" y="15391"/>
                    <a:pt x="126887" y="16107"/>
                  </a:cubicBezTo>
                  <a:cubicBezTo>
                    <a:pt x="129571" y="16823"/>
                    <a:pt x="134985" y="18299"/>
                    <a:pt x="137669" y="19015"/>
                  </a:cubicBezTo>
                  <a:close/>
                </a:path>
              </a:pathLst>
            </a:custGeom>
            <a:solidFill>
              <a:srgbClr val="DEE4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7" name="Freeform: Shape 206">
              <a:extLst>
                <a:ext uri="{FF2B5EF4-FFF2-40B4-BE49-F238E27FC236}">
                  <a16:creationId xmlns:a16="http://schemas.microsoft.com/office/drawing/2014/main" id="{167B46F7-2AD6-7504-2536-1F99A8F28D1B}"/>
                </a:ext>
              </a:extLst>
            </p:cNvPr>
            <p:cNvSpPr/>
            <p:nvPr/>
          </p:nvSpPr>
          <p:spPr>
            <a:xfrm flipH="1">
              <a:off x="3939593" y="3498334"/>
              <a:ext cx="46255" cy="48262"/>
            </a:xfrm>
            <a:custGeom>
              <a:avLst/>
              <a:gdLst>
                <a:gd name="connsiteX0" fmla="*/ 7550 w 38779"/>
                <a:gd name="connsiteY0" fmla="*/ 1868 h 40461"/>
                <a:gd name="connsiteX1" fmla="*/ 38779 w 38779"/>
                <a:gd name="connsiteY1" fmla="*/ 10503 h 40461"/>
                <a:gd name="connsiteX2" fmla="*/ 31665 w 38779"/>
                <a:gd name="connsiteY2" fmla="*/ 34619 h 40461"/>
                <a:gd name="connsiteX3" fmla="*/ 2270 w 38779"/>
                <a:gd name="connsiteY3" fmla="*/ 38556 h 40461"/>
                <a:gd name="connsiteX4" fmla="*/ 7550 w 38779"/>
                <a:gd name="connsiteY4" fmla="*/ 1868 h 40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79" h="40461">
                  <a:moveTo>
                    <a:pt x="7550" y="1868"/>
                  </a:moveTo>
                  <a:cubicBezTo>
                    <a:pt x="18511" y="-4261"/>
                    <a:pt x="29160" y="6298"/>
                    <a:pt x="38779" y="10503"/>
                  </a:cubicBezTo>
                  <a:cubicBezTo>
                    <a:pt x="36945" y="18602"/>
                    <a:pt x="37392" y="27953"/>
                    <a:pt x="31665" y="34619"/>
                  </a:cubicBezTo>
                  <a:cubicBezTo>
                    <a:pt x="25715" y="45446"/>
                    <a:pt x="11845" y="37751"/>
                    <a:pt x="2270" y="38556"/>
                  </a:cubicBezTo>
                  <a:cubicBezTo>
                    <a:pt x="78" y="26431"/>
                    <a:pt x="-3278" y="10951"/>
                    <a:pt x="7550" y="1868"/>
                  </a:cubicBezTo>
                  <a:close/>
                </a:path>
              </a:pathLst>
            </a:custGeom>
            <a:solidFill>
              <a:srgbClr val="6281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Freeform: Shape 207">
              <a:extLst>
                <a:ext uri="{FF2B5EF4-FFF2-40B4-BE49-F238E27FC236}">
                  <a16:creationId xmlns:a16="http://schemas.microsoft.com/office/drawing/2014/main" id="{4BD15B7D-0117-E5CE-DCB1-7E4643249907}"/>
                </a:ext>
              </a:extLst>
            </p:cNvPr>
            <p:cNvSpPr/>
            <p:nvPr/>
          </p:nvSpPr>
          <p:spPr>
            <a:xfrm flipH="1">
              <a:off x="3388466" y="3490101"/>
              <a:ext cx="174856" cy="216511"/>
            </a:xfrm>
            <a:custGeom>
              <a:avLst/>
              <a:gdLst>
                <a:gd name="connsiteX0" fmla="*/ 0 w 88738"/>
                <a:gd name="connsiteY0" fmla="*/ 137625 h 181516"/>
                <a:gd name="connsiteX1" fmla="*/ 60759 w 88738"/>
                <a:gd name="connsiteY1" fmla="*/ 0 h 181516"/>
                <a:gd name="connsiteX2" fmla="*/ 58611 w 88738"/>
                <a:gd name="connsiteY2" fmla="*/ 71094 h 181516"/>
                <a:gd name="connsiteX3" fmla="*/ 80758 w 88738"/>
                <a:gd name="connsiteY3" fmla="*/ 74987 h 181516"/>
                <a:gd name="connsiteX4" fmla="*/ 88722 w 88738"/>
                <a:gd name="connsiteY4" fmla="*/ 181516 h 181516"/>
                <a:gd name="connsiteX5" fmla="*/ 84785 w 88738"/>
                <a:gd name="connsiteY5" fmla="*/ 137267 h 181516"/>
                <a:gd name="connsiteX6" fmla="*/ 50737 w 88738"/>
                <a:gd name="connsiteY6" fmla="*/ 137804 h 181516"/>
                <a:gd name="connsiteX7" fmla="*/ 0 w 88738"/>
                <a:gd name="connsiteY7" fmla="*/ 137625 h 18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38" h="181516">
                  <a:moveTo>
                    <a:pt x="0" y="137625"/>
                  </a:moveTo>
                  <a:cubicBezTo>
                    <a:pt x="15928" y="90065"/>
                    <a:pt x="32482" y="41878"/>
                    <a:pt x="60759" y="0"/>
                  </a:cubicBezTo>
                  <a:cubicBezTo>
                    <a:pt x="69528" y="23176"/>
                    <a:pt x="63085" y="47739"/>
                    <a:pt x="58611" y="71094"/>
                  </a:cubicBezTo>
                  <a:cubicBezTo>
                    <a:pt x="65949" y="72347"/>
                    <a:pt x="73376" y="73645"/>
                    <a:pt x="80758" y="74987"/>
                  </a:cubicBezTo>
                  <a:cubicBezTo>
                    <a:pt x="81966" y="110601"/>
                    <a:pt x="89125" y="145813"/>
                    <a:pt x="88722" y="181516"/>
                  </a:cubicBezTo>
                  <a:cubicBezTo>
                    <a:pt x="87067" y="166796"/>
                    <a:pt x="85680" y="152032"/>
                    <a:pt x="84785" y="137267"/>
                  </a:cubicBezTo>
                  <a:cubicBezTo>
                    <a:pt x="73421" y="137535"/>
                    <a:pt x="62056" y="137804"/>
                    <a:pt x="50737" y="137804"/>
                  </a:cubicBezTo>
                  <a:cubicBezTo>
                    <a:pt x="33825" y="137625"/>
                    <a:pt x="16912" y="137088"/>
                    <a:pt x="0" y="137625"/>
                  </a:cubicBezTo>
                  <a:close/>
                </a:path>
              </a:pathLst>
            </a:custGeom>
            <a:solidFill>
              <a:srgbClr val="93A2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9" name="Freeform: Shape 208">
              <a:extLst>
                <a:ext uri="{FF2B5EF4-FFF2-40B4-BE49-F238E27FC236}">
                  <a16:creationId xmlns:a16="http://schemas.microsoft.com/office/drawing/2014/main" id="{A1C8CC12-D661-463F-B809-330753A0A675}"/>
                </a:ext>
              </a:extLst>
            </p:cNvPr>
            <p:cNvSpPr/>
            <p:nvPr/>
          </p:nvSpPr>
          <p:spPr>
            <a:xfrm flipH="1">
              <a:off x="3245089" y="3501257"/>
              <a:ext cx="37221" cy="47378"/>
            </a:xfrm>
            <a:custGeom>
              <a:avLst/>
              <a:gdLst>
                <a:gd name="connsiteX0" fmla="*/ 30147 w 31205"/>
                <a:gd name="connsiteY0" fmla="*/ 0 h 39721"/>
                <a:gd name="connsiteX1" fmla="*/ 23839 w 31205"/>
                <a:gd name="connsiteY1" fmla="*/ 37091 h 39721"/>
                <a:gd name="connsiteX2" fmla="*/ 752 w 31205"/>
                <a:gd name="connsiteY2" fmla="*/ 25547 h 39721"/>
                <a:gd name="connsiteX3" fmla="*/ 21333 w 31205"/>
                <a:gd name="connsiteY3" fmla="*/ 24966 h 39721"/>
                <a:gd name="connsiteX4" fmla="*/ 30147 w 31205"/>
                <a:gd name="connsiteY4" fmla="*/ 0 h 3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5" h="39721">
                  <a:moveTo>
                    <a:pt x="30147" y="0"/>
                  </a:moveTo>
                  <a:cubicBezTo>
                    <a:pt x="29611" y="12214"/>
                    <a:pt x="35606" y="28545"/>
                    <a:pt x="23839" y="37091"/>
                  </a:cubicBezTo>
                  <a:cubicBezTo>
                    <a:pt x="14891" y="42460"/>
                    <a:pt x="-3990" y="40088"/>
                    <a:pt x="752" y="25547"/>
                  </a:cubicBezTo>
                  <a:cubicBezTo>
                    <a:pt x="7598" y="25503"/>
                    <a:pt x="14488" y="25861"/>
                    <a:pt x="21333" y="24966"/>
                  </a:cubicBezTo>
                  <a:cubicBezTo>
                    <a:pt x="29790" y="19552"/>
                    <a:pt x="28447" y="8590"/>
                    <a:pt x="30147" y="0"/>
                  </a:cubicBezTo>
                  <a:close/>
                </a:path>
              </a:pathLst>
            </a:custGeom>
            <a:solidFill>
              <a:srgbClr val="87AC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0" name="Freeform: Shape 209">
              <a:extLst>
                <a:ext uri="{FF2B5EF4-FFF2-40B4-BE49-F238E27FC236}">
                  <a16:creationId xmlns:a16="http://schemas.microsoft.com/office/drawing/2014/main" id="{30334347-1A47-54A7-6AAE-A252A6CD0398}"/>
                </a:ext>
              </a:extLst>
            </p:cNvPr>
            <p:cNvSpPr/>
            <p:nvPr/>
          </p:nvSpPr>
          <p:spPr>
            <a:xfrm flipH="1">
              <a:off x="4204240" y="3518280"/>
              <a:ext cx="135285" cy="126213"/>
            </a:xfrm>
            <a:custGeom>
              <a:avLst/>
              <a:gdLst>
                <a:gd name="connsiteX0" fmla="*/ 716 w 113419"/>
                <a:gd name="connsiteY0" fmla="*/ 20178 h 105813"/>
                <a:gd name="connsiteX1" fmla="*/ 14317 w 113419"/>
                <a:gd name="connsiteY1" fmla="*/ 0 h 105813"/>
                <a:gd name="connsiteX2" fmla="*/ 45144 w 113419"/>
                <a:gd name="connsiteY2" fmla="*/ 43220 h 105813"/>
                <a:gd name="connsiteX3" fmla="*/ 113420 w 113419"/>
                <a:gd name="connsiteY3" fmla="*/ 96955 h 105813"/>
                <a:gd name="connsiteX4" fmla="*/ 82324 w 113419"/>
                <a:gd name="connsiteY4" fmla="*/ 105814 h 105813"/>
                <a:gd name="connsiteX5" fmla="*/ 49887 w 113419"/>
                <a:gd name="connsiteY5" fmla="*/ 82816 h 105813"/>
                <a:gd name="connsiteX6" fmla="*/ 0 w 113419"/>
                <a:gd name="connsiteY6" fmla="*/ 20939 h 105813"/>
                <a:gd name="connsiteX7" fmla="*/ 716 w 113419"/>
                <a:gd name="connsiteY7" fmla="*/ 20178 h 10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19" h="105813">
                  <a:moveTo>
                    <a:pt x="716" y="20178"/>
                  </a:moveTo>
                  <a:cubicBezTo>
                    <a:pt x="5682" y="13736"/>
                    <a:pt x="10022" y="6890"/>
                    <a:pt x="14317" y="0"/>
                  </a:cubicBezTo>
                  <a:cubicBezTo>
                    <a:pt x="22326" y="15883"/>
                    <a:pt x="33422" y="29887"/>
                    <a:pt x="45144" y="43220"/>
                  </a:cubicBezTo>
                  <a:cubicBezTo>
                    <a:pt x="63667" y="65859"/>
                    <a:pt x="87738" y="83264"/>
                    <a:pt x="113420" y="96955"/>
                  </a:cubicBezTo>
                  <a:cubicBezTo>
                    <a:pt x="102547" y="97715"/>
                    <a:pt x="92123" y="101161"/>
                    <a:pt x="82324" y="105814"/>
                  </a:cubicBezTo>
                  <a:cubicBezTo>
                    <a:pt x="70692" y="99326"/>
                    <a:pt x="59730" y="91720"/>
                    <a:pt x="49887" y="82816"/>
                  </a:cubicBezTo>
                  <a:cubicBezTo>
                    <a:pt x="30737" y="64338"/>
                    <a:pt x="14630" y="43086"/>
                    <a:pt x="0" y="20939"/>
                  </a:cubicBezTo>
                  <a:lnTo>
                    <a:pt x="716" y="20178"/>
                  </a:ln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Freeform: Shape 210">
              <a:extLst>
                <a:ext uri="{FF2B5EF4-FFF2-40B4-BE49-F238E27FC236}">
                  <a16:creationId xmlns:a16="http://schemas.microsoft.com/office/drawing/2014/main" id="{04D38B6D-B158-D017-F672-E5EF830538C6}"/>
                </a:ext>
              </a:extLst>
            </p:cNvPr>
            <p:cNvSpPr/>
            <p:nvPr/>
          </p:nvSpPr>
          <p:spPr>
            <a:xfrm flipH="1">
              <a:off x="3849027" y="3523084"/>
              <a:ext cx="68256" cy="39332"/>
            </a:xfrm>
            <a:custGeom>
              <a:avLst/>
              <a:gdLst>
                <a:gd name="connsiteX0" fmla="*/ 0 w 57224"/>
                <a:gd name="connsiteY0" fmla="*/ 17986 h 32974"/>
                <a:gd name="connsiteX1" fmla="*/ 7740 w 57224"/>
                <a:gd name="connsiteY1" fmla="*/ 0 h 32974"/>
                <a:gd name="connsiteX2" fmla="*/ 24787 w 57224"/>
                <a:gd name="connsiteY2" fmla="*/ 21565 h 32974"/>
                <a:gd name="connsiteX3" fmla="*/ 49216 w 57224"/>
                <a:gd name="connsiteY3" fmla="*/ 28456 h 32974"/>
                <a:gd name="connsiteX4" fmla="*/ 45055 w 57224"/>
                <a:gd name="connsiteY4" fmla="*/ 19552 h 32974"/>
                <a:gd name="connsiteX5" fmla="*/ 57224 w 57224"/>
                <a:gd name="connsiteY5" fmla="*/ 21655 h 32974"/>
                <a:gd name="connsiteX6" fmla="*/ 55658 w 57224"/>
                <a:gd name="connsiteY6" fmla="*/ 32974 h 32974"/>
                <a:gd name="connsiteX7" fmla="*/ 716 w 57224"/>
                <a:gd name="connsiteY7" fmla="*/ 26084 h 32974"/>
                <a:gd name="connsiteX8" fmla="*/ 0 w 57224"/>
                <a:gd name="connsiteY8" fmla="*/ 17986 h 3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24" h="32974">
                  <a:moveTo>
                    <a:pt x="0" y="17986"/>
                  </a:moveTo>
                  <a:cubicBezTo>
                    <a:pt x="2550" y="11946"/>
                    <a:pt x="5145" y="5995"/>
                    <a:pt x="7740" y="0"/>
                  </a:cubicBezTo>
                  <a:cubicBezTo>
                    <a:pt x="13109" y="7382"/>
                    <a:pt x="17986" y="15302"/>
                    <a:pt x="24787" y="21565"/>
                  </a:cubicBezTo>
                  <a:cubicBezTo>
                    <a:pt x="32080" y="26084"/>
                    <a:pt x="41073" y="26353"/>
                    <a:pt x="49216" y="28456"/>
                  </a:cubicBezTo>
                  <a:cubicBezTo>
                    <a:pt x="48187" y="26218"/>
                    <a:pt x="46084" y="21789"/>
                    <a:pt x="45055" y="19552"/>
                  </a:cubicBezTo>
                  <a:cubicBezTo>
                    <a:pt x="49037" y="20402"/>
                    <a:pt x="53108" y="21073"/>
                    <a:pt x="57224" y="21655"/>
                  </a:cubicBezTo>
                  <a:cubicBezTo>
                    <a:pt x="56822" y="24518"/>
                    <a:pt x="56061" y="30156"/>
                    <a:pt x="55658" y="32974"/>
                  </a:cubicBezTo>
                  <a:cubicBezTo>
                    <a:pt x="37583" y="28903"/>
                    <a:pt x="19060" y="28232"/>
                    <a:pt x="716" y="26084"/>
                  </a:cubicBezTo>
                  <a:cubicBezTo>
                    <a:pt x="537" y="24071"/>
                    <a:pt x="179" y="19999"/>
                    <a:pt x="0" y="17986"/>
                  </a:cubicBezTo>
                  <a:close/>
                </a:path>
              </a:pathLst>
            </a:custGeom>
            <a:solidFill>
              <a:srgbClr val="7E9A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2" name="Freeform: Shape 211">
              <a:extLst>
                <a:ext uri="{FF2B5EF4-FFF2-40B4-BE49-F238E27FC236}">
                  <a16:creationId xmlns:a16="http://schemas.microsoft.com/office/drawing/2014/main" id="{4BC09850-4A5F-6F11-D416-D33B6742D7BA}"/>
                </a:ext>
              </a:extLst>
            </p:cNvPr>
            <p:cNvSpPr/>
            <p:nvPr/>
          </p:nvSpPr>
          <p:spPr>
            <a:xfrm flipH="1">
              <a:off x="3742401" y="3510260"/>
              <a:ext cx="142564" cy="587265"/>
            </a:xfrm>
            <a:custGeom>
              <a:avLst/>
              <a:gdLst>
                <a:gd name="connsiteX0" fmla="*/ 32169 w 119521"/>
                <a:gd name="connsiteY0" fmla="*/ 20357 h 492345"/>
                <a:gd name="connsiteX1" fmla="*/ 43444 w 119521"/>
                <a:gd name="connsiteY1" fmla="*/ 0 h 492345"/>
                <a:gd name="connsiteX2" fmla="*/ 44294 w 119521"/>
                <a:gd name="connsiteY2" fmla="*/ 20402 h 492345"/>
                <a:gd name="connsiteX3" fmla="*/ 43847 w 119521"/>
                <a:gd name="connsiteY3" fmla="*/ 54450 h 492345"/>
                <a:gd name="connsiteX4" fmla="*/ 55927 w 119521"/>
                <a:gd name="connsiteY4" fmla="*/ 123934 h 492345"/>
                <a:gd name="connsiteX5" fmla="*/ 117894 w 119521"/>
                <a:gd name="connsiteY5" fmla="*/ 382718 h 492345"/>
                <a:gd name="connsiteX6" fmla="*/ 111809 w 119521"/>
                <a:gd name="connsiteY6" fmla="*/ 458600 h 492345"/>
                <a:gd name="connsiteX7" fmla="*/ 42370 w 119521"/>
                <a:gd name="connsiteY7" fmla="*/ 488711 h 492345"/>
                <a:gd name="connsiteX8" fmla="*/ 6712 w 119521"/>
                <a:gd name="connsiteY8" fmla="*/ 445893 h 492345"/>
                <a:gd name="connsiteX9" fmla="*/ 358 w 119521"/>
                <a:gd name="connsiteY9" fmla="*/ 374441 h 492345"/>
                <a:gd name="connsiteX10" fmla="*/ 761 w 119521"/>
                <a:gd name="connsiteY10" fmla="*/ 367775 h 492345"/>
                <a:gd name="connsiteX11" fmla="*/ 3759 w 119521"/>
                <a:gd name="connsiteY11" fmla="*/ 336814 h 492345"/>
                <a:gd name="connsiteX12" fmla="*/ 16197 w 119521"/>
                <a:gd name="connsiteY12" fmla="*/ 201694 h 492345"/>
                <a:gd name="connsiteX13" fmla="*/ 23669 w 119521"/>
                <a:gd name="connsiteY13" fmla="*/ 115746 h 492345"/>
                <a:gd name="connsiteX14" fmla="*/ 28680 w 119521"/>
                <a:gd name="connsiteY14" fmla="*/ 54406 h 492345"/>
                <a:gd name="connsiteX15" fmla="*/ 32169 w 119521"/>
                <a:gd name="connsiteY15" fmla="*/ 20357 h 492345"/>
                <a:gd name="connsiteX16" fmla="*/ 37449 w 119521"/>
                <a:gd name="connsiteY16" fmla="*/ 117088 h 492345"/>
                <a:gd name="connsiteX17" fmla="*/ 34899 w 119521"/>
                <a:gd name="connsiteY17" fmla="*/ 167557 h 492345"/>
                <a:gd name="connsiteX18" fmla="*/ 23087 w 119521"/>
                <a:gd name="connsiteY18" fmla="*/ 308358 h 492345"/>
                <a:gd name="connsiteX19" fmla="*/ 15347 w 119521"/>
                <a:gd name="connsiteY19" fmla="*/ 378110 h 492345"/>
                <a:gd name="connsiteX20" fmla="*/ 32751 w 119521"/>
                <a:gd name="connsiteY20" fmla="*/ 462493 h 492345"/>
                <a:gd name="connsiteX21" fmla="*/ 71989 w 119521"/>
                <a:gd name="connsiteY21" fmla="*/ 476004 h 492345"/>
                <a:gd name="connsiteX22" fmla="*/ 103398 w 119521"/>
                <a:gd name="connsiteY22" fmla="*/ 432158 h 492345"/>
                <a:gd name="connsiteX23" fmla="*/ 88633 w 119521"/>
                <a:gd name="connsiteY23" fmla="*/ 299186 h 492345"/>
                <a:gd name="connsiteX24" fmla="*/ 49977 w 119521"/>
                <a:gd name="connsiteY24" fmla="*/ 157758 h 492345"/>
                <a:gd name="connsiteX25" fmla="*/ 37449 w 119521"/>
                <a:gd name="connsiteY25" fmla="*/ 117088 h 49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521" h="492345">
                  <a:moveTo>
                    <a:pt x="32169" y="20357"/>
                  </a:moveTo>
                  <a:cubicBezTo>
                    <a:pt x="33288" y="12170"/>
                    <a:pt x="36375" y="4743"/>
                    <a:pt x="43444" y="0"/>
                  </a:cubicBezTo>
                  <a:cubicBezTo>
                    <a:pt x="43892" y="6756"/>
                    <a:pt x="44205" y="13557"/>
                    <a:pt x="44294" y="20402"/>
                  </a:cubicBezTo>
                  <a:cubicBezTo>
                    <a:pt x="44160" y="31722"/>
                    <a:pt x="43623" y="43086"/>
                    <a:pt x="43847" y="54450"/>
                  </a:cubicBezTo>
                  <a:cubicBezTo>
                    <a:pt x="43892" y="78163"/>
                    <a:pt x="48545" y="101474"/>
                    <a:pt x="55927" y="123934"/>
                  </a:cubicBezTo>
                  <a:cubicBezTo>
                    <a:pt x="80624" y="209122"/>
                    <a:pt x="107514" y="294309"/>
                    <a:pt x="117894" y="382718"/>
                  </a:cubicBezTo>
                  <a:cubicBezTo>
                    <a:pt x="119907" y="407953"/>
                    <a:pt x="121876" y="434708"/>
                    <a:pt x="111809" y="458600"/>
                  </a:cubicBezTo>
                  <a:cubicBezTo>
                    <a:pt x="100982" y="484282"/>
                    <a:pt x="68634" y="499807"/>
                    <a:pt x="42370" y="488711"/>
                  </a:cubicBezTo>
                  <a:cubicBezTo>
                    <a:pt x="24384" y="481060"/>
                    <a:pt x="13512" y="463432"/>
                    <a:pt x="6712" y="445893"/>
                  </a:cubicBezTo>
                  <a:cubicBezTo>
                    <a:pt x="90" y="422717"/>
                    <a:pt x="-626" y="398378"/>
                    <a:pt x="358" y="374441"/>
                  </a:cubicBezTo>
                  <a:cubicBezTo>
                    <a:pt x="448" y="372786"/>
                    <a:pt x="627" y="369475"/>
                    <a:pt x="761" y="367775"/>
                  </a:cubicBezTo>
                  <a:cubicBezTo>
                    <a:pt x="1611" y="357439"/>
                    <a:pt x="2685" y="347149"/>
                    <a:pt x="3759" y="336814"/>
                  </a:cubicBezTo>
                  <a:cubicBezTo>
                    <a:pt x="7785" y="291759"/>
                    <a:pt x="14228" y="246883"/>
                    <a:pt x="16197" y="201694"/>
                  </a:cubicBezTo>
                  <a:cubicBezTo>
                    <a:pt x="19060" y="173105"/>
                    <a:pt x="20447" y="144336"/>
                    <a:pt x="23669" y="115746"/>
                  </a:cubicBezTo>
                  <a:cubicBezTo>
                    <a:pt x="26487" y="95389"/>
                    <a:pt x="27337" y="74853"/>
                    <a:pt x="28680" y="54406"/>
                  </a:cubicBezTo>
                  <a:cubicBezTo>
                    <a:pt x="29574" y="43041"/>
                    <a:pt x="30693" y="31677"/>
                    <a:pt x="32169" y="20357"/>
                  </a:cubicBezTo>
                  <a:close/>
                  <a:moveTo>
                    <a:pt x="37449" y="117088"/>
                  </a:moveTo>
                  <a:cubicBezTo>
                    <a:pt x="35704" y="133822"/>
                    <a:pt x="35704" y="150734"/>
                    <a:pt x="34899" y="167557"/>
                  </a:cubicBezTo>
                  <a:cubicBezTo>
                    <a:pt x="31722" y="214535"/>
                    <a:pt x="23669" y="261335"/>
                    <a:pt x="23087" y="308358"/>
                  </a:cubicBezTo>
                  <a:cubicBezTo>
                    <a:pt x="18792" y="331355"/>
                    <a:pt x="17047" y="354755"/>
                    <a:pt x="15347" y="378110"/>
                  </a:cubicBezTo>
                  <a:cubicBezTo>
                    <a:pt x="13691" y="406834"/>
                    <a:pt x="15168" y="438287"/>
                    <a:pt x="32751" y="462493"/>
                  </a:cubicBezTo>
                  <a:cubicBezTo>
                    <a:pt x="40983" y="474886"/>
                    <a:pt x="57762" y="481508"/>
                    <a:pt x="71989" y="476004"/>
                  </a:cubicBezTo>
                  <a:cubicBezTo>
                    <a:pt x="90244" y="469696"/>
                    <a:pt x="101832" y="450904"/>
                    <a:pt x="103398" y="432158"/>
                  </a:cubicBezTo>
                  <a:cubicBezTo>
                    <a:pt x="107961" y="387282"/>
                    <a:pt x="98253" y="342720"/>
                    <a:pt x="88633" y="299186"/>
                  </a:cubicBezTo>
                  <a:cubicBezTo>
                    <a:pt x="78701" y="251268"/>
                    <a:pt x="64741" y="204334"/>
                    <a:pt x="49977" y="157758"/>
                  </a:cubicBezTo>
                  <a:cubicBezTo>
                    <a:pt x="46308" y="144023"/>
                    <a:pt x="43668" y="129929"/>
                    <a:pt x="37449" y="117088"/>
                  </a:cubicBezTo>
                  <a:close/>
                </a:path>
              </a:pathLst>
            </a:custGeom>
            <a:solidFill>
              <a:srgbClr val="FAFF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3" name="Freeform: Shape 212">
              <a:extLst>
                <a:ext uri="{FF2B5EF4-FFF2-40B4-BE49-F238E27FC236}">
                  <a16:creationId xmlns:a16="http://schemas.microsoft.com/office/drawing/2014/main" id="{C59DA5E2-E546-4D36-A939-5C1BC8BA6FE4}"/>
                </a:ext>
              </a:extLst>
            </p:cNvPr>
            <p:cNvSpPr/>
            <p:nvPr/>
          </p:nvSpPr>
          <p:spPr>
            <a:xfrm flipH="1">
              <a:off x="3841771" y="3544537"/>
              <a:ext cx="106734" cy="41388"/>
            </a:xfrm>
            <a:custGeom>
              <a:avLst/>
              <a:gdLst>
                <a:gd name="connsiteX0" fmla="*/ 0 w 89482"/>
                <a:gd name="connsiteY0" fmla="*/ 34093 h 34699"/>
                <a:gd name="connsiteX1" fmla="*/ 26174 w 89482"/>
                <a:gd name="connsiteY1" fmla="*/ 0 h 34699"/>
                <a:gd name="connsiteX2" fmla="*/ 26890 w 89482"/>
                <a:gd name="connsiteY2" fmla="*/ 8098 h 34699"/>
                <a:gd name="connsiteX3" fmla="*/ 81832 w 89482"/>
                <a:gd name="connsiteY3" fmla="*/ 14988 h 34699"/>
                <a:gd name="connsiteX4" fmla="*/ 83398 w 89482"/>
                <a:gd name="connsiteY4" fmla="*/ 3669 h 34699"/>
                <a:gd name="connsiteX5" fmla="*/ 89483 w 89482"/>
                <a:gd name="connsiteY5" fmla="*/ 45 h 34699"/>
                <a:gd name="connsiteX6" fmla="*/ 85993 w 89482"/>
                <a:gd name="connsiteY6" fmla="*/ 34093 h 34699"/>
                <a:gd name="connsiteX7" fmla="*/ 0 w 89482"/>
                <a:gd name="connsiteY7" fmla="*/ 34093 h 3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82" h="34699">
                  <a:moveTo>
                    <a:pt x="0" y="34093"/>
                  </a:moveTo>
                  <a:cubicBezTo>
                    <a:pt x="9977" y="23758"/>
                    <a:pt x="19418" y="12751"/>
                    <a:pt x="26174" y="0"/>
                  </a:cubicBezTo>
                  <a:cubicBezTo>
                    <a:pt x="26353" y="2013"/>
                    <a:pt x="26711" y="6085"/>
                    <a:pt x="26890" y="8098"/>
                  </a:cubicBezTo>
                  <a:cubicBezTo>
                    <a:pt x="45234" y="10246"/>
                    <a:pt x="63757" y="10917"/>
                    <a:pt x="81832" y="14988"/>
                  </a:cubicBezTo>
                  <a:cubicBezTo>
                    <a:pt x="82235" y="12170"/>
                    <a:pt x="82995" y="6532"/>
                    <a:pt x="83398" y="3669"/>
                  </a:cubicBezTo>
                  <a:cubicBezTo>
                    <a:pt x="84919" y="2774"/>
                    <a:pt x="87962" y="984"/>
                    <a:pt x="89483" y="45"/>
                  </a:cubicBezTo>
                  <a:cubicBezTo>
                    <a:pt x="88007" y="11364"/>
                    <a:pt x="86888" y="22729"/>
                    <a:pt x="85993" y="34093"/>
                  </a:cubicBezTo>
                  <a:cubicBezTo>
                    <a:pt x="57359" y="34585"/>
                    <a:pt x="28635" y="35167"/>
                    <a:pt x="0" y="34093"/>
                  </a:cubicBezTo>
                  <a:close/>
                </a:path>
              </a:pathLst>
            </a:custGeom>
            <a:solidFill>
              <a:srgbClr val="CDD7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Freeform: Shape 213">
              <a:extLst>
                <a:ext uri="{FF2B5EF4-FFF2-40B4-BE49-F238E27FC236}">
                  <a16:creationId xmlns:a16="http://schemas.microsoft.com/office/drawing/2014/main" id="{1E59F455-1E15-1814-20CC-196ACA058182}"/>
                </a:ext>
              </a:extLst>
            </p:cNvPr>
            <p:cNvSpPr/>
            <p:nvPr/>
          </p:nvSpPr>
          <p:spPr>
            <a:xfrm flipH="1">
              <a:off x="3185727" y="3577625"/>
              <a:ext cx="237964" cy="90190"/>
            </a:xfrm>
            <a:custGeom>
              <a:avLst/>
              <a:gdLst>
                <a:gd name="connsiteX0" fmla="*/ 0 w 199502"/>
                <a:gd name="connsiteY0" fmla="*/ 0 h 75613"/>
                <a:gd name="connsiteX1" fmla="*/ 38657 w 199502"/>
                <a:gd name="connsiteY1" fmla="*/ 4832 h 75613"/>
                <a:gd name="connsiteX2" fmla="*/ 199502 w 199502"/>
                <a:gd name="connsiteY2" fmla="*/ 3490 h 75613"/>
                <a:gd name="connsiteX3" fmla="*/ 193328 w 199502"/>
                <a:gd name="connsiteY3" fmla="*/ 75613 h 75613"/>
                <a:gd name="connsiteX4" fmla="*/ 190375 w 199502"/>
                <a:gd name="connsiteY4" fmla="*/ 66844 h 75613"/>
                <a:gd name="connsiteX5" fmla="*/ 4966 w 199502"/>
                <a:gd name="connsiteY5" fmla="*/ 65144 h 75613"/>
                <a:gd name="connsiteX6" fmla="*/ 0 w 199502"/>
                <a:gd name="connsiteY6" fmla="*/ 0 h 7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502" h="75613">
                  <a:moveTo>
                    <a:pt x="0" y="0"/>
                  </a:moveTo>
                  <a:cubicBezTo>
                    <a:pt x="12528" y="3758"/>
                    <a:pt x="25637" y="5056"/>
                    <a:pt x="38657" y="4832"/>
                  </a:cubicBezTo>
                  <a:cubicBezTo>
                    <a:pt x="92302" y="4206"/>
                    <a:pt x="145902" y="4966"/>
                    <a:pt x="199502" y="3490"/>
                  </a:cubicBezTo>
                  <a:cubicBezTo>
                    <a:pt x="198205" y="27605"/>
                    <a:pt x="196325" y="51676"/>
                    <a:pt x="193328" y="75613"/>
                  </a:cubicBezTo>
                  <a:cubicBezTo>
                    <a:pt x="192612" y="73421"/>
                    <a:pt x="191091" y="69036"/>
                    <a:pt x="190375" y="66844"/>
                  </a:cubicBezTo>
                  <a:cubicBezTo>
                    <a:pt x="128632" y="64428"/>
                    <a:pt x="66754" y="65546"/>
                    <a:pt x="4966" y="65144"/>
                  </a:cubicBezTo>
                  <a:cubicBezTo>
                    <a:pt x="2416" y="43489"/>
                    <a:pt x="1879" y="21699"/>
                    <a:pt x="0" y="0"/>
                  </a:cubicBezTo>
                  <a:close/>
                </a:path>
              </a:pathLst>
            </a:custGeom>
            <a:solidFill>
              <a:srgbClr val="92A0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5" name="Freeform: Shape 214">
              <a:extLst>
                <a:ext uri="{FF2B5EF4-FFF2-40B4-BE49-F238E27FC236}">
                  <a16:creationId xmlns:a16="http://schemas.microsoft.com/office/drawing/2014/main" id="{97221965-91BC-A6DB-56F0-99B49F9C7DFA}"/>
                </a:ext>
              </a:extLst>
            </p:cNvPr>
            <p:cNvSpPr/>
            <p:nvPr/>
          </p:nvSpPr>
          <p:spPr>
            <a:xfrm flipH="1">
              <a:off x="3650128" y="3585257"/>
              <a:ext cx="177712" cy="82879"/>
            </a:xfrm>
            <a:custGeom>
              <a:avLst/>
              <a:gdLst>
                <a:gd name="connsiteX0" fmla="*/ 0 w 148988"/>
                <a:gd name="connsiteY0" fmla="*/ 0 h 69483"/>
                <a:gd name="connsiteX1" fmla="*/ 148989 w 148988"/>
                <a:gd name="connsiteY1" fmla="*/ 358 h 69483"/>
                <a:gd name="connsiteX2" fmla="*/ 148721 w 148988"/>
                <a:gd name="connsiteY2" fmla="*/ 10604 h 69483"/>
                <a:gd name="connsiteX3" fmla="*/ 116283 w 148988"/>
                <a:gd name="connsiteY3" fmla="*/ 58253 h 69483"/>
                <a:gd name="connsiteX4" fmla="*/ 63220 w 148988"/>
                <a:gd name="connsiteY4" fmla="*/ 58074 h 69483"/>
                <a:gd name="connsiteX5" fmla="*/ 51900 w 148988"/>
                <a:gd name="connsiteY5" fmla="*/ 57716 h 69483"/>
                <a:gd name="connsiteX6" fmla="*/ 16196 w 148988"/>
                <a:gd name="connsiteY6" fmla="*/ 60893 h 69483"/>
                <a:gd name="connsiteX7" fmla="*/ 12080 w 148988"/>
                <a:gd name="connsiteY7" fmla="*/ 69483 h 69483"/>
                <a:gd name="connsiteX8" fmla="*/ 0 w 148988"/>
                <a:gd name="connsiteY8" fmla="*/ 0 h 6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988" h="69483">
                  <a:moveTo>
                    <a:pt x="0" y="0"/>
                  </a:moveTo>
                  <a:cubicBezTo>
                    <a:pt x="49663" y="537"/>
                    <a:pt x="99326" y="-179"/>
                    <a:pt x="148989" y="358"/>
                  </a:cubicBezTo>
                  <a:cubicBezTo>
                    <a:pt x="148900" y="2908"/>
                    <a:pt x="148765" y="8009"/>
                    <a:pt x="148721" y="10604"/>
                  </a:cubicBezTo>
                  <a:cubicBezTo>
                    <a:pt x="137177" y="25905"/>
                    <a:pt x="129258" y="44205"/>
                    <a:pt x="116283" y="58253"/>
                  </a:cubicBezTo>
                  <a:cubicBezTo>
                    <a:pt x="98879" y="62280"/>
                    <a:pt x="80803" y="58477"/>
                    <a:pt x="63220" y="58074"/>
                  </a:cubicBezTo>
                  <a:cubicBezTo>
                    <a:pt x="59417" y="57851"/>
                    <a:pt x="55658" y="57672"/>
                    <a:pt x="51900" y="57716"/>
                  </a:cubicBezTo>
                  <a:cubicBezTo>
                    <a:pt x="39909" y="57985"/>
                    <a:pt x="28008" y="58969"/>
                    <a:pt x="16196" y="60893"/>
                  </a:cubicBezTo>
                  <a:lnTo>
                    <a:pt x="12080" y="69483"/>
                  </a:lnTo>
                  <a:cubicBezTo>
                    <a:pt x="4698" y="47023"/>
                    <a:pt x="45" y="23713"/>
                    <a:pt x="0" y="0"/>
                  </a:cubicBezTo>
                  <a:close/>
                </a:path>
              </a:pathLst>
            </a:custGeom>
            <a:solidFill>
              <a:srgbClr val="92A0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6" name="Freeform: Shape 215">
              <a:extLst>
                <a:ext uri="{FF2B5EF4-FFF2-40B4-BE49-F238E27FC236}">
                  <a16:creationId xmlns:a16="http://schemas.microsoft.com/office/drawing/2014/main" id="{1E956BD9-A7B8-16E7-818B-E024439D4752}"/>
                </a:ext>
              </a:extLst>
            </p:cNvPr>
            <p:cNvSpPr/>
            <p:nvPr/>
          </p:nvSpPr>
          <p:spPr>
            <a:xfrm flipH="1">
              <a:off x="2822190" y="3580240"/>
              <a:ext cx="352010" cy="77742"/>
            </a:xfrm>
            <a:custGeom>
              <a:avLst/>
              <a:gdLst>
                <a:gd name="connsiteX0" fmla="*/ 0 w 295114"/>
                <a:gd name="connsiteY0" fmla="*/ 64204 h 65176"/>
                <a:gd name="connsiteX1" fmla="*/ 5458 w 295114"/>
                <a:gd name="connsiteY1" fmla="*/ 0 h 65176"/>
                <a:gd name="connsiteX2" fmla="*/ 25100 w 295114"/>
                <a:gd name="connsiteY2" fmla="*/ 895 h 65176"/>
                <a:gd name="connsiteX3" fmla="*/ 236816 w 295114"/>
                <a:gd name="connsiteY3" fmla="*/ 3758 h 65176"/>
                <a:gd name="connsiteX4" fmla="*/ 295115 w 295114"/>
                <a:gd name="connsiteY4" fmla="*/ 5100 h 65176"/>
                <a:gd name="connsiteX5" fmla="*/ 294533 w 295114"/>
                <a:gd name="connsiteY5" fmla="*/ 10783 h 65176"/>
                <a:gd name="connsiteX6" fmla="*/ 261648 w 295114"/>
                <a:gd name="connsiteY6" fmla="*/ 61699 h 65176"/>
                <a:gd name="connsiteX7" fmla="*/ 166393 w 295114"/>
                <a:gd name="connsiteY7" fmla="*/ 64965 h 65176"/>
                <a:gd name="connsiteX8" fmla="*/ 0 w 295114"/>
                <a:gd name="connsiteY8" fmla="*/ 64204 h 6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114" h="65176">
                  <a:moveTo>
                    <a:pt x="0" y="64204"/>
                  </a:moveTo>
                  <a:cubicBezTo>
                    <a:pt x="2192" y="42818"/>
                    <a:pt x="3534" y="21386"/>
                    <a:pt x="5458" y="0"/>
                  </a:cubicBezTo>
                  <a:cubicBezTo>
                    <a:pt x="11946" y="313"/>
                    <a:pt x="18523" y="582"/>
                    <a:pt x="25100" y="895"/>
                  </a:cubicBezTo>
                  <a:cubicBezTo>
                    <a:pt x="95657" y="1924"/>
                    <a:pt x="166304" y="716"/>
                    <a:pt x="236816" y="3758"/>
                  </a:cubicBezTo>
                  <a:cubicBezTo>
                    <a:pt x="256234" y="4608"/>
                    <a:pt x="275652" y="4608"/>
                    <a:pt x="295115" y="5100"/>
                  </a:cubicBezTo>
                  <a:lnTo>
                    <a:pt x="294533" y="10783"/>
                  </a:lnTo>
                  <a:cubicBezTo>
                    <a:pt x="283482" y="27650"/>
                    <a:pt x="274399" y="46039"/>
                    <a:pt x="261648" y="61699"/>
                  </a:cubicBezTo>
                  <a:cubicBezTo>
                    <a:pt x="230060" y="65591"/>
                    <a:pt x="198026" y="60625"/>
                    <a:pt x="166393" y="64965"/>
                  </a:cubicBezTo>
                  <a:cubicBezTo>
                    <a:pt x="110914" y="66083"/>
                    <a:pt x="55435" y="62325"/>
                    <a:pt x="0" y="64204"/>
                  </a:cubicBezTo>
                  <a:close/>
                </a:path>
              </a:pathLst>
            </a:custGeom>
            <a:solidFill>
              <a:srgbClr val="91A0B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 name="Freeform: Shape 216">
              <a:extLst>
                <a:ext uri="{FF2B5EF4-FFF2-40B4-BE49-F238E27FC236}">
                  <a16:creationId xmlns:a16="http://schemas.microsoft.com/office/drawing/2014/main" id="{C03E8276-3C9B-80BF-6CF3-00C478396F70}"/>
                </a:ext>
              </a:extLst>
            </p:cNvPr>
            <p:cNvSpPr/>
            <p:nvPr/>
          </p:nvSpPr>
          <p:spPr>
            <a:xfrm flipH="1">
              <a:off x="3987624" y="3585045"/>
              <a:ext cx="207063" cy="63349"/>
            </a:xfrm>
            <a:custGeom>
              <a:avLst/>
              <a:gdLst>
                <a:gd name="connsiteX0" fmla="*/ 0 w 173596"/>
                <a:gd name="connsiteY0" fmla="*/ 2146 h 53110"/>
                <a:gd name="connsiteX1" fmla="*/ 173597 w 173596"/>
                <a:gd name="connsiteY1" fmla="*/ 266 h 53110"/>
                <a:gd name="connsiteX2" fmla="*/ 127737 w 173596"/>
                <a:gd name="connsiteY2" fmla="*/ 33420 h 53110"/>
                <a:gd name="connsiteX3" fmla="*/ 33243 w 173596"/>
                <a:gd name="connsiteY3" fmla="*/ 52882 h 53110"/>
                <a:gd name="connsiteX4" fmla="*/ 0 w 173596"/>
                <a:gd name="connsiteY4" fmla="*/ 2146 h 5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6" h="53110">
                  <a:moveTo>
                    <a:pt x="0" y="2146"/>
                  </a:moveTo>
                  <a:cubicBezTo>
                    <a:pt x="57851" y="311"/>
                    <a:pt x="115746" y="-450"/>
                    <a:pt x="173597" y="266"/>
                  </a:cubicBezTo>
                  <a:cubicBezTo>
                    <a:pt x="159772" y="13241"/>
                    <a:pt x="143441" y="22995"/>
                    <a:pt x="127737" y="33420"/>
                  </a:cubicBezTo>
                  <a:cubicBezTo>
                    <a:pt x="98297" y="47111"/>
                    <a:pt x="65815" y="54538"/>
                    <a:pt x="33243" y="52882"/>
                  </a:cubicBezTo>
                  <a:cubicBezTo>
                    <a:pt x="20984" y="36820"/>
                    <a:pt x="8053" y="20892"/>
                    <a:pt x="0" y="2146"/>
                  </a:cubicBezTo>
                  <a:close/>
                </a:path>
              </a:pathLst>
            </a:custGeom>
            <a:solidFill>
              <a:srgbClr val="8D9F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8" name="Freeform: Shape 217">
              <a:extLst>
                <a:ext uri="{FF2B5EF4-FFF2-40B4-BE49-F238E27FC236}">
                  <a16:creationId xmlns:a16="http://schemas.microsoft.com/office/drawing/2014/main" id="{C7FC763C-E013-1EFD-8657-C0276386856B}"/>
                </a:ext>
              </a:extLst>
            </p:cNvPr>
            <p:cNvSpPr/>
            <p:nvPr/>
          </p:nvSpPr>
          <p:spPr>
            <a:xfrm flipH="1">
              <a:off x="3845932" y="3585203"/>
              <a:ext cx="186891" cy="73166"/>
            </a:xfrm>
            <a:custGeom>
              <a:avLst/>
              <a:gdLst>
                <a:gd name="connsiteX0" fmla="*/ 0 w 156684"/>
                <a:gd name="connsiteY0" fmla="*/ 56195 h 61340"/>
                <a:gd name="connsiteX1" fmla="*/ 70691 w 156684"/>
                <a:gd name="connsiteY1" fmla="*/ 0 h 61340"/>
                <a:gd name="connsiteX2" fmla="*/ 156685 w 156684"/>
                <a:gd name="connsiteY2" fmla="*/ 0 h 61340"/>
                <a:gd name="connsiteX3" fmla="*/ 151674 w 156684"/>
                <a:gd name="connsiteY3" fmla="*/ 61340 h 61340"/>
                <a:gd name="connsiteX4" fmla="*/ 116149 w 156684"/>
                <a:gd name="connsiteY4" fmla="*/ 60401 h 61340"/>
                <a:gd name="connsiteX5" fmla="*/ 0 w 156684"/>
                <a:gd name="connsiteY5" fmla="*/ 56195 h 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684" h="61340">
                  <a:moveTo>
                    <a:pt x="0" y="56195"/>
                  </a:moveTo>
                  <a:cubicBezTo>
                    <a:pt x="25861" y="40581"/>
                    <a:pt x="50424" y="22550"/>
                    <a:pt x="70691" y="0"/>
                  </a:cubicBezTo>
                  <a:cubicBezTo>
                    <a:pt x="99326" y="1074"/>
                    <a:pt x="128050" y="492"/>
                    <a:pt x="156685" y="0"/>
                  </a:cubicBezTo>
                  <a:cubicBezTo>
                    <a:pt x="155342" y="20447"/>
                    <a:pt x="154492" y="40983"/>
                    <a:pt x="151674" y="61340"/>
                  </a:cubicBezTo>
                  <a:cubicBezTo>
                    <a:pt x="139817" y="60938"/>
                    <a:pt x="128005" y="60401"/>
                    <a:pt x="116149" y="60401"/>
                  </a:cubicBezTo>
                  <a:cubicBezTo>
                    <a:pt x="77447" y="59103"/>
                    <a:pt x="38522" y="61385"/>
                    <a:pt x="0" y="56195"/>
                  </a:cubicBezTo>
                  <a:close/>
                </a:path>
              </a:pathLst>
            </a:custGeom>
            <a:solidFill>
              <a:srgbClr val="8FA2C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9" name="Freeform: Shape 218">
              <a:extLst>
                <a:ext uri="{FF2B5EF4-FFF2-40B4-BE49-F238E27FC236}">
                  <a16:creationId xmlns:a16="http://schemas.microsoft.com/office/drawing/2014/main" id="{3CA38C76-9142-59AD-18B4-2A0737DBECAD}"/>
                </a:ext>
              </a:extLst>
            </p:cNvPr>
            <p:cNvSpPr/>
            <p:nvPr/>
          </p:nvSpPr>
          <p:spPr>
            <a:xfrm flipH="1">
              <a:off x="3531919" y="3587871"/>
              <a:ext cx="44775" cy="53207"/>
            </a:xfrm>
            <a:custGeom>
              <a:avLst/>
              <a:gdLst>
                <a:gd name="connsiteX0" fmla="*/ 0 w 37538"/>
                <a:gd name="connsiteY0" fmla="*/ 1253 h 44607"/>
                <a:gd name="connsiteX1" fmla="*/ 37538 w 37538"/>
                <a:gd name="connsiteY1" fmla="*/ 0 h 44607"/>
                <a:gd name="connsiteX2" fmla="*/ 21207 w 37538"/>
                <a:gd name="connsiteY2" fmla="*/ 44607 h 44607"/>
                <a:gd name="connsiteX3" fmla="*/ 0 w 37538"/>
                <a:gd name="connsiteY3" fmla="*/ 1253 h 44607"/>
              </a:gdLst>
              <a:ahLst/>
              <a:cxnLst>
                <a:cxn ang="0">
                  <a:pos x="connsiteX0" y="connsiteY0"/>
                </a:cxn>
                <a:cxn ang="0">
                  <a:pos x="connsiteX1" y="connsiteY1"/>
                </a:cxn>
                <a:cxn ang="0">
                  <a:pos x="connsiteX2" y="connsiteY2"/>
                </a:cxn>
                <a:cxn ang="0">
                  <a:pos x="connsiteX3" y="connsiteY3"/>
                </a:cxn>
              </a:cxnLst>
              <a:rect l="l" t="t" r="r" b="b"/>
              <a:pathLst>
                <a:path w="37538" h="44607">
                  <a:moveTo>
                    <a:pt x="0" y="1253"/>
                  </a:moveTo>
                  <a:cubicBezTo>
                    <a:pt x="12483" y="716"/>
                    <a:pt x="25010" y="268"/>
                    <a:pt x="37538" y="0"/>
                  </a:cubicBezTo>
                  <a:cubicBezTo>
                    <a:pt x="31364" y="14586"/>
                    <a:pt x="26621" y="29708"/>
                    <a:pt x="21207" y="44607"/>
                  </a:cubicBezTo>
                  <a:cubicBezTo>
                    <a:pt x="14944" y="29753"/>
                    <a:pt x="7293" y="15570"/>
                    <a:pt x="0" y="1253"/>
                  </a:cubicBezTo>
                  <a:close/>
                </a:path>
              </a:pathLst>
            </a:custGeom>
            <a:solidFill>
              <a:srgbClr val="8E99B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0" name="Freeform: Shape 219">
              <a:extLst>
                <a:ext uri="{FF2B5EF4-FFF2-40B4-BE49-F238E27FC236}">
                  <a16:creationId xmlns:a16="http://schemas.microsoft.com/office/drawing/2014/main" id="{FE9F60FC-645E-2FC3-D1C5-1A429D1A50FC}"/>
                </a:ext>
              </a:extLst>
            </p:cNvPr>
            <p:cNvSpPr/>
            <p:nvPr/>
          </p:nvSpPr>
          <p:spPr>
            <a:xfrm flipH="1">
              <a:off x="4042324" y="3624907"/>
              <a:ext cx="199005" cy="51422"/>
            </a:xfrm>
            <a:custGeom>
              <a:avLst/>
              <a:gdLst>
                <a:gd name="connsiteX0" fmla="*/ 72347 w 166840"/>
                <a:gd name="connsiteY0" fmla="*/ 19463 h 43110"/>
                <a:gd name="connsiteX1" fmla="*/ 166841 w 166840"/>
                <a:gd name="connsiteY1" fmla="*/ 0 h 43110"/>
                <a:gd name="connsiteX2" fmla="*/ 143262 w 166840"/>
                <a:gd name="connsiteY2" fmla="*/ 23847 h 43110"/>
                <a:gd name="connsiteX3" fmla="*/ 156640 w 166840"/>
                <a:gd name="connsiteY3" fmla="*/ 28993 h 43110"/>
                <a:gd name="connsiteX4" fmla="*/ 98118 w 166840"/>
                <a:gd name="connsiteY4" fmla="*/ 42683 h 43110"/>
                <a:gd name="connsiteX5" fmla="*/ 0 w 166840"/>
                <a:gd name="connsiteY5" fmla="*/ 16420 h 43110"/>
                <a:gd name="connsiteX6" fmla="*/ 31095 w 166840"/>
                <a:gd name="connsiteY6" fmla="*/ 7561 h 43110"/>
                <a:gd name="connsiteX7" fmla="*/ 72347 w 166840"/>
                <a:gd name="connsiteY7" fmla="*/ 19463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840" h="43110">
                  <a:moveTo>
                    <a:pt x="72347" y="19463"/>
                  </a:moveTo>
                  <a:cubicBezTo>
                    <a:pt x="104919" y="21118"/>
                    <a:pt x="137401" y="13691"/>
                    <a:pt x="166841" y="0"/>
                  </a:cubicBezTo>
                  <a:cubicBezTo>
                    <a:pt x="158877" y="7875"/>
                    <a:pt x="151226" y="15973"/>
                    <a:pt x="143262" y="23847"/>
                  </a:cubicBezTo>
                  <a:cubicBezTo>
                    <a:pt x="147692" y="25547"/>
                    <a:pt x="152166" y="27248"/>
                    <a:pt x="156640" y="28993"/>
                  </a:cubicBezTo>
                  <a:cubicBezTo>
                    <a:pt x="137759" y="35748"/>
                    <a:pt x="118296" y="41878"/>
                    <a:pt x="98118" y="42683"/>
                  </a:cubicBezTo>
                  <a:cubicBezTo>
                    <a:pt x="63443" y="45547"/>
                    <a:pt x="29529" y="33690"/>
                    <a:pt x="0" y="16420"/>
                  </a:cubicBezTo>
                  <a:cubicBezTo>
                    <a:pt x="9798" y="11767"/>
                    <a:pt x="20223" y="8322"/>
                    <a:pt x="31095" y="7561"/>
                  </a:cubicBezTo>
                  <a:cubicBezTo>
                    <a:pt x="44384" y="12930"/>
                    <a:pt x="58164" y="17225"/>
                    <a:pt x="72347" y="19463"/>
                  </a:cubicBezTo>
                  <a:close/>
                </a:path>
              </a:pathLst>
            </a:custGeom>
            <a:solidFill>
              <a:srgbClr val="CEE1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1" name="Freeform: Shape 220">
              <a:extLst>
                <a:ext uri="{FF2B5EF4-FFF2-40B4-BE49-F238E27FC236}">
                  <a16:creationId xmlns:a16="http://schemas.microsoft.com/office/drawing/2014/main" id="{0937E91E-2868-2141-9EDF-1F9E751AD30F}"/>
                </a:ext>
              </a:extLst>
            </p:cNvPr>
            <p:cNvSpPr/>
            <p:nvPr/>
          </p:nvSpPr>
          <p:spPr>
            <a:xfrm flipH="1">
              <a:off x="1634608" y="3778392"/>
              <a:ext cx="323884" cy="426776"/>
            </a:xfrm>
            <a:custGeom>
              <a:avLst/>
              <a:gdLst>
                <a:gd name="connsiteX0" fmla="*/ 66173 w 271535"/>
                <a:gd name="connsiteY0" fmla="*/ 5369 h 357797"/>
                <a:gd name="connsiteX1" fmla="*/ 134538 w 271535"/>
                <a:gd name="connsiteY1" fmla="*/ 0 h 357797"/>
                <a:gd name="connsiteX2" fmla="*/ 203260 w 271535"/>
                <a:gd name="connsiteY2" fmla="*/ 38746 h 357797"/>
                <a:gd name="connsiteX3" fmla="*/ 263080 w 271535"/>
                <a:gd name="connsiteY3" fmla="*/ 98655 h 357797"/>
                <a:gd name="connsiteX4" fmla="*/ 271536 w 271535"/>
                <a:gd name="connsiteY4" fmla="*/ 115388 h 357797"/>
                <a:gd name="connsiteX5" fmla="*/ 266256 w 271535"/>
                <a:gd name="connsiteY5" fmla="*/ 153463 h 357797"/>
                <a:gd name="connsiteX6" fmla="*/ 214893 w 271535"/>
                <a:gd name="connsiteY6" fmla="*/ 75166 h 357797"/>
                <a:gd name="connsiteX7" fmla="*/ 246570 w 271535"/>
                <a:gd name="connsiteY7" fmla="*/ 130690 h 357797"/>
                <a:gd name="connsiteX8" fmla="*/ 229703 w 271535"/>
                <a:gd name="connsiteY8" fmla="*/ 221202 h 357797"/>
                <a:gd name="connsiteX9" fmla="*/ 146081 w 271535"/>
                <a:gd name="connsiteY9" fmla="*/ 307776 h 357797"/>
                <a:gd name="connsiteX10" fmla="*/ 65054 w 271535"/>
                <a:gd name="connsiteY10" fmla="*/ 357797 h 357797"/>
                <a:gd name="connsiteX11" fmla="*/ 61251 w 271535"/>
                <a:gd name="connsiteY11" fmla="*/ 275473 h 357797"/>
                <a:gd name="connsiteX12" fmla="*/ 82772 w 271535"/>
                <a:gd name="connsiteY12" fmla="*/ 248047 h 357797"/>
                <a:gd name="connsiteX13" fmla="*/ 70513 w 271535"/>
                <a:gd name="connsiteY13" fmla="*/ 242633 h 357797"/>
                <a:gd name="connsiteX14" fmla="*/ 92167 w 271535"/>
                <a:gd name="connsiteY14" fmla="*/ 236190 h 357797"/>
                <a:gd name="connsiteX15" fmla="*/ 92839 w 271535"/>
                <a:gd name="connsiteY15" fmla="*/ 231805 h 357797"/>
                <a:gd name="connsiteX16" fmla="*/ 94002 w 271535"/>
                <a:gd name="connsiteY16" fmla="*/ 221202 h 357797"/>
                <a:gd name="connsiteX17" fmla="*/ 96149 w 271535"/>
                <a:gd name="connsiteY17" fmla="*/ 191493 h 357797"/>
                <a:gd name="connsiteX18" fmla="*/ 48410 w 271535"/>
                <a:gd name="connsiteY18" fmla="*/ 191493 h 357797"/>
                <a:gd name="connsiteX19" fmla="*/ 20536 w 271535"/>
                <a:gd name="connsiteY19" fmla="*/ 183216 h 357797"/>
                <a:gd name="connsiteX20" fmla="*/ 17941 w 271535"/>
                <a:gd name="connsiteY20" fmla="*/ 210911 h 357797"/>
                <a:gd name="connsiteX21" fmla="*/ 16868 w 271535"/>
                <a:gd name="connsiteY21" fmla="*/ 182769 h 357797"/>
                <a:gd name="connsiteX22" fmla="*/ 33825 w 271535"/>
                <a:gd name="connsiteY22" fmla="*/ 182098 h 357797"/>
                <a:gd name="connsiteX23" fmla="*/ 32751 w 271535"/>
                <a:gd name="connsiteY23" fmla="*/ 176102 h 357797"/>
                <a:gd name="connsiteX24" fmla="*/ 74852 w 271535"/>
                <a:gd name="connsiteY24" fmla="*/ 178518 h 357797"/>
                <a:gd name="connsiteX25" fmla="*/ 111272 w 271535"/>
                <a:gd name="connsiteY25" fmla="*/ 79640 h 357797"/>
                <a:gd name="connsiteX26" fmla="*/ 70423 w 271535"/>
                <a:gd name="connsiteY26" fmla="*/ 53824 h 357797"/>
                <a:gd name="connsiteX27" fmla="*/ 63085 w 271535"/>
                <a:gd name="connsiteY27" fmla="*/ 19820 h 357797"/>
                <a:gd name="connsiteX28" fmla="*/ 60669 w 271535"/>
                <a:gd name="connsiteY28" fmla="*/ 52795 h 357797"/>
                <a:gd name="connsiteX29" fmla="*/ 39194 w 271535"/>
                <a:gd name="connsiteY29" fmla="*/ 38791 h 357797"/>
                <a:gd name="connsiteX30" fmla="*/ 9217 w 271535"/>
                <a:gd name="connsiteY30" fmla="*/ 52437 h 357797"/>
                <a:gd name="connsiteX31" fmla="*/ 14765 w 271535"/>
                <a:gd name="connsiteY31" fmla="*/ 72481 h 357797"/>
                <a:gd name="connsiteX32" fmla="*/ 0 w 271535"/>
                <a:gd name="connsiteY32" fmla="*/ 81027 h 357797"/>
                <a:gd name="connsiteX33" fmla="*/ 4250 w 271535"/>
                <a:gd name="connsiteY33" fmla="*/ 74002 h 357797"/>
                <a:gd name="connsiteX34" fmla="*/ 2327 w 271535"/>
                <a:gd name="connsiteY34" fmla="*/ 47337 h 357797"/>
                <a:gd name="connsiteX35" fmla="*/ 27740 w 271535"/>
                <a:gd name="connsiteY35" fmla="*/ 26979 h 357797"/>
                <a:gd name="connsiteX36" fmla="*/ 66173 w 271535"/>
                <a:gd name="connsiteY36" fmla="*/ 5369 h 357797"/>
                <a:gd name="connsiteX37" fmla="*/ 152031 w 271535"/>
                <a:gd name="connsiteY37" fmla="*/ 93733 h 357797"/>
                <a:gd name="connsiteX38" fmla="*/ 153150 w 271535"/>
                <a:gd name="connsiteY38" fmla="*/ 173015 h 357797"/>
                <a:gd name="connsiteX39" fmla="*/ 160935 w 271535"/>
                <a:gd name="connsiteY39" fmla="*/ 157311 h 357797"/>
                <a:gd name="connsiteX40" fmla="*/ 156774 w 271535"/>
                <a:gd name="connsiteY40" fmla="*/ 93644 h 357797"/>
                <a:gd name="connsiteX41" fmla="*/ 152031 w 271535"/>
                <a:gd name="connsiteY41" fmla="*/ 93733 h 357797"/>
                <a:gd name="connsiteX42" fmla="*/ 181024 w 271535"/>
                <a:gd name="connsiteY42" fmla="*/ 176013 h 357797"/>
                <a:gd name="connsiteX43" fmla="*/ 188943 w 271535"/>
                <a:gd name="connsiteY43" fmla="*/ 121473 h 357797"/>
                <a:gd name="connsiteX44" fmla="*/ 181024 w 271535"/>
                <a:gd name="connsiteY44" fmla="*/ 176013 h 357797"/>
                <a:gd name="connsiteX45" fmla="*/ 118520 w 271535"/>
                <a:gd name="connsiteY45" fmla="*/ 127468 h 357797"/>
                <a:gd name="connsiteX46" fmla="*/ 106977 w 271535"/>
                <a:gd name="connsiteY46" fmla="*/ 181292 h 357797"/>
                <a:gd name="connsiteX47" fmla="*/ 118520 w 271535"/>
                <a:gd name="connsiteY47" fmla="*/ 127468 h 357797"/>
                <a:gd name="connsiteX48" fmla="*/ 77492 w 271535"/>
                <a:gd name="connsiteY48" fmla="*/ 310327 h 357797"/>
                <a:gd name="connsiteX49" fmla="*/ 87291 w 271535"/>
                <a:gd name="connsiteY49" fmla="*/ 302228 h 357797"/>
                <a:gd name="connsiteX50" fmla="*/ 93017 w 271535"/>
                <a:gd name="connsiteY50" fmla="*/ 245944 h 357797"/>
                <a:gd name="connsiteX51" fmla="*/ 77492 w 271535"/>
                <a:gd name="connsiteY51" fmla="*/ 310327 h 35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1535" h="357797">
                  <a:moveTo>
                    <a:pt x="66173" y="5369"/>
                  </a:moveTo>
                  <a:cubicBezTo>
                    <a:pt x="89214" y="7382"/>
                    <a:pt x="111988" y="4250"/>
                    <a:pt x="134538" y="0"/>
                  </a:cubicBezTo>
                  <a:cubicBezTo>
                    <a:pt x="159145" y="9440"/>
                    <a:pt x="180487" y="25682"/>
                    <a:pt x="203260" y="38746"/>
                  </a:cubicBezTo>
                  <a:cubicBezTo>
                    <a:pt x="227555" y="53869"/>
                    <a:pt x="246436" y="75702"/>
                    <a:pt x="263080" y="98655"/>
                  </a:cubicBezTo>
                  <a:cubicBezTo>
                    <a:pt x="266256" y="103890"/>
                    <a:pt x="270417" y="109080"/>
                    <a:pt x="271536" y="115388"/>
                  </a:cubicBezTo>
                  <a:cubicBezTo>
                    <a:pt x="270551" y="128184"/>
                    <a:pt x="268314" y="140801"/>
                    <a:pt x="266256" y="153463"/>
                  </a:cubicBezTo>
                  <a:cubicBezTo>
                    <a:pt x="254489" y="124739"/>
                    <a:pt x="245586" y="89438"/>
                    <a:pt x="214893" y="75166"/>
                  </a:cubicBezTo>
                  <a:cubicBezTo>
                    <a:pt x="227018" y="92615"/>
                    <a:pt x="242007" y="109214"/>
                    <a:pt x="246570" y="130690"/>
                  </a:cubicBezTo>
                  <a:cubicBezTo>
                    <a:pt x="254803" y="161651"/>
                    <a:pt x="244109" y="193820"/>
                    <a:pt x="229703" y="221202"/>
                  </a:cubicBezTo>
                  <a:cubicBezTo>
                    <a:pt x="211090" y="257621"/>
                    <a:pt x="178697" y="284287"/>
                    <a:pt x="146081" y="307776"/>
                  </a:cubicBezTo>
                  <a:cubicBezTo>
                    <a:pt x="118610" y="323704"/>
                    <a:pt x="91273" y="339811"/>
                    <a:pt x="65054" y="357797"/>
                  </a:cubicBezTo>
                  <a:cubicBezTo>
                    <a:pt x="58701" y="331534"/>
                    <a:pt x="42326" y="300081"/>
                    <a:pt x="61251" y="275473"/>
                  </a:cubicBezTo>
                  <a:cubicBezTo>
                    <a:pt x="69081" y="266883"/>
                    <a:pt x="76463" y="257845"/>
                    <a:pt x="82772" y="248047"/>
                  </a:cubicBezTo>
                  <a:cubicBezTo>
                    <a:pt x="79729" y="246704"/>
                    <a:pt x="73555" y="244020"/>
                    <a:pt x="70513" y="242633"/>
                  </a:cubicBezTo>
                  <a:cubicBezTo>
                    <a:pt x="77761" y="240799"/>
                    <a:pt x="85009" y="238606"/>
                    <a:pt x="92167" y="236190"/>
                  </a:cubicBezTo>
                  <a:cubicBezTo>
                    <a:pt x="92302" y="235072"/>
                    <a:pt x="92660" y="232879"/>
                    <a:pt x="92839" y="231805"/>
                  </a:cubicBezTo>
                  <a:cubicBezTo>
                    <a:pt x="93152" y="229166"/>
                    <a:pt x="93733" y="223841"/>
                    <a:pt x="94002" y="221202"/>
                  </a:cubicBezTo>
                  <a:cubicBezTo>
                    <a:pt x="94718" y="211269"/>
                    <a:pt x="95389" y="201381"/>
                    <a:pt x="96149" y="191493"/>
                  </a:cubicBezTo>
                  <a:cubicBezTo>
                    <a:pt x="80266" y="192120"/>
                    <a:pt x="64293" y="192791"/>
                    <a:pt x="48410" y="191493"/>
                  </a:cubicBezTo>
                  <a:cubicBezTo>
                    <a:pt x="39149" y="188585"/>
                    <a:pt x="29842" y="185767"/>
                    <a:pt x="20536" y="183216"/>
                  </a:cubicBezTo>
                  <a:cubicBezTo>
                    <a:pt x="19731" y="192388"/>
                    <a:pt x="19418" y="201739"/>
                    <a:pt x="17941" y="210911"/>
                  </a:cubicBezTo>
                  <a:cubicBezTo>
                    <a:pt x="17494" y="201515"/>
                    <a:pt x="17136" y="192120"/>
                    <a:pt x="16868" y="182769"/>
                  </a:cubicBezTo>
                  <a:cubicBezTo>
                    <a:pt x="22460" y="182500"/>
                    <a:pt x="28142" y="182277"/>
                    <a:pt x="33825" y="182098"/>
                  </a:cubicBezTo>
                  <a:cubicBezTo>
                    <a:pt x="33556" y="180576"/>
                    <a:pt x="33019" y="177579"/>
                    <a:pt x="32751" y="176102"/>
                  </a:cubicBezTo>
                  <a:cubicBezTo>
                    <a:pt x="45726" y="182411"/>
                    <a:pt x="61475" y="185990"/>
                    <a:pt x="74852" y="178518"/>
                  </a:cubicBezTo>
                  <a:cubicBezTo>
                    <a:pt x="107961" y="159011"/>
                    <a:pt x="123621" y="115880"/>
                    <a:pt x="111272" y="79640"/>
                  </a:cubicBezTo>
                  <a:cubicBezTo>
                    <a:pt x="100489" y="67202"/>
                    <a:pt x="86485" y="57716"/>
                    <a:pt x="70423" y="53824"/>
                  </a:cubicBezTo>
                  <a:cubicBezTo>
                    <a:pt x="69081" y="42460"/>
                    <a:pt x="74360" y="27471"/>
                    <a:pt x="63085" y="19820"/>
                  </a:cubicBezTo>
                  <a:cubicBezTo>
                    <a:pt x="62012" y="30782"/>
                    <a:pt x="61341" y="41788"/>
                    <a:pt x="60669" y="52795"/>
                  </a:cubicBezTo>
                  <a:cubicBezTo>
                    <a:pt x="53421" y="48187"/>
                    <a:pt x="46263" y="43578"/>
                    <a:pt x="39194" y="38791"/>
                  </a:cubicBezTo>
                  <a:cubicBezTo>
                    <a:pt x="30200" y="45368"/>
                    <a:pt x="19820" y="49350"/>
                    <a:pt x="9217" y="52437"/>
                  </a:cubicBezTo>
                  <a:cubicBezTo>
                    <a:pt x="11051" y="59104"/>
                    <a:pt x="12886" y="65770"/>
                    <a:pt x="14765" y="72481"/>
                  </a:cubicBezTo>
                  <a:cubicBezTo>
                    <a:pt x="9843" y="75389"/>
                    <a:pt x="4877" y="78119"/>
                    <a:pt x="0" y="81027"/>
                  </a:cubicBezTo>
                  <a:cubicBezTo>
                    <a:pt x="1074" y="79282"/>
                    <a:pt x="3177" y="75792"/>
                    <a:pt x="4250" y="74002"/>
                  </a:cubicBezTo>
                  <a:cubicBezTo>
                    <a:pt x="2908" y="65322"/>
                    <a:pt x="-2371" y="55748"/>
                    <a:pt x="2327" y="47337"/>
                  </a:cubicBezTo>
                  <a:cubicBezTo>
                    <a:pt x="9798" y="39417"/>
                    <a:pt x="19194" y="33646"/>
                    <a:pt x="27740" y="26979"/>
                  </a:cubicBezTo>
                  <a:cubicBezTo>
                    <a:pt x="39328" y="17852"/>
                    <a:pt x="51900" y="9619"/>
                    <a:pt x="66173" y="5369"/>
                  </a:cubicBezTo>
                  <a:close/>
                  <a:moveTo>
                    <a:pt x="152031" y="93733"/>
                  </a:moveTo>
                  <a:cubicBezTo>
                    <a:pt x="152524" y="120175"/>
                    <a:pt x="151405" y="146618"/>
                    <a:pt x="153150" y="173015"/>
                  </a:cubicBezTo>
                  <a:cubicBezTo>
                    <a:pt x="157266" y="168631"/>
                    <a:pt x="161293" y="163754"/>
                    <a:pt x="160935" y="157311"/>
                  </a:cubicBezTo>
                  <a:cubicBezTo>
                    <a:pt x="162948" y="136014"/>
                    <a:pt x="159369" y="114717"/>
                    <a:pt x="156774" y="93644"/>
                  </a:cubicBezTo>
                  <a:lnTo>
                    <a:pt x="152031" y="93733"/>
                  </a:lnTo>
                  <a:close/>
                  <a:moveTo>
                    <a:pt x="181024" y="176013"/>
                  </a:moveTo>
                  <a:cubicBezTo>
                    <a:pt x="192254" y="160666"/>
                    <a:pt x="192612" y="139459"/>
                    <a:pt x="188943" y="121473"/>
                  </a:cubicBezTo>
                  <a:cubicBezTo>
                    <a:pt x="178787" y="137535"/>
                    <a:pt x="182411" y="157848"/>
                    <a:pt x="181024" y="176013"/>
                  </a:cubicBezTo>
                  <a:close/>
                  <a:moveTo>
                    <a:pt x="118520" y="127468"/>
                  </a:moveTo>
                  <a:cubicBezTo>
                    <a:pt x="116059" y="145678"/>
                    <a:pt x="112435" y="163709"/>
                    <a:pt x="106977" y="181292"/>
                  </a:cubicBezTo>
                  <a:cubicBezTo>
                    <a:pt x="123352" y="169167"/>
                    <a:pt x="124829" y="145365"/>
                    <a:pt x="118520" y="127468"/>
                  </a:cubicBezTo>
                  <a:close/>
                  <a:moveTo>
                    <a:pt x="77492" y="310327"/>
                  </a:moveTo>
                  <a:cubicBezTo>
                    <a:pt x="82772" y="309969"/>
                    <a:pt x="86038" y="307240"/>
                    <a:pt x="87291" y="302228"/>
                  </a:cubicBezTo>
                  <a:cubicBezTo>
                    <a:pt x="92839" y="284063"/>
                    <a:pt x="94047" y="264825"/>
                    <a:pt x="93017" y="245944"/>
                  </a:cubicBezTo>
                  <a:cubicBezTo>
                    <a:pt x="83756" y="266256"/>
                    <a:pt x="82995" y="288940"/>
                    <a:pt x="77492" y="310327"/>
                  </a:cubicBezTo>
                  <a:close/>
                </a:path>
              </a:pathLst>
            </a:custGeom>
            <a:solidFill>
              <a:srgbClr val="E4EB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2" name="Freeform: Shape 221">
              <a:extLst>
                <a:ext uri="{FF2B5EF4-FFF2-40B4-BE49-F238E27FC236}">
                  <a16:creationId xmlns:a16="http://schemas.microsoft.com/office/drawing/2014/main" id="{3789F8F1-216F-00FA-CDCD-BCC5827326B8}"/>
                </a:ext>
              </a:extLst>
            </p:cNvPr>
            <p:cNvSpPr/>
            <p:nvPr/>
          </p:nvSpPr>
          <p:spPr>
            <a:xfrm flipH="1">
              <a:off x="1874375" y="3802034"/>
              <a:ext cx="73124" cy="62812"/>
            </a:xfrm>
            <a:custGeom>
              <a:avLst/>
              <a:gdLst>
                <a:gd name="connsiteX0" fmla="*/ 53869 w 61306"/>
                <a:gd name="connsiteY0" fmla="*/ 0 h 52660"/>
                <a:gd name="connsiteX1" fmla="*/ 61206 w 61306"/>
                <a:gd name="connsiteY1" fmla="*/ 34003 h 52660"/>
                <a:gd name="connsiteX2" fmla="*/ 35480 w 61306"/>
                <a:gd name="connsiteY2" fmla="*/ 32796 h 52660"/>
                <a:gd name="connsiteX3" fmla="*/ 5548 w 61306"/>
                <a:gd name="connsiteY3" fmla="*/ 52661 h 52660"/>
                <a:gd name="connsiteX4" fmla="*/ 0 w 61306"/>
                <a:gd name="connsiteY4" fmla="*/ 32616 h 52660"/>
                <a:gd name="connsiteX5" fmla="*/ 29977 w 61306"/>
                <a:gd name="connsiteY5" fmla="*/ 18970 h 52660"/>
                <a:gd name="connsiteX6" fmla="*/ 51453 w 61306"/>
                <a:gd name="connsiteY6" fmla="*/ 32974 h 52660"/>
                <a:gd name="connsiteX7" fmla="*/ 53869 w 61306"/>
                <a:gd name="connsiteY7" fmla="*/ 0 h 5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6" h="52660">
                  <a:moveTo>
                    <a:pt x="53869" y="0"/>
                  </a:moveTo>
                  <a:cubicBezTo>
                    <a:pt x="65144" y="7651"/>
                    <a:pt x="59864" y="22639"/>
                    <a:pt x="61206" y="34003"/>
                  </a:cubicBezTo>
                  <a:cubicBezTo>
                    <a:pt x="52661" y="33064"/>
                    <a:pt x="44026" y="32080"/>
                    <a:pt x="35480" y="32796"/>
                  </a:cubicBezTo>
                  <a:cubicBezTo>
                    <a:pt x="24429" y="37627"/>
                    <a:pt x="15704" y="46307"/>
                    <a:pt x="5548" y="52661"/>
                  </a:cubicBezTo>
                  <a:cubicBezTo>
                    <a:pt x="3669" y="45950"/>
                    <a:pt x="1834" y="39283"/>
                    <a:pt x="0" y="32616"/>
                  </a:cubicBezTo>
                  <a:cubicBezTo>
                    <a:pt x="10604" y="29529"/>
                    <a:pt x="20984" y="25547"/>
                    <a:pt x="29977" y="18970"/>
                  </a:cubicBezTo>
                  <a:cubicBezTo>
                    <a:pt x="37046" y="23758"/>
                    <a:pt x="44205" y="28366"/>
                    <a:pt x="51453" y="32974"/>
                  </a:cubicBezTo>
                  <a:cubicBezTo>
                    <a:pt x="52124" y="21968"/>
                    <a:pt x="52795" y="10962"/>
                    <a:pt x="53869" y="0"/>
                  </a:cubicBezTo>
                  <a:close/>
                </a:path>
              </a:pathLst>
            </a:custGeom>
            <a:solidFill>
              <a:srgbClr val="AEC2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3" name="Freeform: Shape 222">
              <a:extLst>
                <a:ext uri="{FF2B5EF4-FFF2-40B4-BE49-F238E27FC236}">
                  <a16:creationId xmlns:a16="http://schemas.microsoft.com/office/drawing/2014/main" id="{29418525-921C-CAE8-3DD7-CCCA29DB60C9}"/>
                </a:ext>
              </a:extLst>
            </p:cNvPr>
            <p:cNvSpPr/>
            <p:nvPr/>
          </p:nvSpPr>
          <p:spPr>
            <a:xfrm flipH="1">
              <a:off x="1825771" y="3840859"/>
              <a:ext cx="168052" cy="83812"/>
            </a:xfrm>
            <a:custGeom>
              <a:avLst/>
              <a:gdLst>
                <a:gd name="connsiteX0" fmla="*/ 44383 w 140890"/>
                <a:gd name="connsiteY0" fmla="*/ 20111 h 70266"/>
                <a:gd name="connsiteX1" fmla="*/ 74315 w 140890"/>
                <a:gd name="connsiteY1" fmla="*/ 246 h 70266"/>
                <a:gd name="connsiteX2" fmla="*/ 100042 w 140890"/>
                <a:gd name="connsiteY2" fmla="*/ 1454 h 70266"/>
                <a:gd name="connsiteX3" fmla="*/ 140891 w 140890"/>
                <a:gd name="connsiteY3" fmla="*/ 27270 h 70266"/>
                <a:gd name="connsiteX4" fmla="*/ 80266 w 140890"/>
                <a:gd name="connsiteY4" fmla="*/ 17113 h 70266"/>
                <a:gd name="connsiteX5" fmla="*/ 10648 w 140890"/>
                <a:gd name="connsiteY5" fmla="*/ 70266 h 70266"/>
                <a:gd name="connsiteX6" fmla="*/ 0 w 140890"/>
                <a:gd name="connsiteY6" fmla="*/ 64584 h 70266"/>
                <a:gd name="connsiteX7" fmla="*/ 29619 w 140890"/>
                <a:gd name="connsiteY7" fmla="*/ 28657 h 70266"/>
                <a:gd name="connsiteX8" fmla="*/ 44383 w 140890"/>
                <a:gd name="connsiteY8" fmla="*/ 20111 h 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90" h="70266">
                  <a:moveTo>
                    <a:pt x="44383" y="20111"/>
                  </a:moveTo>
                  <a:cubicBezTo>
                    <a:pt x="54540" y="13758"/>
                    <a:pt x="63264" y="5078"/>
                    <a:pt x="74315" y="246"/>
                  </a:cubicBezTo>
                  <a:cubicBezTo>
                    <a:pt x="82861" y="-470"/>
                    <a:pt x="91496" y="514"/>
                    <a:pt x="100042" y="1454"/>
                  </a:cubicBezTo>
                  <a:cubicBezTo>
                    <a:pt x="116104" y="5346"/>
                    <a:pt x="130108" y="14832"/>
                    <a:pt x="140891" y="27270"/>
                  </a:cubicBezTo>
                  <a:cubicBezTo>
                    <a:pt x="119952" y="27851"/>
                    <a:pt x="101429" y="13265"/>
                    <a:pt x="80266" y="17113"/>
                  </a:cubicBezTo>
                  <a:cubicBezTo>
                    <a:pt x="48455" y="19977"/>
                    <a:pt x="32169" y="50893"/>
                    <a:pt x="10648" y="70266"/>
                  </a:cubicBezTo>
                  <a:cubicBezTo>
                    <a:pt x="7114" y="68253"/>
                    <a:pt x="3579" y="66329"/>
                    <a:pt x="0" y="64584"/>
                  </a:cubicBezTo>
                  <a:cubicBezTo>
                    <a:pt x="9396" y="52191"/>
                    <a:pt x="18970" y="39976"/>
                    <a:pt x="29619" y="28657"/>
                  </a:cubicBezTo>
                  <a:cubicBezTo>
                    <a:pt x="34496" y="25749"/>
                    <a:pt x="39462" y="23019"/>
                    <a:pt x="44383" y="20111"/>
                  </a:cubicBezTo>
                  <a:close/>
                </a:path>
              </a:pathLst>
            </a:custGeom>
            <a:solidFill>
              <a:srgbClr val="EA96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 name="Freeform: Shape 223">
              <a:extLst>
                <a:ext uri="{FF2B5EF4-FFF2-40B4-BE49-F238E27FC236}">
                  <a16:creationId xmlns:a16="http://schemas.microsoft.com/office/drawing/2014/main" id="{CB95ABF1-67AB-BF81-B7D4-32D6F9876366}"/>
                </a:ext>
              </a:extLst>
            </p:cNvPr>
            <p:cNvSpPr/>
            <p:nvPr/>
          </p:nvSpPr>
          <p:spPr>
            <a:xfrm flipH="1">
              <a:off x="1294499" y="3852839"/>
              <a:ext cx="47763" cy="116713"/>
            </a:xfrm>
            <a:custGeom>
              <a:avLst/>
              <a:gdLst>
                <a:gd name="connsiteX0" fmla="*/ 0 w 40043"/>
                <a:gd name="connsiteY0" fmla="*/ 805 h 97849"/>
                <a:gd name="connsiteX1" fmla="*/ 20671 w 40043"/>
                <a:gd name="connsiteY1" fmla="*/ 0 h 97849"/>
                <a:gd name="connsiteX2" fmla="*/ 24026 w 40043"/>
                <a:gd name="connsiteY2" fmla="*/ 9306 h 97849"/>
                <a:gd name="connsiteX3" fmla="*/ 40044 w 40043"/>
                <a:gd name="connsiteY3" fmla="*/ 96373 h 97849"/>
                <a:gd name="connsiteX4" fmla="*/ 31230 w 40043"/>
                <a:gd name="connsiteY4" fmla="*/ 97850 h 97849"/>
                <a:gd name="connsiteX5" fmla="*/ 12080 w 40043"/>
                <a:gd name="connsiteY5" fmla="*/ 11141 h 97849"/>
                <a:gd name="connsiteX6" fmla="*/ 2774 w 40043"/>
                <a:gd name="connsiteY6" fmla="*/ 13333 h 97849"/>
                <a:gd name="connsiteX7" fmla="*/ 0 w 40043"/>
                <a:gd name="connsiteY7" fmla="*/ 805 h 9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43" h="97849">
                  <a:moveTo>
                    <a:pt x="0" y="805"/>
                  </a:moveTo>
                  <a:cubicBezTo>
                    <a:pt x="6846" y="582"/>
                    <a:pt x="13736" y="313"/>
                    <a:pt x="20671" y="0"/>
                  </a:cubicBezTo>
                  <a:cubicBezTo>
                    <a:pt x="21521" y="2326"/>
                    <a:pt x="23176" y="6980"/>
                    <a:pt x="24026" y="9306"/>
                  </a:cubicBezTo>
                  <a:cubicBezTo>
                    <a:pt x="34272" y="37180"/>
                    <a:pt x="37628" y="66933"/>
                    <a:pt x="40044" y="96373"/>
                  </a:cubicBezTo>
                  <a:cubicBezTo>
                    <a:pt x="37851" y="96731"/>
                    <a:pt x="33422" y="97492"/>
                    <a:pt x="31230" y="97850"/>
                  </a:cubicBezTo>
                  <a:cubicBezTo>
                    <a:pt x="29843" y="68231"/>
                    <a:pt x="28187" y="37046"/>
                    <a:pt x="12080" y="11141"/>
                  </a:cubicBezTo>
                  <a:cubicBezTo>
                    <a:pt x="9754" y="11677"/>
                    <a:pt x="5101" y="12796"/>
                    <a:pt x="2774" y="13333"/>
                  </a:cubicBezTo>
                  <a:cubicBezTo>
                    <a:pt x="2058" y="10201"/>
                    <a:pt x="671" y="3937"/>
                    <a:pt x="0" y="805"/>
                  </a:cubicBezTo>
                  <a:close/>
                </a:path>
              </a:pathLst>
            </a:custGeom>
            <a:solidFill>
              <a:srgbClr val="9AB3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 name="Freeform: Shape 224">
              <a:extLst>
                <a:ext uri="{FF2B5EF4-FFF2-40B4-BE49-F238E27FC236}">
                  <a16:creationId xmlns:a16="http://schemas.microsoft.com/office/drawing/2014/main" id="{BF329C6A-4A62-33F3-660F-A353FA54207A}"/>
                </a:ext>
              </a:extLst>
            </p:cNvPr>
            <p:cNvSpPr/>
            <p:nvPr/>
          </p:nvSpPr>
          <p:spPr>
            <a:xfrm flipH="1">
              <a:off x="1140535" y="3856469"/>
              <a:ext cx="169013" cy="204716"/>
            </a:xfrm>
            <a:custGeom>
              <a:avLst/>
              <a:gdLst>
                <a:gd name="connsiteX0" fmla="*/ 0 w 141696"/>
                <a:gd name="connsiteY0" fmla="*/ 0 h 171628"/>
                <a:gd name="connsiteX1" fmla="*/ 16062 w 141696"/>
                <a:gd name="connsiteY1" fmla="*/ 3266 h 171628"/>
                <a:gd name="connsiteX2" fmla="*/ 141696 w 141696"/>
                <a:gd name="connsiteY2" fmla="*/ 22326 h 171628"/>
                <a:gd name="connsiteX3" fmla="*/ 122055 w 141696"/>
                <a:gd name="connsiteY3" fmla="*/ 88006 h 171628"/>
                <a:gd name="connsiteX4" fmla="*/ 127692 w 141696"/>
                <a:gd name="connsiteY4" fmla="*/ 171628 h 171628"/>
                <a:gd name="connsiteX5" fmla="*/ 94002 w 141696"/>
                <a:gd name="connsiteY5" fmla="*/ 171136 h 171628"/>
                <a:gd name="connsiteX6" fmla="*/ 92615 w 141696"/>
                <a:gd name="connsiteY6" fmla="*/ 119907 h 171628"/>
                <a:gd name="connsiteX7" fmla="*/ 88991 w 141696"/>
                <a:gd name="connsiteY7" fmla="*/ 89707 h 171628"/>
                <a:gd name="connsiteX8" fmla="*/ 25861 w 141696"/>
                <a:gd name="connsiteY8" fmla="*/ 91004 h 171628"/>
                <a:gd name="connsiteX9" fmla="*/ 0 w 141696"/>
                <a:gd name="connsiteY9" fmla="*/ 0 h 1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6" h="171628">
                  <a:moveTo>
                    <a:pt x="0" y="0"/>
                  </a:moveTo>
                  <a:cubicBezTo>
                    <a:pt x="5369" y="939"/>
                    <a:pt x="10604" y="2148"/>
                    <a:pt x="16062" y="3266"/>
                  </a:cubicBezTo>
                  <a:cubicBezTo>
                    <a:pt x="57582" y="11767"/>
                    <a:pt x="99908" y="15257"/>
                    <a:pt x="141696" y="22326"/>
                  </a:cubicBezTo>
                  <a:cubicBezTo>
                    <a:pt x="134985" y="43981"/>
                    <a:pt x="115836" y="64159"/>
                    <a:pt x="122055" y="88006"/>
                  </a:cubicBezTo>
                  <a:cubicBezTo>
                    <a:pt x="128184" y="115478"/>
                    <a:pt x="125052" y="143799"/>
                    <a:pt x="127692" y="171628"/>
                  </a:cubicBezTo>
                  <a:cubicBezTo>
                    <a:pt x="116417" y="171360"/>
                    <a:pt x="105187" y="171225"/>
                    <a:pt x="94002" y="171136"/>
                  </a:cubicBezTo>
                  <a:cubicBezTo>
                    <a:pt x="93599" y="154045"/>
                    <a:pt x="93689" y="136954"/>
                    <a:pt x="92615" y="119907"/>
                  </a:cubicBezTo>
                  <a:cubicBezTo>
                    <a:pt x="91631" y="109751"/>
                    <a:pt x="90288" y="99729"/>
                    <a:pt x="88991" y="89707"/>
                  </a:cubicBezTo>
                  <a:cubicBezTo>
                    <a:pt x="67962" y="89259"/>
                    <a:pt x="46800" y="88275"/>
                    <a:pt x="25861" y="91004"/>
                  </a:cubicBezTo>
                  <a:cubicBezTo>
                    <a:pt x="19507" y="60267"/>
                    <a:pt x="18836" y="26487"/>
                    <a:pt x="0" y="0"/>
                  </a:cubicBezTo>
                  <a:close/>
                </a:path>
              </a:pathLst>
            </a:custGeom>
            <a:solidFill>
              <a:srgbClr val="B9979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 name="Freeform: Shape 225">
              <a:extLst>
                <a:ext uri="{FF2B5EF4-FFF2-40B4-BE49-F238E27FC236}">
                  <a16:creationId xmlns:a16="http://schemas.microsoft.com/office/drawing/2014/main" id="{EA5D7C90-5614-FC3B-2366-CFC777F001A4}"/>
                </a:ext>
              </a:extLst>
            </p:cNvPr>
            <p:cNvSpPr/>
            <p:nvPr/>
          </p:nvSpPr>
          <p:spPr>
            <a:xfrm flipH="1">
              <a:off x="1820755" y="3860499"/>
              <a:ext cx="160366" cy="135830"/>
            </a:xfrm>
            <a:custGeom>
              <a:avLst/>
              <a:gdLst>
                <a:gd name="connsiteX0" fmla="*/ 69618 w 134446"/>
                <a:gd name="connsiteY0" fmla="*/ 647 h 113876"/>
                <a:gd name="connsiteX1" fmla="*/ 130242 w 134446"/>
                <a:gd name="connsiteY1" fmla="*/ 10804 h 113876"/>
                <a:gd name="connsiteX2" fmla="*/ 93823 w 134446"/>
                <a:gd name="connsiteY2" fmla="*/ 109682 h 113876"/>
                <a:gd name="connsiteX3" fmla="*/ 51721 w 134446"/>
                <a:gd name="connsiteY3" fmla="*/ 107266 h 113876"/>
                <a:gd name="connsiteX4" fmla="*/ 0 w 134446"/>
                <a:gd name="connsiteY4" fmla="*/ 53800 h 113876"/>
                <a:gd name="connsiteX5" fmla="*/ 69618 w 134446"/>
                <a:gd name="connsiteY5" fmla="*/ 647 h 113876"/>
                <a:gd name="connsiteX6" fmla="*/ 64696 w 134446"/>
                <a:gd name="connsiteY6" fmla="*/ 40109 h 113876"/>
                <a:gd name="connsiteX7" fmla="*/ 51005 w 134446"/>
                <a:gd name="connsiteY7" fmla="*/ 69863 h 113876"/>
                <a:gd name="connsiteX8" fmla="*/ 81787 w 134446"/>
                <a:gd name="connsiteY8" fmla="*/ 87043 h 113876"/>
                <a:gd name="connsiteX9" fmla="*/ 87022 w 134446"/>
                <a:gd name="connsiteY9" fmla="*/ 70489 h 113876"/>
                <a:gd name="connsiteX10" fmla="*/ 59461 w 134446"/>
                <a:gd name="connsiteY10" fmla="*/ 68520 h 113876"/>
                <a:gd name="connsiteX11" fmla="*/ 60177 w 134446"/>
                <a:gd name="connsiteY11" fmla="*/ 53442 h 113876"/>
                <a:gd name="connsiteX12" fmla="*/ 96060 w 134446"/>
                <a:gd name="connsiteY12" fmla="*/ 46507 h 113876"/>
                <a:gd name="connsiteX13" fmla="*/ 96060 w 134446"/>
                <a:gd name="connsiteY13" fmla="*/ 34069 h 113876"/>
                <a:gd name="connsiteX14" fmla="*/ 64696 w 134446"/>
                <a:gd name="connsiteY14" fmla="*/ 40109 h 11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446" h="113876">
                  <a:moveTo>
                    <a:pt x="69618" y="647"/>
                  </a:moveTo>
                  <a:cubicBezTo>
                    <a:pt x="90780" y="-3200"/>
                    <a:pt x="109303" y="11385"/>
                    <a:pt x="130242" y="10804"/>
                  </a:cubicBezTo>
                  <a:cubicBezTo>
                    <a:pt x="142591" y="47044"/>
                    <a:pt x="126931" y="90175"/>
                    <a:pt x="93823" y="109682"/>
                  </a:cubicBezTo>
                  <a:cubicBezTo>
                    <a:pt x="80445" y="117154"/>
                    <a:pt x="64696" y="113575"/>
                    <a:pt x="51721" y="107266"/>
                  </a:cubicBezTo>
                  <a:cubicBezTo>
                    <a:pt x="33019" y="90801"/>
                    <a:pt x="22102" y="66552"/>
                    <a:pt x="0" y="53800"/>
                  </a:cubicBezTo>
                  <a:cubicBezTo>
                    <a:pt x="21521" y="34427"/>
                    <a:pt x="37807" y="3511"/>
                    <a:pt x="69618" y="647"/>
                  </a:cubicBezTo>
                  <a:close/>
                  <a:moveTo>
                    <a:pt x="64696" y="40109"/>
                  </a:moveTo>
                  <a:cubicBezTo>
                    <a:pt x="56061" y="46865"/>
                    <a:pt x="45815" y="58051"/>
                    <a:pt x="51005" y="69863"/>
                  </a:cubicBezTo>
                  <a:cubicBezTo>
                    <a:pt x="58298" y="79750"/>
                    <a:pt x="70557" y="83464"/>
                    <a:pt x="81787" y="87043"/>
                  </a:cubicBezTo>
                  <a:cubicBezTo>
                    <a:pt x="83487" y="81495"/>
                    <a:pt x="85232" y="75992"/>
                    <a:pt x="87022" y="70489"/>
                  </a:cubicBezTo>
                  <a:cubicBezTo>
                    <a:pt x="78656" y="64091"/>
                    <a:pt x="68812" y="65970"/>
                    <a:pt x="59461" y="68520"/>
                  </a:cubicBezTo>
                  <a:cubicBezTo>
                    <a:pt x="57359" y="63599"/>
                    <a:pt x="55390" y="57603"/>
                    <a:pt x="60177" y="53442"/>
                  </a:cubicBezTo>
                  <a:cubicBezTo>
                    <a:pt x="68857" y="42391"/>
                    <a:pt x="83801" y="41362"/>
                    <a:pt x="96060" y="46507"/>
                  </a:cubicBezTo>
                  <a:lnTo>
                    <a:pt x="96060" y="34069"/>
                  </a:lnTo>
                  <a:cubicBezTo>
                    <a:pt x="85367" y="33846"/>
                    <a:pt x="73287" y="32190"/>
                    <a:pt x="64696" y="40109"/>
                  </a:cubicBezTo>
                  <a:close/>
                </a:path>
              </a:pathLst>
            </a:custGeom>
            <a:solidFill>
              <a:srgbClr val="F6B28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 name="Freeform: Shape 226">
              <a:extLst>
                <a:ext uri="{FF2B5EF4-FFF2-40B4-BE49-F238E27FC236}">
                  <a16:creationId xmlns:a16="http://schemas.microsoft.com/office/drawing/2014/main" id="{F9DBB677-64F4-D7C2-5731-21907AF57871}"/>
                </a:ext>
              </a:extLst>
            </p:cNvPr>
            <p:cNvSpPr/>
            <p:nvPr/>
          </p:nvSpPr>
          <p:spPr>
            <a:xfrm flipH="1">
              <a:off x="1278703" y="3856469"/>
              <a:ext cx="34902" cy="111323"/>
            </a:xfrm>
            <a:custGeom>
              <a:avLst/>
              <a:gdLst>
                <a:gd name="connsiteX0" fmla="*/ 3400 w 29260"/>
                <a:gd name="connsiteY0" fmla="*/ 0 h 93330"/>
                <a:gd name="connsiteX1" fmla="*/ 29261 w 29260"/>
                <a:gd name="connsiteY1" fmla="*/ 91004 h 93330"/>
                <a:gd name="connsiteX2" fmla="*/ 26039 w 29260"/>
                <a:gd name="connsiteY2" fmla="*/ 91586 h 93330"/>
                <a:gd name="connsiteX3" fmla="*/ 16017 w 29260"/>
                <a:gd name="connsiteY3" fmla="*/ 93331 h 93330"/>
                <a:gd name="connsiteX4" fmla="*/ 0 w 29260"/>
                <a:gd name="connsiteY4" fmla="*/ 6264 h 93330"/>
                <a:gd name="connsiteX5" fmla="*/ 3400 w 29260"/>
                <a:gd name="connsiteY5" fmla="*/ 0 h 9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60" h="93330">
                  <a:moveTo>
                    <a:pt x="3400" y="0"/>
                  </a:moveTo>
                  <a:cubicBezTo>
                    <a:pt x="22236" y="26487"/>
                    <a:pt x="22908" y="60267"/>
                    <a:pt x="29261" y="91004"/>
                  </a:cubicBezTo>
                  <a:lnTo>
                    <a:pt x="26039" y="91586"/>
                  </a:lnTo>
                  <a:cubicBezTo>
                    <a:pt x="23534" y="92033"/>
                    <a:pt x="18523" y="92883"/>
                    <a:pt x="16017" y="93331"/>
                  </a:cubicBezTo>
                  <a:cubicBezTo>
                    <a:pt x="13601" y="63891"/>
                    <a:pt x="10246" y="34138"/>
                    <a:pt x="0" y="6264"/>
                  </a:cubicBezTo>
                  <a:lnTo>
                    <a:pt x="3400" y="0"/>
                  </a:lnTo>
                  <a:close/>
                </a:path>
              </a:pathLst>
            </a:custGeom>
            <a:solidFill>
              <a:srgbClr val="EAF4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8" name="Freeform: Shape 227">
              <a:extLst>
                <a:ext uri="{FF2B5EF4-FFF2-40B4-BE49-F238E27FC236}">
                  <a16:creationId xmlns:a16="http://schemas.microsoft.com/office/drawing/2014/main" id="{7327CA47-DDD6-F46D-8B7D-223C820A7662}"/>
                </a:ext>
              </a:extLst>
            </p:cNvPr>
            <p:cNvSpPr/>
            <p:nvPr/>
          </p:nvSpPr>
          <p:spPr>
            <a:xfrm flipH="1">
              <a:off x="1221813" y="3866128"/>
              <a:ext cx="117140" cy="312090"/>
            </a:xfrm>
            <a:custGeom>
              <a:avLst/>
              <a:gdLst>
                <a:gd name="connsiteX0" fmla="*/ 0 w 98207"/>
                <a:gd name="connsiteY0" fmla="*/ 2192 h 261647"/>
                <a:gd name="connsiteX1" fmla="*/ 9306 w 98207"/>
                <a:gd name="connsiteY1" fmla="*/ 0 h 261647"/>
                <a:gd name="connsiteX2" fmla="*/ 28456 w 98207"/>
                <a:gd name="connsiteY2" fmla="*/ 86709 h 261647"/>
                <a:gd name="connsiteX3" fmla="*/ 37269 w 98207"/>
                <a:gd name="connsiteY3" fmla="*/ 85232 h 261647"/>
                <a:gd name="connsiteX4" fmla="*/ 47291 w 98207"/>
                <a:gd name="connsiteY4" fmla="*/ 83487 h 261647"/>
                <a:gd name="connsiteX5" fmla="*/ 27919 w 98207"/>
                <a:gd name="connsiteY5" fmla="*/ 91004 h 261647"/>
                <a:gd name="connsiteX6" fmla="*/ 28545 w 98207"/>
                <a:gd name="connsiteY6" fmla="*/ 108856 h 261647"/>
                <a:gd name="connsiteX7" fmla="*/ 98207 w 98207"/>
                <a:gd name="connsiteY7" fmla="*/ 110959 h 261647"/>
                <a:gd name="connsiteX8" fmla="*/ 25816 w 98207"/>
                <a:gd name="connsiteY8" fmla="*/ 110153 h 261647"/>
                <a:gd name="connsiteX9" fmla="*/ 25726 w 98207"/>
                <a:gd name="connsiteY9" fmla="*/ 165185 h 261647"/>
                <a:gd name="connsiteX10" fmla="*/ 45547 w 98207"/>
                <a:gd name="connsiteY10" fmla="*/ 165588 h 261647"/>
                <a:gd name="connsiteX11" fmla="*/ 32616 w 98207"/>
                <a:gd name="connsiteY11" fmla="*/ 167959 h 261647"/>
                <a:gd name="connsiteX12" fmla="*/ 32930 w 98207"/>
                <a:gd name="connsiteY12" fmla="*/ 176729 h 261647"/>
                <a:gd name="connsiteX13" fmla="*/ 31364 w 98207"/>
                <a:gd name="connsiteY13" fmla="*/ 257532 h 261647"/>
                <a:gd name="connsiteX14" fmla="*/ 23086 w 98207"/>
                <a:gd name="connsiteY14" fmla="*/ 252029 h 261647"/>
                <a:gd name="connsiteX15" fmla="*/ 12035 w 98207"/>
                <a:gd name="connsiteY15" fmla="*/ 261648 h 261647"/>
                <a:gd name="connsiteX16" fmla="*/ 10111 w 98207"/>
                <a:gd name="connsiteY16" fmla="*/ 245988 h 261647"/>
                <a:gd name="connsiteX17" fmla="*/ 12617 w 98207"/>
                <a:gd name="connsiteY17" fmla="*/ 85232 h 261647"/>
                <a:gd name="connsiteX18" fmla="*/ 671 w 98207"/>
                <a:gd name="connsiteY18" fmla="*/ 5279 h 261647"/>
                <a:gd name="connsiteX19" fmla="*/ 0 w 98207"/>
                <a:gd name="connsiteY19" fmla="*/ 2192 h 2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207" h="261647">
                  <a:moveTo>
                    <a:pt x="0" y="2192"/>
                  </a:moveTo>
                  <a:cubicBezTo>
                    <a:pt x="2326" y="1655"/>
                    <a:pt x="6980" y="537"/>
                    <a:pt x="9306" y="0"/>
                  </a:cubicBezTo>
                  <a:cubicBezTo>
                    <a:pt x="25413" y="25905"/>
                    <a:pt x="27069" y="57090"/>
                    <a:pt x="28456" y="86709"/>
                  </a:cubicBezTo>
                  <a:cubicBezTo>
                    <a:pt x="30648" y="86351"/>
                    <a:pt x="35077" y="85590"/>
                    <a:pt x="37269" y="85232"/>
                  </a:cubicBezTo>
                  <a:cubicBezTo>
                    <a:pt x="39775" y="84785"/>
                    <a:pt x="44786" y="83935"/>
                    <a:pt x="47291" y="83487"/>
                  </a:cubicBezTo>
                  <a:cubicBezTo>
                    <a:pt x="40715" y="85769"/>
                    <a:pt x="34272" y="88409"/>
                    <a:pt x="27919" y="91004"/>
                  </a:cubicBezTo>
                  <a:cubicBezTo>
                    <a:pt x="28053" y="95478"/>
                    <a:pt x="28411" y="104382"/>
                    <a:pt x="28545" y="108856"/>
                  </a:cubicBezTo>
                  <a:cubicBezTo>
                    <a:pt x="51766" y="108990"/>
                    <a:pt x="75031" y="109259"/>
                    <a:pt x="98207" y="110959"/>
                  </a:cubicBezTo>
                  <a:cubicBezTo>
                    <a:pt x="74092" y="109975"/>
                    <a:pt x="49931" y="109975"/>
                    <a:pt x="25816" y="110153"/>
                  </a:cubicBezTo>
                  <a:cubicBezTo>
                    <a:pt x="25234" y="128497"/>
                    <a:pt x="25145" y="146841"/>
                    <a:pt x="25726" y="165185"/>
                  </a:cubicBezTo>
                  <a:cubicBezTo>
                    <a:pt x="32303" y="165320"/>
                    <a:pt x="38880" y="165454"/>
                    <a:pt x="45547" y="165588"/>
                  </a:cubicBezTo>
                  <a:cubicBezTo>
                    <a:pt x="41162" y="166259"/>
                    <a:pt x="36867" y="167064"/>
                    <a:pt x="32616" y="167959"/>
                  </a:cubicBezTo>
                  <a:cubicBezTo>
                    <a:pt x="32661" y="170152"/>
                    <a:pt x="32840" y="174536"/>
                    <a:pt x="32930" y="176729"/>
                  </a:cubicBezTo>
                  <a:cubicBezTo>
                    <a:pt x="31856" y="203618"/>
                    <a:pt x="31990" y="230597"/>
                    <a:pt x="31364" y="257532"/>
                  </a:cubicBezTo>
                  <a:cubicBezTo>
                    <a:pt x="28545" y="255653"/>
                    <a:pt x="25816" y="253818"/>
                    <a:pt x="23086" y="252029"/>
                  </a:cubicBezTo>
                  <a:cubicBezTo>
                    <a:pt x="19373" y="255205"/>
                    <a:pt x="15660" y="258382"/>
                    <a:pt x="12035" y="261648"/>
                  </a:cubicBezTo>
                  <a:cubicBezTo>
                    <a:pt x="11275" y="256413"/>
                    <a:pt x="10514" y="251179"/>
                    <a:pt x="10111" y="245988"/>
                  </a:cubicBezTo>
                  <a:cubicBezTo>
                    <a:pt x="13646" y="192478"/>
                    <a:pt x="11051" y="138788"/>
                    <a:pt x="12617" y="85232"/>
                  </a:cubicBezTo>
                  <a:cubicBezTo>
                    <a:pt x="14541" y="58030"/>
                    <a:pt x="13870" y="29842"/>
                    <a:pt x="671" y="5279"/>
                  </a:cubicBezTo>
                  <a:lnTo>
                    <a:pt x="0" y="2192"/>
                  </a:lnTo>
                  <a:close/>
                </a:path>
              </a:pathLst>
            </a:custGeom>
            <a:solidFill>
              <a:srgbClr val="B6CA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 name="Freeform: Shape 228">
              <a:extLst>
                <a:ext uri="{FF2B5EF4-FFF2-40B4-BE49-F238E27FC236}">
                  <a16:creationId xmlns:a16="http://schemas.microsoft.com/office/drawing/2014/main" id="{52B868D2-53A9-1FC1-D9DA-22853336B6EA}"/>
                </a:ext>
              </a:extLst>
            </p:cNvPr>
            <p:cNvSpPr/>
            <p:nvPr/>
          </p:nvSpPr>
          <p:spPr>
            <a:xfrm flipH="1">
              <a:off x="1609722" y="3868048"/>
              <a:ext cx="271174" cy="376986"/>
            </a:xfrm>
            <a:custGeom>
              <a:avLst/>
              <a:gdLst>
                <a:gd name="connsiteX0" fmla="*/ 149839 w 227344"/>
                <a:gd name="connsiteY0" fmla="*/ 0 h 316053"/>
                <a:gd name="connsiteX1" fmla="*/ 201202 w 227344"/>
                <a:gd name="connsiteY1" fmla="*/ 78298 h 316053"/>
                <a:gd name="connsiteX2" fmla="*/ 206482 w 227344"/>
                <a:gd name="connsiteY2" fmla="*/ 40223 h 316053"/>
                <a:gd name="connsiteX3" fmla="*/ 211359 w 227344"/>
                <a:gd name="connsiteY3" fmla="*/ 70334 h 316053"/>
                <a:gd name="connsiteX4" fmla="*/ 227197 w 227344"/>
                <a:gd name="connsiteY4" fmla="*/ 91541 h 316053"/>
                <a:gd name="connsiteX5" fmla="*/ 208182 w 227344"/>
                <a:gd name="connsiteY5" fmla="*/ 134582 h 316053"/>
                <a:gd name="connsiteX6" fmla="*/ 212253 w 227344"/>
                <a:gd name="connsiteY6" fmla="*/ 153776 h 316053"/>
                <a:gd name="connsiteX7" fmla="*/ 170152 w 227344"/>
                <a:gd name="connsiteY7" fmla="*/ 199502 h 316053"/>
                <a:gd name="connsiteX8" fmla="*/ 121518 w 227344"/>
                <a:gd name="connsiteY8" fmla="*/ 269120 h 316053"/>
                <a:gd name="connsiteX9" fmla="*/ 83980 w 227344"/>
                <a:gd name="connsiteY9" fmla="*/ 271223 h 316053"/>
                <a:gd name="connsiteX10" fmla="*/ 77179 w 227344"/>
                <a:gd name="connsiteY10" fmla="*/ 304555 h 316053"/>
                <a:gd name="connsiteX11" fmla="*/ 50200 w 227344"/>
                <a:gd name="connsiteY11" fmla="*/ 316054 h 316053"/>
                <a:gd name="connsiteX12" fmla="*/ 716 w 227344"/>
                <a:gd name="connsiteY12" fmla="*/ 287643 h 316053"/>
                <a:gd name="connsiteX13" fmla="*/ 0 w 227344"/>
                <a:gd name="connsiteY13" fmla="*/ 282632 h 316053"/>
                <a:gd name="connsiteX14" fmla="*/ 81027 w 227344"/>
                <a:gd name="connsiteY14" fmla="*/ 232611 h 316053"/>
                <a:gd name="connsiteX15" fmla="*/ 164649 w 227344"/>
                <a:gd name="connsiteY15" fmla="*/ 146036 h 316053"/>
                <a:gd name="connsiteX16" fmla="*/ 181516 w 227344"/>
                <a:gd name="connsiteY16" fmla="*/ 55524 h 316053"/>
                <a:gd name="connsiteX17" fmla="*/ 149839 w 227344"/>
                <a:gd name="connsiteY17" fmla="*/ 0 h 31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7344" h="316053">
                  <a:moveTo>
                    <a:pt x="149839" y="0"/>
                  </a:moveTo>
                  <a:cubicBezTo>
                    <a:pt x="180532" y="14273"/>
                    <a:pt x="189435" y="49574"/>
                    <a:pt x="201202" y="78298"/>
                  </a:cubicBezTo>
                  <a:cubicBezTo>
                    <a:pt x="203260" y="65636"/>
                    <a:pt x="205497" y="53019"/>
                    <a:pt x="206482" y="40223"/>
                  </a:cubicBezTo>
                  <a:cubicBezTo>
                    <a:pt x="208137" y="50200"/>
                    <a:pt x="208451" y="60535"/>
                    <a:pt x="211359" y="70334"/>
                  </a:cubicBezTo>
                  <a:cubicBezTo>
                    <a:pt x="215833" y="77940"/>
                    <a:pt x="222320" y="84114"/>
                    <a:pt x="227197" y="91541"/>
                  </a:cubicBezTo>
                  <a:cubicBezTo>
                    <a:pt x="228897" y="108096"/>
                    <a:pt x="215430" y="120892"/>
                    <a:pt x="208182" y="134582"/>
                  </a:cubicBezTo>
                  <a:cubicBezTo>
                    <a:pt x="209659" y="140891"/>
                    <a:pt x="211493" y="147244"/>
                    <a:pt x="212253" y="153776"/>
                  </a:cubicBezTo>
                  <a:cubicBezTo>
                    <a:pt x="205855" y="174492"/>
                    <a:pt x="188764" y="189614"/>
                    <a:pt x="170152" y="199502"/>
                  </a:cubicBezTo>
                  <a:cubicBezTo>
                    <a:pt x="165857" y="229210"/>
                    <a:pt x="142457" y="249970"/>
                    <a:pt x="121518" y="269120"/>
                  </a:cubicBezTo>
                  <a:cubicBezTo>
                    <a:pt x="111138" y="279232"/>
                    <a:pt x="96328" y="272744"/>
                    <a:pt x="83980" y="271223"/>
                  </a:cubicBezTo>
                  <a:cubicBezTo>
                    <a:pt x="82146" y="282318"/>
                    <a:pt x="82458" y="294309"/>
                    <a:pt x="77179" y="304555"/>
                  </a:cubicBezTo>
                  <a:cubicBezTo>
                    <a:pt x="70378" y="312027"/>
                    <a:pt x="59372" y="313145"/>
                    <a:pt x="50200" y="316054"/>
                  </a:cubicBezTo>
                  <a:cubicBezTo>
                    <a:pt x="31767" y="310416"/>
                    <a:pt x="15973" y="299007"/>
                    <a:pt x="716" y="287643"/>
                  </a:cubicBezTo>
                  <a:lnTo>
                    <a:pt x="0" y="282632"/>
                  </a:lnTo>
                  <a:cubicBezTo>
                    <a:pt x="26219" y="264646"/>
                    <a:pt x="53556" y="248539"/>
                    <a:pt x="81027" y="232611"/>
                  </a:cubicBezTo>
                  <a:cubicBezTo>
                    <a:pt x="113643" y="209122"/>
                    <a:pt x="146036" y="182456"/>
                    <a:pt x="164649" y="146036"/>
                  </a:cubicBezTo>
                  <a:cubicBezTo>
                    <a:pt x="179055" y="118654"/>
                    <a:pt x="189749" y="86485"/>
                    <a:pt x="181516" y="55524"/>
                  </a:cubicBezTo>
                  <a:cubicBezTo>
                    <a:pt x="176953" y="34048"/>
                    <a:pt x="161964" y="17449"/>
                    <a:pt x="149839" y="0"/>
                  </a:cubicBezTo>
                  <a:close/>
                </a:path>
              </a:pathLst>
            </a:custGeom>
            <a:solidFill>
              <a:srgbClr val="BACE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 name="Freeform: Shape 229">
              <a:extLst>
                <a:ext uri="{FF2B5EF4-FFF2-40B4-BE49-F238E27FC236}">
                  <a16:creationId xmlns:a16="http://schemas.microsoft.com/office/drawing/2014/main" id="{1ED1E726-7D8B-3FBC-DC01-51E6118BF798}"/>
                </a:ext>
              </a:extLst>
            </p:cNvPr>
            <p:cNvSpPr/>
            <p:nvPr/>
          </p:nvSpPr>
          <p:spPr>
            <a:xfrm flipH="1">
              <a:off x="1322949" y="3872425"/>
              <a:ext cx="442568" cy="508962"/>
            </a:xfrm>
            <a:custGeom>
              <a:avLst/>
              <a:gdLst>
                <a:gd name="connsiteX0" fmla="*/ 358290 w 371036"/>
                <a:gd name="connsiteY0" fmla="*/ 0 h 426699"/>
                <a:gd name="connsiteX1" fmla="*/ 370236 w 371036"/>
                <a:gd name="connsiteY1" fmla="*/ 79953 h 426699"/>
                <a:gd name="connsiteX2" fmla="*/ 343525 w 371036"/>
                <a:gd name="connsiteY2" fmla="*/ 91183 h 426699"/>
                <a:gd name="connsiteX3" fmla="*/ 88454 w 371036"/>
                <a:gd name="connsiteY3" fmla="*/ 368983 h 426699"/>
                <a:gd name="connsiteX4" fmla="*/ 37001 w 371036"/>
                <a:gd name="connsiteY4" fmla="*/ 426699 h 426699"/>
                <a:gd name="connsiteX5" fmla="*/ 0 w 371036"/>
                <a:gd name="connsiteY5" fmla="*/ 412113 h 426699"/>
                <a:gd name="connsiteX6" fmla="*/ 18478 w 371036"/>
                <a:gd name="connsiteY6" fmla="*/ 401510 h 426699"/>
                <a:gd name="connsiteX7" fmla="*/ 273639 w 371036"/>
                <a:gd name="connsiteY7" fmla="*/ 124336 h 426699"/>
                <a:gd name="connsiteX8" fmla="*/ 358290 w 371036"/>
                <a:gd name="connsiteY8" fmla="*/ 0 h 42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36" h="426699">
                  <a:moveTo>
                    <a:pt x="358290" y="0"/>
                  </a:moveTo>
                  <a:cubicBezTo>
                    <a:pt x="371488" y="24563"/>
                    <a:pt x="372160" y="52750"/>
                    <a:pt x="370236" y="79953"/>
                  </a:cubicBezTo>
                  <a:cubicBezTo>
                    <a:pt x="359990" y="79729"/>
                    <a:pt x="350057" y="82951"/>
                    <a:pt x="343525" y="91183"/>
                  </a:cubicBezTo>
                  <a:cubicBezTo>
                    <a:pt x="258113" y="183440"/>
                    <a:pt x="174044" y="276905"/>
                    <a:pt x="88454" y="368983"/>
                  </a:cubicBezTo>
                  <a:cubicBezTo>
                    <a:pt x="71407" y="388311"/>
                    <a:pt x="52840" y="406342"/>
                    <a:pt x="37001" y="426699"/>
                  </a:cubicBezTo>
                  <a:cubicBezTo>
                    <a:pt x="25234" y="420480"/>
                    <a:pt x="12751" y="415648"/>
                    <a:pt x="0" y="412113"/>
                  </a:cubicBezTo>
                  <a:cubicBezTo>
                    <a:pt x="7293" y="410995"/>
                    <a:pt x="13512" y="406879"/>
                    <a:pt x="18478" y="401510"/>
                  </a:cubicBezTo>
                  <a:cubicBezTo>
                    <a:pt x="104785" y="310282"/>
                    <a:pt x="189435" y="217488"/>
                    <a:pt x="273639" y="124336"/>
                  </a:cubicBezTo>
                  <a:cubicBezTo>
                    <a:pt x="307329" y="87201"/>
                    <a:pt x="346567" y="50826"/>
                    <a:pt x="358290" y="0"/>
                  </a:cubicBezTo>
                  <a:close/>
                </a:path>
              </a:pathLst>
            </a:custGeom>
            <a:solidFill>
              <a:srgbClr val="CCD4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 name="Freeform: Shape 230">
              <a:extLst>
                <a:ext uri="{FF2B5EF4-FFF2-40B4-BE49-F238E27FC236}">
                  <a16:creationId xmlns:a16="http://schemas.microsoft.com/office/drawing/2014/main" id="{C70D0603-710A-76AD-BE4F-B18CFFF39A08}"/>
                </a:ext>
              </a:extLst>
            </p:cNvPr>
            <p:cNvSpPr/>
            <p:nvPr/>
          </p:nvSpPr>
          <p:spPr>
            <a:xfrm flipH="1">
              <a:off x="1765828" y="3890091"/>
              <a:ext cx="11323" cy="94673"/>
            </a:xfrm>
            <a:custGeom>
              <a:avLst/>
              <a:gdLst>
                <a:gd name="connsiteX0" fmla="*/ 0 w 9493"/>
                <a:gd name="connsiteY0" fmla="*/ 90 h 79371"/>
                <a:gd name="connsiteX1" fmla="*/ 4743 w 9493"/>
                <a:gd name="connsiteY1" fmla="*/ 0 h 79371"/>
                <a:gd name="connsiteX2" fmla="*/ 8904 w 9493"/>
                <a:gd name="connsiteY2" fmla="*/ 63667 h 79371"/>
                <a:gd name="connsiteX3" fmla="*/ 1119 w 9493"/>
                <a:gd name="connsiteY3" fmla="*/ 79371 h 79371"/>
                <a:gd name="connsiteX4" fmla="*/ 0 w 9493"/>
                <a:gd name="connsiteY4" fmla="*/ 90 h 79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3" h="79371">
                  <a:moveTo>
                    <a:pt x="0" y="90"/>
                  </a:moveTo>
                  <a:lnTo>
                    <a:pt x="4743" y="0"/>
                  </a:lnTo>
                  <a:cubicBezTo>
                    <a:pt x="7338" y="21073"/>
                    <a:pt x="10917" y="42370"/>
                    <a:pt x="8904" y="63667"/>
                  </a:cubicBezTo>
                  <a:cubicBezTo>
                    <a:pt x="9262" y="70110"/>
                    <a:pt x="5235" y="74987"/>
                    <a:pt x="1119" y="79371"/>
                  </a:cubicBezTo>
                  <a:cubicBezTo>
                    <a:pt x="-626" y="52974"/>
                    <a:pt x="492" y="26532"/>
                    <a:pt x="0" y="90"/>
                  </a:cubicBezTo>
                  <a:close/>
                </a:path>
              </a:pathLst>
            </a:custGeom>
            <a:solidFill>
              <a:srgbClr val="B8C7E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2" name="Freeform: Shape 231">
              <a:extLst>
                <a:ext uri="{FF2B5EF4-FFF2-40B4-BE49-F238E27FC236}">
                  <a16:creationId xmlns:a16="http://schemas.microsoft.com/office/drawing/2014/main" id="{9E187DCD-C75E-35F1-94D4-6C709D006C4D}"/>
                </a:ext>
              </a:extLst>
            </p:cNvPr>
            <p:cNvSpPr/>
            <p:nvPr/>
          </p:nvSpPr>
          <p:spPr>
            <a:xfrm flipH="1">
              <a:off x="1866542" y="3900786"/>
              <a:ext cx="55414" cy="63536"/>
            </a:xfrm>
            <a:custGeom>
              <a:avLst/>
              <a:gdLst>
                <a:gd name="connsiteX0" fmla="*/ 15095 w 46458"/>
                <a:gd name="connsiteY0" fmla="*/ 6334 h 53267"/>
                <a:gd name="connsiteX1" fmla="*/ 46458 w 46458"/>
                <a:gd name="connsiteY1" fmla="*/ 294 h 53267"/>
                <a:gd name="connsiteX2" fmla="*/ 46458 w 46458"/>
                <a:gd name="connsiteY2" fmla="*/ 12732 h 53267"/>
                <a:gd name="connsiteX3" fmla="*/ 10576 w 46458"/>
                <a:gd name="connsiteY3" fmla="*/ 19667 h 53267"/>
                <a:gd name="connsiteX4" fmla="*/ 9860 w 46458"/>
                <a:gd name="connsiteY4" fmla="*/ 34745 h 53267"/>
                <a:gd name="connsiteX5" fmla="*/ 37421 w 46458"/>
                <a:gd name="connsiteY5" fmla="*/ 36714 h 53267"/>
                <a:gd name="connsiteX6" fmla="*/ 32186 w 46458"/>
                <a:gd name="connsiteY6" fmla="*/ 53268 h 53267"/>
                <a:gd name="connsiteX7" fmla="*/ 1404 w 46458"/>
                <a:gd name="connsiteY7" fmla="*/ 36087 h 53267"/>
                <a:gd name="connsiteX8" fmla="*/ 15095 w 46458"/>
                <a:gd name="connsiteY8" fmla="*/ 6334 h 5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8" h="53267">
                  <a:moveTo>
                    <a:pt x="15095" y="6334"/>
                  </a:moveTo>
                  <a:cubicBezTo>
                    <a:pt x="23685" y="-1585"/>
                    <a:pt x="35765" y="70"/>
                    <a:pt x="46458" y="294"/>
                  </a:cubicBezTo>
                  <a:lnTo>
                    <a:pt x="46458" y="12732"/>
                  </a:lnTo>
                  <a:cubicBezTo>
                    <a:pt x="34199" y="7587"/>
                    <a:pt x="19256" y="8616"/>
                    <a:pt x="10576" y="19667"/>
                  </a:cubicBezTo>
                  <a:cubicBezTo>
                    <a:pt x="5789" y="23828"/>
                    <a:pt x="7757" y="29823"/>
                    <a:pt x="9860" y="34745"/>
                  </a:cubicBezTo>
                  <a:cubicBezTo>
                    <a:pt x="19211" y="32195"/>
                    <a:pt x="29054" y="30316"/>
                    <a:pt x="37421" y="36714"/>
                  </a:cubicBezTo>
                  <a:cubicBezTo>
                    <a:pt x="35631" y="42217"/>
                    <a:pt x="33886" y="47720"/>
                    <a:pt x="32186" y="53268"/>
                  </a:cubicBezTo>
                  <a:cubicBezTo>
                    <a:pt x="20956" y="49688"/>
                    <a:pt x="8697" y="45975"/>
                    <a:pt x="1404" y="36087"/>
                  </a:cubicBezTo>
                  <a:cubicBezTo>
                    <a:pt x="-3786" y="24275"/>
                    <a:pt x="6460" y="13090"/>
                    <a:pt x="15095" y="6334"/>
                  </a:cubicBezTo>
                  <a:close/>
                </a:path>
              </a:pathLst>
            </a:custGeom>
            <a:solidFill>
              <a:srgbClr val="C1868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3" name="Freeform: Shape 232">
              <a:extLst>
                <a:ext uri="{FF2B5EF4-FFF2-40B4-BE49-F238E27FC236}">
                  <a16:creationId xmlns:a16="http://schemas.microsoft.com/office/drawing/2014/main" id="{26B1E489-9D52-632E-89AE-D90C19EC05FD}"/>
                </a:ext>
              </a:extLst>
            </p:cNvPr>
            <p:cNvSpPr/>
            <p:nvPr/>
          </p:nvSpPr>
          <p:spPr>
            <a:xfrm flipH="1">
              <a:off x="1997738" y="3926029"/>
              <a:ext cx="81348" cy="104999"/>
            </a:xfrm>
            <a:custGeom>
              <a:avLst/>
              <a:gdLst>
                <a:gd name="connsiteX0" fmla="*/ 26740 w 68200"/>
                <a:gd name="connsiteY0" fmla="*/ 3381 h 88028"/>
                <a:gd name="connsiteX1" fmla="*/ 65218 w 68200"/>
                <a:gd name="connsiteY1" fmla="*/ 20562 h 88028"/>
                <a:gd name="connsiteX2" fmla="*/ 47724 w 68200"/>
                <a:gd name="connsiteY2" fmla="*/ 83110 h 88028"/>
                <a:gd name="connsiteX3" fmla="*/ 2132 w 68200"/>
                <a:gd name="connsiteY3" fmla="*/ 69330 h 88028"/>
                <a:gd name="connsiteX4" fmla="*/ 26740 w 68200"/>
                <a:gd name="connsiteY4" fmla="*/ 3381 h 88028"/>
                <a:gd name="connsiteX5" fmla="*/ 35420 w 68200"/>
                <a:gd name="connsiteY5" fmla="*/ 21815 h 88028"/>
                <a:gd name="connsiteX6" fmla="*/ 18911 w 68200"/>
                <a:gd name="connsiteY6" fmla="*/ 62708 h 88028"/>
                <a:gd name="connsiteX7" fmla="*/ 45487 w 68200"/>
                <a:gd name="connsiteY7" fmla="*/ 52865 h 88028"/>
                <a:gd name="connsiteX8" fmla="*/ 35420 w 68200"/>
                <a:gd name="connsiteY8" fmla="*/ 21815 h 8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0" h="88028">
                  <a:moveTo>
                    <a:pt x="26740" y="3381"/>
                  </a:moveTo>
                  <a:cubicBezTo>
                    <a:pt x="41684" y="-5880"/>
                    <a:pt x="60252" y="5216"/>
                    <a:pt x="65218" y="20562"/>
                  </a:cubicBezTo>
                  <a:cubicBezTo>
                    <a:pt x="71840" y="41903"/>
                    <a:pt x="68037" y="70314"/>
                    <a:pt x="47724" y="83110"/>
                  </a:cubicBezTo>
                  <a:cubicBezTo>
                    <a:pt x="32646" y="93088"/>
                    <a:pt x="7770" y="87585"/>
                    <a:pt x="2132" y="69330"/>
                  </a:cubicBezTo>
                  <a:cubicBezTo>
                    <a:pt x="-4310" y="45304"/>
                    <a:pt x="3833" y="15640"/>
                    <a:pt x="26740" y="3381"/>
                  </a:cubicBezTo>
                  <a:close/>
                  <a:moveTo>
                    <a:pt x="35420" y="21815"/>
                  </a:moveTo>
                  <a:cubicBezTo>
                    <a:pt x="17568" y="24544"/>
                    <a:pt x="13497" y="48436"/>
                    <a:pt x="18911" y="62708"/>
                  </a:cubicBezTo>
                  <a:cubicBezTo>
                    <a:pt x="26606" y="74028"/>
                    <a:pt x="45263" y="65661"/>
                    <a:pt x="45487" y="52865"/>
                  </a:cubicBezTo>
                  <a:cubicBezTo>
                    <a:pt x="47187" y="42575"/>
                    <a:pt x="51169" y="21591"/>
                    <a:pt x="35420" y="21815"/>
                  </a:cubicBezTo>
                  <a:close/>
                </a:path>
              </a:pathLst>
            </a:custGeom>
            <a:solidFill>
              <a:srgbClr val="9AD1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4" name="Freeform: Shape 233">
              <a:extLst>
                <a:ext uri="{FF2B5EF4-FFF2-40B4-BE49-F238E27FC236}">
                  <a16:creationId xmlns:a16="http://schemas.microsoft.com/office/drawing/2014/main" id="{C61BECF1-60A9-230D-EDC3-14AA25A894ED}"/>
                </a:ext>
              </a:extLst>
            </p:cNvPr>
            <p:cNvSpPr/>
            <p:nvPr/>
          </p:nvSpPr>
          <p:spPr>
            <a:xfrm flipH="1">
              <a:off x="1730644" y="3923284"/>
              <a:ext cx="11925" cy="65054"/>
            </a:xfrm>
            <a:custGeom>
              <a:avLst/>
              <a:gdLst>
                <a:gd name="connsiteX0" fmla="*/ 0 w 9997"/>
                <a:gd name="connsiteY0" fmla="*/ 54540 h 54539"/>
                <a:gd name="connsiteX1" fmla="*/ 7919 w 9997"/>
                <a:gd name="connsiteY1" fmla="*/ 0 h 54539"/>
                <a:gd name="connsiteX2" fmla="*/ 0 w 9997"/>
                <a:gd name="connsiteY2" fmla="*/ 54540 h 54539"/>
              </a:gdLst>
              <a:ahLst/>
              <a:cxnLst>
                <a:cxn ang="0">
                  <a:pos x="connsiteX0" y="connsiteY0"/>
                </a:cxn>
                <a:cxn ang="0">
                  <a:pos x="connsiteX1" y="connsiteY1"/>
                </a:cxn>
                <a:cxn ang="0">
                  <a:pos x="connsiteX2" y="connsiteY2"/>
                </a:cxn>
              </a:cxnLst>
              <a:rect l="l" t="t" r="r" b="b"/>
              <a:pathLst>
                <a:path w="9997" h="54539">
                  <a:moveTo>
                    <a:pt x="0" y="54540"/>
                  </a:moveTo>
                  <a:cubicBezTo>
                    <a:pt x="1387" y="36375"/>
                    <a:pt x="-2237" y="16062"/>
                    <a:pt x="7919" y="0"/>
                  </a:cubicBezTo>
                  <a:cubicBezTo>
                    <a:pt x="11588" y="17986"/>
                    <a:pt x="11230" y="39194"/>
                    <a:pt x="0" y="54540"/>
                  </a:cubicBezTo>
                  <a:close/>
                </a:path>
              </a:pathLst>
            </a:custGeom>
            <a:solidFill>
              <a:srgbClr val="BCC9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 name="Freeform: Shape 234">
              <a:extLst>
                <a:ext uri="{FF2B5EF4-FFF2-40B4-BE49-F238E27FC236}">
                  <a16:creationId xmlns:a16="http://schemas.microsoft.com/office/drawing/2014/main" id="{DCD449A6-4B20-E596-BB38-D25FF6DAAC5B}"/>
                </a:ext>
              </a:extLst>
            </p:cNvPr>
            <p:cNvSpPr/>
            <p:nvPr/>
          </p:nvSpPr>
          <p:spPr>
            <a:xfrm flipH="1">
              <a:off x="1813000" y="3930435"/>
              <a:ext cx="17893" cy="64201"/>
            </a:xfrm>
            <a:custGeom>
              <a:avLst/>
              <a:gdLst>
                <a:gd name="connsiteX0" fmla="*/ 11543 w 15001"/>
                <a:gd name="connsiteY0" fmla="*/ 0 h 53824"/>
                <a:gd name="connsiteX1" fmla="*/ 0 w 15001"/>
                <a:gd name="connsiteY1" fmla="*/ 53824 h 53824"/>
                <a:gd name="connsiteX2" fmla="*/ 11543 w 15001"/>
                <a:gd name="connsiteY2" fmla="*/ 0 h 53824"/>
              </a:gdLst>
              <a:ahLst/>
              <a:cxnLst>
                <a:cxn ang="0">
                  <a:pos x="connsiteX0" y="connsiteY0"/>
                </a:cxn>
                <a:cxn ang="0">
                  <a:pos x="connsiteX1" y="connsiteY1"/>
                </a:cxn>
                <a:cxn ang="0">
                  <a:pos x="connsiteX2" y="connsiteY2"/>
                </a:cxn>
              </a:cxnLst>
              <a:rect l="l" t="t" r="r" b="b"/>
              <a:pathLst>
                <a:path w="15001" h="53824">
                  <a:moveTo>
                    <a:pt x="11543" y="0"/>
                  </a:moveTo>
                  <a:cubicBezTo>
                    <a:pt x="17852" y="17897"/>
                    <a:pt x="16376" y="41699"/>
                    <a:pt x="0" y="53824"/>
                  </a:cubicBezTo>
                  <a:cubicBezTo>
                    <a:pt x="5459" y="36240"/>
                    <a:pt x="9083" y="18210"/>
                    <a:pt x="11543" y="0"/>
                  </a:cubicBezTo>
                  <a:close/>
                </a:path>
              </a:pathLst>
            </a:custGeom>
            <a:solidFill>
              <a:srgbClr val="C7CC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6" name="Freeform: Shape 235">
              <a:extLst>
                <a:ext uri="{FF2B5EF4-FFF2-40B4-BE49-F238E27FC236}">
                  <a16:creationId xmlns:a16="http://schemas.microsoft.com/office/drawing/2014/main" id="{E194D62B-61A3-F4EE-5DD1-19F2FF0AC31D}"/>
                </a:ext>
              </a:extLst>
            </p:cNvPr>
            <p:cNvSpPr/>
            <p:nvPr/>
          </p:nvSpPr>
          <p:spPr>
            <a:xfrm flipH="1">
              <a:off x="1954644" y="4006517"/>
              <a:ext cx="10448" cy="18964"/>
            </a:xfrm>
            <a:custGeom>
              <a:avLst/>
              <a:gdLst>
                <a:gd name="connsiteX0" fmla="*/ 2311 w 8759"/>
                <a:gd name="connsiteY0" fmla="*/ 16 h 15899"/>
                <a:gd name="connsiteX1" fmla="*/ 5086 w 8759"/>
                <a:gd name="connsiteY1" fmla="*/ 15900 h 15899"/>
                <a:gd name="connsiteX2" fmla="*/ 2311 w 8759"/>
                <a:gd name="connsiteY2" fmla="*/ 16 h 15899"/>
              </a:gdLst>
              <a:ahLst/>
              <a:cxnLst>
                <a:cxn ang="0">
                  <a:pos x="connsiteX0" y="connsiteY0"/>
                </a:cxn>
                <a:cxn ang="0">
                  <a:pos x="connsiteX1" y="connsiteY1"/>
                </a:cxn>
                <a:cxn ang="0">
                  <a:pos x="connsiteX2" y="connsiteY2"/>
                </a:cxn>
              </a:cxnLst>
              <a:rect l="l" t="t" r="r" b="b"/>
              <a:pathLst>
                <a:path w="8759" h="15899">
                  <a:moveTo>
                    <a:pt x="2311" y="16"/>
                  </a:moveTo>
                  <a:cubicBezTo>
                    <a:pt x="8307" y="-565"/>
                    <a:pt x="11841" y="14468"/>
                    <a:pt x="5086" y="15900"/>
                  </a:cubicBezTo>
                  <a:cubicBezTo>
                    <a:pt x="-820" y="13439"/>
                    <a:pt x="-1357" y="4446"/>
                    <a:pt x="2311" y="16"/>
                  </a:cubicBezTo>
                  <a:close/>
                </a:path>
              </a:pathLst>
            </a:custGeom>
            <a:solidFill>
              <a:srgbClr val="AFA9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 name="Freeform: Shape 236">
              <a:extLst>
                <a:ext uri="{FF2B5EF4-FFF2-40B4-BE49-F238E27FC236}">
                  <a16:creationId xmlns:a16="http://schemas.microsoft.com/office/drawing/2014/main" id="{37032F5E-7B00-4057-4682-FEE43C191776}"/>
                </a:ext>
              </a:extLst>
            </p:cNvPr>
            <p:cNvSpPr/>
            <p:nvPr/>
          </p:nvSpPr>
          <p:spPr>
            <a:xfrm flipH="1">
              <a:off x="1846370" y="3996930"/>
              <a:ext cx="117941" cy="61935"/>
            </a:xfrm>
            <a:custGeom>
              <a:avLst/>
              <a:gdLst>
                <a:gd name="connsiteX0" fmla="*/ 25413 w 98878"/>
                <a:gd name="connsiteY0" fmla="*/ 0 h 51925"/>
                <a:gd name="connsiteX1" fmla="*/ 53287 w 98878"/>
                <a:gd name="connsiteY1" fmla="*/ 8277 h 51925"/>
                <a:gd name="connsiteX2" fmla="*/ 93599 w 98878"/>
                <a:gd name="connsiteY2" fmla="*/ 39328 h 51925"/>
                <a:gd name="connsiteX3" fmla="*/ 98879 w 98878"/>
                <a:gd name="connsiteY3" fmla="*/ 37985 h 51925"/>
                <a:gd name="connsiteX4" fmla="*/ 97715 w 98878"/>
                <a:gd name="connsiteY4" fmla="*/ 48589 h 51925"/>
                <a:gd name="connsiteX5" fmla="*/ 0 w 98878"/>
                <a:gd name="connsiteY5" fmla="*/ 49260 h 51925"/>
                <a:gd name="connsiteX6" fmla="*/ 22818 w 98878"/>
                <a:gd name="connsiteY6" fmla="*/ 27695 h 51925"/>
                <a:gd name="connsiteX7" fmla="*/ 25413 w 98878"/>
                <a:gd name="connsiteY7" fmla="*/ 0 h 5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878" h="51925">
                  <a:moveTo>
                    <a:pt x="25413" y="0"/>
                  </a:moveTo>
                  <a:cubicBezTo>
                    <a:pt x="34719" y="2550"/>
                    <a:pt x="44026" y="5369"/>
                    <a:pt x="53287" y="8277"/>
                  </a:cubicBezTo>
                  <a:cubicBezTo>
                    <a:pt x="68992" y="15167"/>
                    <a:pt x="91049" y="18926"/>
                    <a:pt x="93599" y="39328"/>
                  </a:cubicBezTo>
                  <a:cubicBezTo>
                    <a:pt x="94942" y="39014"/>
                    <a:pt x="97581" y="38299"/>
                    <a:pt x="98879" y="37985"/>
                  </a:cubicBezTo>
                  <a:cubicBezTo>
                    <a:pt x="98610" y="40625"/>
                    <a:pt x="98029" y="45949"/>
                    <a:pt x="97715" y="48589"/>
                  </a:cubicBezTo>
                  <a:cubicBezTo>
                    <a:pt x="65681" y="56643"/>
                    <a:pt x="32527" y="47336"/>
                    <a:pt x="0" y="49260"/>
                  </a:cubicBezTo>
                  <a:cubicBezTo>
                    <a:pt x="7696" y="42191"/>
                    <a:pt x="15570" y="35256"/>
                    <a:pt x="22818" y="27695"/>
                  </a:cubicBezTo>
                  <a:cubicBezTo>
                    <a:pt x="24295" y="18523"/>
                    <a:pt x="24608" y="9172"/>
                    <a:pt x="25413" y="0"/>
                  </a:cubicBezTo>
                  <a:close/>
                </a:path>
              </a:pathLst>
            </a:custGeom>
            <a:solidFill>
              <a:srgbClr val="F7B5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 name="Freeform: Shape 237">
              <a:extLst>
                <a:ext uri="{FF2B5EF4-FFF2-40B4-BE49-F238E27FC236}">
                  <a16:creationId xmlns:a16="http://schemas.microsoft.com/office/drawing/2014/main" id="{402FC16E-DF1F-9C70-7376-7A833F64EC8F}"/>
                </a:ext>
              </a:extLst>
            </p:cNvPr>
            <p:cNvSpPr/>
            <p:nvPr/>
          </p:nvSpPr>
          <p:spPr>
            <a:xfrm flipH="1">
              <a:off x="1843807" y="4006803"/>
              <a:ext cx="56942" cy="37037"/>
            </a:xfrm>
            <a:custGeom>
              <a:avLst/>
              <a:gdLst>
                <a:gd name="connsiteX0" fmla="*/ 0 w 47739"/>
                <a:gd name="connsiteY0" fmla="*/ 0 h 31050"/>
                <a:gd name="connsiteX1" fmla="*/ 47739 w 47739"/>
                <a:gd name="connsiteY1" fmla="*/ 0 h 31050"/>
                <a:gd name="connsiteX2" fmla="*/ 45592 w 47739"/>
                <a:gd name="connsiteY2" fmla="*/ 29708 h 31050"/>
                <a:gd name="connsiteX3" fmla="*/ 40312 w 47739"/>
                <a:gd name="connsiteY3" fmla="*/ 31051 h 31050"/>
                <a:gd name="connsiteX4" fmla="*/ 0 w 47739"/>
                <a:gd name="connsiteY4" fmla="*/ 0 h 3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39" h="31050">
                  <a:moveTo>
                    <a:pt x="0" y="0"/>
                  </a:moveTo>
                  <a:cubicBezTo>
                    <a:pt x="15883" y="1297"/>
                    <a:pt x="31856" y="626"/>
                    <a:pt x="47739" y="0"/>
                  </a:cubicBezTo>
                  <a:cubicBezTo>
                    <a:pt x="46979" y="9888"/>
                    <a:pt x="46307" y="19776"/>
                    <a:pt x="45592" y="29708"/>
                  </a:cubicBezTo>
                  <a:cubicBezTo>
                    <a:pt x="44294" y="30022"/>
                    <a:pt x="41654" y="30737"/>
                    <a:pt x="40312" y="31051"/>
                  </a:cubicBezTo>
                  <a:cubicBezTo>
                    <a:pt x="37762" y="10648"/>
                    <a:pt x="15704" y="6890"/>
                    <a:pt x="0" y="0"/>
                  </a:cubicBezTo>
                  <a:close/>
                </a:path>
              </a:pathLst>
            </a:custGeom>
            <a:solidFill>
              <a:srgbClr val="E1A8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 name="Freeform: Shape 238">
              <a:extLst>
                <a:ext uri="{FF2B5EF4-FFF2-40B4-BE49-F238E27FC236}">
                  <a16:creationId xmlns:a16="http://schemas.microsoft.com/office/drawing/2014/main" id="{92147B6F-BEAC-0783-FEDD-5EB810E526AA}"/>
                </a:ext>
              </a:extLst>
            </p:cNvPr>
            <p:cNvSpPr/>
            <p:nvPr/>
          </p:nvSpPr>
          <p:spPr>
            <a:xfrm flipH="1">
              <a:off x="1964151" y="4068443"/>
              <a:ext cx="152523" cy="61158"/>
            </a:xfrm>
            <a:custGeom>
              <a:avLst/>
              <a:gdLst>
                <a:gd name="connsiteX0" fmla="*/ 42728 w 127871"/>
                <a:gd name="connsiteY0" fmla="*/ 0 h 51273"/>
                <a:gd name="connsiteX1" fmla="*/ 93375 w 127871"/>
                <a:gd name="connsiteY1" fmla="*/ 626 h 51273"/>
                <a:gd name="connsiteX2" fmla="*/ 115478 w 127871"/>
                <a:gd name="connsiteY2" fmla="*/ 24250 h 51273"/>
                <a:gd name="connsiteX3" fmla="*/ 127871 w 127871"/>
                <a:gd name="connsiteY3" fmla="*/ 39417 h 51273"/>
                <a:gd name="connsiteX4" fmla="*/ 124337 w 127871"/>
                <a:gd name="connsiteY4" fmla="*/ 49260 h 51273"/>
                <a:gd name="connsiteX5" fmla="*/ 117267 w 127871"/>
                <a:gd name="connsiteY5" fmla="*/ 51274 h 51273"/>
                <a:gd name="connsiteX6" fmla="*/ 0 w 127871"/>
                <a:gd name="connsiteY6" fmla="*/ 43534 h 51273"/>
                <a:gd name="connsiteX7" fmla="*/ 71989 w 127871"/>
                <a:gd name="connsiteY7" fmla="*/ 40894 h 51273"/>
                <a:gd name="connsiteX8" fmla="*/ 122771 w 127871"/>
                <a:gd name="connsiteY8" fmla="*/ 40312 h 51273"/>
                <a:gd name="connsiteX9" fmla="*/ 42728 w 127871"/>
                <a:gd name="connsiteY9" fmla="*/ 0 h 5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871" h="51273">
                  <a:moveTo>
                    <a:pt x="42728" y="0"/>
                  </a:moveTo>
                  <a:cubicBezTo>
                    <a:pt x="59596" y="90"/>
                    <a:pt x="76463" y="805"/>
                    <a:pt x="93375" y="626"/>
                  </a:cubicBezTo>
                  <a:cubicBezTo>
                    <a:pt x="100982" y="8233"/>
                    <a:pt x="108543" y="15928"/>
                    <a:pt x="115478" y="24250"/>
                  </a:cubicBezTo>
                  <a:cubicBezTo>
                    <a:pt x="119505" y="29261"/>
                    <a:pt x="123576" y="34496"/>
                    <a:pt x="127871" y="39417"/>
                  </a:cubicBezTo>
                  <a:cubicBezTo>
                    <a:pt x="126976" y="41878"/>
                    <a:pt x="125231" y="46800"/>
                    <a:pt x="124337" y="49260"/>
                  </a:cubicBezTo>
                  <a:cubicBezTo>
                    <a:pt x="122592" y="49797"/>
                    <a:pt x="119057" y="50782"/>
                    <a:pt x="117267" y="51274"/>
                  </a:cubicBezTo>
                  <a:cubicBezTo>
                    <a:pt x="78208" y="49126"/>
                    <a:pt x="37941" y="55480"/>
                    <a:pt x="0" y="43534"/>
                  </a:cubicBezTo>
                  <a:cubicBezTo>
                    <a:pt x="22908" y="33198"/>
                    <a:pt x="47963" y="42997"/>
                    <a:pt x="71989" y="40894"/>
                  </a:cubicBezTo>
                  <a:cubicBezTo>
                    <a:pt x="88812" y="42549"/>
                    <a:pt x="106932" y="49752"/>
                    <a:pt x="122771" y="40312"/>
                  </a:cubicBezTo>
                  <a:cubicBezTo>
                    <a:pt x="96865" y="25234"/>
                    <a:pt x="66396" y="19194"/>
                    <a:pt x="42728" y="0"/>
                  </a:cubicBezTo>
                  <a:close/>
                </a:path>
              </a:pathLst>
            </a:custGeom>
            <a:solidFill>
              <a:srgbClr val="C5E2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Freeform: Shape 239">
              <a:extLst>
                <a:ext uri="{FF2B5EF4-FFF2-40B4-BE49-F238E27FC236}">
                  <a16:creationId xmlns:a16="http://schemas.microsoft.com/office/drawing/2014/main" id="{20BF7D6E-5923-E728-C636-ABFB9D2057B3}"/>
                </a:ext>
              </a:extLst>
            </p:cNvPr>
            <p:cNvSpPr/>
            <p:nvPr/>
          </p:nvSpPr>
          <p:spPr>
            <a:xfrm flipH="1">
              <a:off x="1859765" y="4065924"/>
              <a:ext cx="145533" cy="41050"/>
            </a:xfrm>
            <a:custGeom>
              <a:avLst/>
              <a:gdLst>
                <a:gd name="connsiteX0" fmla="*/ 0 w 122010"/>
                <a:gd name="connsiteY0" fmla="*/ 2738 h 34415"/>
                <a:gd name="connsiteX1" fmla="*/ 48052 w 122010"/>
                <a:gd name="connsiteY1" fmla="*/ 9 h 34415"/>
                <a:gd name="connsiteX2" fmla="*/ 109751 w 122010"/>
                <a:gd name="connsiteY2" fmla="*/ 1575 h 34415"/>
                <a:gd name="connsiteX3" fmla="*/ 122010 w 122010"/>
                <a:gd name="connsiteY3" fmla="*/ 6989 h 34415"/>
                <a:gd name="connsiteX4" fmla="*/ 100489 w 122010"/>
                <a:gd name="connsiteY4" fmla="*/ 34415 h 34415"/>
                <a:gd name="connsiteX5" fmla="*/ 22102 w 122010"/>
                <a:gd name="connsiteY5" fmla="*/ 26362 h 34415"/>
                <a:gd name="connsiteX6" fmla="*/ 0 w 122010"/>
                <a:gd name="connsiteY6" fmla="*/ 2738 h 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10" h="34415">
                  <a:moveTo>
                    <a:pt x="0" y="2738"/>
                  </a:moveTo>
                  <a:cubicBezTo>
                    <a:pt x="16018" y="2291"/>
                    <a:pt x="31945" y="-170"/>
                    <a:pt x="48052" y="9"/>
                  </a:cubicBezTo>
                  <a:cubicBezTo>
                    <a:pt x="68634" y="-80"/>
                    <a:pt x="89125" y="3678"/>
                    <a:pt x="109751" y="1575"/>
                  </a:cubicBezTo>
                  <a:cubicBezTo>
                    <a:pt x="112793" y="2962"/>
                    <a:pt x="118968" y="5647"/>
                    <a:pt x="122010" y="6989"/>
                  </a:cubicBezTo>
                  <a:cubicBezTo>
                    <a:pt x="115702" y="16787"/>
                    <a:pt x="108319" y="25825"/>
                    <a:pt x="100489" y="34415"/>
                  </a:cubicBezTo>
                  <a:cubicBezTo>
                    <a:pt x="76508" y="21888"/>
                    <a:pt x="48187" y="25780"/>
                    <a:pt x="22102" y="26362"/>
                  </a:cubicBezTo>
                  <a:cubicBezTo>
                    <a:pt x="15167" y="18040"/>
                    <a:pt x="7606" y="10345"/>
                    <a:pt x="0" y="2738"/>
                  </a:cubicBezTo>
                  <a:close/>
                </a:path>
              </a:pathLst>
            </a:custGeom>
            <a:solidFill>
              <a:srgbClr val="F5A9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 name="Freeform: Shape 240">
              <a:extLst>
                <a:ext uri="{FF2B5EF4-FFF2-40B4-BE49-F238E27FC236}">
                  <a16:creationId xmlns:a16="http://schemas.microsoft.com/office/drawing/2014/main" id="{F4898004-DF8F-F7AC-4847-1E87ECC3E89B}"/>
                </a:ext>
              </a:extLst>
            </p:cNvPr>
            <p:cNvSpPr/>
            <p:nvPr/>
          </p:nvSpPr>
          <p:spPr>
            <a:xfrm flipH="1">
              <a:off x="1847146" y="4071752"/>
              <a:ext cx="18916" cy="76796"/>
            </a:xfrm>
            <a:custGeom>
              <a:avLst/>
              <a:gdLst>
                <a:gd name="connsiteX0" fmla="*/ 0 w 15858"/>
                <a:gd name="connsiteY0" fmla="*/ 64383 h 64383"/>
                <a:gd name="connsiteX1" fmla="*/ 15525 w 15858"/>
                <a:gd name="connsiteY1" fmla="*/ 0 h 64383"/>
                <a:gd name="connsiteX2" fmla="*/ 9798 w 15858"/>
                <a:gd name="connsiteY2" fmla="*/ 56285 h 64383"/>
                <a:gd name="connsiteX3" fmla="*/ 0 w 15858"/>
                <a:gd name="connsiteY3" fmla="*/ 64383 h 64383"/>
              </a:gdLst>
              <a:ahLst/>
              <a:cxnLst>
                <a:cxn ang="0">
                  <a:pos x="connsiteX0" y="connsiteY0"/>
                </a:cxn>
                <a:cxn ang="0">
                  <a:pos x="connsiteX1" y="connsiteY1"/>
                </a:cxn>
                <a:cxn ang="0">
                  <a:pos x="connsiteX2" y="connsiteY2"/>
                </a:cxn>
                <a:cxn ang="0">
                  <a:pos x="connsiteX3" y="connsiteY3"/>
                </a:cxn>
              </a:cxnLst>
              <a:rect l="l" t="t" r="r" b="b"/>
              <a:pathLst>
                <a:path w="15858" h="64383">
                  <a:moveTo>
                    <a:pt x="0" y="64383"/>
                  </a:moveTo>
                  <a:cubicBezTo>
                    <a:pt x="5503" y="42997"/>
                    <a:pt x="6264" y="20313"/>
                    <a:pt x="15525" y="0"/>
                  </a:cubicBezTo>
                  <a:cubicBezTo>
                    <a:pt x="16554" y="18881"/>
                    <a:pt x="15346" y="38120"/>
                    <a:pt x="9798" y="56285"/>
                  </a:cubicBezTo>
                  <a:cubicBezTo>
                    <a:pt x="8545" y="61296"/>
                    <a:pt x="5279" y="64025"/>
                    <a:pt x="0" y="64383"/>
                  </a:cubicBezTo>
                  <a:close/>
                </a:path>
              </a:pathLst>
            </a:custGeom>
            <a:solidFill>
              <a:srgbClr val="C6D4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 name="Freeform: Shape 241">
              <a:extLst>
                <a:ext uri="{FF2B5EF4-FFF2-40B4-BE49-F238E27FC236}">
                  <a16:creationId xmlns:a16="http://schemas.microsoft.com/office/drawing/2014/main" id="{AB3E8FDB-483D-C0EE-EDC2-DD76789D80FB}"/>
                </a:ext>
              </a:extLst>
            </p:cNvPr>
            <p:cNvSpPr/>
            <p:nvPr/>
          </p:nvSpPr>
          <p:spPr>
            <a:xfrm flipH="1">
              <a:off x="1296508" y="4076928"/>
              <a:ext cx="343757" cy="463867"/>
            </a:xfrm>
            <a:custGeom>
              <a:avLst/>
              <a:gdLst>
                <a:gd name="connsiteX0" fmla="*/ 285540 w 288196"/>
                <a:gd name="connsiteY0" fmla="*/ 0 h 388892"/>
                <a:gd name="connsiteX1" fmla="*/ 287419 w 288196"/>
                <a:gd name="connsiteY1" fmla="*/ 86843 h 388892"/>
                <a:gd name="connsiteX2" fmla="*/ 276010 w 288196"/>
                <a:gd name="connsiteY2" fmla="*/ 90467 h 388892"/>
                <a:gd name="connsiteX3" fmla="*/ 277084 w 288196"/>
                <a:gd name="connsiteY3" fmla="*/ 103666 h 388892"/>
                <a:gd name="connsiteX4" fmla="*/ 263706 w 288196"/>
                <a:gd name="connsiteY4" fmla="*/ 116015 h 388892"/>
                <a:gd name="connsiteX5" fmla="*/ 3937 w 288196"/>
                <a:gd name="connsiteY5" fmla="*/ 388893 h 388892"/>
                <a:gd name="connsiteX6" fmla="*/ 0 w 288196"/>
                <a:gd name="connsiteY6" fmla="*/ 361600 h 388892"/>
                <a:gd name="connsiteX7" fmla="*/ 167333 w 288196"/>
                <a:gd name="connsiteY7" fmla="*/ 184693 h 388892"/>
                <a:gd name="connsiteX8" fmla="*/ 264646 w 288196"/>
                <a:gd name="connsiteY8" fmla="*/ 84919 h 388892"/>
                <a:gd name="connsiteX9" fmla="*/ 275697 w 288196"/>
                <a:gd name="connsiteY9" fmla="*/ 75300 h 388892"/>
                <a:gd name="connsiteX10" fmla="*/ 283974 w 288196"/>
                <a:gd name="connsiteY10" fmla="*/ 80803 h 388892"/>
                <a:gd name="connsiteX11" fmla="*/ 285540 w 288196"/>
                <a:gd name="connsiteY11" fmla="*/ 0 h 38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96" h="388892">
                  <a:moveTo>
                    <a:pt x="285540" y="0"/>
                  </a:moveTo>
                  <a:cubicBezTo>
                    <a:pt x="288269" y="28858"/>
                    <a:pt x="288896" y="57895"/>
                    <a:pt x="287419" y="86843"/>
                  </a:cubicBezTo>
                  <a:cubicBezTo>
                    <a:pt x="283571" y="88051"/>
                    <a:pt x="279768" y="89259"/>
                    <a:pt x="276010" y="90467"/>
                  </a:cubicBezTo>
                  <a:cubicBezTo>
                    <a:pt x="276279" y="93778"/>
                    <a:pt x="276815" y="100400"/>
                    <a:pt x="277084" y="103666"/>
                  </a:cubicBezTo>
                  <a:cubicBezTo>
                    <a:pt x="272520" y="107738"/>
                    <a:pt x="268091" y="111809"/>
                    <a:pt x="263706" y="116015"/>
                  </a:cubicBezTo>
                  <a:cubicBezTo>
                    <a:pt x="176192" y="206034"/>
                    <a:pt x="91899" y="299231"/>
                    <a:pt x="3937" y="388893"/>
                  </a:cubicBezTo>
                  <a:cubicBezTo>
                    <a:pt x="2819" y="379721"/>
                    <a:pt x="1611" y="370594"/>
                    <a:pt x="0" y="361600"/>
                  </a:cubicBezTo>
                  <a:cubicBezTo>
                    <a:pt x="57537" y="304331"/>
                    <a:pt x="111317" y="243438"/>
                    <a:pt x="167333" y="184693"/>
                  </a:cubicBezTo>
                  <a:cubicBezTo>
                    <a:pt x="199860" y="151539"/>
                    <a:pt x="230105" y="116059"/>
                    <a:pt x="264646" y="84919"/>
                  </a:cubicBezTo>
                  <a:cubicBezTo>
                    <a:pt x="268270" y="81653"/>
                    <a:pt x="271983" y="78476"/>
                    <a:pt x="275697" y="75300"/>
                  </a:cubicBezTo>
                  <a:cubicBezTo>
                    <a:pt x="278426" y="77089"/>
                    <a:pt x="281155" y="78924"/>
                    <a:pt x="283974" y="80803"/>
                  </a:cubicBezTo>
                  <a:cubicBezTo>
                    <a:pt x="284600" y="53869"/>
                    <a:pt x="284466" y="26890"/>
                    <a:pt x="285540" y="0"/>
                  </a:cubicBezTo>
                  <a:close/>
                </a:path>
              </a:pathLst>
            </a:custGeom>
            <a:solidFill>
              <a:srgbClr val="CED7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Freeform: Shape 242">
              <a:extLst>
                <a:ext uri="{FF2B5EF4-FFF2-40B4-BE49-F238E27FC236}">
                  <a16:creationId xmlns:a16="http://schemas.microsoft.com/office/drawing/2014/main" id="{5EA0C1A0-847E-D533-0F35-FA5099CB716B}"/>
                </a:ext>
              </a:extLst>
            </p:cNvPr>
            <p:cNvSpPr/>
            <p:nvPr/>
          </p:nvSpPr>
          <p:spPr>
            <a:xfrm flipH="1">
              <a:off x="672290" y="3094759"/>
              <a:ext cx="264274" cy="219992"/>
            </a:xfrm>
            <a:custGeom>
              <a:avLst/>
              <a:gdLst>
                <a:gd name="connsiteX0" fmla="*/ 0 w 221559"/>
                <a:gd name="connsiteY0" fmla="*/ 72345 h 184434"/>
                <a:gd name="connsiteX1" fmla="*/ 82458 w 221559"/>
                <a:gd name="connsiteY1" fmla="*/ 312 h 184434"/>
                <a:gd name="connsiteX2" fmla="*/ 149794 w 221559"/>
                <a:gd name="connsiteY2" fmla="*/ 10423 h 184434"/>
                <a:gd name="connsiteX3" fmla="*/ 221560 w 221559"/>
                <a:gd name="connsiteY3" fmla="*/ 100846 h 184434"/>
                <a:gd name="connsiteX4" fmla="*/ 181113 w 221559"/>
                <a:gd name="connsiteY4" fmla="*/ 166392 h 184434"/>
                <a:gd name="connsiteX5" fmla="*/ 135522 w 221559"/>
                <a:gd name="connsiteY5" fmla="*/ 183886 h 184434"/>
                <a:gd name="connsiteX6" fmla="*/ 109751 w 221559"/>
                <a:gd name="connsiteY6" fmla="*/ 182499 h 184434"/>
                <a:gd name="connsiteX7" fmla="*/ 90780 w 221559"/>
                <a:gd name="connsiteY7" fmla="*/ 178383 h 184434"/>
                <a:gd name="connsiteX8" fmla="*/ 68589 w 221559"/>
                <a:gd name="connsiteY8" fmla="*/ 136683 h 184434"/>
                <a:gd name="connsiteX9" fmla="*/ 27069 w 221559"/>
                <a:gd name="connsiteY9" fmla="*/ 110868 h 184434"/>
                <a:gd name="connsiteX10" fmla="*/ 0 w 221559"/>
                <a:gd name="connsiteY10" fmla="*/ 72345 h 18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559" h="184434">
                  <a:moveTo>
                    <a:pt x="0" y="72345"/>
                  </a:moveTo>
                  <a:cubicBezTo>
                    <a:pt x="12170" y="35299"/>
                    <a:pt x="44965" y="8857"/>
                    <a:pt x="82458" y="312"/>
                  </a:cubicBezTo>
                  <a:cubicBezTo>
                    <a:pt x="105187" y="-807"/>
                    <a:pt x="128766" y="759"/>
                    <a:pt x="149794" y="10423"/>
                  </a:cubicBezTo>
                  <a:cubicBezTo>
                    <a:pt x="186169" y="27156"/>
                    <a:pt x="212656" y="62010"/>
                    <a:pt x="221560" y="100846"/>
                  </a:cubicBezTo>
                  <a:cubicBezTo>
                    <a:pt x="208361" y="122858"/>
                    <a:pt x="201426" y="149301"/>
                    <a:pt x="181113" y="166392"/>
                  </a:cubicBezTo>
                  <a:cubicBezTo>
                    <a:pt x="168944" y="178025"/>
                    <a:pt x="152881" y="186749"/>
                    <a:pt x="135522" y="183886"/>
                  </a:cubicBezTo>
                  <a:cubicBezTo>
                    <a:pt x="126931" y="183438"/>
                    <a:pt x="118296" y="182857"/>
                    <a:pt x="109751" y="182499"/>
                  </a:cubicBezTo>
                  <a:cubicBezTo>
                    <a:pt x="103577" y="180396"/>
                    <a:pt x="97313" y="177801"/>
                    <a:pt x="90780" y="178383"/>
                  </a:cubicBezTo>
                  <a:cubicBezTo>
                    <a:pt x="85412" y="163663"/>
                    <a:pt x="80848" y="147287"/>
                    <a:pt x="68589" y="136683"/>
                  </a:cubicBezTo>
                  <a:cubicBezTo>
                    <a:pt x="55703" y="126572"/>
                    <a:pt x="39686" y="121337"/>
                    <a:pt x="27069" y="110868"/>
                  </a:cubicBezTo>
                  <a:cubicBezTo>
                    <a:pt x="14586" y="100801"/>
                    <a:pt x="7919" y="85812"/>
                    <a:pt x="0" y="72345"/>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4" name="Freeform: Shape 243">
              <a:extLst>
                <a:ext uri="{FF2B5EF4-FFF2-40B4-BE49-F238E27FC236}">
                  <a16:creationId xmlns:a16="http://schemas.microsoft.com/office/drawing/2014/main" id="{72E684A3-7E4A-D9EF-97CF-220799D83363}"/>
                </a:ext>
              </a:extLst>
            </p:cNvPr>
            <p:cNvSpPr/>
            <p:nvPr/>
          </p:nvSpPr>
          <p:spPr>
            <a:xfrm flipH="1">
              <a:off x="770064" y="3312443"/>
              <a:ext cx="133574" cy="90243"/>
            </a:xfrm>
            <a:custGeom>
              <a:avLst/>
              <a:gdLst>
                <a:gd name="connsiteX0" fmla="*/ 82146 w 111985"/>
                <a:gd name="connsiteY0" fmla="*/ 0 h 75657"/>
                <a:gd name="connsiteX1" fmla="*/ 107916 w 111985"/>
                <a:gd name="connsiteY1" fmla="*/ 1387 h 75657"/>
                <a:gd name="connsiteX2" fmla="*/ 111854 w 111985"/>
                <a:gd name="connsiteY2" fmla="*/ 33735 h 75657"/>
                <a:gd name="connsiteX3" fmla="*/ 71005 w 111985"/>
                <a:gd name="connsiteY3" fmla="*/ 64920 h 75657"/>
                <a:gd name="connsiteX4" fmla="*/ 68365 w 111985"/>
                <a:gd name="connsiteY4" fmla="*/ 66217 h 75657"/>
                <a:gd name="connsiteX5" fmla="*/ 65591 w 111985"/>
                <a:gd name="connsiteY5" fmla="*/ 75658 h 75657"/>
                <a:gd name="connsiteX6" fmla="*/ 62504 w 111985"/>
                <a:gd name="connsiteY6" fmla="*/ 70289 h 75657"/>
                <a:gd name="connsiteX7" fmla="*/ 59819 w 111985"/>
                <a:gd name="connsiteY7" fmla="*/ 70423 h 75657"/>
                <a:gd name="connsiteX8" fmla="*/ 49752 w 111985"/>
                <a:gd name="connsiteY8" fmla="*/ 70602 h 75657"/>
                <a:gd name="connsiteX9" fmla="*/ 69528 w 111985"/>
                <a:gd name="connsiteY9" fmla="*/ 46084 h 75657"/>
                <a:gd name="connsiteX10" fmla="*/ 71318 w 111985"/>
                <a:gd name="connsiteY10" fmla="*/ 59819 h 75657"/>
                <a:gd name="connsiteX11" fmla="*/ 106261 w 111985"/>
                <a:gd name="connsiteY11" fmla="*/ 46039 h 75657"/>
                <a:gd name="connsiteX12" fmla="*/ 106753 w 111985"/>
                <a:gd name="connsiteY12" fmla="*/ 3266 h 75657"/>
                <a:gd name="connsiteX13" fmla="*/ 80356 w 111985"/>
                <a:gd name="connsiteY13" fmla="*/ 11767 h 75657"/>
                <a:gd name="connsiteX14" fmla="*/ 7024 w 111985"/>
                <a:gd name="connsiteY14" fmla="*/ 33377 h 75657"/>
                <a:gd name="connsiteX15" fmla="*/ 0 w 111985"/>
                <a:gd name="connsiteY15" fmla="*/ 27963 h 75657"/>
                <a:gd name="connsiteX16" fmla="*/ 68857 w 111985"/>
                <a:gd name="connsiteY16" fmla="*/ 5458 h 75657"/>
                <a:gd name="connsiteX17" fmla="*/ 82146 w 111985"/>
                <a:gd name="connsiteY1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985" h="75657">
                  <a:moveTo>
                    <a:pt x="82146" y="0"/>
                  </a:moveTo>
                  <a:cubicBezTo>
                    <a:pt x="90691" y="358"/>
                    <a:pt x="99326" y="940"/>
                    <a:pt x="107916" y="1387"/>
                  </a:cubicBezTo>
                  <a:cubicBezTo>
                    <a:pt x="109796" y="12080"/>
                    <a:pt x="111854" y="22818"/>
                    <a:pt x="111854" y="33735"/>
                  </a:cubicBezTo>
                  <a:cubicBezTo>
                    <a:pt x="114180" y="55837"/>
                    <a:pt x="85098" y="56777"/>
                    <a:pt x="71005" y="64920"/>
                  </a:cubicBezTo>
                  <a:lnTo>
                    <a:pt x="68365" y="66217"/>
                  </a:lnTo>
                  <a:cubicBezTo>
                    <a:pt x="67649" y="68589"/>
                    <a:pt x="66307" y="73287"/>
                    <a:pt x="65591" y="75658"/>
                  </a:cubicBezTo>
                  <a:cubicBezTo>
                    <a:pt x="64831" y="74315"/>
                    <a:pt x="63309" y="71631"/>
                    <a:pt x="62504" y="70289"/>
                  </a:cubicBezTo>
                  <a:lnTo>
                    <a:pt x="59819" y="70423"/>
                  </a:lnTo>
                  <a:cubicBezTo>
                    <a:pt x="57314" y="70468"/>
                    <a:pt x="52258" y="70557"/>
                    <a:pt x="49752" y="70602"/>
                  </a:cubicBezTo>
                  <a:cubicBezTo>
                    <a:pt x="59417" y="65322"/>
                    <a:pt x="65323" y="56016"/>
                    <a:pt x="69528" y="46084"/>
                  </a:cubicBezTo>
                  <a:cubicBezTo>
                    <a:pt x="69976" y="49529"/>
                    <a:pt x="70871" y="56374"/>
                    <a:pt x="71318" y="59819"/>
                  </a:cubicBezTo>
                  <a:cubicBezTo>
                    <a:pt x="83398" y="56777"/>
                    <a:pt x="96328" y="54227"/>
                    <a:pt x="106261" y="46039"/>
                  </a:cubicBezTo>
                  <a:cubicBezTo>
                    <a:pt x="109885" y="32080"/>
                    <a:pt x="107335" y="17449"/>
                    <a:pt x="106753" y="3266"/>
                  </a:cubicBezTo>
                  <a:cubicBezTo>
                    <a:pt x="97805" y="5816"/>
                    <a:pt x="88991" y="8546"/>
                    <a:pt x="80356" y="11767"/>
                  </a:cubicBezTo>
                  <a:cubicBezTo>
                    <a:pt x="56643" y="21118"/>
                    <a:pt x="32706" y="31185"/>
                    <a:pt x="7024" y="33377"/>
                  </a:cubicBezTo>
                  <a:cubicBezTo>
                    <a:pt x="4653" y="31498"/>
                    <a:pt x="2327" y="29708"/>
                    <a:pt x="0" y="27963"/>
                  </a:cubicBezTo>
                  <a:cubicBezTo>
                    <a:pt x="24563" y="26218"/>
                    <a:pt x="46934" y="15794"/>
                    <a:pt x="68857" y="5458"/>
                  </a:cubicBezTo>
                  <a:cubicBezTo>
                    <a:pt x="73331" y="3803"/>
                    <a:pt x="77761" y="1969"/>
                    <a:pt x="82146" y="0"/>
                  </a:cubicBezTo>
                  <a:close/>
                </a:path>
              </a:pathLst>
            </a:custGeom>
            <a:solidFill>
              <a:srgbClr val="F6F7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5" name="Freeform: Shape 244">
              <a:extLst>
                <a:ext uri="{FF2B5EF4-FFF2-40B4-BE49-F238E27FC236}">
                  <a16:creationId xmlns:a16="http://schemas.microsoft.com/office/drawing/2014/main" id="{062FA22B-7F62-99EC-79C1-1F4608D24C4C}"/>
                </a:ext>
              </a:extLst>
            </p:cNvPr>
            <p:cNvSpPr/>
            <p:nvPr/>
          </p:nvSpPr>
          <p:spPr>
            <a:xfrm flipH="1">
              <a:off x="821505" y="3181053"/>
              <a:ext cx="133525" cy="164744"/>
            </a:xfrm>
            <a:custGeom>
              <a:avLst/>
              <a:gdLst>
                <a:gd name="connsiteX0" fmla="*/ 15481 w 111943"/>
                <a:gd name="connsiteY0" fmla="*/ 0 h 138116"/>
                <a:gd name="connsiteX1" fmla="*/ 42549 w 111943"/>
                <a:gd name="connsiteY1" fmla="*/ 38522 h 138116"/>
                <a:gd name="connsiteX2" fmla="*/ 84069 w 111943"/>
                <a:gd name="connsiteY2" fmla="*/ 64338 h 138116"/>
                <a:gd name="connsiteX3" fmla="*/ 106261 w 111943"/>
                <a:gd name="connsiteY3" fmla="*/ 106037 h 138116"/>
                <a:gd name="connsiteX4" fmla="*/ 111943 w 111943"/>
                <a:gd name="connsiteY4" fmla="*/ 115612 h 138116"/>
                <a:gd name="connsiteX5" fmla="*/ 43086 w 111943"/>
                <a:gd name="connsiteY5" fmla="*/ 138117 h 138116"/>
                <a:gd name="connsiteX6" fmla="*/ 42191 w 111943"/>
                <a:gd name="connsiteY6" fmla="*/ 137490 h 138116"/>
                <a:gd name="connsiteX7" fmla="*/ 36151 w 111943"/>
                <a:gd name="connsiteY7" fmla="*/ 118341 h 138116"/>
                <a:gd name="connsiteX8" fmla="*/ 42594 w 111943"/>
                <a:gd name="connsiteY8" fmla="*/ 98028 h 138116"/>
                <a:gd name="connsiteX9" fmla="*/ 43802 w 111943"/>
                <a:gd name="connsiteY9" fmla="*/ 107245 h 138116"/>
                <a:gd name="connsiteX10" fmla="*/ 45099 w 111943"/>
                <a:gd name="connsiteY10" fmla="*/ 112614 h 138116"/>
                <a:gd name="connsiteX11" fmla="*/ 60401 w 111943"/>
                <a:gd name="connsiteY11" fmla="*/ 115522 h 138116"/>
                <a:gd name="connsiteX12" fmla="*/ 68052 w 111943"/>
                <a:gd name="connsiteY12" fmla="*/ 96955 h 138116"/>
                <a:gd name="connsiteX13" fmla="*/ 97805 w 111943"/>
                <a:gd name="connsiteY13" fmla="*/ 97044 h 138116"/>
                <a:gd name="connsiteX14" fmla="*/ 85277 w 111943"/>
                <a:gd name="connsiteY14" fmla="*/ 81250 h 138116"/>
                <a:gd name="connsiteX15" fmla="*/ 64831 w 111943"/>
                <a:gd name="connsiteY15" fmla="*/ 90512 h 138116"/>
                <a:gd name="connsiteX16" fmla="*/ 63846 w 111943"/>
                <a:gd name="connsiteY16" fmla="*/ 81698 h 138116"/>
                <a:gd name="connsiteX17" fmla="*/ 62638 w 111943"/>
                <a:gd name="connsiteY17" fmla="*/ 66262 h 138116"/>
                <a:gd name="connsiteX18" fmla="*/ 26353 w 111943"/>
                <a:gd name="connsiteY18" fmla="*/ 89796 h 138116"/>
                <a:gd name="connsiteX19" fmla="*/ 17986 w 111943"/>
                <a:gd name="connsiteY19" fmla="*/ 84248 h 138116"/>
                <a:gd name="connsiteX20" fmla="*/ 11901 w 111943"/>
                <a:gd name="connsiteY20" fmla="*/ 66307 h 138116"/>
                <a:gd name="connsiteX21" fmla="*/ 6622 w 111943"/>
                <a:gd name="connsiteY21" fmla="*/ 59596 h 138116"/>
                <a:gd name="connsiteX22" fmla="*/ 0 w 111943"/>
                <a:gd name="connsiteY22" fmla="*/ 50737 h 138116"/>
                <a:gd name="connsiteX23" fmla="*/ 1477 w 111943"/>
                <a:gd name="connsiteY23" fmla="*/ 46979 h 138116"/>
                <a:gd name="connsiteX24" fmla="*/ 4609 w 111943"/>
                <a:gd name="connsiteY24" fmla="*/ 26263 h 138116"/>
                <a:gd name="connsiteX25" fmla="*/ 15481 w 111943"/>
                <a:gd name="connsiteY25" fmla="*/ 0 h 13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1943" h="138116">
                  <a:moveTo>
                    <a:pt x="15481" y="0"/>
                  </a:moveTo>
                  <a:cubicBezTo>
                    <a:pt x="23400" y="13467"/>
                    <a:pt x="30066" y="28456"/>
                    <a:pt x="42549" y="38522"/>
                  </a:cubicBezTo>
                  <a:cubicBezTo>
                    <a:pt x="55166" y="48992"/>
                    <a:pt x="71184" y="54227"/>
                    <a:pt x="84069" y="64338"/>
                  </a:cubicBezTo>
                  <a:cubicBezTo>
                    <a:pt x="96328" y="74942"/>
                    <a:pt x="100892" y="91317"/>
                    <a:pt x="106261" y="106037"/>
                  </a:cubicBezTo>
                  <a:cubicBezTo>
                    <a:pt x="107693" y="108453"/>
                    <a:pt x="110511" y="113196"/>
                    <a:pt x="111943" y="115612"/>
                  </a:cubicBezTo>
                  <a:cubicBezTo>
                    <a:pt x="90020" y="125947"/>
                    <a:pt x="67649" y="136372"/>
                    <a:pt x="43086" y="138117"/>
                  </a:cubicBezTo>
                  <a:lnTo>
                    <a:pt x="42191" y="137490"/>
                  </a:lnTo>
                  <a:cubicBezTo>
                    <a:pt x="39954" y="131092"/>
                    <a:pt x="37941" y="124784"/>
                    <a:pt x="36151" y="118341"/>
                  </a:cubicBezTo>
                  <a:cubicBezTo>
                    <a:pt x="38254" y="111540"/>
                    <a:pt x="40312" y="104740"/>
                    <a:pt x="42594" y="98028"/>
                  </a:cubicBezTo>
                  <a:cubicBezTo>
                    <a:pt x="42907" y="100355"/>
                    <a:pt x="43489" y="104963"/>
                    <a:pt x="43802" y="107245"/>
                  </a:cubicBezTo>
                  <a:lnTo>
                    <a:pt x="45099" y="112614"/>
                  </a:lnTo>
                  <a:cubicBezTo>
                    <a:pt x="50110" y="113643"/>
                    <a:pt x="55256" y="114583"/>
                    <a:pt x="60401" y="115522"/>
                  </a:cubicBezTo>
                  <a:cubicBezTo>
                    <a:pt x="62907" y="109303"/>
                    <a:pt x="65457" y="103084"/>
                    <a:pt x="68052" y="96955"/>
                  </a:cubicBezTo>
                  <a:cubicBezTo>
                    <a:pt x="77940" y="97805"/>
                    <a:pt x="87872" y="97805"/>
                    <a:pt x="97805" y="97044"/>
                  </a:cubicBezTo>
                  <a:cubicBezTo>
                    <a:pt x="93510" y="91720"/>
                    <a:pt x="89483" y="86530"/>
                    <a:pt x="85277" y="81250"/>
                  </a:cubicBezTo>
                  <a:cubicBezTo>
                    <a:pt x="78432" y="84338"/>
                    <a:pt x="71586" y="87425"/>
                    <a:pt x="64831" y="90512"/>
                  </a:cubicBezTo>
                  <a:cubicBezTo>
                    <a:pt x="64562" y="88320"/>
                    <a:pt x="64070" y="83890"/>
                    <a:pt x="63846" y="81698"/>
                  </a:cubicBezTo>
                  <a:cubicBezTo>
                    <a:pt x="63533" y="77850"/>
                    <a:pt x="62951" y="70110"/>
                    <a:pt x="62638" y="66262"/>
                  </a:cubicBezTo>
                  <a:cubicBezTo>
                    <a:pt x="45592" y="61967"/>
                    <a:pt x="30156" y="73242"/>
                    <a:pt x="26353" y="89796"/>
                  </a:cubicBezTo>
                  <a:cubicBezTo>
                    <a:pt x="24250" y="88409"/>
                    <a:pt x="20044" y="85635"/>
                    <a:pt x="17986" y="84248"/>
                  </a:cubicBezTo>
                  <a:cubicBezTo>
                    <a:pt x="21476" y="77358"/>
                    <a:pt x="17091" y="70602"/>
                    <a:pt x="11901" y="66307"/>
                  </a:cubicBezTo>
                  <a:cubicBezTo>
                    <a:pt x="10559" y="64607"/>
                    <a:pt x="7919" y="61251"/>
                    <a:pt x="6622" y="59596"/>
                  </a:cubicBezTo>
                  <a:cubicBezTo>
                    <a:pt x="4967" y="57403"/>
                    <a:pt x="1656" y="52974"/>
                    <a:pt x="0" y="50737"/>
                  </a:cubicBezTo>
                  <a:lnTo>
                    <a:pt x="1477" y="46979"/>
                  </a:lnTo>
                  <a:cubicBezTo>
                    <a:pt x="2685" y="40088"/>
                    <a:pt x="3445" y="33109"/>
                    <a:pt x="4609" y="26263"/>
                  </a:cubicBezTo>
                  <a:cubicBezTo>
                    <a:pt x="6801" y="16957"/>
                    <a:pt x="11320" y="8501"/>
                    <a:pt x="15481" y="0"/>
                  </a:cubicBezTo>
                  <a:close/>
                </a:path>
              </a:pathLst>
            </a:custGeom>
            <a:solidFill>
              <a:srgbClr val="F7A5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6" name="Freeform: Shape 245">
              <a:extLst>
                <a:ext uri="{FF2B5EF4-FFF2-40B4-BE49-F238E27FC236}">
                  <a16:creationId xmlns:a16="http://schemas.microsoft.com/office/drawing/2014/main" id="{2E53D4B7-A9C1-33DF-22A7-CDEE4EA41AF5}"/>
                </a:ext>
              </a:extLst>
            </p:cNvPr>
            <p:cNvSpPr/>
            <p:nvPr/>
          </p:nvSpPr>
          <p:spPr>
            <a:xfrm flipH="1">
              <a:off x="947132" y="3212379"/>
              <a:ext cx="45272" cy="96488"/>
            </a:xfrm>
            <a:custGeom>
              <a:avLst/>
              <a:gdLst>
                <a:gd name="connsiteX0" fmla="*/ 31199 w 37954"/>
                <a:gd name="connsiteY0" fmla="*/ 18568 h 80892"/>
                <a:gd name="connsiteX1" fmla="*/ 35942 w 37954"/>
                <a:gd name="connsiteY1" fmla="*/ 0 h 80892"/>
                <a:gd name="connsiteX2" fmla="*/ 32810 w 37954"/>
                <a:gd name="connsiteY2" fmla="*/ 20715 h 80892"/>
                <a:gd name="connsiteX3" fmla="*/ 7844 w 37954"/>
                <a:gd name="connsiteY3" fmla="*/ 41207 h 80892"/>
                <a:gd name="connsiteX4" fmla="*/ 3101 w 37954"/>
                <a:gd name="connsiteY4" fmla="*/ 64517 h 80892"/>
                <a:gd name="connsiteX5" fmla="*/ 13302 w 37954"/>
                <a:gd name="connsiteY5" fmla="*/ 73823 h 80892"/>
                <a:gd name="connsiteX6" fmla="*/ 19119 w 37954"/>
                <a:gd name="connsiteY6" fmla="*/ 51855 h 80892"/>
                <a:gd name="connsiteX7" fmla="*/ 31333 w 37954"/>
                <a:gd name="connsiteY7" fmla="*/ 24474 h 80892"/>
                <a:gd name="connsiteX8" fmla="*/ 37955 w 37954"/>
                <a:gd name="connsiteY8" fmla="*/ 33332 h 80892"/>
                <a:gd name="connsiteX9" fmla="*/ 29275 w 37954"/>
                <a:gd name="connsiteY9" fmla="*/ 69439 h 80892"/>
                <a:gd name="connsiteX10" fmla="*/ 22251 w 37954"/>
                <a:gd name="connsiteY10" fmla="*/ 74092 h 80892"/>
                <a:gd name="connsiteX11" fmla="*/ 11781 w 37954"/>
                <a:gd name="connsiteY11" fmla="*/ 80892 h 80892"/>
                <a:gd name="connsiteX12" fmla="*/ 1983 w 37954"/>
                <a:gd name="connsiteY12" fmla="*/ 34003 h 80892"/>
                <a:gd name="connsiteX13" fmla="*/ 31199 w 37954"/>
                <a:gd name="connsiteY13" fmla="*/ 18568 h 8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54" h="80892">
                  <a:moveTo>
                    <a:pt x="31199" y="18568"/>
                  </a:moveTo>
                  <a:cubicBezTo>
                    <a:pt x="32675" y="12349"/>
                    <a:pt x="34241" y="6130"/>
                    <a:pt x="35942" y="0"/>
                  </a:cubicBezTo>
                  <a:cubicBezTo>
                    <a:pt x="34778" y="6845"/>
                    <a:pt x="34018" y="13825"/>
                    <a:pt x="32810" y="20715"/>
                  </a:cubicBezTo>
                  <a:cubicBezTo>
                    <a:pt x="21624" y="23489"/>
                    <a:pt x="7575" y="26845"/>
                    <a:pt x="7844" y="41207"/>
                  </a:cubicBezTo>
                  <a:cubicBezTo>
                    <a:pt x="6099" y="48947"/>
                    <a:pt x="4578" y="56687"/>
                    <a:pt x="3101" y="64517"/>
                  </a:cubicBezTo>
                  <a:cubicBezTo>
                    <a:pt x="6457" y="67559"/>
                    <a:pt x="9857" y="70691"/>
                    <a:pt x="13302" y="73823"/>
                  </a:cubicBezTo>
                  <a:cubicBezTo>
                    <a:pt x="15137" y="66441"/>
                    <a:pt x="16971" y="59103"/>
                    <a:pt x="19119" y="51855"/>
                  </a:cubicBezTo>
                  <a:cubicBezTo>
                    <a:pt x="22743" y="42504"/>
                    <a:pt x="27217" y="33601"/>
                    <a:pt x="31333" y="24474"/>
                  </a:cubicBezTo>
                  <a:cubicBezTo>
                    <a:pt x="32989" y="26711"/>
                    <a:pt x="36300" y="31140"/>
                    <a:pt x="37955" y="33332"/>
                  </a:cubicBezTo>
                  <a:cubicBezTo>
                    <a:pt x="33526" y="44965"/>
                    <a:pt x="30931" y="57135"/>
                    <a:pt x="29275" y="69439"/>
                  </a:cubicBezTo>
                  <a:cubicBezTo>
                    <a:pt x="26904" y="70960"/>
                    <a:pt x="24533" y="72526"/>
                    <a:pt x="22251" y="74092"/>
                  </a:cubicBezTo>
                  <a:cubicBezTo>
                    <a:pt x="19611" y="75792"/>
                    <a:pt x="14376" y="79192"/>
                    <a:pt x="11781" y="80892"/>
                  </a:cubicBezTo>
                  <a:cubicBezTo>
                    <a:pt x="-4371" y="70423"/>
                    <a:pt x="193" y="50066"/>
                    <a:pt x="1983" y="34003"/>
                  </a:cubicBezTo>
                  <a:cubicBezTo>
                    <a:pt x="8873" y="24339"/>
                    <a:pt x="19566" y="19641"/>
                    <a:pt x="31199" y="18568"/>
                  </a:cubicBezTo>
                  <a:close/>
                </a:path>
              </a:pathLst>
            </a:custGeom>
            <a:solidFill>
              <a:srgbClr val="B288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 name="Freeform: Shape 246">
              <a:extLst>
                <a:ext uri="{FF2B5EF4-FFF2-40B4-BE49-F238E27FC236}">
                  <a16:creationId xmlns:a16="http://schemas.microsoft.com/office/drawing/2014/main" id="{8390A59A-6A28-812E-772A-5E80A02C5840}"/>
                </a:ext>
              </a:extLst>
            </p:cNvPr>
            <p:cNvSpPr/>
            <p:nvPr/>
          </p:nvSpPr>
          <p:spPr>
            <a:xfrm flipH="1">
              <a:off x="656227" y="3215047"/>
              <a:ext cx="163037" cy="319562"/>
            </a:xfrm>
            <a:custGeom>
              <a:avLst/>
              <a:gdLst>
                <a:gd name="connsiteX0" fmla="*/ 82772 w 136685"/>
                <a:gd name="connsiteY0" fmla="*/ 65546 h 267911"/>
                <a:gd name="connsiteX1" fmla="*/ 123218 w 136685"/>
                <a:gd name="connsiteY1" fmla="*/ 0 h 267911"/>
                <a:gd name="connsiteX2" fmla="*/ 122815 w 136685"/>
                <a:gd name="connsiteY2" fmla="*/ 34496 h 267911"/>
                <a:gd name="connsiteX3" fmla="*/ 134001 w 136685"/>
                <a:gd name="connsiteY3" fmla="*/ 41341 h 267911"/>
                <a:gd name="connsiteX4" fmla="*/ 136685 w 136685"/>
                <a:gd name="connsiteY4" fmla="*/ 46934 h 267911"/>
                <a:gd name="connsiteX5" fmla="*/ 106440 w 136685"/>
                <a:gd name="connsiteY5" fmla="*/ 102413 h 267911"/>
                <a:gd name="connsiteX6" fmla="*/ 126842 w 136685"/>
                <a:gd name="connsiteY6" fmla="*/ 143262 h 267911"/>
                <a:gd name="connsiteX7" fmla="*/ 114941 w 136685"/>
                <a:gd name="connsiteY7" fmla="*/ 267912 h 267911"/>
                <a:gd name="connsiteX8" fmla="*/ 126842 w 136685"/>
                <a:gd name="connsiteY8" fmla="*/ 204782 h 267911"/>
                <a:gd name="connsiteX9" fmla="*/ 102369 w 136685"/>
                <a:gd name="connsiteY9" fmla="*/ 112212 h 267911"/>
                <a:gd name="connsiteX10" fmla="*/ 63488 w 136685"/>
                <a:gd name="connsiteY10" fmla="*/ 157937 h 267911"/>
                <a:gd name="connsiteX11" fmla="*/ 403 w 136685"/>
                <a:gd name="connsiteY11" fmla="*/ 199010 h 267911"/>
                <a:gd name="connsiteX12" fmla="*/ 269 w 136685"/>
                <a:gd name="connsiteY12" fmla="*/ 146573 h 267911"/>
                <a:gd name="connsiteX13" fmla="*/ 41117 w 136685"/>
                <a:gd name="connsiteY13" fmla="*/ 115388 h 267911"/>
                <a:gd name="connsiteX14" fmla="*/ 37180 w 136685"/>
                <a:gd name="connsiteY14" fmla="*/ 83040 h 267911"/>
                <a:gd name="connsiteX15" fmla="*/ 82772 w 136685"/>
                <a:gd name="connsiteY15" fmla="*/ 65546 h 26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85" h="267911">
                  <a:moveTo>
                    <a:pt x="82772" y="65546"/>
                  </a:moveTo>
                  <a:cubicBezTo>
                    <a:pt x="103085" y="48455"/>
                    <a:pt x="110019" y="22013"/>
                    <a:pt x="123218" y="0"/>
                  </a:cubicBezTo>
                  <a:cubicBezTo>
                    <a:pt x="123531" y="11454"/>
                    <a:pt x="123129" y="22952"/>
                    <a:pt x="122815" y="34496"/>
                  </a:cubicBezTo>
                  <a:cubicBezTo>
                    <a:pt x="126529" y="36688"/>
                    <a:pt x="130287" y="38970"/>
                    <a:pt x="134001" y="41341"/>
                  </a:cubicBezTo>
                  <a:cubicBezTo>
                    <a:pt x="134672" y="42728"/>
                    <a:pt x="136014" y="45547"/>
                    <a:pt x="136685" y="46934"/>
                  </a:cubicBezTo>
                  <a:cubicBezTo>
                    <a:pt x="126753" y="65501"/>
                    <a:pt x="112704" y="82100"/>
                    <a:pt x="106440" y="102413"/>
                  </a:cubicBezTo>
                  <a:cubicBezTo>
                    <a:pt x="110914" y="117044"/>
                    <a:pt x="122189" y="128542"/>
                    <a:pt x="126842" y="143262"/>
                  </a:cubicBezTo>
                  <a:cubicBezTo>
                    <a:pt x="140488" y="183753"/>
                    <a:pt x="139862" y="231716"/>
                    <a:pt x="114941" y="267912"/>
                  </a:cubicBezTo>
                  <a:cubicBezTo>
                    <a:pt x="118833" y="246839"/>
                    <a:pt x="126529" y="226347"/>
                    <a:pt x="126842" y="204782"/>
                  </a:cubicBezTo>
                  <a:cubicBezTo>
                    <a:pt x="127513" y="172523"/>
                    <a:pt x="121921" y="138699"/>
                    <a:pt x="102369" y="112212"/>
                  </a:cubicBezTo>
                  <a:cubicBezTo>
                    <a:pt x="90512" y="128318"/>
                    <a:pt x="79372" y="145454"/>
                    <a:pt x="63488" y="157937"/>
                  </a:cubicBezTo>
                  <a:cubicBezTo>
                    <a:pt x="43713" y="173507"/>
                    <a:pt x="21297" y="185095"/>
                    <a:pt x="403" y="199010"/>
                  </a:cubicBezTo>
                  <a:cubicBezTo>
                    <a:pt x="45" y="181516"/>
                    <a:pt x="-224" y="164022"/>
                    <a:pt x="269" y="146573"/>
                  </a:cubicBezTo>
                  <a:cubicBezTo>
                    <a:pt x="14362" y="138430"/>
                    <a:pt x="43444" y="137490"/>
                    <a:pt x="41117" y="115388"/>
                  </a:cubicBezTo>
                  <a:cubicBezTo>
                    <a:pt x="41117" y="104471"/>
                    <a:pt x="39060" y="93733"/>
                    <a:pt x="37180" y="83040"/>
                  </a:cubicBezTo>
                  <a:cubicBezTo>
                    <a:pt x="54540" y="85904"/>
                    <a:pt x="70602" y="77179"/>
                    <a:pt x="82772" y="65546"/>
                  </a:cubicBezTo>
                  <a:close/>
                </a:path>
              </a:pathLst>
            </a:custGeom>
            <a:solidFill>
              <a:schemeClr val="tx1"/>
            </a:solid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 name="Freeform: Shape 247">
              <a:extLst>
                <a:ext uri="{FF2B5EF4-FFF2-40B4-BE49-F238E27FC236}">
                  <a16:creationId xmlns:a16="http://schemas.microsoft.com/office/drawing/2014/main" id="{A90ECE71-843F-F737-CC6D-C2F4852AAF4F}"/>
                </a:ext>
              </a:extLst>
            </p:cNvPr>
            <p:cNvSpPr/>
            <p:nvPr/>
          </p:nvSpPr>
          <p:spPr>
            <a:xfrm flipH="1">
              <a:off x="953269" y="3237088"/>
              <a:ext cx="29783" cy="37144"/>
            </a:xfrm>
            <a:custGeom>
              <a:avLst/>
              <a:gdLst>
                <a:gd name="connsiteX0" fmla="*/ 4 w 24969"/>
                <a:gd name="connsiteY0" fmla="*/ 20492 h 31140"/>
                <a:gd name="connsiteX1" fmla="*/ 24970 w 24969"/>
                <a:gd name="connsiteY1" fmla="*/ 0 h 31140"/>
                <a:gd name="connsiteX2" fmla="*/ 23493 w 24969"/>
                <a:gd name="connsiteY2" fmla="*/ 3758 h 31140"/>
                <a:gd name="connsiteX3" fmla="*/ 11279 w 24969"/>
                <a:gd name="connsiteY3" fmla="*/ 31140 h 31140"/>
                <a:gd name="connsiteX4" fmla="*/ 4 w 24969"/>
                <a:gd name="connsiteY4" fmla="*/ 20492 h 3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9" h="31140">
                  <a:moveTo>
                    <a:pt x="4" y="20492"/>
                  </a:moveTo>
                  <a:cubicBezTo>
                    <a:pt x="-265" y="6130"/>
                    <a:pt x="13784" y="2774"/>
                    <a:pt x="24970" y="0"/>
                  </a:cubicBezTo>
                  <a:lnTo>
                    <a:pt x="23493" y="3758"/>
                  </a:lnTo>
                  <a:cubicBezTo>
                    <a:pt x="19377" y="12885"/>
                    <a:pt x="14903" y="21789"/>
                    <a:pt x="11279" y="31140"/>
                  </a:cubicBezTo>
                  <a:cubicBezTo>
                    <a:pt x="7431" y="27650"/>
                    <a:pt x="3673" y="24116"/>
                    <a:pt x="4" y="20492"/>
                  </a:cubicBezTo>
                  <a:close/>
                </a:path>
              </a:pathLst>
            </a:custGeom>
            <a:solidFill>
              <a:srgbClr val="F0D2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Freeform: Shape 248">
              <a:extLst>
                <a:ext uri="{FF2B5EF4-FFF2-40B4-BE49-F238E27FC236}">
                  <a16:creationId xmlns:a16="http://schemas.microsoft.com/office/drawing/2014/main" id="{71B7300F-695F-326F-1BB5-B1DBE8B172A7}"/>
                </a:ext>
              </a:extLst>
            </p:cNvPr>
            <p:cNvSpPr/>
            <p:nvPr/>
          </p:nvSpPr>
          <p:spPr>
            <a:xfrm flipH="1">
              <a:off x="940834" y="3252137"/>
              <a:ext cx="25029" cy="68951"/>
            </a:xfrm>
            <a:custGeom>
              <a:avLst/>
              <a:gdLst>
                <a:gd name="connsiteX0" fmla="*/ 15704 w 20983"/>
                <a:gd name="connsiteY0" fmla="*/ 0 h 57806"/>
                <a:gd name="connsiteX1" fmla="*/ 20984 w 20983"/>
                <a:gd name="connsiteY1" fmla="*/ 6711 h 57806"/>
                <a:gd name="connsiteX2" fmla="*/ 18568 w 20983"/>
                <a:gd name="connsiteY2" fmla="*/ 16465 h 57806"/>
                <a:gd name="connsiteX3" fmla="*/ 14407 w 20983"/>
                <a:gd name="connsiteY3" fmla="*/ 57806 h 57806"/>
                <a:gd name="connsiteX4" fmla="*/ 0 w 20983"/>
                <a:gd name="connsiteY4" fmla="*/ 40760 h 57806"/>
                <a:gd name="connsiteX5" fmla="*/ 7024 w 20983"/>
                <a:gd name="connsiteY5" fmla="*/ 36106 h 57806"/>
                <a:gd name="connsiteX6" fmla="*/ 15704 w 20983"/>
                <a:gd name="connsiteY6" fmla="*/ 0 h 5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83" h="57806">
                  <a:moveTo>
                    <a:pt x="15704" y="0"/>
                  </a:moveTo>
                  <a:cubicBezTo>
                    <a:pt x="17002" y="1655"/>
                    <a:pt x="19642" y="5011"/>
                    <a:pt x="20984" y="6711"/>
                  </a:cubicBezTo>
                  <a:cubicBezTo>
                    <a:pt x="20357" y="9127"/>
                    <a:pt x="19149" y="14004"/>
                    <a:pt x="18568" y="16465"/>
                  </a:cubicBezTo>
                  <a:cubicBezTo>
                    <a:pt x="14586" y="29843"/>
                    <a:pt x="13825" y="43891"/>
                    <a:pt x="14407" y="57806"/>
                  </a:cubicBezTo>
                  <a:cubicBezTo>
                    <a:pt x="9351" y="52258"/>
                    <a:pt x="4698" y="46486"/>
                    <a:pt x="0" y="40760"/>
                  </a:cubicBezTo>
                  <a:cubicBezTo>
                    <a:pt x="2282" y="39194"/>
                    <a:pt x="4653" y="37628"/>
                    <a:pt x="7024" y="36106"/>
                  </a:cubicBezTo>
                  <a:cubicBezTo>
                    <a:pt x="8680" y="23802"/>
                    <a:pt x="11275" y="11633"/>
                    <a:pt x="15704" y="0"/>
                  </a:cubicBezTo>
                  <a:close/>
                </a:path>
              </a:pathLst>
            </a:custGeom>
            <a:solidFill>
              <a:srgbClr val="B492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 name="Freeform: Shape 249">
              <a:extLst>
                <a:ext uri="{FF2B5EF4-FFF2-40B4-BE49-F238E27FC236}">
                  <a16:creationId xmlns:a16="http://schemas.microsoft.com/office/drawing/2014/main" id="{B1B69C4A-010A-F447-46FE-AD438457CEBA}"/>
                </a:ext>
              </a:extLst>
            </p:cNvPr>
            <p:cNvSpPr/>
            <p:nvPr/>
          </p:nvSpPr>
          <p:spPr>
            <a:xfrm flipH="1">
              <a:off x="969600" y="3261531"/>
              <a:ext cx="19105" cy="38904"/>
            </a:xfrm>
            <a:custGeom>
              <a:avLst/>
              <a:gdLst>
                <a:gd name="connsiteX0" fmla="*/ 4743 w 16017"/>
                <a:gd name="connsiteY0" fmla="*/ 0 h 32616"/>
                <a:gd name="connsiteX1" fmla="*/ 16018 w 16017"/>
                <a:gd name="connsiteY1" fmla="*/ 10648 h 32616"/>
                <a:gd name="connsiteX2" fmla="*/ 10201 w 16017"/>
                <a:gd name="connsiteY2" fmla="*/ 32617 h 32616"/>
                <a:gd name="connsiteX3" fmla="*/ 0 w 16017"/>
                <a:gd name="connsiteY3" fmla="*/ 23310 h 32616"/>
                <a:gd name="connsiteX4" fmla="*/ 4743 w 16017"/>
                <a:gd name="connsiteY4" fmla="*/ 0 h 3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7" h="32616">
                  <a:moveTo>
                    <a:pt x="4743" y="0"/>
                  </a:moveTo>
                  <a:cubicBezTo>
                    <a:pt x="8411" y="3624"/>
                    <a:pt x="12170" y="7159"/>
                    <a:pt x="16018" y="10648"/>
                  </a:cubicBezTo>
                  <a:cubicBezTo>
                    <a:pt x="13870" y="17897"/>
                    <a:pt x="12035" y="25234"/>
                    <a:pt x="10201" y="32617"/>
                  </a:cubicBezTo>
                  <a:cubicBezTo>
                    <a:pt x="6756" y="29485"/>
                    <a:pt x="3356" y="26353"/>
                    <a:pt x="0" y="23310"/>
                  </a:cubicBezTo>
                  <a:cubicBezTo>
                    <a:pt x="1477" y="15481"/>
                    <a:pt x="2998" y="7740"/>
                    <a:pt x="4743" y="0"/>
                  </a:cubicBezTo>
                  <a:close/>
                </a:path>
              </a:pathLst>
            </a:custGeom>
            <a:solidFill>
              <a:srgbClr val="EEA9A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 name="Freeform: Shape 250">
              <a:extLst>
                <a:ext uri="{FF2B5EF4-FFF2-40B4-BE49-F238E27FC236}">
                  <a16:creationId xmlns:a16="http://schemas.microsoft.com/office/drawing/2014/main" id="{D775AA77-082A-B3E9-3A9A-7F355FE68DC7}"/>
                </a:ext>
              </a:extLst>
            </p:cNvPr>
            <p:cNvSpPr/>
            <p:nvPr/>
          </p:nvSpPr>
          <p:spPr>
            <a:xfrm flipH="1">
              <a:off x="932085" y="3260144"/>
              <a:ext cx="11631" cy="21400"/>
            </a:xfrm>
            <a:custGeom>
              <a:avLst/>
              <a:gdLst>
                <a:gd name="connsiteX0" fmla="*/ 2416 w 9752"/>
                <a:gd name="connsiteY0" fmla="*/ 0 h 17941"/>
                <a:gd name="connsiteX1" fmla="*/ 8501 w 9752"/>
                <a:gd name="connsiteY1" fmla="*/ 17941 h 17941"/>
                <a:gd name="connsiteX2" fmla="*/ 0 w 9752"/>
                <a:gd name="connsiteY2" fmla="*/ 9754 h 17941"/>
                <a:gd name="connsiteX3" fmla="*/ 2416 w 9752"/>
                <a:gd name="connsiteY3" fmla="*/ 0 h 17941"/>
              </a:gdLst>
              <a:ahLst/>
              <a:cxnLst>
                <a:cxn ang="0">
                  <a:pos x="connsiteX0" y="connsiteY0"/>
                </a:cxn>
                <a:cxn ang="0">
                  <a:pos x="connsiteX1" y="connsiteY1"/>
                </a:cxn>
                <a:cxn ang="0">
                  <a:pos x="connsiteX2" y="connsiteY2"/>
                </a:cxn>
                <a:cxn ang="0">
                  <a:pos x="connsiteX3" y="connsiteY3"/>
                </a:cxn>
              </a:cxnLst>
              <a:rect l="l" t="t" r="r" b="b"/>
              <a:pathLst>
                <a:path w="9752" h="17941">
                  <a:moveTo>
                    <a:pt x="2416" y="0"/>
                  </a:moveTo>
                  <a:cubicBezTo>
                    <a:pt x="7606" y="4295"/>
                    <a:pt x="11991" y="11051"/>
                    <a:pt x="8501" y="17941"/>
                  </a:cubicBezTo>
                  <a:cubicBezTo>
                    <a:pt x="6353" y="15883"/>
                    <a:pt x="2148" y="11812"/>
                    <a:pt x="0" y="9754"/>
                  </a:cubicBezTo>
                  <a:cubicBezTo>
                    <a:pt x="581" y="7293"/>
                    <a:pt x="1789" y="2416"/>
                    <a:pt x="2416" y="0"/>
                  </a:cubicBezTo>
                  <a:close/>
                </a:path>
              </a:pathLst>
            </a:custGeom>
            <a:solidFill>
              <a:srgbClr val="B563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 name="Freeform: Shape 251">
              <a:extLst>
                <a:ext uri="{FF2B5EF4-FFF2-40B4-BE49-F238E27FC236}">
                  <a16:creationId xmlns:a16="http://schemas.microsoft.com/office/drawing/2014/main" id="{E90509E4-9DB6-ABBF-8E5E-43E064E96123}"/>
                </a:ext>
              </a:extLst>
            </p:cNvPr>
            <p:cNvSpPr/>
            <p:nvPr/>
          </p:nvSpPr>
          <p:spPr>
            <a:xfrm flipH="1">
              <a:off x="878877" y="3258994"/>
              <a:ext cx="55554" cy="86055"/>
            </a:xfrm>
            <a:custGeom>
              <a:avLst/>
              <a:gdLst>
                <a:gd name="connsiteX0" fmla="*/ 9082 w 46575"/>
                <a:gd name="connsiteY0" fmla="*/ 24452 h 72146"/>
                <a:gd name="connsiteX1" fmla="*/ 45368 w 46575"/>
                <a:gd name="connsiteY1" fmla="*/ 918 h 72146"/>
                <a:gd name="connsiteX2" fmla="*/ 46576 w 46575"/>
                <a:gd name="connsiteY2" fmla="*/ 16353 h 72146"/>
                <a:gd name="connsiteX3" fmla="*/ 41431 w 46575"/>
                <a:gd name="connsiteY3" fmla="*/ 10448 h 72146"/>
                <a:gd name="connsiteX4" fmla="*/ 27337 w 46575"/>
                <a:gd name="connsiteY4" fmla="*/ 10403 h 72146"/>
                <a:gd name="connsiteX5" fmla="*/ 18881 w 46575"/>
                <a:gd name="connsiteY5" fmla="*/ 52997 h 72146"/>
                <a:gd name="connsiteX6" fmla="*/ 24921 w 46575"/>
                <a:gd name="connsiteY6" fmla="*/ 72146 h 72146"/>
                <a:gd name="connsiteX7" fmla="*/ 1163 w 46575"/>
                <a:gd name="connsiteY7" fmla="*/ 60513 h 72146"/>
                <a:gd name="connsiteX8" fmla="*/ 0 w 46575"/>
                <a:gd name="connsiteY8" fmla="*/ 59932 h 72146"/>
                <a:gd name="connsiteX9" fmla="*/ 9082 w 46575"/>
                <a:gd name="connsiteY9" fmla="*/ 24452 h 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75" h="72146">
                  <a:moveTo>
                    <a:pt x="9082" y="24452"/>
                  </a:moveTo>
                  <a:cubicBezTo>
                    <a:pt x="12886" y="7897"/>
                    <a:pt x="28321" y="-3378"/>
                    <a:pt x="45368" y="918"/>
                  </a:cubicBezTo>
                  <a:cubicBezTo>
                    <a:pt x="45681" y="4765"/>
                    <a:pt x="46263" y="12506"/>
                    <a:pt x="46576" y="16353"/>
                  </a:cubicBezTo>
                  <a:lnTo>
                    <a:pt x="41431" y="10448"/>
                  </a:lnTo>
                  <a:cubicBezTo>
                    <a:pt x="36822" y="9419"/>
                    <a:pt x="31498" y="6958"/>
                    <a:pt x="27337" y="10403"/>
                  </a:cubicBezTo>
                  <a:cubicBezTo>
                    <a:pt x="20134" y="23109"/>
                    <a:pt x="13646" y="38277"/>
                    <a:pt x="18881" y="52997"/>
                  </a:cubicBezTo>
                  <a:cubicBezTo>
                    <a:pt x="20671" y="59439"/>
                    <a:pt x="22684" y="65748"/>
                    <a:pt x="24921" y="72146"/>
                  </a:cubicBezTo>
                  <a:cubicBezTo>
                    <a:pt x="17315" y="67538"/>
                    <a:pt x="9351" y="63735"/>
                    <a:pt x="1163" y="60513"/>
                  </a:cubicBezTo>
                  <a:lnTo>
                    <a:pt x="0" y="59932"/>
                  </a:lnTo>
                  <a:cubicBezTo>
                    <a:pt x="12170" y="52057"/>
                    <a:pt x="7427" y="36487"/>
                    <a:pt x="9082" y="24452"/>
                  </a:cubicBezTo>
                  <a:close/>
                </a:path>
              </a:pathLst>
            </a:custGeom>
            <a:solidFill>
              <a:srgbClr val="A078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 name="Freeform: Shape 252">
              <a:extLst>
                <a:ext uri="{FF2B5EF4-FFF2-40B4-BE49-F238E27FC236}">
                  <a16:creationId xmlns:a16="http://schemas.microsoft.com/office/drawing/2014/main" id="{2B488DAC-C35B-EC49-7C1C-CCCFEE0A4EA8}"/>
                </a:ext>
              </a:extLst>
            </p:cNvPr>
            <p:cNvSpPr/>
            <p:nvPr/>
          </p:nvSpPr>
          <p:spPr>
            <a:xfrm flipH="1">
              <a:off x="885012" y="3269290"/>
              <a:ext cx="29163" cy="52918"/>
            </a:xfrm>
            <a:custGeom>
              <a:avLst/>
              <a:gdLst>
                <a:gd name="connsiteX0" fmla="*/ 10357 w 24450"/>
                <a:gd name="connsiteY0" fmla="*/ 1772 h 44365"/>
                <a:gd name="connsiteX1" fmla="*/ 24450 w 24450"/>
                <a:gd name="connsiteY1" fmla="*/ 1816 h 44365"/>
                <a:gd name="connsiteX2" fmla="*/ 8343 w 24450"/>
                <a:gd name="connsiteY2" fmla="*/ 24053 h 44365"/>
                <a:gd name="connsiteX3" fmla="*/ 1900 w 24450"/>
                <a:gd name="connsiteY3" fmla="*/ 44366 h 44365"/>
                <a:gd name="connsiteX4" fmla="*/ 10357 w 24450"/>
                <a:gd name="connsiteY4" fmla="*/ 1772 h 4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50" h="44365">
                  <a:moveTo>
                    <a:pt x="10357" y="1772"/>
                  </a:moveTo>
                  <a:cubicBezTo>
                    <a:pt x="14518" y="-1673"/>
                    <a:pt x="19842" y="787"/>
                    <a:pt x="24450" y="1816"/>
                  </a:cubicBezTo>
                  <a:cubicBezTo>
                    <a:pt x="17918" y="8259"/>
                    <a:pt x="10357" y="14612"/>
                    <a:pt x="8343" y="24053"/>
                  </a:cubicBezTo>
                  <a:cubicBezTo>
                    <a:pt x="6061" y="30764"/>
                    <a:pt x="4003" y="37565"/>
                    <a:pt x="1900" y="44366"/>
                  </a:cubicBezTo>
                  <a:cubicBezTo>
                    <a:pt x="-3334" y="29646"/>
                    <a:pt x="3153" y="14478"/>
                    <a:pt x="10357" y="1772"/>
                  </a:cubicBezTo>
                  <a:close/>
                </a:path>
              </a:pathLst>
            </a:custGeom>
            <a:solidFill>
              <a:srgbClr val="D2A2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 name="Freeform: Shape 253">
              <a:extLst>
                <a:ext uri="{FF2B5EF4-FFF2-40B4-BE49-F238E27FC236}">
                  <a16:creationId xmlns:a16="http://schemas.microsoft.com/office/drawing/2014/main" id="{5339265F-6C16-9D4E-B46C-3768E4FA340D}"/>
                </a:ext>
              </a:extLst>
            </p:cNvPr>
            <p:cNvSpPr/>
            <p:nvPr/>
          </p:nvSpPr>
          <p:spPr>
            <a:xfrm flipH="1">
              <a:off x="923598" y="3271777"/>
              <a:ext cx="25288" cy="58703"/>
            </a:xfrm>
            <a:custGeom>
              <a:avLst/>
              <a:gdLst>
                <a:gd name="connsiteX0" fmla="*/ 173 w 21201"/>
                <a:gd name="connsiteY0" fmla="*/ 41341 h 49215"/>
                <a:gd name="connsiteX1" fmla="*/ 4334 w 21201"/>
                <a:gd name="connsiteY1" fmla="*/ 0 h 49215"/>
                <a:gd name="connsiteX2" fmla="*/ 12835 w 21201"/>
                <a:gd name="connsiteY2" fmla="*/ 8188 h 49215"/>
                <a:gd name="connsiteX3" fmla="*/ 21202 w 21201"/>
                <a:gd name="connsiteY3" fmla="*/ 13736 h 49215"/>
                <a:gd name="connsiteX4" fmla="*/ 12119 w 21201"/>
                <a:gd name="connsiteY4" fmla="*/ 49216 h 49215"/>
                <a:gd name="connsiteX5" fmla="*/ 173 w 21201"/>
                <a:gd name="connsiteY5" fmla="*/ 41341 h 4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01" h="49215">
                  <a:moveTo>
                    <a:pt x="173" y="41341"/>
                  </a:moveTo>
                  <a:cubicBezTo>
                    <a:pt x="-408" y="27426"/>
                    <a:pt x="352" y="13378"/>
                    <a:pt x="4334" y="0"/>
                  </a:cubicBezTo>
                  <a:cubicBezTo>
                    <a:pt x="6482" y="2058"/>
                    <a:pt x="10688" y="6130"/>
                    <a:pt x="12835" y="8188"/>
                  </a:cubicBezTo>
                  <a:cubicBezTo>
                    <a:pt x="14893" y="9575"/>
                    <a:pt x="19099" y="12349"/>
                    <a:pt x="21202" y="13736"/>
                  </a:cubicBezTo>
                  <a:cubicBezTo>
                    <a:pt x="19546" y="25771"/>
                    <a:pt x="24289" y="41341"/>
                    <a:pt x="12119" y="49216"/>
                  </a:cubicBezTo>
                  <a:cubicBezTo>
                    <a:pt x="8003" y="46710"/>
                    <a:pt x="4021" y="44070"/>
                    <a:pt x="173" y="41341"/>
                  </a:cubicBezTo>
                  <a:close/>
                </a:path>
              </a:pathLst>
            </a:custGeom>
            <a:solidFill>
              <a:srgbClr val="F0A8A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 name="Freeform: Shape 254">
              <a:extLst>
                <a:ext uri="{FF2B5EF4-FFF2-40B4-BE49-F238E27FC236}">
                  <a16:creationId xmlns:a16="http://schemas.microsoft.com/office/drawing/2014/main" id="{726D9F2C-45BC-E207-A716-2702D21537FC}"/>
                </a:ext>
              </a:extLst>
            </p:cNvPr>
            <p:cNvSpPr/>
            <p:nvPr/>
          </p:nvSpPr>
          <p:spPr>
            <a:xfrm flipH="1">
              <a:off x="392305" y="3271031"/>
              <a:ext cx="426479" cy="868480"/>
            </a:xfrm>
            <a:custGeom>
              <a:avLst/>
              <a:gdLst>
                <a:gd name="connsiteX0" fmla="*/ 106037 w 357547"/>
                <a:gd name="connsiteY0" fmla="*/ 55479 h 728107"/>
                <a:gd name="connsiteX1" fmla="*/ 136283 w 357547"/>
                <a:gd name="connsiteY1" fmla="*/ 0 h 728107"/>
                <a:gd name="connsiteX2" fmla="*/ 138206 w 357547"/>
                <a:gd name="connsiteY2" fmla="*/ 3892 h 728107"/>
                <a:gd name="connsiteX3" fmla="*/ 219188 w 357547"/>
                <a:gd name="connsiteY3" fmla="*/ 66307 h 728107"/>
                <a:gd name="connsiteX4" fmla="*/ 241022 w 357547"/>
                <a:gd name="connsiteY4" fmla="*/ 161651 h 728107"/>
                <a:gd name="connsiteX5" fmla="*/ 296323 w 357547"/>
                <a:gd name="connsiteY5" fmla="*/ 211359 h 728107"/>
                <a:gd name="connsiteX6" fmla="*/ 307061 w 357547"/>
                <a:gd name="connsiteY6" fmla="*/ 364464 h 728107"/>
                <a:gd name="connsiteX7" fmla="*/ 340617 w 357547"/>
                <a:gd name="connsiteY7" fmla="*/ 409608 h 728107"/>
                <a:gd name="connsiteX8" fmla="*/ 335382 w 357547"/>
                <a:gd name="connsiteY8" fmla="*/ 501373 h 728107"/>
                <a:gd name="connsiteX9" fmla="*/ 356187 w 357547"/>
                <a:gd name="connsiteY9" fmla="*/ 555957 h 728107"/>
                <a:gd name="connsiteX10" fmla="*/ 335024 w 357547"/>
                <a:gd name="connsiteY10" fmla="*/ 685394 h 728107"/>
                <a:gd name="connsiteX11" fmla="*/ 296323 w 357547"/>
                <a:gd name="connsiteY11" fmla="*/ 725125 h 728107"/>
                <a:gd name="connsiteX12" fmla="*/ 248942 w 357547"/>
                <a:gd name="connsiteY12" fmla="*/ 726020 h 728107"/>
                <a:gd name="connsiteX13" fmla="*/ 251134 w 357547"/>
                <a:gd name="connsiteY13" fmla="*/ 723962 h 728107"/>
                <a:gd name="connsiteX14" fmla="*/ 266614 w 357547"/>
                <a:gd name="connsiteY14" fmla="*/ 622980 h 728107"/>
                <a:gd name="connsiteX15" fmla="*/ 221247 w 357547"/>
                <a:gd name="connsiteY15" fmla="*/ 413098 h 728107"/>
                <a:gd name="connsiteX16" fmla="*/ 184737 w 357547"/>
                <a:gd name="connsiteY16" fmla="*/ 320215 h 728107"/>
                <a:gd name="connsiteX17" fmla="*/ 184961 w 357547"/>
                <a:gd name="connsiteY17" fmla="*/ 333055 h 728107"/>
                <a:gd name="connsiteX18" fmla="*/ 140712 w 357547"/>
                <a:gd name="connsiteY18" fmla="*/ 260530 h 728107"/>
                <a:gd name="connsiteX19" fmla="*/ 151584 w 357547"/>
                <a:gd name="connsiteY19" fmla="*/ 260440 h 728107"/>
                <a:gd name="connsiteX20" fmla="*/ 86485 w 357547"/>
                <a:gd name="connsiteY20" fmla="*/ 229434 h 728107"/>
                <a:gd name="connsiteX21" fmla="*/ 83353 w 357547"/>
                <a:gd name="connsiteY21" fmla="*/ 228360 h 728107"/>
                <a:gd name="connsiteX22" fmla="*/ 63309 w 357547"/>
                <a:gd name="connsiteY22" fmla="*/ 223305 h 728107"/>
                <a:gd name="connsiteX23" fmla="*/ 52437 w 357547"/>
                <a:gd name="connsiteY23" fmla="*/ 165633 h 728107"/>
                <a:gd name="connsiteX24" fmla="*/ 3221 w 357547"/>
                <a:gd name="connsiteY24" fmla="*/ 152389 h 728107"/>
                <a:gd name="connsiteX25" fmla="*/ 0 w 357547"/>
                <a:gd name="connsiteY25" fmla="*/ 152076 h 728107"/>
                <a:gd name="connsiteX26" fmla="*/ 63085 w 357547"/>
                <a:gd name="connsiteY26" fmla="*/ 111004 h 728107"/>
                <a:gd name="connsiteX27" fmla="*/ 101966 w 357547"/>
                <a:gd name="connsiteY27" fmla="*/ 65278 h 728107"/>
                <a:gd name="connsiteX28" fmla="*/ 126439 w 357547"/>
                <a:gd name="connsiteY28" fmla="*/ 157848 h 728107"/>
                <a:gd name="connsiteX29" fmla="*/ 114538 w 357547"/>
                <a:gd name="connsiteY29" fmla="*/ 220978 h 728107"/>
                <a:gd name="connsiteX30" fmla="*/ 126439 w 357547"/>
                <a:gd name="connsiteY30" fmla="*/ 96328 h 728107"/>
                <a:gd name="connsiteX31" fmla="*/ 106037 w 357547"/>
                <a:gd name="connsiteY31" fmla="*/ 55479 h 728107"/>
                <a:gd name="connsiteX32" fmla="*/ 154179 w 357547"/>
                <a:gd name="connsiteY32" fmla="*/ 107022 h 728107"/>
                <a:gd name="connsiteX33" fmla="*/ 165365 w 357547"/>
                <a:gd name="connsiteY33" fmla="*/ 194312 h 728107"/>
                <a:gd name="connsiteX34" fmla="*/ 173508 w 357547"/>
                <a:gd name="connsiteY34" fmla="*/ 166751 h 728107"/>
                <a:gd name="connsiteX35" fmla="*/ 154179 w 357547"/>
                <a:gd name="connsiteY35" fmla="*/ 107022 h 728107"/>
                <a:gd name="connsiteX36" fmla="*/ 248762 w 357547"/>
                <a:gd name="connsiteY36" fmla="*/ 388937 h 728107"/>
                <a:gd name="connsiteX37" fmla="*/ 253997 w 357547"/>
                <a:gd name="connsiteY37" fmla="*/ 448712 h 728107"/>
                <a:gd name="connsiteX38" fmla="*/ 281916 w 357547"/>
                <a:gd name="connsiteY38" fmla="*/ 521148 h 728107"/>
                <a:gd name="connsiteX39" fmla="*/ 272073 w 357547"/>
                <a:gd name="connsiteY39" fmla="*/ 469875 h 728107"/>
                <a:gd name="connsiteX40" fmla="*/ 248762 w 357547"/>
                <a:gd name="connsiteY40" fmla="*/ 388937 h 728107"/>
                <a:gd name="connsiteX41" fmla="*/ 267509 w 357547"/>
                <a:gd name="connsiteY41" fmla="*/ 524191 h 728107"/>
                <a:gd name="connsiteX42" fmla="*/ 274713 w 357547"/>
                <a:gd name="connsiteY42" fmla="*/ 590632 h 728107"/>
                <a:gd name="connsiteX43" fmla="*/ 267509 w 357547"/>
                <a:gd name="connsiteY43" fmla="*/ 524191 h 72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7547" h="728107">
                  <a:moveTo>
                    <a:pt x="106037" y="55479"/>
                  </a:moveTo>
                  <a:cubicBezTo>
                    <a:pt x="112301" y="35167"/>
                    <a:pt x="126350" y="18568"/>
                    <a:pt x="136283" y="0"/>
                  </a:cubicBezTo>
                  <a:lnTo>
                    <a:pt x="138206" y="3892"/>
                  </a:lnTo>
                  <a:cubicBezTo>
                    <a:pt x="170152" y="16823"/>
                    <a:pt x="201695" y="35391"/>
                    <a:pt x="219188" y="66307"/>
                  </a:cubicBezTo>
                  <a:cubicBezTo>
                    <a:pt x="237488" y="94673"/>
                    <a:pt x="239590" y="128945"/>
                    <a:pt x="241022" y="161651"/>
                  </a:cubicBezTo>
                  <a:cubicBezTo>
                    <a:pt x="262677" y="174223"/>
                    <a:pt x="284556" y="188183"/>
                    <a:pt x="296323" y="211359"/>
                  </a:cubicBezTo>
                  <a:cubicBezTo>
                    <a:pt x="318156" y="258158"/>
                    <a:pt x="332116" y="316277"/>
                    <a:pt x="307061" y="364464"/>
                  </a:cubicBezTo>
                  <a:cubicBezTo>
                    <a:pt x="314980" y="381197"/>
                    <a:pt x="334308" y="391130"/>
                    <a:pt x="340617" y="409608"/>
                  </a:cubicBezTo>
                  <a:cubicBezTo>
                    <a:pt x="356097" y="439093"/>
                    <a:pt x="341198" y="471441"/>
                    <a:pt x="335382" y="501373"/>
                  </a:cubicBezTo>
                  <a:cubicBezTo>
                    <a:pt x="349655" y="515601"/>
                    <a:pt x="361690" y="534884"/>
                    <a:pt x="356187" y="555957"/>
                  </a:cubicBezTo>
                  <a:cubicBezTo>
                    <a:pt x="344778" y="598507"/>
                    <a:pt x="354844" y="644724"/>
                    <a:pt x="335024" y="685394"/>
                  </a:cubicBezTo>
                  <a:cubicBezTo>
                    <a:pt x="326389" y="702172"/>
                    <a:pt x="312698" y="715774"/>
                    <a:pt x="296323" y="725125"/>
                  </a:cubicBezTo>
                  <a:cubicBezTo>
                    <a:pt x="280797" y="729196"/>
                    <a:pt x="264646" y="728704"/>
                    <a:pt x="248942" y="726020"/>
                  </a:cubicBezTo>
                  <a:lnTo>
                    <a:pt x="251134" y="723962"/>
                  </a:lnTo>
                  <a:cubicBezTo>
                    <a:pt x="265227" y="692374"/>
                    <a:pt x="267151" y="657073"/>
                    <a:pt x="266614" y="622980"/>
                  </a:cubicBezTo>
                  <a:cubicBezTo>
                    <a:pt x="266256" y="550588"/>
                    <a:pt x="240620" y="481910"/>
                    <a:pt x="221247" y="413098"/>
                  </a:cubicBezTo>
                  <a:cubicBezTo>
                    <a:pt x="211582" y="381287"/>
                    <a:pt x="203260" y="348267"/>
                    <a:pt x="184737" y="320215"/>
                  </a:cubicBezTo>
                  <a:cubicBezTo>
                    <a:pt x="184827" y="323391"/>
                    <a:pt x="184917" y="329834"/>
                    <a:pt x="184961" y="333055"/>
                  </a:cubicBezTo>
                  <a:cubicBezTo>
                    <a:pt x="176371" y="306255"/>
                    <a:pt x="173284" y="268986"/>
                    <a:pt x="140712" y="260530"/>
                  </a:cubicBezTo>
                  <a:cubicBezTo>
                    <a:pt x="143441" y="260530"/>
                    <a:pt x="148855" y="260530"/>
                    <a:pt x="151584" y="260440"/>
                  </a:cubicBezTo>
                  <a:cubicBezTo>
                    <a:pt x="135074" y="241738"/>
                    <a:pt x="111898" y="228987"/>
                    <a:pt x="86485" y="229434"/>
                  </a:cubicBezTo>
                  <a:lnTo>
                    <a:pt x="83353" y="228360"/>
                  </a:lnTo>
                  <a:cubicBezTo>
                    <a:pt x="76911" y="225855"/>
                    <a:pt x="69841" y="224781"/>
                    <a:pt x="63309" y="223305"/>
                  </a:cubicBezTo>
                  <a:cubicBezTo>
                    <a:pt x="60759" y="204200"/>
                    <a:pt x="65815" y="181516"/>
                    <a:pt x="52437" y="165633"/>
                  </a:cubicBezTo>
                  <a:cubicBezTo>
                    <a:pt x="38254" y="155656"/>
                    <a:pt x="19686" y="155924"/>
                    <a:pt x="3221" y="152389"/>
                  </a:cubicBezTo>
                  <a:cubicBezTo>
                    <a:pt x="2416" y="152300"/>
                    <a:pt x="805" y="152166"/>
                    <a:pt x="0" y="152076"/>
                  </a:cubicBezTo>
                  <a:cubicBezTo>
                    <a:pt x="20894" y="138162"/>
                    <a:pt x="43310" y="126574"/>
                    <a:pt x="63085" y="111004"/>
                  </a:cubicBezTo>
                  <a:cubicBezTo>
                    <a:pt x="78969" y="98521"/>
                    <a:pt x="90109" y="81385"/>
                    <a:pt x="101966" y="65278"/>
                  </a:cubicBezTo>
                  <a:cubicBezTo>
                    <a:pt x="121518" y="91765"/>
                    <a:pt x="127110" y="125589"/>
                    <a:pt x="126439" y="157848"/>
                  </a:cubicBezTo>
                  <a:cubicBezTo>
                    <a:pt x="126126" y="179413"/>
                    <a:pt x="118431" y="199905"/>
                    <a:pt x="114538" y="220978"/>
                  </a:cubicBezTo>
                  <a:cubicBezTo>
                    <a:pt x="139459" y="184782"/>
                    <a:pt x="140085" y="136819"/>
                    <a:pt x="126439" y="96328"/>
                  </a:cubicBezTo>
                  <a:cubicBezTo>
                    <a:pt x="121786" y="81608"/>
                    <a:pt x="110511" y="70110"/>
                    <a:pt x="106037" y="55479"/>
                  </a:cubicBezTo>
                  <a:close/>
                  <a:moveTo>
                    <a:pt x="154179" y="107022"/>
                  </a:moveTo>
                  <a:cubicBezTo>
                    <a:pt x="156998" y="136238"/>
                    <a:pt x="163396" y="164962"/>
                    <a:pt x="165365" y="194312"/>
                  </a:cubicBezTo>
                  <a:cubicBezTo>
                    <a:pt x="175163" y="188988"/>
                    <a:pt x="172970" y="176058"/>
                    <a:pt x="173508" y="166751"/>
                  </a:cubicBezTo>
                  <a:cubicBezTo>
                    <a:pt x="171494" y="145991"/>
                    <a:pt x="168049" y="123486"/>
                    <a:pt x="154179" y="107022"/>
                  </a:cubicBezTo>
                  <a:close/>
                  <a:moveTo>
                    <a:pt x="248762" y="388937"/>
                  </a:moveTo>
                  <a:cubicBezTo>
                    <a:pt x="247331" y="409071"/>
                    <a:pt x="252789" y="428713"/>
                    <a:pt x="253997" y="448712"/>
                  </a:cubicBezTo>
                  <a:cubicBezTo>
                    <a:pt x="254847" y="475288"/>
                    <a:pt x="268762" y="498867"/>
                    <a:pt x="281916" y="521148"/>
                  </a:cubicBezTo>
                  <a:cubicBezTo>
                    <a:pt x="283929" y="503297"/>
                    <a:pt x="275473" y="486966"/>
                    <a:pt x="272073" y="469875"/>
                  </a:cubicBezTo>
                  <a:cubicBezTo>
                    <a:pt x="265585" y="442627"/>
                    <a:pt x="262274" y="413903"/>
                    <a:pt x="248762" y="388937"/>
                  </a:cubicBezTo>
                  <a:close/>
                  <a:moveTo>
                    <a:pt x="267509" y="524191"/>
                  </a:moveTo>
                  <a:cubicBezTo>
                    <a:pt x="266614" y="546517"/>
                    <a:pt x="268314" y="569156"/>
                    <a:pt x="274713" y="590632"/>
                  </a:cubicBezTo>
                  <a:cubicBezTo>
                    <a:pt x="284869" y="569603"/>
                    <a:pt x="274713" y="544906"/>
                    <a:pt x="267509" y="524191"/>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 name="Freeform: Shape 255">
              <a:extLst>
                <a:ext uri="{FF2B5EF4-FFF2-40B4-BE49-F238E27FC236}">
                  <a16:creationId xmlns:a16="http://schemas.microsoft.com/office/drawing/2014/main" id="{2D354EDA-9E9B-0F54-05F3-3EC345BD0E89}"/>
                </a:ext>
              </a:extLst>
            </p:cNvPr>
            <p:cNvSpPr/>
            <p:nvPr/>
          </p:nvSpPr>
          <p:spPr>
            <a:xfrm flipH="1">
              <a:off x="838369" y="3271457"/>
              <a:ext cx="65855" cy="37517"/>
            </a:xfrm>
            <a:custGeom>
              <a:avLst/>
              <a:gdLst>
                <a:gd name="connsiteX0" fmla="*/ 0 w 55211"/>
                <a:gd name="connsiteY0" fmla="*/ 22237 h 31453"/>
                <a:gd name="connsiteX1" fmla="*/ 16107 w 55211"/>
                <a:gd name="connsiteY1" fmla="*/ 0 h 31453"/>
                <a:gd name="connsiteX2" fmla="*/ 21252 w 55211"/>
                <a:gd name="connsiteY2" fmla="*/ 5906 h 31453"/>
                <a:gd name="connsiteX3" fmla="*/ 22237 w 55211"/>
                <a:gd name="connsiteY3" fmla="*/ 14720 h 31453"/>
                <a:gd name="connsiteX4" fmla="*/ 42684 w 55211"/>
                <a:gd name="connsiteY4" fmla="*/ 5458 h 31453"/>
                <a:gd name="connsiteX5" fmla="*/ 55211 w 55211"/>
                <a:gd name="connsiteY5" fmla="*/ 21252 h 31453"/>
                <a:gd name="connsiteX6" fmla="*/ 25458 w 55211"/>
                <a:gd name="connsiteY6" fmla="*/ 21163 h 31453"/>
                <a:gd name="connsiteX7" fmla="*/ 1208 w 55211"/>
                <a:gd name="connsiteY7" fmla="*/ 31453 h 31453"/>
                <a:gd name="connsiteX8" fmla="*/ 0 w 55211"/>
                <a:gd name="connsiteY8" fmla="*/ 22237 h 3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11" h="31453">
                  <a:moveTo>
                    <a:pt x="0" y="22237"/>
                  </a:moveTo>
                  <a:cubicBezTo>
                    <a:pt x="2013" y="12796"/>
                    <a:pt x="9575" y="6443"/>
                    <a:pt x="16107" y="0"/>
                  </a:cubicBezTo>
                  <a:lnTo>
                    <a:pt x="21252" y="5906"/>
                  </a:lnTo>
                  <a:cubicBezTo>
                    <a:pt x="21476" y="8098"/>
                    <a:pt x="21968" y="12528"/>
                    <a:pt x="22237" y="14720"/>
                  </a:cubicBezTo>
                  <a:cubicBezTo>
                    <a:pt x="28992" y="11633"/>
                    <a:pt x="35838" y="8546"/>
                    <a:pt x="42684" y="5458"/>
                  </a:cubicBezTo>
                  <a:cubicBezTo>
                    <a:pt x="46889" y="10738"/>
                    <a:pt x="50916" y="15928"/>
                    <a:pt x="55211" y="21252"/>
                  </a:cubicBezTo>
                  <a:cubicBezTo>
                    <a:pt x="45278" y="22013"/>
                    <a:pt x="35346" y="22013"/>
                    <a:pt x="25458" y="21163"/>
                  </a:cubicBezTo>
                  <a:cubicBezTo>
                    <a:pt x="16823" y="23131"/>
                    <a:pt x="9038" y="27516"/>
                    <a:pt x="1208" y="31453"/>
                  </a:cubicBezTo>
                  <a:cubicBezTo>
                    <a:pt x="895" y="29172"/>
                    <a:pt x="313" y="24563"/>
                    <a:pt x="0" y="22237"/>
                  </a:cubicBezTo>
                  <a:close/>
                </a:path>
              </a:pathLst>
            </a:custGeom>
            <a:solidFill>
              <a:srgbClr val="E9978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 name="Freeform: Shape 256">
              <a:extLst>
                <a:ext uri="{FF2B5EF4-FFF2-40B4-BE49-F238E27FC236}">
                  <a16:creationId xmlns:a16="http://schemas.microsoft.com/office/drawing/2014/main" id="{82323E31-95BA-859B-811D-F5842EA0D6F4}"/>
                </a:ext>
              </a:extLst>
            </p:cNvPr>
            <p:cNvSpPr/>
            <p:nvPr/>
          </p:nvSpPr>
          <p:spPr>
            <a:xfrm flipH="1">
              <a:off x="873860" y="3296699"/>
              <a:ext cx="28923" cy="22147"/>
            </a:xfrm>
            <a:custGeom>
              <a:avLst/>
              <a:gdLst>
                <a:gd name="connsiteX0" fmla="*/ 0 w 24249"/>
                <a:gd name="connsiteY0" fmla="*/ 10290 h 18567"/>
                <a:gd name="connsiteX1" fmla="*/ 24250 w 24249"/>
                <a:gd name="connsiteY1" fmla="*/ 0 h 18567"/>
                <a:gd name="connsiteX2" fmla="*/ 16599 w 24249"/>
                <a:gd name="connsiteY2" fmla="*/ 18568 h 18567"/>
                <a:gd name="connsiteX3" fmla="*/ 1297 w 24249"/>
                <a:gd name="connsiteY3" fmla="*/ 15660 h 18567"/>
                <a:gd name="connsiteX4" fmla="*/ 0 w 24249"/>
                <a:gd name="connsiteY4" fmla="*/ 10290 h 18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9" h="18567">
                  <a:moveTo>
                    <a:pt x="0" y="10290"/>
                  </a:moveTo>
                  <a:cubicBezTo>
                    <a:pt x="7830" y="6353"/>
                    <a:pt x="15615" y="1969"/>
                    <a:pt x="24250" y="0"/>
                  </a:cubicBezTo>
                  <a:cubicBezTo>
                    <a:pt x="21655" y="6130"/>
                    <a:pt x="19105" y="12349"/>
                    <a:pt x="16599" y="18568"/>
                  </a:cubicBezTo>
                  <a:cubicBezTo>
                    <a:pt x="11454" y="17628"/>
                    <a:pt x="6308" y="16689"/>
                    <a:pt x="1297" y="15660"/>
                  </a:cubicBezTo>
                  <a:lnTo>
                    <a:pt x="0" y="10290"/>
                  </a:lnTo>
                  <a:close/>
                </a:path>
              </a:pathLst>
            </a:custGeom>
            <a:solidFill>
              <a:srgbClr val="BA636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 name="Freeform: Shape 257">
              <a:extLst>
                <a:ext uri="{FF2B5EF4-FFF2-40B4-BE49-F238E27FC236}">
                  <a16:creationId xmlns:a16="http://schemas.microsoft.com/office/drawing/2014/main" id="{7818DE33-0499-759E-DD5C-8B57626DE2DA}"/>
                </a:ext>
              </a:extLst>
            </p:cNvPr>
            <p:cNvSpPr/>
            <p:nvPr/>
          </p:nvSpPr>
          <p:spPr>
            <a:xfrm flipH="1">
              <a:off x="805656" y="3307433"/>
              <a:ext cx="22628" cy="11519"/>
            </a:xfrm>
            <a:custGeom>
              <a:avLst/>
              <a:gdLst>
                <a:gd name="connsiteX0" fmla="*/ 0 w 18970"/>
                <a:gd name="connsiteY0" fmla="*/ 83 h 9657"/>
                <a:gd name="connsiteX1" fmla="*/ 18971 w 18970"/>
                <a:gd name="connsiteY1" fmla="*/ 4199 h 9657"/>
                <a:gd name="connsiteX2" fmla="*/ 5682 w 18970"/>
                <a:gd name="connsiteY2" fmla="*/ 9658 h 9657"/>
                <a:gd name="connsiteX3" fmla="*/ 0 w 18970"/>
                <a:gd name="connsiteY3" fmla="*/ 83 h 9657"/>
              </a:gdLst>
              <a:ahLst/>
              <a:cxnLst>
                <a:cxn ang="0">
                  <a:pos x="connsiteX0" y="connsiteY0"/>
                </a:cxn>
                <a:cxn ang="0">
                  <a:pos x="connsiteX1" y="connsiteY1"/>
                </a:cxn>
                <a:cxn ang="0">
                  <a:pos x="connsiteX2" y="connsiteY2"/>
                </a:cxn>
                <a:cxn ang="0">
                  <a:pos x="connsiteX3" y="connsiteY3"/>
                </a:cxn>
              </a:cxnLst>
              <a:rect l="l" t="t" r="r" b="b"/>
              <a:pathLst>
                <a:path w="18970" h="9657">
                  <a:moveTo>
                    <a:pt x="0" y="83"/>
                  </a:moveTo>
                  <a:cubicBezTo>
                    <a:pt x="6532" y="-499"/>
                    <a:pt x="12796" y="2096"/>
                    <a:pt x="18971" y="4199"/>
                  </a:cubicBezTo>
                  <a:cubicBezTo>
                    <a:pt x="14586" y="6168"/>
                    <a:pt x="10156" y="8002"/>
                    <a:pt x="5682" y="9658"/>
                  </a:cubicBezTo>
                  <a:cubicBezTo>
                    <a:pt x="4250" y="7242"/>
                    <a:pt x="1432" y="2499"/>
                    <a:pt x="0" y="83"/>
                  </a:cubicBezTo>
                  <a:close/>
                </a:path>
              </a:pathLst>
            </a:custGeom>
            <a:solidFill>
              <a:srgbClr val="716F9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 name="Freeform: Shape 258">
              <a:extLst>
                <a:ext uri="{FF2B5EF4-FFF2-40B4-BE49-F238E27FC236}">
                  <a16:creationId xmlns:a16="http://schemas.microsoft.com/office/drawing/2014/main" id="{31BC1E6C-758A-820E-0829-1337FF333039}"/>
                </a:ext>
              </a:extLst>
            </p:cNvPr>
            <p:cNvSpPr/>
            <p:nvPr/>
          </p:nvSpPr>
          <p:spPr>
            <a:xfrm flipH="1">
              <a:off x="869749" y="3313350"/>
              <a:ext cx="140676" cy="131062"/>
            </a:xfrm>
            <a:custGeom>
              <a:avLst/>
              <a:gdLst>
                <a:gd name="connsiteX0" fmla="*/ 0 w 117938"/>
                <a:gd name="connsiteY0" fmla="*/ 32169 h 109878"/>
                <a:gd name="connsiteX1" fmla="*/ 32885 w 117938"/>
                <a:gd name="connsiteY1" fmla="*/ 0 h 109878"/>
                <a:gd name="connsiteX2" fmla="*/ 64875 w 117938"/>
                <a:gd name="connsiteY2" fmla="*/ 14944 h 109878"/>
                <a:gd name="connsiteX3" fmla="*/ 88633 w 117938"/>
                <a:gd name="connsiteY3" fmla="*/ 26576 h 109878"/>
                <a:gd name="connsiteX4" fmla="*/ 89527 w 117938"/>
                <a:gd name="connsiteY4" fmla="*/ 27203 h 109878"/>
                <a:gd name="connsiteX5" fmla="*/ 96552 w 117938"/>
                <a:gd name="connsiteY5" fmla="*/ 32617 h 109878"/>
                <a:gd name="connsiteX6" fmla="*/ 106663 w 117938"/>
                <a:gd name="connsiteY6" fmla="*/ 82235 h 109878"/>
                <a:gd name="connsiteX7" fmla="*/ 117938 w 117938"/>
                <a:gd name="connsiteY7" fmla="*/ 77984 h 109878"/>
                <a:gd name="connsiteX8" fmla="*/ 81608 w 117938"/>
                <a:gd name="connsiteY8" fmla="*/ 103666 h 109878"/>
                <a:gd name="connsiteX9" fmla="*/ 23444 w 117938"/>
                <a:gd name="connsiteY9" fmla="*/ 105321 h 109878"/>
                <a:gd name="connsiteX10" fmla="*/ 0 w 117938"/>
                <a:gd name="connsiteY10" fmla="*/ 32169 h 10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38" h="109878">
                  <a:moveTo>
                    <a:pt x="0" y="32169"/>
                  </a:moveTo>
                  <a:cubicBezTo>
                    <a:pt x="9082" y="19686"/>
                    <a:pt x="20134" y="8769"/>
                    <a:pt x="32885" y="0"/>
                  </a:cubicBezTo>
                  <a:cubicBezTo>
                    <a:pt x="42638" y="6711"/>
                    <a:pt x="53511" y="11499"/>
                    <a:pt x="64875" y="14944"/>
                  </a:cubicBezTo>
                  <a:cubicBezTo>
                    <a:pt x="73063" y="18165"/>
                    <a:pt x="81027" y="21968"/>
                    <a:pt x="88633" y="26576"/>
                  </a:cubicBezTo>
                  <a:lnTo>
                    <a:pt x="89527" y="27203"/>
                  </a:lnTo>
                  <a:cubicBezTo>
                    <a:pt x="91854" y="28948"/>
                    <a:pt x="94181" y="30737"/>
                    <a:pt x="96552" y="32617"/>
                  </a:cubicBezTo>
                  <a:cubicBezTo>
                    <a:pt x="96105" y="49663"/>
                    <a:pt x="96686" y="67560"/>
                    <a:pt x="106663" y="82235"/>
                  </a:cubicBezTo>
                  <a:cubicBezTo>
                    <a:pt x="109482" y="81206"/>
                    <a:pt x="115120" y="79058"/>
                    <a:pt x="117938" y="77984"/>
                  </a:cubicBezTo>
                  <a:cubicBezTo>
                    <a:pt x="104024" y="83801"/>
                    <a:pt x="92973" y="94136"/>
                    <a:pt x="81608" y="103666"/>
                  </a:cubicBezTo>
                  <a:cubicBezTo>
                    <a:pt x="62951" y="108095"/>
                    <a:pt x="41565" y="114225"/>
                    <a:pt x="23444" y="105321"/>
                  </a:cubicBezTo>
                  <a:cubicBezTo>
                    <a:pt x="10693" y="82906"/>
                    <a:pt x="8367" y="56285"/>
                    <a:pt x="0" y="32169"/>
                  </a:cubicBezTo>
                  <a:close/>
                </a:path>
              </a:pathLst>
            </a:custGeom>
            <a:solidFill>
              <a:srgbClr val="7BCA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 name="Freeform: Shape 259">
              <a:extLst>
                <a:ext uri="{FF2B5EF4-FFF2-40B4-BE49-F238E27FC236}">
                  <a16:creationId xmlns:a16="http://schemas.microsoft.com/office/drawing/2014/main" id="{A8BEAC10-E573-5E55-0851-54CEAF967A4A}"/>
                </a:ext>
              </a:extLst>
            </p:cNvPr>
            <p:cNvSpPr/>
            <p:nvPr/>
          </p:nvSpPr>
          <p:spPr>
            <a:xfrm flipH="1">
              <a:off x="774616" y="3316338"/>
              <a:ext cx="46089" cy="67456"/>
            </a:xfrm>
            <a:custGeom>
              <a:avLst/>
              <a:gdLst>
                <a:gd name="connsiteX0" fmla="*/ 10827 w 38639"/>
                <a:gd name="connsiteY0" fmla="*/ 8501 h 56553"/>
                <a:gd name="connsiteX1" fmla="*/ 37225 w 38639"/>
                <a:gd name="connsiteY1" fmla="*/ 0 h 56553"/>
                <a:gd name="connsiteX2" fmla="*/ 36733 w 38639"/>
                <a:gd name="connsiteY2" fmla="*/ 42773 h 56553"/>
                <a:gd name="connsiteX3" fmla="*/ 1789 w 38639"/>
                <a:gd name="connsiteY3" fmla="*/ 56553 h 56553"/>
                <a:gd name="connsiteX4" fmla="*/ 0 w 38639"/>
                <a:gd name="connsiteY4" fmla="*/ 42818 h 56553"/>
                <a:gd name="connsiteX5" fmla="*/ 10827 w 38639"/>
                <a:gd name="connsiteY5" fmla="*/ 8501 h 5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39" h="56553">
                  <a:moveTo>
                    <a:pt x="10827" y="8501"/>
                  </a:moveTo>
                  <a:cubicBezTo>
                    <a:pt x="19462" y="5280"/>
                    <a:pt x="28277" y="2550"/>
                    <a:pt x="37225" y="0"/>
                  </a:cubicBezTo>
                  <a:cubicBezTo>
                    <a:pt x="37807" y="14183"/>
                    <a:pt x="40357" y="28814"/>
                    <a:pt x="36733" y="42773"/>
                  </a:cubicBezTo>
                  <a:cubicBezTo>
                    <a:pt x="26800" y="50961"/>
                    <a:pt x="13870" y="53511"/>
                    <a:pt x="1789" y="56553"/>
                  </a:cubicBezTo>
                  <a:cubicBezTo>
                    <a:pt x="1342" y="53108"/>
                    <a:pt x="447" y="46263"/>
                    <a:pt x="0" y="42818"/>
                  </a:cubicBezTo>
                  <a:cubicBezTo>
                    <a:pt x="5235" y="31990"/>
                    <a:pt x="10201" y="20715"/>
                    <a:pt x="10827" y="8501"/>
                  </a:cubicBezTo>
                  <a:close/>
                </a:path>
              </a:pathLst>
            </a:custGeom>
            <a:solidFill>
              <a:srgbClr val="D7706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Freeform: Shape 260">
              <a:extLst>
                <a:ext uri="{FF2B5EF4-FFF2-40B4-BE49-F238E27FC236}">
                  <a16:creationId xmlns:a16="http://schemas.microsoft.com/office/drawing/2014/main" id="{B8EA42EA-FB51-2F29-2597-9E40704B8F1B}"/>
                </a:ext>
              </a:extLst>
            </p:cNvPr>
            <p:cNvSpPr/>
            <p:nvPr/>
          </p:nvSpPr>
          <p:spPr>
            <a:xfrm flipH="1">
              <a:off x="807791" y="3326477"/>
              <a:ext cx="87593" cy="84960"/>
            </a:xfrm>
            <a:custGeom>
              <a:avLst/>
              <a:gdLst>
                <a:gd name="connsiteX0" fmla="*/ 104 w 73435"/>
                <a:gd name="connsiteY0" fmla="*/ 21610 h 71228"/>
                <a:gd name="connsiteX1" fmla="*/ 73436 w 73435"/>
                <a:gd name="connsiteY1" fmla="*/ 0 h 71228"/>
                <a:gd name="connsiteX2" fmla="*/ 62608 w 73435"/>
                <a:gd name="connsiteY2" fmla="*/ 34317 h 71228"/>
                <a:gd name="connsiteX3" fmla="*/ 42832 w 73435"/>
                <a:gd name="connsiteY3" fmla="*/ 58835 h 71228"/>
                <a:gd name="connsiteX4" fmla="*/ 21491 w 73435"/>
                <a:gd name="connsiteY4" fmla="*/ 66978 h 71228"/>
                <a:gd name="connsiteX5" fmla="*/ 10216 w 73435"/>
                <a:gd name="connsiteY5" fmla="*/ 71228 h 71228"/>
                <a:gd name="connsiteX6" fmla="*/ 104 w 73435"/>
                <a:gd name="connsiteY6" fmla="*/ 21610 h 7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35" h="71228">
                  <a:moveTo>
                    <a:pt x="104" y="21610"/>
                  </a:moveTo>
                  <a:cubicBezTo>
                    <a:pt x="25786" y="19418"/>
                    <a:pt x="49723" y="9351"/>
                    <a:pt x="73436" y="0"/>
                  </a:cubicBezTo>
                  <a:cubicBezTo>
                    <a:pt x="72809" y="12214"/>
                    <a:pt x="67843" y="23489"/>
                    <a:pt x="62608" y="34317"/>
                  </a:cubicBezTo>
                  <a:cubicBezTo>
                    <a:pt x="58403" y="44249"/>
                    <a:pt x="52497" y="53555"/>
                    <a:pt x="42832" y="58835"/>
                  </a:cubicBezTo>
                  <a:cubicBezTo>
                    <a:pt x="35584" y="61340"/>
                    <a:pt x="28471" y="64070"/>
                    <a:pt x="21491" y="66978"/>
                  </a:cubicBezTo>
                  <a:cubicBezTo>
                    <a:pt x="18672" y="68052"/>
                    <a:pt x="13035" y="70199"/>
                    <a:pt x="10216" y="71228"/>
                  </a:cubicBezTo>
                  <a:cubicBezTo>
                    <a:pt x="239" y="56553"/>
                    <a:pt x="-343" y="38657"/>
                    <a:pt x="104" y="21610"/>
                  </a:cubicBezTo>
                  <a:close/>
                </a:path>
              </a:pathLst>
            </a:custGeom>
            <a:solidFill>
              <a:srgbClr val="F6AE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 name="Freeform: Shape 261">
              <a:extLst>
                <a:ext uri="{FF2B5EF4-FFF2-40B4-BE49-F238E27FC236}">
                  <a16:creationId xmlns:a16="http://schemas.microsoft.com/office/drawing/2014/main" id="{23E5A4AE-FDD2-E15C-CB3A-FD500BD17E3A}"/>
                </a:ext>
              </a:extLst>
            </p:cNvPr>
            <p:cNvSpPr/>
            <p:nvPr/>
          </p:nvSpPr>
          <p:spPr>
            <a:xfrm flipH="1">
              <a:off x="818783" y="3389879"/>
              <a:ext cx="85441" cy="70191"/>
            </a:xfrm>
            <a:custGeom>
              <a:avLst/>
              <a:gdLst>
                <a:gd name="connsiteX0" fmla="*/ 68857 w 71631"/>
                <a:gd name="connsiteY0" fmla="*/ 1298 h 58846"/>
                <a:gd name="connsiteX1" fmla="*/ 71497 w 71631"/>
                <a:gd name="connsiteY1" fmla="*/ 0 h 58846"/>
                <a:gd name="connsiteX2" fmla="*/ 71631 w 71631"/>
                <a:gd name="connsiteY2" fmla="*/ 52437 h 58846"/>
                <a:gd name="connsiteX3" fmla="*/ 0 w 71631"/>
                <a:gd name="connsiteY3" fmla="*/ 58835 h 58846"/>
                <a:gd name="connsiteX4" fmla="*/ 313 w 71631"/>
                <a:gd name="connsiteY4" fmla="*/ 46755 h 58846"/>
                <a:gd name="connsiteX5" fmla="*/ 60311 w 71631"/>
                <a:gd name="connsiteY5" fmla="*/ 5503 h 58846"/>
                <a:gd name="connsiteX6" fmla="*/ 62996 w 71631"/>
                <a:gd name="connsiteY6" fmla="*/ 5369 h 58846"/>
                <a:gd name="connsiteX7" fmla="*/ 66083 w 71631"/>
                <a:gd name="connsiteY7" fmla="*/ 10738 h 58846"/>
                <a:gd name="connsiteX8" fmla="*/ 68857 w 71631"/>
                <a:gd name="connsiteY8" fmla="*/ 1298 h 5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31" h="58846">
                  <a:moveTo>
                    <a:pt x="68857" y="1298"/>
                  </a:moveTo>
                  <a:lnTo>
                    <a:pt x="71497" y="0"/>
                  </a:lnTo>
                  <a:cubicBezTo>
                    <a:pt x="71005" y="17449"/>
                    <a:pt x="71273" y="34943"/>
                    <a:pt x="71631" y="52437"/>
                  </a:cubicBezTo>
                  <a:cubicBezTo>
                    <a:pt x="47873" y="55972"/>
                    <a:pt x="24026" y="59059"/>
                    <a:pt x="0" y="58835"/>
                  </a:cubicBezTo>
                  <a:cubicBezTo>
                    <a:pt x="90" y="55837"/>
                    <a:pt x="268" y="49753"/>
                    <a:pt x="313" y="46755"/>
                  </a:cubicBezTo>
                  <a:cubicBezTo>
                    <a:pt x="20313" y="32975"/>
                    <a:pt x="41386" y="20805"/>
                    <a:pt x="60311" y="5503"/>
                  </a:cubicBezTo>
                  <a:lnTo>
                    <a:pt x="62996" y="5369"/>
                  </a:lnTo>
                  <a:cubicBezTo>
                    <a:pt x="63801" y="6711"/>
                    <a:pt x="65323" y="9396"/>
                    <a:pt x="66083" y="10738"/>
                  </a:cubicBezTo>
                  <a:cubicBezTo>
                    <a:pt x="66799" y="8367"/>
                    <a:pt x="68141" y="3669"/>
                    <a:pt x="68857" y="1298"/>
                  </a:cubicBezTo>
                  <a:close/>
                </a:path>
              </a:pathLst>
            </a:custGeom>
            <a:solidFill>
              <a:srgbClr val="EB88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 name="Freeform: Shape 262">
              <a:extLst>
                <a:ext uri="{FF2B5EF4-FFF2-40B4-BE49-F238E27FC236}">
                  <a16:creationId xmlns:a16="http://schemas.microsoft.com/office/drawing/2014/main" id="{D73BB743-8C24-2810-AF2E-F8AC623C8198}"/>
                </a:ext>
              </a:extLst>
            </p:cNvPr>
            <p:cNvSpPr/>
            <p:nvPr/>
          </p:nvSpPr>
          <p:spPr>
            <a:xfrm flipH="1">
              <a:off x="832286" y="3396443"/>
              <a:ext cx="80797" cy="54222"/>
            </a:xfrm>
            <a:custGeom>
              <a:avLst/>
              <a:gdLst>
                <a:gd name="connsiteX0" fmla="*/ 36330 w 67738"/>
                <a:gd name="connsiteY0" fmla="*/ 8322 h 45457"/>
                <a:gd name="connsiteX1" fmla="*/ 57672 w 67738"/>
                <a:gd name="connsiteY1" fmla="*/ 179 h 45457"/>
                <a:gd name="connsiteX2" fmla="*/ 67738 w 67738"/>
                <a:gd name="connsiteY2" fmla="*/ 0 h 45457"/>
                <a:gd name="connsiteX3" fmla="*/ 7740 w 67738"/>
                <a:gd name="connsiteY3" fmla="*/ 41252 h 45457"/>
                <a:gd name="connsiteX4" fmla="*/ 1834 w 67738"/>
                <a:gd name="connsiteY4" fmla="*/ 45457 h 45457"/>
                <a:gd name="connsiteX5" fmla="*/ 0 w 67738"/>
                <a:gd name="connsiteY5" fmla="*/ 34004 h 45457"/>
                <a:gd name="connsiteX6" fmla="*/ 36330 w 67738"/>
                <a:gd name="connsiteY6" fmla="*/ 8322 h 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8" h="45457">
                  <a:moveTo>
                    <a:pt x="36330" y="8322"/>
                  </a:moveTo>
                  <a:cubicBezTo>
                    <a:pt x="43310" y="5414"/>
                    <a:pt x="50423" y="2685"/>
                    <a:pt x="57672" y="179"/>
                  </a:cubicBezTo>
                  <a:cubicBezTo>
                    <a:pt x="60177" y="134"/>
                    <a:pt x="65233" y="45"/>
                    <a:pt x="67738" y="0"/>
                  </a:cubicBezTo>
                  <a:cubicBezTo>
                    <a:pt x="48813" y="15302"/>
                    <a:pt x="27740" y="27471"/>
                    <a:pt x="7740" y="41252"/>
                  </a:cubicBezTo>
                  <a:cubicBezTo>
                    <a:pt x="6264" y="42281"/>
                    <a:pt x="3311" y="44384"/>
                    <a:pt x="1834" y="45457"/>
                  </a:cubicBezTo>
                  <a:cubicBezTo>
                    <a:pt x="1163" y="41610"/>
                    <a:pt x="582" y="37807"/>
                    <a:pt x="0" y="34004"/>
                  </a:cubicBezTo>
                  <a:cubicBezTo>
                    <a:pt x="11364" y="24474"/>
                    <a:pt x="22416" y="14138"/>
                    <a:pt x="36330" y="8322"/>
                  </a:cubicBezTo>
                  <a:close/>
                </a:path>
              </a:pathLst>
            </a:custGeom>
            <a:solidFill>
              <a:srgbClr val="E9DB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 name="Freeform: Shape 263">
              <a:extLst>
                <a:ext uri="{FF2B5EF4-FFF2-40B4-BE49-F238E27FC236}">
                  <a16:creationId xmlns:a16="http://schemas.microsoft.com/office/drawing/2014/main" id="{783C2009-F24E-C2DD-F592-17056328B6A6}"/>
                </a:ext>
              </a:extLst>
            </p:cNvPr>
            <p:cNvSpPr/>
            <p:nvPr/>
          </p:nvSpPr>
          <p:spPr>
            <a:xfrm flipH="1">
              <a:off x="611825" y="3398683"/>
              <a:ext cx="23055" cy="104118"/>
            </a:xfrm>
            <a:custGeom>
              <a:avLst/>
              <a:gdLst>
                <a:gd name="connsiteX0" fmla="*/ 0 w 19328"/>
                <a:gd name="connsiteY0" fmla="*/ 0 h 87290"/>
                <a:gd name="connsiteX1" fmla="*/ 19328 w 19328"/>
                <a:gd name="connsiteY1" fmla="*/ 59730 h 87290"/>
                <a:gd name="connsiteX2" fmla="*/ 11185 w 19328"/>
                <a:gd name="connsiteY2" fmla="*/ 87290 h 87290"/>
                <a:gd name="connsiteX3" fmla="*/ 0 w 19328"/>
                <a:gd name="connsiteY3" fmla="*/ 0 h 87290"/>
              </a:gdLst>
              <a:ahLst/>
              <a:cxnLst>
                <a:cxn ang="0">
                  <a:pos x="connsiteX0" y="connsiteY0"/>
                </a:cxn>
                <a:cxn ang="0">
                  <a:pos x="connsiteX1" y="connsiteY1"/>
                </a:cxn>
                <a:cxn ang="0">
                  <a:pos x="connsiteX2" y="connsiteY2"/>
                </a:cxn>
                <a:cxn ang="0">
                  <a:pos x="connsiteX3" y="connsiteY3"/>
                </a:cxn>
              </a:cxnLst>
              <a:rect l="l" t="t" r="r" b="b"/>
              <a:pathLst>
                <a:path w="19328" h="87290">
                  <a:moveTo>
                    <a:pt x="0" y="0"/>
                  </a:moveTo>
                  <a:cubicBezTo>
                    <a:pt x="13870" y="16465"/>
                    <a:pt x="17315" y="38970"/>
                    <a:pt x="19328" y="59730"/>
                  </a:cubicBezTo>
                  <a:cubicBezTo>
                    <a:pt x="18791" y="69036"/>
                    <a:pt x="20984" y="81966"/>
                    <a:pt x="11185" y="87290"/>
                  </a:cubicBezTo>
                  <a:cubicBezTo>
                    <a:pt x="9217" y="57940"/>
                    <a:pt x="2819" y="29216"/>
                    <a:pt x="0"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Freeform: Shape 264">
              <a:extLst>
                <a:ext uri="{FF2B5EF4-FFF2-40B4-BE49-F238E27FC236}">
                  <a16:creationId xmlns:a16="http://schemas.microsoft.com/office/drawing/2014/main" id="{3D41C214-720A-58C9-F32A-897BE0731C81}"/>
                </a:ext>
              </a:extLst>
            </p:cNvPr>
            <p:cNvSpPr/>
            <p:nvPr/>
          </p:nvSpPr>
          <p:spPr>
            <a:xfrm flipH="1">
              <a:off x="715037" y="3452425"/>
              <a:ext cx="267850" cy="144727"/>
            </a:xfrm>
            <a:custGeom>
              <a:avLst/>
              <a:gdLst>
                <a:gd name="connsiteX0" fmla="*/ 65949 w 224557"/>
                <a:gd name="connsiteY0" fmla="*/ 6398 h 121334"/>
                <a:gd name="connsiteX1" fmla="*/ 137580 w 224557"/>
                <a:gd name="connsiteY1" fmla="*/ 0 h 121334"/>
                <a:gd name="connsiteX2" fmla="*/ 140801 w 224557"/>
                <a:gd name="connsiteY2" fmla="*/ 313 h 121334"/>
                <a:gd name="connsiteX3" fmla="*/ 146260 w 224557"/>
                <a:gd name="connsiteY3" fmla="*/ 59104 h 121334"/>
                <a:gd name="connsiteX4" fmla="*/ 161114 w 224557"/>
                <a:gd name="connsiteY4" fmla="*/ 69126 h 121334"/>
                <a:gd name="connsiteX5" fmla="*/ 220933 w 224557"/>
                <a:gd name="connsiteY5" fmla="*/ 76284 h 121334"/>
                <a:gd name="connsiteX6" fmla="*/ 224065 w 224557"/>
                <a:gd name="connsiteY6" fmla="*/ 77358 h 121334"/>
                <a:gd name="connsiteX7" fmla="*/ 224557 w 224557"/>
                <a:gd name="connsiteY7" fmla="*/ 87201 h 121334"/>
                <a:gd name="connsiteX8" fmla="*/ 126663 w 224557"/>
                <a:gd name="connsiteY8" fmla="*/ 120802 h 121334"/>
                <a:gd name="connsiteX9" fmla="*/ 28008 w 224557"/>
                <a:gd name="connsiteY9" fmla="*/ 103890 h 121334"/>
                <a:gd name="connsiteX10" fmla="*/ 0 w 224557"/>
                <a:gd name="connsiteY10" fmla="*/ 72347 h 121334"/>
                <a:gd name="connsiteX11" fmla="*/ 61833 w 224557"/>
                <a:gd name="connsiteY11" fmla="*/ 62549 h 121334"/>
                <a:gd name="connsiteX12" fmla="*/ 65949 w 224557"/>
                <a:gd name="connsiteY12" fmla="*/ 6398 h 1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557" h="121334">
                  <a:moveTo>
                    <a:pt x="65949" y="6398"/>
                  </a:moveTo>
                  <a:cubicBezTo>
                    <a:pt x="89975" y="6622"/>
                    <a:pt x="113822" y="3535"/>
                    <a:pt x="137580" y="0"/>
                  </a:cubicBezTo>
                  <a:cubicBezTo>
                    <a:pt x="138385" y="90"/>
                    <a:pt x="139996" y="224"/>
                    <a:pt x="140801" y="313"/>
                  </a:cubicBezTo>
                  <a:cubicBezTo>
                    <a:pt x="141338" y="19955"/>
                    <a:pt x="141338" y="39909"/>
                    <a:pt x="146260" y="59104"/>
                  </a:cubicBezTo>
                  <a:cubicBezTo>
                    <a:pt x="146573" y="66844"/>
                    <a:pt x="155477" y="66978"/>
                    <a:pt x="161114" y="69126"/>
                  </a:cubicBezTo>
                  <a:cubicBezTo>
                    <a:pt x="180666" y="73779"/>
                    <a:pt x="200844" y="75121"/>
                    <a:pt x="220933" y="76284"/>
                  </a:cubicBezTo>
                  <a:lnTo>
                    <a:pt x="224065" y="77358"/>
                  </a:lnTo>
                  <a:cubicBezTo>
                    <a:pt x="224199" y="79819"/>
                    <a:pt x="224423" y="84740"/>
                    <a:pt x="224557" y="87201"/>
                  </a:cubicBezTo>
                  <a:cubicBezTo>
                    <a:pt x="194804" y="105098"/>
                    <a:pt x="161875" y="119683"/>
                    <a:pt x="126663" y="120802"/>
                  </a:cubicBezTo>
                  <a:cubicBezTo>
                    <a:pt x="93331" y="121965"/>
                    <a:pt x="57045" y="122950"/>
                    <a:pt x="28008" y="103890"/>
                  </a:cubicBezTo>
                  <a:cubicBezTo>
                    <a:pt x="15481" y="96597"/>
                    <a:pt x="7159" y="84517"/>
                    <a:pt x="0" y="72347"/>
                  </a:cubicBezTo>
                  <a:cubicBezTo>
                    <a:pt x="19999" y="65770"/>
                    <a:pt x="41565" y="68276"/>
                    <a:pt x="61833" y="62549"/>
                  </a:cubicBezTo>
                  <a:cubicBezTo>
                    <a:pt x="65412" y="44026"/>
                    <a:pt x="65859" y="25189"/>
                    <a:pt x="65949" y="6398"/>
                  </a:cubicBezTo>
                  <a:close/>
                </a:path>
              </a:pathLst>
            </a:custGeom>
            <a:solidFill>
              <a:srgbClr val="F7A3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Freeform: Shape 265">
              <a:extLst>
                <a:ext uri="{FF2B5EF4-FFF2-40B4-BE49-F238E27FC236}">
                  <a16:creationId xmlns:a16="http://schemas.microsoft.com/office/drawing/2014/main" id="{35947F4A-2737-A760-C1DE-58042EE2FD8B}"/>
                </a:ext>
              </a:extLst>
            </p:cNvPr>
            <p:cNvSpPr/>
            <p:nvPr/>
          </p:nvSpPr>
          <p:spPr>
            <a:xfrm flipH="1">
              <a:off x="719361" y="3452799"/>
              <a:ext cx="95580" cy="90618"/>
            </a:xfrm>
            <a:custGeom>
              <a:avLst/>
              <a:gdLst>
                <a:gd name="connsiteX0" fmla="*/ 0 w 80132"/>
                <a:gd name="connsiteY0" fmla="*/ 0 h 75971"/>
                <a:gd name="connsiteX1" fmla="*/ 49216 w 80132"/>
                <a:gd name="connsiteY1" fmla="*/ 13243 h 75971"/>
                <a:gd name="connsiteX2" fmla="*/ 60088 w 80132"/>
                <a:gd name="connsiteY2" fmla="*/ 70915 h 75971"/>
                <a:gd name="connsiteX3" fmla="*/ 80132 w 80132"/>
                <a:gd name="connsiteY3" fmla="*/ 75971 h 75971"/>
                <a:gd name="connsiteX4" fmla="*/ 20313 w 80132"/>
                <a:gd name="connsiteY4" fmla="*/ 68812 h 75971"/>
                <a:gd name="connsiteX5" fmla="*/ 5459 w 80132"/>
                <a:gd name="connsiteY5" fmla="*/ 58790 h 75971"/>
                <a:gd name="connsiteX6" fmla="*/ 0 w 80132"/>
                <a:gd name="connsiteY6" fmla="*/ 0 h 7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132" h="75971">
                  <a:moveTo>
                    <a:pt x="0" y="0"/>
                  </a:moveTo>
                  <a:cubicBezTo>
                    <a:pt x="16465" y="3535"/>
                    <a:pt x="35033" y="3266"/>
                    <a:pt x="49216" y="13243"/>
                  </a:cubicBezTo>
                  <a:cubicBezTo>
                    <a:pt x="62594" y="29127"/>
                    <a:pt x="57538" y="51811"/>
                    <a:pt x="60088" y="70915"/>
                  </a:cubicBezTo>
                  <a:cubicBezTo>
                    <a:pt x="66620" y="72392"/>
                    <a:pt x="73689" y="73466"/>
                    <a:pt x="80132" y="75971"/>
                  </a:cubicBezTo>
                  <a:cubicBezTo>
                    <a:pt x="60043" y="74808"/>
                    <a:pt x="39865" y="73466"/>
                    <a:pt x="20313" y="68812"/>
                  </a:cubicBezTo>
                  <a:cubicBezTo>
                    <a:pt x="14675" y="66665"/>
                    <a:pt x="5772" y="66531"/>
                    <a:pt x="5459" y="58790"/>
                  </a:cubicBezTo>
                  <a:cubicBezTo>
                    <a:pt x="537" y="39596"/>
                    <a:pt x="537" y="19642"/>
                    <a:pt x="0" y="0"/>
                  </a:cubicBezTo>
                  <a:close/>
                </a:path>
              </a:pathLst>
            </a:custGeom>
            <a:solidFill>
              <a:srgbClr val="C0E0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 name="Freeform: Shape 266">
              <a:extLst>
                <a:ext uri="{FF2B5EF4-FFF2-40B4-BE49-F238E27FC236}">
                  <a16:creationId xmlns:a16="http://schemas.microsoft.com/office/drawing/2014/main" id="{D8195F0E-BDB9-D31B-0B63-13A96574A3D8}"/>
                </a:ext>
              </a:extLst>
            </p:cNvPr>
            <p:cNvSpPr/>
            <p:nvPr/>
          </p:nvSpPr>
          <p:spPr>
            <a:xfrm flipH="1">
              <a:off x="637976" y="3538720"/>
              <a:ext cx="401312" cy="442947"/>
            </a:xfrm>
            <a:custGeom>
              <a:avLst/>
              <a:gdLst>
                <a:gd name="connsiteX0" fmla="*/ 7733 w 336448"/>
                <a:gd name="connsiteY0" fmla="*/ 39283 h 371353"/>
                <a:gd name="connsiteX1" fmla="*/ 47284 w 336448"/>
                <a:gd name="connsiteY1" fmla="*/ 0 h 371353"/>
                <a:gd name="connsiteX2" fmla="*/ 75292 w 336448"/>
                <a:gd name="connsiteY2" fmla="*/ 31543 h 371353"/>
                <a:gd name="connsiteX3" fmla="*/ 173947 w 336448"/>
                <a:gd name="connsiteY3" fmla="*/ 48455 h 371353"/>
                <a:gd name="connsiteX4" fmla="*/ 271842 w 336448"/>
                <a:gd name="connsiteY4" fmla="*/ 14854 h 371353"/>
                <a:gd name="connsiteX5" fmla="*/ 271349 w 336448"/>
                <a:gd name="connsiteY5" fmla="*/ 5011 h 371353"/>
                <a:gd name="connsiteX6" fmla="*/ 336448 w 336448"/>
                <a:gd name="connsiteY6" fmla="*/ 36017 h 371353"/>
                <a:gd name="connsiteX7" fmla="*/ 325576 w 336448"/>
                <a:gd name="connsiteY7" fmla="*/ 36106 h 371353"/>
                <a:gd name="connsiteX8" fmla="*/ 251484 w 336448"/>
                <a:gd name="connsiteY8" fmla="*/ 87156 h 371353"/>
                <a:gd name="connsiteX9" fmla="*/ 254124 w 336448"/>
                <a:gd name="connsiteY9" fmla="*/ 206213 h 371353"/>
                <a:gd name="connsiteX10" fmla="*/ 308619 w 336448"/>
                <a:gd name="connsiteY10" fmla="*/ 370996 h 371353"/>
                <a:gd name="connsiteX11" fmla="*/ 136901 w 336448"/>
                <a:gd name="connsiteY11" fmla="*/ 371354 h 371353"/>
                <a:gd name="connsiteX12" fmla="*/ 103256 w 336448"/>
                <a:gd name="connsiteY12" fmla="*/ 352742 h 371353"/>
                <a:gd name="connsiteX13" fmla="*/ 79587 w 336448"/>
                <a:gd name="connsiteY13" fmla="*/ 347373 h 371353"/>
                <a:gd name="connsiteX14" fmla="*/ 76590 w 336448"/>
                <a:gd name="connsiteY14" fmla="*/ 303571 h 371353"/>
                <a:gd name="connsiteX15" fmla="*/ 31535 w 336448"/>
                <a:gd name="connsiteY15" fmla="*/ 299768 h 371353"/>
                <a:gd name="connsiteX16" fmla="*/ 3572 w 336448"/>
                <a:gd name="connsiteY16" fmla="*/ 197310 h 371353"/>
                <a:gd name="connsiteX17" fmla="*/ 7733 w 336448"/>
                <a:gd name="connsiteY17" fmla="*/ 39283 h 371353"/>
                <a:gd name="connsiteX18" fmla="*/ 51535 w 336448"/>
                <a:gd name="connsiteY18" fmla="*/ 232879 h 371353"/>
                <a:gd name="connsiteX19" fmla="*/ 131309 w 336448"/>
                <a:gd name="connsiteY19" fmla="*/ 264646 h 371353"/>
                <a:gd name="connsiteX20" fmla="*/ 80885 w 336448"/>
                <a:gd name="connsiteY20" fmla="*/ 244780 h 371353"/>
                <a:gd name="connsiteX21" fmla="*/ 51535 w 336448"/>
                <a:gd name="connsiteY21" fmla="*/ 232879 h 3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6448" h="371353">
                  <a:moveTo>
                    <a:pt x="7733" y="39283"/>
                  </a:moveTo>
                  <a:cubicBezTo>
                    <a:pt x="16099" y="22147"/>
                    <a:pt x="29746" y="7785"/>
                    <a:pt x="47284" y="0"/>
                  </a:cubicBezTo>
                  <a:cubicBezTo>
                    <a:pt x="54443" y="12170"/>
                    <a:pt x="62765" y="24250"/>
                    <a:pt x="75292" y="31543"/>
                  </a:cubicBezTo>
                  <a:cubicBezTo>
                    <a:pt x="104330" y="50603"/>
                    <a:pt x="140615" y="49618"/>
                    <a:pt x="173947" y="48455"/>
                  </a:cubicBezTo>
                  <a:cubicBezTo>
                    <a:pt x="209159" y="47336"/>
                    <a:pt x="242088" y="32751"/>
                    <a:pt x="271842" y="14854"/>
                  </a:cubicBezTo>
                  <a:cubicBezTo>
                    <a:pt x="271707" y="12393"/>
                    <a:pt x="271484" y="7472"/>
                    <a:pt x="271349" y="5011"/>
                  </a:cubicBezTo>
                  <a:cubicBezTo>
                    <a:pt x="296763" y="4564"/>
                    <a:pt x="319939" y="17315"/>
                    <a:pt x="336448" y="36017"/>
                  </a:cubicBezTo>
                  <a:cubicBezTo>
                    <a:pt x="333719" y="36062"/>
                    <a:pt x="328305" y="36062"/>
                    <a:pt x="325576" y="36106"/>
                  </a:cubicBezTo>
                  <a:cubicBezTo>
                    <a:pt x="292378" y="32930"/>
                    <a:pt x="264101" y="58522"/>
                    <a:pt x="251484" y="87156"/>
                  </a:cubicBezTo>
                  <a:cubicBezTo>
                    <a:pt x="234527" y="124918"/>
                    <a:pt x="241731" y="168228"/>
                    <a:pt x="254124" y="206213"/>
                  </a:cubicBezTo>
                  <a:cubicBezTo>
                    <a:pt x="272244" y="261156"/>
                    <a:pt x="295554" y="314488"/>
                    <a:pt x="308619" y="370996"/>
                  </a:cubicBezTo>
                  <a:cubicBezTo>
                    <a:pt x="251395" y="368714"/>
                    <a:pt x="193991" y="366433"/>
                    <a:pt x="136901" y="371354"/>
                  </a:cubicBezTo>
                  <a:cubicBezTo>
                    <a:pt x="126253" y="364195"/>
                    <a:pt x="115783" y="356142"/>
                    <a:pt x="103256" y="352742"/>
                  </a:cubicBezTo>
                  <a:cubicBezTo>
                    <a:pt x="95381" y="350728"/>
                    <a:pt x="87417" y="349073"/>
                    <a:pt x="79587" y="347373"/>
                  </a:cubicBezTo>
                  <a:cubicBezTo>
                    <a:pt x="78335" y="332742"/>
                    <a:pt x="77395" y="318157"/>
                    <a:pt x="76590" y="303571"/>
                  </a:cubicBezTo>
                  <a:cubicBezTo>
                    <a:pt x="61557" y="302407"/>
                    <a:pt x="46524" y="301289"/>
                    <a:pt x="31535" y="299768"/>
                  </a:cubicBezTo>
                  <a:cubicBezTo>
                    <a:pt x="25764" y="264601"/>
                    <a:pt x="7957" y="232745"/>
                    <a:pt x="3572" y="197310"/>
                  </a:cubicBezTo>
                  <a:cubicBezTo>
                    <a:pt x="-4795" y="144739"/>
                    <a:pt x="3616" y="91765"/>
                    <a:pt x="7733" y="39283"/>
                  </a:cubicBezTo>
                  <a:close/>
                  <a:moveTo>
                    <a:pt x="51535" y="232879"/>
                  </a:moveTo>
                  <a:cubicBezTo>
                    <a:pt x="72921" y="252610"/>
                    <a:pt x="102674" y="262364"/>
                    <a:pt x="131309" y="264646"/>
                  </a:cubicBezTo>
                  <a:cubicBezTo>
                    <a:pt x="115515" y="255563"/>
                    <a:pt x="97215" y="252610"/>
                    <a:pt x="80885" y="244780"/>
                  </a:cubicBezTo>
                  <a:cubicBezTo>
                    <a:pt x="71310" y="240306"/>
                    <a:pt x="61601" y="236056"/>
                    <a:pt x="51535" y="232879"/>
                  </a:cubicBezTo>
                  <a:close/>
                </a:path>
              </a:pathLst>
            </a:custGeom>
            <a:solidFill>
              <a:srgbClr val="2F48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 name="Freeform: Shape 267">
              <a:extLst>
                <a:ext uri="{FF2B5EF4-FFF2-40B4-BE49-F238E27FC236}">
                  <a16:creationId xmlns:a16="http://schemas.microsoft.com/office/drawing/2014/main" id="{BE42E5DC-3811-6AE5-C4F9-7A99022804D6}"/>
                </a:ext>
              </a:extLst>
            </p:cNvPr>
            <p:cNvSpPr/>
            <p:nvPr/>
          </p:nvSpPr>
          <p:spPr>
            <a:xfrm flipH="1">
              <a:off x="526482" y="3581468"/>
              <a:ext cx="368296" cy="545872"/>
            </a:xfrm>
            <a:custGeom>
              <a:avLst/>
              <a:gdLst>
                <a:gd name="connsiteX0" fmla="*/ 130332 w 308768"/>
                <a:gd name="connsiteY0" fmla="*/ 51318 h 457642"/>
                <a:gd name="connsiteX1" fmla="*/ 204424 w 308768"/>
                <a:gd name="connsiteY1" fmla="*/ 268 h 457642"/>
                <a:gd name="connsiteX2" fmla="*/ 248673 w 308768"/>
                <a:gd name="connsiteY2" fmla="*/ 72793 h 457642"/>
                <a:gd name="connsiteX3" fmla="*/ 291759 w 308768"/>
                <a:gd name="connsiteY3" fmla="*/ 258068 h 457642"/>
                <a:gd name="connsiteX4" fmla="*/ 306971 w 308768"/>
                <a:gd name="connsiteY4" fmla="*/ 411889 h 457642"/>
                <a:gd name="connsiteX5" fmla="*/ 301557 w 308768"/>
                <a:gd name="connsiteY5" fmla="*/ 454438 h 457642"/>
                <a:gd name="connsiteX6" fmla="*/ 260753 w 308768"/>
                <a:gd name="connsiteY6" fmla="*/ 456720 h 457642"/>
                <a:gd name="connsiteX7" fmla="*/ 204469 w 308768"/>
                <a:gd name="connsiteY7" fmla="*/ 454662 h 457642"/>
                <a:gd name="connsiteX8" fmla="*/ 52661 w 308768"/>
                <a:gd name="connsiteY8" fmla="*/ 429741 h 457642"/>
                <a:gd name="connsiteX9" fmla="*/ 0 w 308768"/>
                <a:gd name="connsiteY9" fmla="*/ 415916 h 457642"/>
                <a:gd name="connsiteX10" fmla="*/ 17091 w 308768"/>
                <a:gd name="connsiteY10" fmla="*/ 394082 h 457642"/>
                <a:gd name="connsiteX11" fmla="*/ 15749 w 308768"/>
                <a:gd name="connsiteY11" fmla="*/ 335515 h 457642"/>
                <a:gd name="connsiteX12" fmla="*/ 187467 w 308768"/>
                <a:gd name="connsiteY12" fmla="*/ 335157 h 457642"/>
                <a:gd name="connsiteX13" fmla="*/ 132971 w 308768"/>
                <a:gd name="connsiteY13" fmla="*/ 170375 h 457642"/>
                <a:gd name="connsiteX14" fmla="*/ 130332 w 308768"/>
                <a:gd name="connsiteY14" fmla="*/ 51318 h 457642"/>
                <a:gd name="connsiteX15" fmla="*/ 252655 w 308768"/>
                <a:gd name="connsiteY15" fmla="*/ 347998 h 457642"/>
                <a:gd name="connsiteX16" fmla="*/ 270104 w 308768"/>
                <a:gd name="connsiteY16" fmla="*/ 390234 h 457642"/>
                <a:gd name="connsiteX17" fmla="*/ 285987 w 308768"/>
                <a:gd name="connsiteY17" fmla="*/ 384462 h 457642"/>
                <a:gd name="connsiteX18" fmla="*/ 252655 w 308768"/>
                <a:gd name="connsiteY18" fmla="*/ 347998 h 45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8768" h="457642">
                  <a:moveTo>
                    <a:pt x="130332" y="51318"/>
                  </a:moveTo>
                  <a:cubicBezTo>
                    <a:pt x="142949" y="22683"/>
                    <a:pt x="171226" y="-2909"/>
                    <a:pt x="204424" y="268"/>
                  </a:cubicBezTo>
                  <a:cubicBezTo>
                    <a:pt x="236995" y="8724"/>
                    <a:pt x="240083" y="45993"/>
                    <a:pt x="248673" y="72793"/>
                  </a:cubicBezTo>
                  <a:cubicBezTo>
                    <a:pt x="265138" y="134000"/>
                    <a:pt x="278694" y="196011"/>
                    <a:pt x="291759" y="258068"/>
                  </a:cubicBezTo>
                  <a:cubicBezTo>
                    <a:pt x="300036" y="308760"/>
                    <a:pt x="313682" y="360213"/>
                    <a:pt x="306971" y="411889"/>
                  </a:cubicBezTo>
                  <a:cubicBezTo>
                    <a:pt x="305942" y="426117"/>
                    <a:pt x="289477" y="441552"/>
                    <a:pt x="301557" y="454438"/>
                  </a:cubicBezTo>
                  <a:cubicBezTo>
                    <a:pt x="288001" y="450501"/>
                    <a:pt x="274131" y="454393"/>
                    <a:pt x="260753" y="456720"/>
                  </a:cubicBezTo>
                  <a:cubicBezTo>
                    <a:pt x="241962" y="458957"/>
                    <a:pt x="223081" y="456675"/>
                    <a:pt x="204469" y="454662"/>
                  </a:cubicBezTo>
                  <a:cubicBezTo>
                    <a:pt x="153553" y="448532"/>
                    <a:pt x="102682" y="441195"/>
                    <a:pt x="52661" y="429741"/>
                  </a:cubicBezTo>
                  <a:cubicBezTo>
                    <a:pt x="34898" y="425848"/>
                    <a:pt x="17941" y="418779"/>
                    <a:pt x="0" y="415916"/>
                  </a:cubicBezTo>
                  <a:cubicBezTo>
                    <a:pt x="8680" y="411531"/>
                    <a:pt x="16510" y="404417"/>
                    <a:pt x="17091" y="394082"/>
                  </a:cubicBezTo>
                  <a:cubicBezTo>
                    <a:pt x="20492" y="374664"/>
                    <a:pt x="18255" y="354888"/>
                    <a:pt x="15749" y="335515"/>
                  </a:cubicBezTo>
                  <a:cubicBezTo>
                    <a:pt x="72839" y="330594"/>
                    <a:pt x="130242" y="332876"/>
                    <a:pt x="187467" y="335157"/>
                  </a:cubicBezTo>
                  <a:cubicBezTo>
                    <a:pt x="174402" y="278649"/>
                    <a:pt x="151092" y="225317"/>
                    <a:pt x="132971" y="170375"/>
                  </a:cubicBezTo>
                  <a:cubicBezTo>
                    <a:pt x="120578" y="132389"/>
                    <a:pt x="113375" y="89079"/>
                    <a:pt x="130332" y="51318"/>
                  </a:cubicBezTo>
                  <a:close/>
                  <a:moveTo>
                    <a:pt x="252655" y="347998"/>
                  </a:moveTo>
                  <a:cubicBezTo>
                    <a:pt x="259053" y="361823"/>
                    <a:pt x="266614" y="375201"/>
                    <a:pt x="270104" y="390234"/>
                  </a:cubicBezTo>
                  <a:cubicBezTo>
                    <a:pt x="275831" y="389652"/>
                    <a:pt x="282274" y="389921"/>
                    <a:pt x="285987" y="384462"/>
                  </a:cubicBezTo>
                  <a:cubicBezTo>
                    <a:pt x="277442" y="370369"/>
                    <a:pt x="266883" y="356678"/>
                    <a:pt x="252655" y="347998"/>
                  </a:cubicBezTo>
                  <a:close/>
                </a:path>
              </a:pathLst>
            </a:custGeom>
            <a:solidFill>
              <a:srgbClr val="5D89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 name="Freeform: Shape 268">
              <a:extLst>
                <a:ext uri="{FF2B5EF4-FFF2-40B4-BE49-F238E27FC236}">
                  <a16:creationId xmlns:a16="http://schemas.microsoft.com/office/drawing/2014/main" id="{B1562BEC-05BB-CB20-4BF5-660CD827262C}"/>
                </a:ext>
              </a:extLst>
            </p:cNvPr>
            <p:cNvSpPr/>
            <p:nvPr/>
          </p:nvSpPr>
          <p:spPr>
            <a:xfrm flipH="1">
              <a:off x="1001674" y="3585576"/>
              <a:ext cx="85921" cy="310704"/>
            </a:xfrm>
            <a:custGeom>
              <a:avLst/>
              <a:gdLst>
                <a:gd name="connsiteX0" fmla="*/ 17539 w 72033"/>
                <a:gd name="connsiteY0" fmla="*/ 108453 h 260484"/>
                <a:gd name="connsiteX1" fmla="*/ 48231 w 72033"/>
                <a:gd name="connsiteY1" fmla="*/ 0 h 260484"/>
                <a:gd name="connsiteX2" fmla="*/ 44070 w 72033"/>
                <a:gd name="connsiteY2" fmla="*/ 158027 h 260484"/>
                <a:gd name="connsiteX3" fmla="*/ 72034 w 72033"/>
                <a:gd name="connsiteY3" fmla="*/ 260485 h 260484"/>
                <a:gd name="connsiteX4" fmla="*/ 0 w 72033"/>
                <a:gd name="connsiteY4" fmla="*/ 253237 h 260484"/>
                <a:gd name="connsiteX5" fmla="*/ 17539 w 72033"/>
                <a:gd name="connsiteY5" fmla="*/ 108453 h 26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033" h="260484">
                  <a:moveTo>
                    <a:pt x="17539" y="108453"/>
                  </a:moveTo>
                  <a:cubicBezTo>
                    <a:pt x="22639" y="71228"/>
                    <a:pt x="28903" y="32885"/>
                    <a:pt x="48231" y="0"/>
                  </a:cubicBezTo>
                  <a:cubicBezTo>
                    <a:pt x="44115" y="52482"/>
                    <a:pt x="35704" y="105456"/>
                    <a:pt x="44070" y="158027"/>
                  </a:cubicBezTo>
                  <a:cubicBezTo>
                    <a:pt x="48455" y="193462"/>
                    <a:pt x="66262" y="225318"/>
                    <a:pt x="72034" y="260485"/>
                  </a:cubicBezTo>
                  <a:cubicBezTo>
                    <a:pt x="48007" y="258158"/>
                    <a:pt x="24071" y="254668"/>
                    <a:pt x="0" y="253237"/>
                  </a:cubicBezTo>
                  <a:cubicBezTo>
                    <a:pt x="7382" y="205184"/>
                    <a:pt x="11722" y="156729"/>
                    <a:pt x="17539" y="108453"/>
                  </a:cubicBezTo>
                  <a:close/>
                </a:path>
              </a:pathLst>
            </a:custGeom>
            <a:solidFill>
              <a:srgbClr val="436C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Freeform: Shape 269">
              <a:extLst>
                <a:ext uri="{FF2B5EF4-FFF2-40B4-BE49-F238E27FC236}">
                  <a16:creationId xmlns:a16="http://schemas.microsoft.com/office/drawing/2014/main" id="{6302E338-2747-A213-E7AF-6B0ECE572C30}"/>
                </a:ext>
              </a:extLst>
            </p:cNvPr>
            <p:cNvSpPr/>
            <p:nvPr/>
          </p:nvSpPr>
          <p:spPr>
            <a:xfrm flipH="1">
              <a:off x="500676" y="3652979"/>
              <a:ext cx="97755" cy="481585"/>
            </a:xfrm>
            <a:custGeom>
              <a:avLst/>
              <a:gdLst>
                <a:gd name="connsiteX0" fmla="*/ 0 w 81955"/>
                <a:gd name="connsiteY0" fmla="*/ 0 h 403746"/>
                <a:gd name="connsiteX1" fmla="*/ 36509 w 81955"/>
                <a:gd name="connsiteY1" fmla="*/ 92883 h 403746"/>
                <a:gd name="connsiteX2" fmla="*/ 81877 w 81955"/>
                <a:gd name="connsiteY2" fmla="*/ 302765 h 403746"/>
                <a:gd name="connsiteX3" fmla="*/ 66396 w 81955"/>
                <a:gd name="connsiteY3" fmla="*/ 403747 h 403746"/>
                <a:gd name="connsiteX4" fmla="*/ 53108 w 81955"/>
                <a:gd name="connsiteY4" fmla="*/ 394485 h 403746"/>
                <a:gd name="connsiteX5" fmla="*/ 58522 w 81955"/>
                <a:gd name="connsiteY5" fmla="*/ 351936 h 403746"/>
                <a:gd name="connsiteX6" fmla="*/ 43310 w 81955"/>
                <a:gd name="connsiteY6" fmla="*/ 198115 h 403746"/>
                <a:gd name="connsiteX7" fmla="*/ 224 w 81955"/>
                <a:gd name="connsiteY7" fmla="*/ 12841 h 403746"/>
                <a:gd name="connsiteX8" fmla="*/ 0 w 81955"/>
                <a:gd name="connsiteY8" fmla="*/ 0 h 40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55" h="403746">
                  <a:moveTo>
                    <a:pt x="0" y="0"/>
                  </a:moveTo>
                  <a:cubicBezTo>
                    <a:pt x="18523" y="28053"/>
                    <a:pt x="26845" y="61072"/>
                    <a:pt x="36509" y="92883"/>
                  </a:cubicBezTo>
                  <a:cubicBezTo>
                    <a:pt x="55882" y="161696"/>
                    <a:pt x="81519" y="230374"/>
                    <a:pt x="81877" y="302765"/>
                  </a:cubicBezTo>
                  <a:cubicBezTo>
                    <a:pt x="82414" y="336858"/>
                    <a:pt x="80490" y="372159"/>
                    <a:pt x="66396" y="403747"/>
                  </a:cubicBezTo>
                  <a:cubicBezTo>
                    <a:pt x="63086" y="401420"/>
                    <a:pt x="56419" y="396812"/>
                    <a:pt x="53108" y="394485"/>
                  </a:cubicBezTo>
                  <a:cubicBezTo>
                    <a:pt x="41028" y="381600"/>
                    <a:pt x="57493" y="366164"/>
                    <a:pt x="58522" y="351936"/>
                  </a:cubicBezTo>
                  <a:cubicBezTo>
                    <a:pt x="65233" y="300260"/>
                    <a:pt x="51587" y="248807"/>
                    <a:pt x="43310" y="198115"/>
                  </a:cubicBezTo>
                  <a:cubicBezTo>
                    <a:pt x="30245" y="136059"/>
                    <a:pt x="16689" y="74047"/>
                    <a:pt x="224" y="12841"/>
                  </a:cubicBezTo>
                  <a:cubicBezTo>
                    <a:pt x="179" y="9619"/>
                    <a:pt x="90" y="3177"/>
                    <a:pt x="0" y="0"/>
                  </a:cubicBezTo>
                  <a:close/>
                </a:path>
              </a:pathLst>
            </a:custGeom>
            <a:solidFill>
              <a:schemeClr val="tx1"/>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Freeform: Shape 270">
              <a:extLst>
                <a:ext uri="{FF2B5EF4-FFF2-40B4-BE49-F238E27FC236}">
                  <a16:creationId xmlns:a16="http://schemas.microsoft.com/office/drawing/2014/main" id="{39F35DAF-62E5-501E-D824-EA937FAE2EAA}"/>
                </a:ext>
              </a:extLst>
            </p:cNvPr>
            <p:cNvSpPr/>
            <p:nvPr/>
          </p:nvSpPr>
          <p:spPr>
            <a:xfrm flipH="1">
              <a:off x="482153" y="3734950"/>
              <a:ext cx="40192" cy="157698"/>
            </a:xfrm>
            <a:custGeom>
              <a:avLst/>
              <a:gdLst>
                <a:gd name="connsiteX0" fmla="*/ 237 w 33696"/>
                <a:gd name="connsiteY0" fmla="*/ 0 h 132210"/>
                <a:gd name="connsiteX1" fmla="*/ 23548 w 33696"/>
                <a:gd name="connsiteY1" fmla="*/ 80937 h 132210"/>
                <a:gd name="connsiteX2" fmla="*/ 33391 w 33696"/>
                <a:gd name="connsiteY2" fmla="*/ 132211 h 132210"/>
                <a:gd name="connsiteX3" fmla="*/ 5472 w 33696"/>
                <a:gd name="connsiteY3" fmla="*/ 59775 h 132210"/>
                <a:gd name="connsiteX4" fmla="*/ 237 w 33696"/>
                <a:gd name="connsiteY4" fmla="*/ 0 h 132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6" h="132210">
                  <a:moveTo>
                    <a:pt x="237" y="0"/>
                  </a:moveTo>
                  <a:cubicBezTo>
                    <a:pt x="13749" y="24966"/>
                    <a:pt x="17060" y="53690"/>
                    <a:pt x="23548" y="80937"/>
                  </a:cubicBezTo>
                  <a:cubicBezTo>
                    <a:pt x="26948" y="98029"/>
                    <a:pt x="35404" y="114359"/>
                    <a:pt x="33391" y="132211"/>
                  </a:cubicBezTo>
                  <a:cubicBezTo>
                    <a:pt x="20237" y="109930"/>
                    <a:pt x="6323" y="86351"/>
                    <a:pt x="5472" y="59775"/>
                  </a:cubicBezTo>
                  <a:cubicBezTo>
                    <a:pt x="4264" y="39775"/>
                    <a:pt x="-1194" y="20134"/>
                    <a:pt x="237"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2" name="Freeform: Shape 271">
              <a:extLst>
                <a:ext uri="{FF2B5EF4-FFF2-40B4-BE49-F238E27FC236}">
                  <a16:creationId xmlns:a16="http://schemas.microsoft.com/office/drawing/2014/main" id="{FC265503-6EB4-BB15-0707-38E8D725CE28}"/>
                </a:ext>
              </a:extLst>
            </p:cNvPr>
            <p:cNvSpPr/>
            <p:nvPr/>
          </p:nvSpPr>
          <p:spPr>
            <a:xfrm flipH="1">
              <a:off x="882663" y="3816495"/>
              <a:ext cx="95154" cy="37891"/>
            </a:xfrm>
            <a:custGeom>
              <a:avLst/>
              <a:gdLst>
                <a:gd name="connsiteX0" fmla="*/ 0 w 79774"/>
                <a:gd name="connsiteY0" fmla="*/ 0 h 31766"/>
                <a:gd name="connsiteX1" fmla="*/ 29350 w 79774"/>
                <a:gd name="connsiteY1" fmla="*/ 11901 h 31766"/>
                <a:gd name="connsiteX2" fmla="*/ 79774 w 79774"/>
                <a:gd name="connsiteY2" fmla="*/ 31766 h 31766"/>
                <a:gd name="connsiteX3" fmla="*/ 0 w 79774"/>
                <a:gd name="connsiteY3" fmla="*/ 0 h 31766"/>
              </a:gdLst>
              <a:ahLst/>
              <a:cxnLst>
                <a:cxn ang="0">
                  <a:pos x="connsiteX0" y="connsiteY0"/>
                </a:cxn>
                <a:cxn ang="0">
                  <a:pos x="connsiteX1" y="connsiteY1"/>
                </a:cxn>
                <a:cxn ang="0">
                  <a:pos x="connsiteX2" y="connsiteY2"/>
                </a:cxn>
                <a:cxn ang="0">
                  <a:pos x="connsiteX3" y="connsiteY3"/>
                </a:cxn>
              </a:cxnLst>
              <a:rect l="l" t="t" r="r" b="b"/>
              <a:pathLst>
                <a:path w="79774" h="31766">
                  <a:moveTo>
                    <a:pt x="0" y="0"/>
                  </a:moveTo>
                  <a:cubicBezTo>
                    <a:pt x="10067" y="3176"/>
                    <a:pt x="19776" y="7427"/>
                    <a:pt x="29350" y="11901"/>
                  </a:cubicBezTo>
                  <a:cubicBezTo>
                    <a:pt x="45681" y="19731"/>
                    <a:pt x="63980" y="22684"/>
                    <a:pt x="79774" y="31766"/>
                  </a:cubicBezTo>
                  <a:cubicBezTo>
                    <a:pt x="51139" y="29484"/>
                    <a:pt x="21386" y="19731"/>
                    <a:pt x="0" y="0"/>
                  </a:cubicBezTo>
                  <a:close/>
                </a:path>
              </a:pathLst>
            </a:custGeom>
            <a:solidFill>
              <a:srgbClr val="2F488B"/>
            </a:solidFill>
            <a:ln w="38100" cap="flat">
              <a:solidFill>
                <a:srgbClr val="2F48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3" name="Freeform: Shape 272">
              <a:extLst>
                <a:ext uri="{FF2B5EF4-FFF2-40B4-BE49-F238E27FC236}">
                  <a16:creationId xmlns:a16="http://schemas.microsoft.com/office/drawing/2014/main" id="{044A6061-5D6E-4BCC-6B87-663F1740E062}"/>
                </a:ext>
              </a:extLst>
            </p:cNvPr>
            <p:cNvSpPr/>
            <p:nvPr/>
          </p:nvSpPr>
          <p:spPr>
            <a:xfrm flipH="1">
              <a:off x="916125" y="3883099"/>
              <a:ext cx="249298" cy="220974"/>
            </a:xfrm>
            <a:custGeom>
              <a:avLst/>
              <a:gdLst>
                <a:gd name="connsiteX0" fmla="*/ 20866 w 209004"/>
                <a:gd name="connsiteY0" fmla="*/ 0 h 185258"/>
                <a:gd name="connsiteX1" fmla="*/ 65250 w 209004"/>
                <a:gd name="connsiteY1" fmla="*/ 3803 h 185258"/>
                <a:gd name="connsiteX2" fmla="*/ 137284 w 209004"/>
                <a:gd name="connsiteY2" fmla="*/ 11051 h 185258"/>
                <a:gd name="connsiteX3" fmla="*/ 182338 w 209004"/>
                <a:gd name="connsiteY3" fmla="*/ 14854 h 185258"/>
                <a:gd name="connsiteX4" fmla="*/ 185336 w 209004"/>
                <a:gd name="connsiteY4" fmla="*/ 58656 h 185258"/>
                <a:gd name="connsiteX5" fmla="*/ 209004 w 209004"/>
                <a:gd name="connsiteY5" fmla="*/ 64025 h 185258"/>
                <a:gd name="connsiteX6" fmla="*/ 177327 w 209004"/>
                <a:gd name="connsiteY6" fmla="*/ 70602 h 185258"/>
                <a:gd name="connsiteX7" fmla="*/ 129141 w 209004"/>
                <a:gd name="connsiteY7" fmla="*/ 85814 h 185258"/>
                <a:gd name="connsiteX8" fmla="*/ 135360 w 209004"/>
                <a:gd name="connsiteY8" fmla="*/ 150779 h 185258"/>
                <a:gd name="connsiteX9" fmla="*/ 177551 w 209004"/>
                <a:gd name="connsiteY9" fmla="*/ 168899 h 185258"/>
                <a:gd name="connsiteX10" fmla="*/ 186812 w 209004"/>
                <a:gd name="connsiteY10" fmla="*/ 169033 h 185258"/>
                <a:gd name="connsiteX11" fmla="*/ 185560 w 209004"/>
                <a:gd name="connsiteY11" fmla="*/ 185230 h 185258"/>
                <a:gd name="connsiteX12" fmla="*/ 109454 w 209004"/>
                <a:gd name="connsiteY12" fmla="*/ 179189 h 185258"/>
                <a:gd name="connsiteX13" fmla="*/ 73080 w 209004"/>
                <a:gd name="connsiteY13" fmla="*/ 172433 h 185258"/>
                <a:gd name="connsiteX14" fmla="*/ 50977 w 209004"/>
                <a:gd name="connsiteY14" fmla="*/ 167691 h 185258"/>
                <a:gd name="connsiteX15" fmla="*/ 33484 w 209004"/>
                <a:gd name="connsiteY15" fmla="*/ 161964 h 185258"/>
                <a:gd name="connsiteX16" fmla="*/ 6862 w 209004"/>
                <a:gd name="connsiteY16" fmla="*/ 149302 h 185258"/>
                <a:gd name="connsiteX17" fmla="*/ 1225 w 209004"/>
                <a:gd name="connsiteY17" fmla="*/ 65680 h 185258"/>
                <a:gd name="connsiteX18" fmla="*/ 20866 w 209004"/>
                <a:gd name="connsiteY18" fmla="*/ 0 h 1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9004" h="185258">
                  <a:moveTo>
                    <a:pt x="20866" y="0"/>
                  </a:moveTo>
                  <a:cubicBezTo>
                    <a:pt x="35586" y="1879"/>
                    <a:pt x="50396" y="2908"/>
                    <a:pt x="65250" y="3803"/>
                  </a:cubicBezTo>
                  <a:cubicBezTo>
                    <a:pt x="89321" y="5235"/>
                    <a:pt x="113257" y="8725"/>
                    <a:pt x="137284" y="11051"/>
                  </a:cubicBezTo>
                  <a:cubicBezTo>
                    <a:pt x="152272" y="12572"/>
                    <a:pt x="167305" y="13691"/>
                    <a:pt x="182338" y="14854"/>
                  </a:cubicBezTo>
                  <a:cubicBezTo>
                    <a:pt x="183144" y="29440"/>
                    <a:pt x="184083" y="44026"/>
                    <a:pt x="185336" y="58656"/>
                  </a:cubicBezTo>
                  <a:cubicBezTo>
                    <a:pt x="193166" y="60356"/>
                    <a:pt x="201130" y="62012"/>
                    <a:pt x="209004" y="64025"/>
                  </a:cubicBezTo>
                  <a:cubicBezTo>
                    <a:pt x="198087" y="64293"/>
                    <a:pt x="187260" y="66128"/>
                    <a:pt x="177327" y="70602"/>
                  </a:cubicBezTo>
                  <a:cubicBezTo>
                    <a:pt x="161891" y="77716"/>
                    <a:pt x="144398" y="78387"/>
                    <a:pt x="129141" y="85814"/>
                  </a:cubicBezTo>
                  <a:cubicBezTo>
                    <a:pt x="114913" y="105098"/>
                    <a:pt x="124711" y="131943"/>
                    <a:pt x="135360" y="150779"/>
                  </a:cubicBezTo>
                  <a:cubicBezTo>
                    <a:pt x="143234" y="166483"/>
                    <a:pt x="161981" y="168228"/>
                    <a:pt x="177551" y="168899"/>
                  </a:cubicBezTo>
                  <a:cubicBezTo>
                    <a:pt x="179877" y="168944"/>
                    <a:pt x="184486" y="168989"/>
                    <a:pt x="186812" y="169033"/>
                  </a:cubicBezTo>
                  <a:cubicBezTo>
                    <a:pt x="186320" y="174402"/>
                    <a:pt x="185917" y="179816"/>
                    <a:pt x="185560" y="185230"/>
                  </a:cubicBezTo>
                  <a:cubicBezTo>
                    <a:pt x="160012" y="185632"/>
                    <a:pt x="134778" y="181650"/>
                    <a:pt x="109454" y="179189"/>
                  </a:cubicBezTo>
                  <a:cubicBezTo>
                    <a:pt x="97374" y="176684"/>
                    <a:pt x="85249" y="174447"/>
                    <a:pt x="73080" y="172433"/>
                  </a:cubicBezTo>
                  <a:cubicBezTo>
                    <a:pt x="65652" y="171047"/>
                    <a:pt x="58225" y="169615"/>
                    <a:pt x="50977" y="167691"/>
                  </a:cubicBezTo>
                  <a:cubicBezTo>
                    <a:pt x="45071" y="165946"/>
                    <a:pt x="39255" y="163933"/>
                    <a:pt x="33484" y="161964"/>
                  </a:cubicBezTo>
                  <a:cubicBezTo>
                    <a:pt x="24446" y="158027"/>
                    <a:pt x="15721" y="153553"/>
                    <a:pt x="6862" y="149302"/>
                  </a:cubicBezTo>
                  <a:cubicBezTo>
                    <a:pt x="4222" y="121473"/>
                    <a:pt x="7354" y="93152"/>
                    <a:pt x="1225" y="65680"/>
                  </a:cubicBezTo>
                  <a:cubicBezTo>
                    <a:pt x="-4994" y="41833"/>
                    <a:pt x="14155" y="21655"/>
                    <a:pt x="20866" y="0"/>
                  </a:cubicBezTo>
                  <a:close/>
                </a:path>
              </a:pathLst>
            </a:custGeom>
            <a:solidFill>
              <a:srgbClr val="D4AA9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 name="Freeform: Shape 273">
              <a:extLst>
                <a:ext uri="{FF2B5EF4-FFF2-40B4-BE49-F238E27FC236}">
                  <a16:creationId xmlns:a16="http://schemas.microsoft.com/office/drawing/2014/main" id="{D1B0136E-C1F5-C8FE-1FBA-67D907772AD6}"/>
                </a:ext>
              </a:extLst>
            </p:cNvPr>
            <p:cNvSpPr/>
            <p:nvPr/>
          </p:nvSpPr>
          <p:spPr>
            <a:xfrm flipH="1">
              <a:off x="485998" y="3896280"/>
              <a:ext cx="13967" cy="79250"/>
            </a:xfrm>
            <a:custGeom>
              <a:avLst/>
              <a:gdLst>
                <a:gd name="connsiteX0" fmla="*/ 222 w 11709"/>
                <a:gd name="connsiteY0" fmla="*/ 0 h 66441"/>
                <a:gd name="connsiteX1" fmla="*/ 7425 w 11709"/>
                <a:gd name="connsiteY1" fmla="*/ 66441 h 66441"/>
                <a:gd name="connsiteX2" fmla="*/ 222 w 11709"/>
                <a:gd name="connsiteY2" fmla="*/ 0 h 66441"/>
              </a:gdLst>
              <a:ahLst/>
              <a:cxnLst>
                <a:cxn ang="0">
                  <a:pos x="connsiteX0" y="connsiteY0"/>
                </a:cxn>
                <a:cxn ang="0">
                  <a:pos x="connsiteX1" y="connsiteY1"/>
                </a:cxn>
                <a:cxn ang="0">
                  <a:pos x="connsiteX2" y="connsiteY2"/>
                </a:cxn>
              </a:cxnLst>
              <a:rect l="l" t="t" r="r" b="b"/>
              <a:pathLst>
                <a:path w="11709" h="66441">
                  <a:moveTo>
                    <a:pt x="222" y="0"/>
                  </a:moveTo>
                  <a:cubicBezTo>
                    <a:pt x="7425" y="20715"/>
                    <a:pt x="17581" y="45413"/>
                    <a:pt x="7425" y="66441"/>
                  </a:cubicBezTo>
                  <a:cubicBezTo>
                    <a:pt x="1027" y="44965"/>
                    <a:pt x="-673" y="22326"/>
                    <a:pt x="222"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 name="Freeform: Shape 274">
              <a:extLst>
                <a:ext uri="{FF2B5EF4-FFF2-40B4-BE49-F238E27FC236}">
                  <a16:creationId xmlns:a16="http://schemas.microsoft.com/office/drawing/2014/main" id="{3F653C95-7550-69FB-1988-B9CE6F1BEB4F}"/>
                </a:ext>
              </a:extLst>
            </p:cNvPr>
            <p:cNvSpPr/>
            <p:nvPr/>
          </p:nvSpPr>
          <p:spPr>
            <a:xfrm flipH="1">
              <a:off x="872327" y="3959467"/>
              <a:ext cx="139058" cy="125253"/>
            </a:xfrm>
            <a:custGeom>
              <a:avLst/>
              <a:gdLst>
                <a:gd name="connsiteX0" fmla="*/ 48187 w 116582"/>
                <a:gd name="connsiteY0" fmla="*/ 6577 h 105008"/>
                <a:gd name="connsiteX1" fmla="*/ 79864 w 116582"/>
                <a:gd name="connsiteY1" fmla="*/ 0 h 105008"/>
                <a:gd name="connsiteX2" fmla="*/ 113509 w 116582"/>
                <a:gd name="connsiteY2" fmla="*/ 18612 h 105008"/>
                <a:gd name="connsiteX3" fmla="*/ 114852 w 116582"/>
                <a:gd name="connsiteY3" fmla="*/ 77179 h 105008"/>
                <a:gd name="connsiteX4" fmla="*/ 97760 w 116582"/>
                <a:gd name="connsiteY4" fmla="*/ 99013 h 105008"/>
                <a:gd name="connsiteX5" fmla="*/ 57672 w 116582"/>
                <a:gd name="connsiteY5" fmla="*/ 105008 h 105008"/>
                <a:gd name="connsiteX6" fmla="*/ 48410 w 116582"/>
                <a:gd name="connsiteY6" fmla="*/ 104874 h 105008"/>
                <a:gd name="connsiteX7" fmla="*/ 51632 w 116582"/>
                <a:gd name="connsiteY7" fmla="*/ 77358 h 105008"/>
                <a:gd name="connsiteX8" fmla="*/ 15704 w 116582"/>
                <a:gd name="connsiteY8" fmla="*/ 74808 h 105008"/>
                <a:gd name="connsiteX9" fmla="*/ 50424 w 116582"/>
                <a:gd name="connsiteY9" fmla="*/ 72302 h 105008"/>
                <a:gd name="connsiteX10" fmla="*/ 64920 w 116582"/>
                <a:gd name="connsiteY10" fmla="*/ 28321 h 105008"/>
                <a:gd name="connsiteX11" fmla="*/ 0 w 116582"/>
                <a:gd name="connsiteY11" fmla="*/ 21789 h 105008"/>
                <a:gd name="connsiteX12" fmla="*/ 48187 w 116582"/>
                <a:gd name="connsiteY12" fmla="*/ 6577 h 10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582" h="105008">
                  <a:moveTo>
                    <a:pt x="48187" y="6577"/>
                  </a:moveTo>
                  <a:cubicBezTo>
                    <a:pt x="58119" y="2103"/>
                    <a:pt x="68947" y="268"/>
                    <a:pt x="79864" y="0"/>
                  </a:cubicBezTo>
                  <a:cubicBezTo>
                    <a:pt x="92391" y="3400"/>
                    <a:pt x="102861" y="11454"/>
                    <a:pt x="113509" y="18612"/>
                  </a:cubicBezTo>
                  <a:cubicBezTo>
                    <a:pt x="116015" y="37985"/>
                    <a:pt x="118252" y="57761"/>
                    <a:pt x="114852" y="77179"/>
                  </a:cubicBezTo>
                  <a:cubicBezTo>
                    <a:pt x="114270" y="87514"/>
                    <a:pt x="106440" y="94628"/>
                    <a:pt x="97760" y="99013"/>
                  </a:cubicBezTo>
                  <a:cubicBezTo>
                    <a:pt x="84517" y="101787"/>
                    <a:pt x="71139" y="104113"/>
                    <a:pt x="57672" y="105008"/>
                  </a:cubicBezTo>
                  <a:cubicBezTo>
                    <a:pt x="55345" y="104964"/>
                    <a:pt x="50737" y="104919"/>
                    <a:pt x="48410" y="104874"/>
                  </a:cubicBezTo>
                  <a:cubicBezTo>
                    <a:pt x="49484" y="95702"/>
                    <a:pt x="50513" y="86485"/>
                    <a:pt x="51632" y="77358"/>
                  </a:cubicBezTo>
                  <a:cubicBezTo>
                    <a:pt x="39641" y="76463"/>
                    <a:pt x="27650" y="75658"/>
                    <a:pt x="15704" y="74808"/>
                  </a:cubicBezTo>
                  <a:cubicBezTo>
                    <a:pt x="27248" y="73958"/>
                    <a:pt x="38791" y="73108"/>
                    <a:pt x="50424" y="72302"/>
                  </a:cubicBezTo>
                  <a:cubicBezTo>
                    <a:pt x="54853" y="57493"/>
                    <a:pt x="59685" y="42818"/>
                    <a:pt x="64920" y="28321"/>
                  </a:cubicBezTo>
                  <a:cubicBezTo>
                    <a:pt x="43131" y="27248"/>
                    <a:pt x="21297" y="26398"/>
                    <a:pt x="0" y="21789"/>
                  </a:cubicBezTo>
                  <a:cubicBezTo>
                    <a:pt x="15257" y="14362"/>
                    <a:pt x="32751" y="13691"/>
                    <a:pt x="48187" y="6577"/>
                  </a:cubicBezTo>
                  <a:close/>
                </a:path>
              </a:pathLst>
            </a:custGeom>
            <a:solidFill>
              <a:srgbClr val="F09C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 name="Freeform: Shape 275">
              <a:extLst>
                <a:ext uri="{FF2B5EF4-FFF2-40B4-BE49-F238E27FC236}">
                  <a16:creationId xmlns:a16="http://schemas.microsoft.com/office/drawing/2014/main" id="{48154DE4-3A9F-FC3B-D963-E4750770FFD0}"/>
                </a:ext>
              </a:extLst>
            </p:cNvPr>
            <p:cNvSpPr/>
            <p:nvPr/>
          </p:nvSpPr>
          <p:spPr>
            <a:xfrm flipH="1">
              <a:off x="933949" y="3985457"/>
              <a:ext cx="85912" cy="99101"/>
            </a:xfrm>
            <a:custGeom>
              <a:avLst/>
              <a:gdLst>
                <a:gd name="connsiteX0" fmla="*/ 13325 w 72026"/>
                <a:gd name="connsiteY0" fmla="*/ 64965 h 83084"/>
                <a:gd name="connsiteX1" fmla="*/ 7106 w 72026"/>
                <a:gd name="connsiteY1" fmla="*/ 0 h 83084"/>
                <a:gd name="connsiteX2" fmla="*/ 72026 w 72026"/>
                <a:gd name="connsiteY2" fmla="*/ 6532 h 83084"/>
                <a:gd name="connsiteX3" fmla="*/ 57530 w 72026"/>
                <a:gd name="connsiteY3" fmla="*/ 50513 h 83084"/>
                <a:gd name="connsiteX4" fmla="*/ 22810 w 72026"/>
                <a:gd name="connsiteY4" fmla="*/ 53019 h 83084"/>
                <a:gd name="connsiteX5" fmla="*/ 58738 w 72026"/>
                <a:gd name="connsiteY5" fmla="*/ 55569 h 83084"/>
                <a:gd name="connsiteX6" fmla="*/ 55516 w 72026"/>
                <a:gd name="connsiteY6" fmla="*/ 83085 h 83084"/>
                <a:gd name="connsiteX7" fmla="*/ 13325 w 72026"/>
                <a:gd name="connsiteY7" fmla="*/ 64965 h 8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26" h="83084">
                  <a:moveTo>
                    <a:pt x="13325" y="64965"/>
                  </a:moveTo>
                  <a:cubicBezTo>
                    <a:pt x="2677" y="46128"/>
                    <a:pt x="-7122" y="19284"/>
                    <a:pt x="7106" y="0"/>
                  </a:cubicBezTo>
                  <a:cubicBezTo>
                    <a:pt x="28403" y="4609"/>
                    <a:pt x="50237" y="5459"/>
                    <a:pt x="72026" y="6532"/>
                  </a:cubicBezTo>
                  <a:cubicBezTo>
                    <a:pt x="66791" y="21029"/>
                    <a:pt x="61959" y="35704"/>
                    <a:pt x="57530" y="50513"/>
                  </a:cubicBezTo>
                  <a:cubicBezTo>
                    <a:pt x="45897" y="51319"/>
                    <a:pt x="34354" y="52169"/>
                    <a:pt x="22810" y="53019"/>
                  </a:cubicBezTo>
                  <a:cubicBezTo>
                    <a:pt x="34757" y="53869"/>
                    <a:pt x="46747" y="54674"/>
                    <a:pt x="58738" y="55569"/>
                  </a:cubicBezTo>
                  <a:cubicBezTo>
                    <a:pt x="57619" y="64696"/>
                    <a:pt x="56590" y="73913"/>
                    <a:pt x="55516" y="83085"/>
                  </a:cubicBezTo>
                  <a:cubicBezTo>
                    <a:pt x="39946" y="82414"/>
                    <a:pt x="21200" y="80669"/>
                    <a:pt x="13325" y="64965"/>
                  </a:cubicBezTo>
                  <a:close/>
                </a:path>
              </a:pathLst>
            </a:custGeom>
            <a:solidFill>
              <a:srgbClr val="FBB8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7" name="Freeform: Shape 276">
              <a:extLst>
                <a:ext uri="{FF2B5EF4-FFF2-40B4-BE49-F238E27FC236}">
                  <a16:creationId xmlns:a16="http://schemas.microsoft.com/office/drawing/2014/main" id="{789D9BFF-07D5-F7D7-08D7-BED87B49F525}"/>
                </a:ext>
              </a:extLst>
            </p:cNvPr>
            <p:cNvSpPr/>
            <p:nvPr/>
          </p:nvSpPr>
          <p:spPr>
            <a:xfrm flipH="1">
              <a:off x="553656" y="3996556"/>
              <a:ext cx="39758" cy="50377"/>
            </a:xfrm>
            <a:custGeom>
              <a:avLst/>
              <a:gdLst>
                <a:gd name="connsiteX0" fmla="*/ 0 w 33332"/>
                <a:gd name="connsiteY0" fmla="*/ 0 h 42235"/>
                <a:gd name="connsiteX1" fmla="*/ 33332 w 33332"/>
                <a:gd name="connsiteY1" fmla="*/ 36464 h 42235"/>
                <a:gd name="connsiteX2" fmla="*/ 17449 w 33332"/>
                <a:gd name="connsiteY2" fmla="*/ 42236 h 42235"/>
                <a:gd name="connsiteX3" fmla="*/ 0 w 33332"/>
                <a:gd name="connsiteY3" fmla="*/ 0 h 42235"/>
              </a:gdLst>
              <a:ahLst/>
              <a:cxnLst>
                <a:cxn ang="0">
                  <a:pos x="connsiteX0" y="connsiteY0"/>
                </a:cxn>
                <a:cxn ang="0">
                  <a:pos x="connsiteX1" y="connsiteY1"/>
                </a:cxn>
                <a:cxn ang="0">
                  <a:pos x="connsiteX2" y="connsiteY2"/>
                </a:cxn>
                <a:cxn ang="0">
                  <a:pos x="connsiteX3" y="connsiteY3"/>
                </a:cxn>
              </a:cxnLst>
              <a:rect l="l" t="t" r="r" b="b"/>
              <a:pathLst>
                <a:path w="33332" h="42235">
                  <a:moveTo>
                    <a:pt x="0" y="0"/>
                  </a:moveTo>
                  <a:cubicBezTo>
                    <a:pt x="14228" y="8680"/>
                    <a:pt x="24787" y="22371"/>
                    <a:pt x="33332" y="36464"/>
                  </a:cubicBezTo>
                  <a:cubicBezTo>
                    <a:pt x="29619" y="41923"/>
                    <a:pt x="23176" y="41654"/>
                    <a:pt x="17449" y="42236"/>
                  </a:cubicBezTo>
                  <a:cubicBezTo>
                    <a:pt x="13959" y="27203"/>
                    <a:pt x="6398" y="13825"/>
                    <a:pt x="0" y="0"/>
                  </a:cubicBezTo>
                  <a:close/>
                </a:path>
              </a:pathLst>
            </a:custGeom>
            <a:solidFill>
              <a:srgbClr val="5D89D5"/>
            </a:solidFill>
            <a:ln w="0" cap="flat">
              <a:solidFill>
                <a:srgbClr val="5D89D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8" name="Freeform: Shape 277">
              <a:extLst>
                <a:ext uri="{FF2B5EF4-FFF2-40B4-BE49-F238E27FC236}">
                  <a16:creationId xmlns:a16="http://schemas.microsoft.com/office/drawing/2014/main" id="{96A2A684-B254-96AA-70C0-DE01AC264949}"/>
                </a:ext>
              </a:extLst>
            </p:cNvPr>
            <p:cNvSpPr/>
            <p:nvPr/>
          </p:nvSpPr>
          <p:spPr>
            <a:xfrm flipH="1">
              <a:off x="1125484" y="4061184"/>
              <a:ext cx="78237" cy="15101"/>
            </a:xfrm>
            <a:custGeom>
              <a:avLst/>
              <a:gdLst>
                <a:gd name="connsiteX0" fmla="*/ 38970 w 65591"/>
                <a:gd name="connsiteY0" fmla="*/ 0 h 12661"/>
                <a:gd name="connsiteX1" fmla="*/ 65591 w 65591"/>
                <a:gd name="connsiteY1" fmla="*/ 12662 h 12661"/>
                <a:gd name="connsiteX2" fmla="*/ 7785 w 65591"/>
                <a:gd name="connsiteY2" fmla="*/ 10648 h 12661"/>
                <a:gd name="connsiteX3" fmla="*/ 0 w 65591"/>
                <a:gd name="connsiteY3" fmla="*/ 2058 h 12661"/>
                <a:gd name="connsiteX4" fmla="*/ 38970 w 65591"/>
                <a:gd name="connsiteY4" fmla="*/ 0 h 12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91" h="12661">
                  <a:moveTo>
                    <a:pt x="38970" y="0"/>
                  </a:moveTo>
                  <a:cubicBezTo>
                    <a:pt x="47829" y="4250"/>
                    <a:pt x="56553" y="8725"/>
                    <a:pt x="65591" y="12662"/>
                  </a:cubicBezTo>
                  <a:cubicBezTo>
                    <a:pt x="46352" y="11141"/>
                    <a:pt x="27024" y="11588"/>
                    <a:pt x="7785" y="10648"/>
                  </a:cubicBezTo>
                  <a:cubicBezTo>
                    <a:pt x="5861" y="8501"/>
                    <a:pt x="1969" y="4206"/>
                    <a:pt x="0" y="2058"/>
                  </a:cubicBezTo>
                  <a:cubicBezTo>
                    <a:pt x="12975" y="1969"/>
                    <a:pt x="25995" y="1163"/>
                    <a:pt x="38970" y="0"/>
                  </a:cubicBezTo>
                  <a:close/>
                </a:path>
              </a:pathLst>
            </a:custGeom>
            <a:solidFill>
              <a:srgbClr val="ABACC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9" name="Freeform: Shape 278">
              <a:extLst>
                <a:ext uri="{FF2B5EF4-FFF2-40B4-BE49-F238E27FC236}">
                  <a16:creationId xmlns:a16="http://schemas.microsoft.com/office/drawing/2014/main" id="{B2486CAF-1ADC-411E-A15D-D2FC6B7EBD8F}"/>
                </a:ext>
              </a:extLst>
            </p:cNvPr>
            <p:cNvSpPr/>
            <p:nvPr/>
          </p:nvSpPr>
          <p:spPr>
            <a:xfrm flipH="1">
              <a:off x="328498" y="4077567"/>
              <a:ext cx="861615" cy="1517881"/>
            </a:xfrm>
            <a:custGeom>
              <a:avLst/>
              <a:gdLst>
                <a:gd name="connsiteX0" fmla="*/ 401662 w 858671"/>
                <a:gd name="connsiteY0" fmla="*/ 1491530 h 1512696"/>
                <a:gd name="connsiteX1" fmla="*/ 401654 w 858671"/>
                <a:gd name="connsiteY1" fmla="*/ 1494604 h 1512696"/>
                <a:gd name="connsiteX2" fmla="*/ 401981 w 858671"/>
                <a:gd name="connsiteY2" fmla="*/ 1491530 h 1512696"/>
                <a:gd name="connsiteX3" fmla="*/ 294325 w 858671"/>
                <a:gd name="connsiteY3" fmla="*/ 0 h 1512696"/>
                <a:gd name="connsiteX4" fmla="*/ 356925 w 858671"/>
                <a:gd name="connsiteY4" fmla="*/ 16434 h 1512696"/>
                <a:gd name="connsiteX5" fmla="*/ 537381 w 858671"/>
                <a:gd name="connsiteY5" fmla="*/ 46058 h 1512696"/>
                <a:gd name="connsiteX6" fmla="*/ 604287 w 858671"/>
                <a:gd name="connsiteY6" fmla="*/ 48505 h 1512696"/>
                <a:gd name="connsiteX7" fmla="*/ 623221 w 858671"/>
                <a:gd name="connsiteY7" fmla="*/ 116528 h 1512696"/>
                <a:gd name="connsiteX8" fmla="*/ 648698 w 858671"/>
                <a:gd name="connsiteY8" fmla="*/ 290709 h 1512696"/>
                <a:gd name="connsiteX9" fmla="*/ 661727 w 858671"/>
                <a:gd name="connsiteY9" fmla="*/ 501694 h 1512696"/>
                <a:gd name="connsiteX10" fmla="*/ 664173 w 858671"/>
                <a:gd name="connsiteY10" fmla="*/ 542115 h 1512696"/>
                <a:gd name="connsiteX11" fmla="*/ 666461 w 858671"/>
                <a:gd name="connsiteY11" fmla="*/ 569398 h 1512696"/>
                <a:gd name="connsiteX12" fmla="*/ 662319 w 858671"/>
                <a:gd name="connsiteY12" fmla="*/ 567164 h 1512696"/>
                <a:gd name="connsiteX13" fmla="*/ 664966 w 858671"/>
                <a:gd name="connsiteY13" fmla="*/ 635982 h 1512696"/>
                <a:gd name="connsiteX14" fmla="*/ 670344 w 858671"/>
                <a:gd name="connsiteY14" fmla="*/ 639762 h 1512696"/>
                <a:gd name="connsiteX15" fmla="*/ 747621 w 858671"/>
                <a:gd name="connsiteY15" fmla="*/ 1122575 h 1512696"/>
                <a:gd name="connsiteX16" fmla="*/ 823463 w 858671"/>
                <a:gd name="connsiteY16" fmla="*/ 1349993 h 1512696"/>
                <a:gd name="connsiteX17" fmla="*/ 833568 w 858671"/>
                <a:gd name="connsiteY17" fmla="*/ 1386371 h 1512696"/>
                <a:gd name="connsiteX18" fmla="*/ 858671 w 858671"/>
                <a:gd name="connsiteY18" fmla="*/ 1478648 h 1512696"/>
                <a:gd name="connsiteX19" fmla="*/ 854363 w 858671"/>
                <a:gd name="connsiteY19" fmla="*/ 1503379 h 1512696"/>
                <a:gd name="connsiteX20" fmla="*/ 825112 w 858671"/>
                <a:gd name="connsiteY20" fmla="*/ 1510240 h 1512696"/>
                <a:gd name="connsiteX21" fmla="*/ 592214 w 858671"/>
                <a:gd name="connsiteY21" fmla="*/ 1511729 h 1512696"/>
                <a:gd name="connsiteX22" fmla="*/ 500098 w 858671"/>
                <a:gd name="connsiteY22" fmla="*/ 1510133 h 1512696"/>
                <a:gd name="connsiteX23" fmla="*/ 324695 w 858671"/>
                <a:gd name="connsiteY23" fmla="*/ 1507049 h 1512696"/>
                <a:gd name="connsiteX24" fmla="*/ 215931 w 858671"/>
                <a:gd name="connsiteY24" fmla="*/ 1512685 h 1512696"/>
                <a:gd name="connsiteX25" fmla="*/ 155087 w 858671"/>
                <a:gd name="connsiteY25" fmla="*/ 1508910 h 1512696"/>
                <a:gd name="connsiteX26" fmla="*/ 49835 w 858671"/>
                <a:gd name="connsiteY26" fmla="*/ 1499123 h 1512696"/>
                <a:gd name="connsiteX27" fmla="*/ 0 w 858671"/>
                <a:gd name="connsiteY27" fmla="*/ 1486785 h 1512696"/>
                <a:gd name="connsiteX28" fmla="*/ 83713 w 858671"/>
                <a:gd name="connsiteY28" fmla="*/ 499885 h 1512696"/>
                <a:gd name="connsiteX29" fmla="*/ 96424 w 858671"/>
                <a:gd name="connsiteY29" fmla="*/ 358838 h 1512696"/>
                <a:gd name="connsiteX30" fmla="*/ 140302 w 858671"/>
                <a:gd name="connsiteY30" fmla="*/ 82862 h 1512696"/>
                <a:gd name="connsiteX31" fmla="*/ 143015 w 858671"/>
                <a:gd name="connsiteY31" fmla="*/ 70630 h 1512696"/>
                <a:gd name="connsiteX32" fmla="*/ 154715 w 858671"/>
                <a:gd name="connsiteY32" fmla="*/ 19200 h 1512696"/>
                <a:gd name="connsiteX33" fmla="*/ 245183 w 858671"/>
                <a:gd name="connsiteY33" fmla="*/ 26380 h 1512696"/>
                <a:gd name="connsiteX34" fmla="*/ 246672 w 858671"/>
                <a:gd name="connsiteY34" fmla="*/ 7127 h 1512696"/>
                <a:gd name="connsiteX35" fmla="*/ 294325 w 858671"/>
                <a:gd name="connsiteY35" fmla="*/ 0 h 15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58671" h="1512696">
                  <a:moveTo>
                    <a:pt x="401662" y="1491530"/>
                  </a:moveTo>
                  <a:lnTo>
                    <a:pt x="401654" y="1494604"/>
                  </a:lnTo>
                  <a:lnTo>
                    <a:pt x="401981" y="1491530"/>
                  </a:lnTo>
                  <a:close/>
                  <a:moveTo>
                    <a:pt x="294325" y="0"/>
                  </a:moveTo>
                  <a:cubicBezTo>
                    <a:pt x="315653" y="3405"/>
                    <a:pt x="335811" y="11807"/>
                    <a:pt x="356925" y="16434"/>
                  </a:cubicBezTo>
                  <a:cubicBezTo>
                    <a:pt x="416385" y="30050"/>
                    <a:pt x="476857" y="38771"/>
                    <a:pt x="537381" y="46058"/>
                  </a:cubicBezTo>
                  <a:cubicBezTo>
                    <a:pt x="559506" y="48451"/>
                    <a:pt x="581950" y="51164"/>
                    <a:pt x="604287" y="48505"/>
                  </a:cubicBezTo>
                  <a:cubicBezTo>
                    <a:pt x="610084" y="71321"/>
                    <a:pt x="616786" y="93872"/>
                    <a:pt x="623221" y="116528"/>
                  </a:cubicBezTo>
                  <a:cubicBezTo>
                    <a:pt x="638113" y="173490"/>
                    <a:pt x="643006" y="232312"/>
                    <a:pt x="648698" y="290709"/>
                  </a:cubicBezTo>
                  <a:cubicBezTo>
                    <a:pt x="652367" y="361073"/>
                    <a:pt x="657260" y="431383"/>
                    <a:pt x="661727" y="501694"/>
                  </a:cubicBezTo>
                  <a:cubicBezTo>
                    <a:pt x="662525" y="515150"/>
                    <a:pt x="663217" y="528605"/>
                    <a:pt x="664173" y="542115"/>
                  </a:cubicBezTo>
                  <a:cubicBezTo>
                    <a:pt x="664758" y="551156"/>
                    <a:pt x="665504" y="560250"/>
                    <a:pt x="666461" y="569398"/>
                  </a:cubicBezTo>
                  <a:lnTo>
                    <a:pt x="662319" y="567164"/>
                  </a:lnTo>
                  <a:lnTo>
                    <a:pt x="664966" y="635982"/>
                  </a:lnTo>
                  <a:lnTo>
                    <a:pt x="670344" y="639762"/>
                  </a:lnTo>
                  <a:cubicBezTo>
                    <a:pt x="680395" y="802561"/>
                    <a:pt x="698531" y="966370"/>
                    <a:pt x="747621" y="1122575"/>
                  </a:cubicBezTo>
                  <a:cubicBezTo>
                    <a:pt x="773310" y="1198257"/>
                    <a:pt x="800913" y="1273300"/>
                    <a:pt x="823463" y="1349993"/>
                  </a:cubicBezTo>
                  <a:cubicBezTo>
                    <a:pt x="826973" y="1362067"/>
                    <a:pt x="830217" y="1374193"/>
                    <a:pt x="833568" y="1386371"/>
                  </a:cubicBezTo>
                  <a:cubicBezTo>
                    <a:pt x="842450" y="1417007"/>
                    <a:pt x="849364" y="1448119"/>
                    <a:pt x="858671" y="1478648"/>
                  </a:cubicBezTo>
                  <a:cubicBezTo>
                    <a:pt x="857874" y="1486785"/>
                    <a:pt x="860000" y="1496464"/>
                    <a:pt x="854363" y="1503379"/>
                  </a:cubicBezTo>
                  <a:cubicBezTo>
                    <a:pt x="845907" y="1509548"/>
                    <a:pt x="834951" y="1509441"/>
                    <a:pt x="825112" y="1510240"/>
                  </a:cubicBezTo>
                  <a:cubicBezTo>
                    <a:pt x="747462" y="1512367"/>
                    <a:pt x="669758" y="1507687"/>
                    <a:pt x="592214" y="1511729"/>
                  </a:cubicBezTo>
                  <a:cubicBezTo>
                    <a:pt x="561527" y="1512474"/>
                    <a:pt x="530679" y="1513484"/>
                    <a:pt x="500098" y="1510133"/>
                  </a:cubicBezTo>
                  <a:cubicBezTo>
                    <a:pt x="441861" y="1504762"/>
                    <a:pt x="383092" y="1501784"/>
                    <a:pt x="324695" y="1507049"/>
                  </a:cubicBezTo>
                  <a:cubicBezTo>
                    <a:pt x="288528" y="1510026"/>
                    <a:pt x="252257" y="1512899"/>
                    <a:pt x="215931" y="1512685"/>
                  </a:cubicBezTo>
                  <a:cubicBezTo>
                    <a:pt x="195561" y="1512048"/>
                    <a:pt x="175352" y="1509708"/>
                    <a:pt x="155087" y="1508910"/>
                  </a:cubicBezTo>
                  <a:cubicBezTo>
                    <a:pt x="119879" y="1506995"/>
                    <a:pt x="84883" y="1502262"/>
                    <a:pt x="49835" y="1499123"/>
                  </a:cubicBezTo>
                  <a:cubicBezTo>
                    <a:pt x="32656" y="1497528"/>
                    <a:pt x="15690" y="1493859"/>
                    <a:pt x="0" y="1486785"/>
                  </a:cubicBezTo>
                  <a:cubicBezTo>
                    <a:pt x="36698" y="1158634"/>
                    <a:pt x="55312" y="828781"/>
                    <a:pt x="83713" y="499885"/>
                  </a:cubicBezTo>
                  <a:cubicBezTo>
                    <a:pt x="87490" y="452817"/>
                    <a:pt x="92277" y="405854"/>
                    <a:pt x="96424" y="358838"/>
                  </a:cubicBezTo>
                  <a:cubicBezTo>
                    <a:pt x="106476" y="266191"/>
                    <a:pt x="119827" y="173809"/>
                    <a:pt x="140302" y="82862"/>
                  </a:cubicBezTo>
                  <a:cubicBezTo>
                    <a:pt x="141153" y="78714"/>
                    <a:pt x="142058" y="74672"/>
                    <a:pt x="143015" y="70630"/>
                  </a:cubicBezTo>
                  <a:cubicBezTo>
                    <a:pt x="146897" y="53451"/>
                    <a:pt x="150354" y="36219"/>
                    <a:pt x="154715" y="19200"/>
                  </a:cubicBezTo>
                  <a:cubicBezTo>
                    <a:pt x="184818" y="22125"/>
                    <a:pt x="214815" y="26858"/>
                    <a:pt x="245183" y="26380"/>
                  </a:cubicBezTo>
                  <a:cubicBezTo>
                    <a:pt x="245608" y="19945"/>
                    <a:pt x="246087" y="13509"/>
                    <a:pt x="246672" y="7127"/>
                  </a:cubicBezTo>
                  <a:cubicBezTo>
                    <a:pt x="262681" y="6064"/>
                    <a:pt x="278583" y="3298"/>
                    <a:pt x="294325" y="0"/>
                  </a:cubicBezTo>
                  <a:close/>
                </a:path>
              </a:pathLst>
            </a:custGeom>
            <a:solidFill>
              <a:srgbClr val="3049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0" name="Freeform: Shape 279">
              <a:extLst>
                <a:ext uri="{FF2B5EF4-FFF2-40B4-BE49-F238E27FC236}">
                  <a16:creationId xmlns:a16="http://schemas.microsoft.com/office/drawing/2014/main" id="{F405B42A-E00E-71D3-7A27-B3FC00089F91}"/>
                </a:ext>
              </a:extLst>
            </p:cNvPr>
            <p:cNvSpPr/>
            <p:nvPr/>
          </p:nvSpPr>
          <p:spPr>
            <a:xfrm flipH="1">
              <a:off x="1880044" y="4096145"/>
              <a:ext cx="98890" cy="115481"/>
            </a:xfrm>
            <a:custGeom>
              <a:avLst/>
              <a:gdLst>
                <a:gd name="connsiteX0" fmla="*/ 0 w 82906"/>
                <a:gd name="connsiteY0" fmla="*/ 1025 h 96816"/>
                <a:gd name="connsiteX1" fmla="*/ 78387 w 82906"/>
                <a:gd name="connsiteY1" fmla="*/ 9079 h 96816"/>
                <a:gd name="connsiteX2" fmla="*/ 82190 w 82906"/>
                <a:gd name="connsiteY2" fmla="*/ 91403 h 96816"/>
                <a:gd name="connsiteX3" fmla="*/ 82906 w 82906"/>
                <a:gd name="connsiteY3" fmla="*/ 96414 h 96816"/>
                <a:gd name="connsiteX4" fmla="*/ 73600 w 82906"/>
                <a:gd name="connsiteY4" fmla="*/ 96817 h 96816"/>
                <a:gd name="connsiteX5" fmla="*/ 58746 w 82906"/>
                <a:gd name="connsiteY5" fmla="*/ 27333 h 96816"/>
                <a:gd name="connsiteX6" fmla="*/ 22639 w 82906"/>
                <a:gd name="connsiteY6" fmla="*/ 26617 h 96816"/>
                <a:gd name="connsiteX7" fmla="*/ 12393 w 82906"/>
                <a:gd name="connsiteY7" fmla="*/ 16192 h 96816"/>
                <a:gd name="connsiteX8" fmla="*/ 0 w 82906"/>
                <a:gd name="connsiteY8" fmla="*/ 1025 h 9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06" h="96816">
                  <a:moveTo>
                    <a:pt x="0" y="1025"/>
                  </a:moveTo>
                  <a:cubicBezTo>
                    <a:pt x="26084" y="444"/>
                    <a:pt x="54406" y="-3449"/>
                    <a:pt x="78387" y="9079"/>
                  </a:cubicBezTo>
                  <a:cubicBezTo>
                    <a:pt x="59462" y="33686"/>
                    <a:pt x="75837" y="65140"/>
                    <a:pt x="82190" y="91403"/>
                  </a:cubicBezTo>
                  <a:lnTo>
                    <a:pt x="82906" y="96414"/>
                  </a:lnTo>
                  <a:cubicBezTo>
                    <a:pt x="80579" y="96503"/>
                    <a:pt x="75926" y="96727"/>
                    <a:pt x="73600" y="96817"/>
                  </a:cubicBezTo>
                  <a:cubicBezTo>
                    <a:pt x="72302" y="72969"/>
                    <a:pt x="63578" y="50509"/>
                    <a:pt x="58746" y="27333"/>
                  </a:cubicBezTo>
                  <a:cubicBezTo>
                    <a:pt x="46710" y="26707"/>
                    <a:pt x="34630" y="26349"/>
                    <a:pt x="22639" y="26617"/>
                  </a:cubicBezTo>
                  <a:cubicBezTo>
                    <a:pt x="19105" y="23172"/>
                    <a:pt x="15704" y="19727"/>
                    <a:pt x="12393" y="16192"/>
                  </a:cubicBezTo>
                  <a:cubicBezTo>
                    <a:pt x="8098" y="11271"/>
                    <a:pt x="4027" y="6036"/>
                    <a:pt x="0" y="1025"/>
                  </a:cubicBezTo>
                  <a:close/>
                </a:path>
              </a:pathLst>
            </a:custGeom>
            <a:solidFill>
              <a:srgbClr val="E491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1" name="Freeform: Shape 280">
              <a:extLst>
                <a:ext uri="{FF2B5EF4-FFF2-40B4-BE49-F238E27FC236}">
                  <a16:creationId xmlns:a16="http://schemas.microsoft.com/office/drawing/2014/main" id="{4A13E5C3-8523-15FA-2631-3BD067E7012E}"/>
                </a:ext>
              </a:extLst>
            </p:cNvPr>
            <p:cNvSpPr/>
            <p:nvPr/>
          </p:nvSpPr>
          <p:spPr>
            <a:xfrm flipH="1">
              <a:off x="1779442" y="4104359"/>
              <a:ext cx="503204" cy="256322"/>
            </a:xfrm>
            <a:custGeom>
              <a:avLst/>
              <a:gdLst>
                <a:gd name="connsiteX0" fmla="*/ 85322 w 421871"/>
                <a:gd name="connsiteY0" fmla="*/ 24295 h 214893"/>
                <a:gd name="connsiteX1" fmla="*/ 139727 w 421871"/>
                <a:gd name="connsiteY1" fmla="*/ 0 h 214893"/>
                <a:gd name="connsiteX2" fmla="*/ 211135 w 421871"/>
                <a:gd name="connsiteY2" fmla="*/ 10783 h 214893"/>
                <a:gd name="connsiteX3" fmla="*/ 139146 w 421871"/>
                <a:gd name="connsiteY3" fmla="*/ 13422 h 214893"/>
                <a:gd name="connsiteX4" fmla="*/ 256413 w 421871"/>
                <a:gd name="connsiteY4" fmla="*/ 21163 h 214893"/>
                <a:gd name="connsiteX5" fmla="*/ 140801 w 421871"/>
                <a:gd name="connsiteY5" fmla="*/ 29484 h 214893"/>
                <a:gd name="connsiteX6" fmla="*/ 185051 w 421871"/>
                <a:gd name="connsiteY6" fmla="*/ 60401 h 214893"/>
                <a:gd name="connsiteX7" fmla="*/ 328223 w 421871"/>
                <a:gd name="connsiteY7" fmla="*/ 89930 h 214893"/>
                <a:gd name="connsiteX8" fmla="*/ 337530 w 421871"/>
                <a:gd name="connsiteY8" fmla="*/ 89527 h 214893"/>
                <a:gd name="connsiteX9" fmla="*/ 387014 w 421871"/>
                <a:gd name="connsiteY9" fmla="*/ 117938 h 214893"/>
                <a:gd name="connsiteX10" fmla="*/ 386387 w 421871"/>
                <a:gd name="connsiteY10" fmla="*/ 124336 h 214893"/>
                <a:gd name="connsiteX11" fmla="*/ 420972 w 421871"/>
                <a:gd name="connsiteY11" fmla="*/ 214893 h 214893"/>
                <a:gd name="connsiteX12" fmla="*/ 262543 w 421871"/>
                <a:gd name="connsiteY12" fmla="*/ 212074 h 214893"/>
                <a:gd name="connsiteX13" fmla="*/ 275473 w 421871"/>
                <a:gd name="connsiteY13" fmla="*/ 182948 h 214893"/>
                <a:gd name="connsiteX14" fmla="*/ 258829 w 421871"/>
                <a:gd name="connsiteY14" fmla="*/ 212343 h 214893"/>
                <a:gd name="connsiteX15" fmla="*/ 226794 w 421871"/>
                <a:gd name="connsiteY15" fmla="*/ 212343 h 214893"/>
                <a:gd name="connsiteX16" fmla="*/ 212164 w 421871"/>
                <a:gd name="connsiteY16" fmla="*/ 182769 h 214893"/>
                <a:gd name="connsiteX17" fmla="*/ 223394 w 421871"/>
                <a:gd name="connsiteY17" fmla="*/ 212298 h 214893"/>
                <a:gd name="connsiteX18" fmla="*/ 130690 w 421871"/>
                <a:gd name="connsiteY18" fmla="*/ 212253 h 214893"/>
                <a:gd name="connsiteX19" fmla="*/ 69126 w 421871"/>
                <a:gd name="connsiteY19" fmla="*/ 127245 h 214893"/>
                <a:gd name="connsiteX20" fmla="*/ 0 w 421871"/>
                <a:gd name="connsiteY20" fmla="*/ 45457 h 214893"/>
                <a:gd name="connsiteX21" fmla="*/ 61430 w 421871"/>
                <a:gd name="connsiteY21" fmla="*/ 22952 h 214893"/>
                <a:gd name="connsiteX22" fmla="*/ 85322 w 421871"/>
                <a:gd name="connsiteY22" fmla="*/ 24295 h 21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1871" h="214893">
                  <a:moveTo>
                    <a:pt x="85322" y="24295"/>
                  </a:moveTo>
                  <a:cubicBezTo>
                    <a:pt x="103576" y="16510"/>
                    <a:pt x="120936" y="6622"/>
                    <a:pt x="139727" y="0"/>
                  </a:cubicBezTo>
                  <a:cubicBezTo>
                    <a:pt x="163888" y="358"/>
                    <a:pt x="187556" y="5682"/>
                    <a:pt x="211135" y="10783"/>
                  </a:cubicBezTo>
                  <a:cubicBezTo>
                    <a:pt x="187109" y="12886"/>
                    <a:pt x="162053" y="3087"/>
                    <a:pt x="139146" y="13422"/>
                  </a:cubicBezTo>
                  <a:cubicBezTo>
                    <a:pt x="177087" y="25368"/>
                    <a:pt x="217354" y="19015"/>
                    <a:pt x="256413" y="21163"/>
                  </a:cubicBezTo>
                  <a:cubicBezTo>
                    <a:pt x="219904" y="38522"/>
                    <a:pt x="179324" y="25458"/>
                    <a:pt x="140801" y="29484"/>
                  </a:cubicBezTo>
                  <a:cubicBezTo>
                    <a:pt x="149436" y="46710"/>
                    <a:pt x="169346" y="51810"/>
                    <a:pt x="185051" y="60401"/>
                  </a:cubicBezTo>
                  <a:cubicBezTo>
                    <a:pt x="229658" y="80848"/>
                    <a:pt x="279142" y="91138"/>
                    <a:pt x="328223" y="89930"/>
                  </a:cubicBezTo>
                  <a:cubicBezTo>
                    <a:pt x="330550" y="89841"/>
                    <a:pt x="335203" y="89617"/>
                    <a:pt x="337530" y="89527"/>
                  </a:cubicBezTo>
                  <a:cubicBezTo>
                    <a:pt x="352786" y="100892"/>
                    <a:pt x="368580" y="112301"/>
                    <a:pt x="387014" y="117938"/>
                  </a:cubicBezTo>
                  <a:cubicBezTo>
                    <a:pt x="386879" y="119549"/>
                    <a:pt x="386566" y="122726"/>
                    <a:pt x="386387" y="124336"/>
                  </a:cubicBezTo>
                  <a:cubicBezTo>
                    <a:pt x="408803" y="148586"/>
                    <a:pt x="426073" y="180890"/>
                    <a:pt x="420972" y="214893"/>
                  </a:cubicBezTo>
                  <a:cubicBezTo>
                    <a:pt x="368356" y="209390"/>
                    <a:pt x="315293" y="213372"/>
                    <a:pt x="262543" y="212074"/>
                  </a:cubicBezTo>
                  <a:cubicBezTo>
                    <a:pt x="266883" y="202366"/>
                    <a:pt x="271267" y="192701"/>
                    <a:pt x="275473" y="182948"/>
                  </a:cubicBezTo>
                  <a:cubicBezTo>
                    <a:pt x="269254" y="192343"/>
                    <a:pt x="263840" y="202231"/>
                    <a:pt x="258829" y="212343"/>
                  </a:cubicBezTo>
                  <a:cubicBezTo>
                    <a:pt x="248091" y="212432"/>
                    <a:pt x="237443" y="212432"/>
                    <a:pt x="226794" y="212343"/>
                  </a:cubicBezTo>
                  <a:cubicBezTo>
                    <a:pt x="222589" y="202142"/>
                    <a:pt x="217712" y="192254"/>
                    <a:pt x="212164" y="182769"/>
                  </a:cubicBezTo>
                  <a:cubicBezTo>
                    <a:pt x="215743" y="192657"/>
                    <a:pt x="219546" y="202500"/>
                    <a:pt x="223394" y="212298"/>
                  </a:cubicBezTo>
                  <a:cubicBezTo>
                    <a:pt x="192522" y="212477"/>
                    <a:pt x="161606" y="212388"/>
                    <a:pt x="130690" y="212253"/>
                  </a:cubicBezTo>
                  <a:cubicBezTo>
                    <a:pt x="116954" y="179547"/>
                    <a:pt x="92928" y="152971"/>
                    <a:pt x="69126" y="127245"/>
                  </a:cubicBezTo>
                  <a:cubicBezTo>
                    <a:pt x="44205" y="101652"/>
                    <a:pt x="20984" y="74360"/>
                    <a:pt x="0" y="45457"/>
                  </a:cubicBezTo>
                  <a:cubicBezTo>
                    <a:pt x="20447" y="37851"/>
                    <a:pt x="40446" y="28992"/>
                    <a:pt x="61430" y="22952"/>
                  </a:cubicBezTo>
                  <a:cubicBezTo>
                    <a:pt x="69260" y="24205"/>
                    <a:pt x="77313" y="25145"/>
                    <a:pt x="85322" y="24295"/>
                  </a:cubicBezTo>
                  <a:close/>
                </a:path>
              </a:pathLst>
            </a:custGeom>
            <a:solidFill>
              <a:srgbClr val="E2EA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2" name="Freeform: Shape 281">
              <a:extLst>
                <a:ext uri="{FF2B5EF4-FFF2-40B4-BE49-F238E27FC236}">
                  <a16:creationId xmlns:a16="http://schemas.microsoft.com/office/drawing/2014/main" id="{646FF81D-3370-3057-592F-EA29F1EF552A}"/>
                </a:ext>
              </a:extLst>
            </p:cNvPr>
            <p:cNvSpPr/>
            <p:nvPr/>
          </p:nvSpPr>
          <p:spPr>
            <a:xfrm flipH="1">
              <a:off x="1951931" y="4115459"/>
              <a:ext cx="162769" cy="60944"/>
            </a:xfrm>
            <a:custGeom>
              <a:avLst/>
              <a:gdLst>
                <a:gd name="connsiteX0" fmla="*/ 126216 w 136461"/>
                <a:gd name="connsiteY0" fmla="*/ 0 h 51094"/>
                <a:gd name="connsiteX1" fmla="*/ 136461 w 136461"/>
                <a:gd name="connsiteY1" fmla="*/ 10425 h 51094"/>
                <a:gd name="connsiteX2" fmla="*/ 107156 w 136461"/>
                <a:gd name="connsiteY2" fmla="*/ 33735 h 51094"/>
                <a:gd name="connsiteX3" fmla="*/ 43623 w 136461"/>
                <a:gd name="connsiteY3" fmla="*/ 40536 h 51094"/>
                <a:gd name="connsiteX4" fmla="*/ 44249 w 136461"/>
                <a:gd name="connsiteY4" fmla="*/ 51095 h 51094"/>
                <a:gd name="connsiteX5" fmla="*/ 0 w 136461"/>
                <a:gd name="connsiteY5" fmla="*/ 20178 h 51094"/>
                <a:gd name="connsiteX6" fmla="*/ 115612 w 136461"/>
                <a:gd name="connsiteY6" fmla="*/ 11857 h 51094"/>
                <a:gd name="connsiteX7" fmla="*/ 122681 w 136461"/>
                <a:gd name="connsiteY7" fmla="*/ 9843 h 51094"/>
                <a:gd name="connsiteX8" fmla="*/ 126216 w 136461"/>
                <a:gd name="connsiteY8" fmla="*/ 0 h 5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461" h="51094">
                  <a:moveTo>
                    <a:pt x="126216" y="0"/>
                  </a:moveTo>
                  <a:cubicBezTo>
                    <a:pt x="129527" y="3535"/>
                    <a:pt x="132927" y="6980"/>
                    <a:pt x="136461" y="10425"/>
                  </a:cubicBezTo>
                  <a:cubicBezTo>
                    <a:pt x="127737" y="19373"/>
                    <a:pt x="118789" y="28679"/>
                    <a:pt x="107156" y="33735"/>
                  </a:cubicBezTo>
                  <a:cubicBezTo>
                    <a:pt x="87246" y="42684"/>
                    <a:pt x="64830" y="39999"/>
                    <a:pt x="43623" y="40536"/>
                  </a:cubicBezTo>
                  <a:cubicBezTo>
                    <a:pt x="43802" y="43176"/>
                    <a:pt x="44115" y="48455"/>
                    <a:pt x="44249" y="51095"/>
                  </a:cubicBezTo>
                  <a:cubicBezTo>
                    <a:pt x="28545" y="42504"/>
                    <a:pt x="8635" y="37404"/>
                    <a:pt x="0" y="20178"/>
                  </a:cubicBezTo>
                  <a:cubicBezTo>
                    <a:pt x="38523" y="16152"/>
                    <a:pt x="79103" y="29216"/>
                    <a:pt x="115612" y="11857"/>
                  </a:cubicBezTo>
                  <a:cubicBezTo>
                    <a:pt x="117402" y="11365"/>
                    <a:pt x="120936" y="10380"/>
                    <a:pt x="122681" y="9843"/>
                  </a:cubicBezTo>
                  <a:cubicBezTo>
                    <a:pt x="123576" y="7382"/>
                    <a:pt x="125321" y="2461"/>
                    <a:pt x="126216" y="0"/>
                  </a:cubicBezTo>
                  <a:close/>
                </a:path>
              </a:pathLst>
            </a:custGeom>
            <a:solidFill>
              <a:srgbClr val="EBA8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3" name="Freeform: Shape 282">
              <a:extLst>
                <a:ext uri="{FF2B5EF4-FFF2-40B4-BE49-F238E27FC236}">
                  <a16:creationId xmlns:a16="http://schemas.microsoft.com/office/drawing/2014/main" id="{6F15B336-CCE4-8713-08A8-FEE143D73AC7}"/>
                </a:ext>
              </a:extLst>
            </p:cNvPr>
            <p:cNvSpPr/>
            <p:nvPr/>
          </p:nvSpPr>
          <p:spPr>
            <a:xfrm flipH="1">
              <a:off x="1891145" y="4127786"/>
              <a:ext cx="171522" cy="83954"/>
            </a:xfrm>
            <a:custGeom>
              <a:avLst/>
              <a:gdLst>
                <a:gd name="connsiteX0" fmla="*/ 92839 w 143799"/>
                <a:gd name="connsiteY0" fmla="*/ 90 h 70384"/>
                <a:gd name="connsiteX1" fmla="*/ 128945 w 143799"/>
                <a:gd name="connsiteY1" fmla="*/ 806 h 70384"/>
                <a:gd name="connsiteX2" fmla="*/ 143799 w 143799"/>
                <a:gd name="connsiteY2" fmla="*/ 70290 h 70384"/>
                <a:gd name="connsiteX3" fmla="*/ 626 w 143799"/>
                <a:gd name="connsiteY3" fmla="*/ 40760 h 70384"/>
                <a:gd name="connsiteX4" fmla="*/ 0 w 143799"/>
                <a:gd name="connsiteY4" fmla="*/ 30201 h 70384"/>
                <a:gd name="connsiteX5" fmla="*/ 63533 w 143799"/>
                <a:gd name="connsiteY5" fmla="*/ 23401 h 70384"/>
                <a:gd name="connsiteX6" fmla="*/ 92839 w 143799"/>
                <a:gd name="connsiteY6" fmla="*/ 90 h 7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799" h="70384">
                  <a:moveTo>
                    <a:pt x="92839" y="90"/>
                  </a:moveTo>
                  <a:cubicBezTo>
                    <a:pt x="104829" y="-178"/>
                    <a:pt x="116909" y="180"/>
                    <a:pt x="128945" y="806"/>
                  </a:cubicBezTo>
                  <a:cubicBezTo>
                    <a:pt x="133777" y="23982"/>
                    <a:pt x="142502" y="46442"/>
                    <a:pt x="143799" y="70290"/>
                  </a:cubicBezTo>
                  <a:cubicBezTo>
                    <a:pt x="94718" y="71498"/>
                    <a:pt x="45234" y="61207"/>
                    <a:pt x="626" y="40760"/>
                  </a:cubicBezTo>
                  <a:cubicBezTo>
                    <a:pt x="492" y="38120"/>
                    <a:pt x="179" y="32841"/>
                    <a:pt x="0" y="30201"/>
                  </a:cubicBezTo>
                  <a:cubicBezTo>
                    <a:pt x="21207" y="29664"/>
                    <a:pt x="43623" y="32349"/>
                    <a:pt x="63533" y="23401"/>
                  </a:cubicBezTo>
                  <a:cubicBezTo>
                    <a:pt x="75166" y="18345"/>
                    <a:pt x="84114" y="9038"/>
                    <a:pt x="92839" y="90"/>
                  </a:cubicBezTo>
                  <a:close/>
                </a:path>
              </a:pathLst>
            </a:custGeom>
            <a:solidFill>
              <a:srgbClr val="F7AD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4" name="Freeform: Shape 283">
              <a:extLst>
                <a:ext uri="{FF2B5EF4-FFF2-40B4-BE49-F238E27FC236}">
                  <a16:creationId xmlns:a16="http://schemas.microsoft.com/office/drawing/2014/main" id="{22A28016-841F-40A2-81F8-EF567F4596B3}"/>
                </a:ext>
              </a:extLst>
            </p:cNvPr>
            <p:cNvSpPr/>
            <p:nvPr/>
          </p:nvSpPr>
          <p:spPr>
            <a:xfrm flipH="1">
              <a:off x="1324599" y="4156823"/>
              <a:ext cx="328742" cy="351419"/>
            </a:xfrm>
            <a:custGeom>
              <a:avLst/>
              <a:gdLst>
                <a:gd name="connsiteX0" fmla="*/ 214714 w 275607"/>
                <a:gd name="connsiteY0" fmla="*/ 19638 h 294619"/>
                <a:gd name="connsiteX1" fmla="*/ 273683 w 275607"/>
                <a:gd name="connsiteY1" fmla="*/ 2278 h 294619"/>
                <a:gd name="connsiteX2" fmla="*/ 275607 w 275607"/>
                <a:gd name="connsiteY2" fmla="*/ 17938 h 294619"/>
                <a:gd name="connsiteX3" fmla="*/ 178295 w 275607"/>
                <a:gd name="connsiteY3" fmla="*/ 117711 h 294619"/>
                <a:gd name="connsiteX4" fmla="*/ 10962 w 275607"/>
                <a:gd name="connsiteY4" fmla="*/ 294619 h 294619"/>
                <a:gd name="connsiteX5" fmla="*/ 0 w 275607"/>
                <a:gd name="connsiteY5" fmla="*/ 250459 h 294619"/>
                <a:gd name="connsiteX6" fmla="*/ 214714 w 275607"/>
                <a:gd name="connsiteY6" fmla="*/ 19638 h 29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607" h="294619">
                  <a:moveTo>
                    <a:pt x="214714" y="19638"/>
                  </a:moveTo>
                  <a:cubicBezTo>
                    <a:pt x="229210" y="3084"/>
                    <a:pt x="252431" y="-4030"/>
                    <a:pt x="273683" y="2278"/>
                  </a:cubicBezTo>
                  <a:cubicBezTo>
                    <a:pt x="274086" y="7468"/>
                    <a:pt x="274847" y="12703"/>
                    <a:pt x="275607" y="17938"/>
                  </a:cubicBezTo>
                  <a:cubicBezTo>
                    <a:pt x="241067" y="49078"/>
                    <a:pt x="210822" y="84558"/>
                    <a:pt x="178295" y="117711"/>
                  </a:cubicBezTo>
                  <a:cubicBezTo>
                    <a:pt x="122278" y="176457"/>
                    <a:pt x="68499" y="237350"/>
                    <a:pt x="10962" y="294619"/>
                  </a:cubicBezTo>
                  <a:cubicBezTo>
                    <a:pt x="7427" y="279854"/>
                    <a:pt x="3892" y="265090"/>
                    <a:pt x="0" y="250459"/>
                  </a:cubicBezTo>
                  <a:cubicBezTo>
                    <a:pt x="70871" y="172922"/>
                    <a:pt x="143620" y="96996"/>
                    <a:pt x="214714" y="19638"/>
                  </a:cubicBezTo>
                  <a:close/>
                </a:path>
              </a:pathLst>
            </a:custGeom>
            <a:solidFill>
              <a:srgbClr val="2147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5" name="Freeform: Shape 284">
              <a:extLst>
                <a:ext uri="{FF2B5EF4-FFF2-40B4-BE49-F238E27FC236}">
                  <a16:creationId xmlns:a16="http://schemas.microsoft.com/office/drawing/2014/main" id="{6EF3896D-E758-4731-FD16-7761F529E810}"/>
                </a:ext>
              </a:extLst>
            </p:cNvPr>
            <p:cNvSpPr/>
            <p:nvPr/>
          </p:nvSpPr>
          <p:spPr>
            <a:xfrm flipH="1">
              <a:off x="1283782" y="4180514"/>
              <a:ext cx="28391" cy="34794"/>
            </a:xfrm>
            <a:custGeom>
              <a:avLst/>
              <a:gdLst>
                <a:gd name="connsiteX0" fmla="*/ 12304 w 23802"/>
                <a:gd name="connsiteY0" fmla="*/ 3624 h 29171"/>
                <a:gd name="connsiteX1" fmla="*/ 23713 w 23802"/>
                <a:gd name="connsiteY1" fmla="*/ 0 h 29171"/>
                <a:gd name="connsiteX2" fmla="*/ 23802 w 23802"/>
                <a:gd name="connsiteY2" fmla="*/ 25771 h 29171"/>
                <a:gd name="connsiteX3" fmla="*/ 0 w 23802"/>
                <a:gd name="connsiteY3" fmla="*/ 29172 h 29171"/>
                <a:gd name="connsiteX4" fmla="*/ 13378 w 23802"/>
                <a:gd name="connsiteY4" fmla="*/ 16823 h 29171"/>
                <a:gd name="connsiteX5" fmla="*/ 12304 w 23802"/>
                <a:gd name="connsiteY5" fmla="*/ 3624 h 2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2" h="29171">
                  <a:moveTo>
                    <a:pt x="12304" y="3624"/>
                  </a:moveTo>
                  <a:cubicBezTo>
                    <a:pt x="16062" y="2416"/>
                    <a:pt x="19865" y="1208"/>
                    <a:pt x="23713" y="0"/>
                  </a:cubicBezTo>
                  <a:cubicBezTo>
                    <a:pt x="23444" y="8546"/>
                    <a:pt x="23400" y="17136"/>
                    <a:pt x="23802" y="25771"/>
                  </a:cubicBezTo>
                  <a:cubicBezTo>
                    <a:pt x="15838" y="26890"/>
                    <a:pt x="7875" y="28008"/>
                    <a:pt x="0" y="29172"/>
                  </a:cubicBezTo>
                  <a:cubicBezTo>
                    <a:pt x="4385" y="24966"/>
                    <a:pt x="8814" y="20894"/>
                    <a:pt x="13378" y="16823"/>
                  </a:cubicBezTo>
                  <a:cubicBezTo>
                    <a:pt x="13109" y="13557"/>
                    <a:pt x="12572" y="6935"/>
                    <a:pt x="12304" y="3624"/>
                  </a:cubicBezTo>
                  <a:close/>
                </a:path>
              </a:pathLst>
            </a:custGeom>
            <a:solidFill>
              <a:srgbClr val="133B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6" name="Freeform: Shape 285">
              <a:extLst>
                <a:ext uri="{FF2B5EF4-FFF2-40B4-BE49-F238E27FC236}">
                  <a16:creationId xmlns:a16="http://schemas.microsoft.com/office/drawing/2014/main" id="{927848F8-8328-8BB2-D29F-99F0FC31BA03}"/>
                </a:ext>
              </a:extLst>
            </p:cNvPr>
            <p:cNvSpPr/>
            <p:nvPr/>
          </p:nvSpPr>
          <p:spPr>
            <a:xfrm flipH="1">
              <a:off x="1295471" y="4211254"/>
              <a:ext cx="340098" cy="488843"/>
            </a:xfrm>
            <a:custGeom>
              <a:avLst/>
              <a:gdLst>
                <a:gd name="connsiteX0" fmla="*/ 259769 w 285128"/>
                <a:gd name="connsiteY0" fmla="*/ 3400 h 409831"/>
                <a:gd name="connsiteX1" fmla="*/ 283571 w 285128"/>
                <a:gd name="connsiteY1" fmla="*/ 0 h 409831"/>
                <a:gd name="connsiteX2" fmla="*/ 284063 w 285128"/>
                <a:gd name="connsiteY2" fmla="*/ 119728 h 409831"/>
                <a:gd name="connsiteX3" fmla="*/ 275294 w 285128"/>
                <a:gd name="connsiteY3" fmla="*/ 127737 h 409831"/>
                <a:gd name="connsiteX4" fmla="*/ 235743 w 285128"/>
                <a:gd name="connsiteY4" fmla="*/ 167244 h 409831"/>
                <a:gd name="connsiteX5" fmla="*/ 222857 w 285128"/>
                <a:gd name="connsiteY5" fmla="*/ 180084 h 409831"/>
                <a:gd name="connsiteX6" fmla="*/ 77582 w 285128"/>
                <a:gd name="connsiteY6" fmla="*/ 330505 h 409831"/>
                <a:gd name="connsiteX7" fmla="*/ 7069 w 285128"/>
                <a:gd name="connsiteY7" fmla="*/ 409832 h 409831"/>
                <a:gd name="connsiteX8" fmla="*/ 2640 w 285128"/>
                <a:gd name="connsiteY8" fmla="*/ 362719 h 409831"/>
                <a:gd name="connsiteX9" fmla="*/ 0 w 285128"/>
                <a:gd name="connsiteY9" fmla="*/ 276279 h 409831"/>
                <a:gd name="connsiteX10" fmla="*/ 259769 w 285128"/>
                <a:gd name="connsiteY10" fmla="*/ 3400 h 40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5128" h="409831">
                  <a:moveTo>
                    <a:pt x="259769" y="3400"/>
                  </a:moveTo>
                  <a:cubicBezTo>
                    <a:pt x="267643" y="2237"/>
                    <a:pt x="275607" y="1119"/>
                    <a:pt x="283571" y="0"/>
                  </a:cubicBezTo>
                  <a:cubicBezTo>
                    <a:pt x="285361" y="39865"/>
                    <a:pt x="285719" y="79864"/>
                    <a:pt x="284063" y="119728"/>
                  </a:cubicBezTo>
                  <a:cubicBezTo>
                    <a:pt x="281066" y="122323"/>
                    <a:pt x="278158" y="125008"/>
                    <a:pt x="275294" y="127737"/>
                  </a:cubicBezTo>
                  <a:cubicBezTo>
                    <a:pt x="261558" y="140354"/>
                    <a:pt x="248986" y="154134"/>
                    <a:pt x="235743" y="167244"/>
                  </a:cubicBezTo>
                  <a:cubicBezTo>
                    <a:pt x="231403" y="171494"/>
                    <a:pt x="227063" y="175745"/>
                    <a:pt x="222857" y="180084"/>
                  </a:cubicBezTo>
                  <a:cubicBezTo>
                    <a:pt x="174223" y="230016"/>
                    <a:pt x="125992" y="280350"/>
                    <a:pt x="77582" y="330505"/>
                  </a:cubicBezTo>
                  <a:cubicBezTo>
                    <a:pt x="52884" y="355873"/>
                    <a:pt x="28590" y="381689"/>
                    <a:pt x="7069" y="409832"/>
                  </a:cubicBezTo>
                  <a:cubicBezTo>
                    <a:pt x="1297" y="394799"/>
                    <a:pt x="2819" y="378423"/>
                    <a:pt x="2640" y="362719"/>
                  </a:cubicBezTo>
                  <a:cubicBezTo>
                    <a:pt x="2506" y="333861"/>
                    <a:pt x="3087" y="304958"/>
                    <a:pt x="0" y="276279"/>
                  </a:cubicBezTo>
                  <a:cubicBezTo>
                    <a:pt x="87962" y="186617"/>
                    <a:pt x="172255" y="93420"/>
                    <a:pt x="259769" y="3400"/>
                  </a:cubicBezTo>
                  <a:close/>
                </a:path>
              </a:pathLst>
            </a:custGeom>
            <a:solidFill>
              <a:srgbClr val="2650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7" name="Freeform: Shape 286">
              <a:extLst>
                <a:ext uri="{FF2B5EF4-FFF2-40B4-BE49-F238E27FC236}">
                  <a16:creationId xmlns:a16="http://schemas.microsoft.com/office/drawing/2014/main" id="{04EB1E08-D647-762E-C190-29797647105B}"/>
                </a:ext>
              </a:extLst>
            </p:cNvPr>
            <p:cNvSpPr/>
            <p:nvPr/>
          </p:nvSpPr>
          <p:spPr>
            <a:xfrm flipH="1">
              <a:off x="2290224" y="4401988"/>
              <a:ext cx="36503" cy="50325"/>
            </a:xfrm>
            <a:custGeom>
              <a:avLst/>
              <a:gdLst>
                <a:gd name="connsiteX0" fmla="*/ 0 w 30603"/>
                <a:gd name="connsiteY0" fmla="*/ 134 h 42191"/>
                <a:gd name="connsiteX1" fmla="*/ 30603 w 30603"/>
                <a:gd name="connsiteY1" fmla="*/ 0 h 42191"/>
                <a:gd name="connsiteX2" fmla="*/ 29440 w 30603"/>
                <a:gd name="connsiteY2" fmla="*/ 42191 h 42191"/>
                <a:gd name="connsiteX3" fmla="*/ 0 w 30603"/>
                <a:gd name="connsiteY3" fmla="*/ 134 h 42191"/>
              </a:gdLst>
              <a:ahLst/>
              <a:cxnLst>
                <a:cxn ang="0">
                  <a:pos x="connsiteX0" y="connsiteY0"/>
                </a:cxn>
                <a:cxn ang="0">
                  <a:pos x="connsiteX1" y="connsiteY1"/>
                </a:cxn>
                <a:cxn ang="0">
                  <a:pos x="connsiteX2" y="connsiteY2"/>
                </a:cxn>
                <a:cxn ang="0">
                  <a:pos x="connsiteX3" y="connsiteY3"/>
                </a:cxn>
              </a:cxnLst>
              <a:rect l="l" t="t" r="r" b="b"/>
              <a:pathLst>
                <a:path w="30603" h="42191">
                  <a:moveTo>
                    <a:pt x="0" y="134"/>
                  </a:moveTo>
                  <a:cubicBezTo>
                    <a:pt x="10156" y="90"/>
                    <a:pt x="20402" y="0"/>
                    <a:pt x="30603" y="0"/>
                  </a:cubicBezTo>
                  <a:cubicBezTo>
                    <a:pt x="29932" y="14049"/>
                    <a:pt x="29485" y="28098"/>
                    <a:pt x="29440" y="42191"/>
                  </a:cubicBezTo>
                  <a:cubicBezTo>
                    <a:pt x="17449" y="29753"/>
                    <a:pt x="8635" y="14899"/>
                    <a:pt x="0" y="134"/>
                  </a:cubicBezTo>
                  <a:close/>
                </a:path>
              </a:pathLst>
            </a:custGeom>
            <a:solidFill>
              <a:srgbClr val="FFFE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8" name="Freeform: Shape 287">
              <a:extLst>
                <a:ext uri="{FF2B5EF4-FFF2-40B4-BE49-F238E27FC236}">
                  <a16:creationId xmlns:a16="http://schemas.microsoft.com/office/drawing/2014/main" id="{5B3B73E8-332C-6301-FA93-63A9570552E6}"/>
                </a:ext>
              </a:extLst>
            </p:cNvPr>
            <p:cNvSpPr/>
            <p:nvPr/>
          </p:nvSpPr>
          <p:spPr>
            <a:xfrm flipH="1">
              <a:off x="2017625" y="4401751"/>
              <a:ext cx="71512" cy="77780"/>
            </a:xfrm>
            <a:custGeom>
              <a:avLst/>
              <a:gdLst>
                <a:gd name="connsiteX0" fmla="*/ 0 w 59953"/>
                <a:gd name="connsiteY0" fmla="*/ 468 h 65208"/>
                <a:gd name="connsiteX1" fmla="*/ 59953 w 59953"/>
                <a:gd name="connsiteY1" fmla="*/ 199 h 65208"/>
                <a:gd name="connsiteX2" fmla="*/ 57851 w 59953"/>
                <a:gd name="connsiteY2" fmla="*/ 39885 h 65208"/>
                <a:gd name="connsiteX3" fmla="*/ 37314 w 59953"/>
                <a:gd name="connsiteY3" fmla="*/ 65209 h 65208"/>
                <a:gd name="connsiteX4" fmla="*/ 0 w 59953"/>
                <a:gd name="connsiteY4" fmla="*/ 468 h 65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53" h="65208">
                  <a:moveTo>
                    <a:pt x="0" y="468"/>
                  </a:moveTo>
                  <a:cubicBezTo>
                    <a:pt x="19955" y="65"/>
                    <a:pt x="39954" y="-203"/>
                    <a:pt x="59953" y="199"/>
                  </a:cubicBezTo>
                  <a:cubicBezTo>
                    <a:pt x="59596" y="13353"/>
                    <a:pt x="60938" y="26910"/>
                    <a:pt x="57851" y="39885"/>
                  </a:cubicBezTo>
                  <a:cubicBezTo>
                    <a:pt x="52347" y="49281"/>
                    <a:pt x="44249" y="56842"/>
                    <a:pt x="37314" y="65209"/>
                  </a:cubicBezTo>
                  <a:cubicBezTo>
                    <a:pt x="20626" y="46372"/>
                    <a:pt x="9127" y="23733"/>
                    <a:pt x="0" y="468"/>
                  </a:cubicBezTo>
                  <a:close/>
                </a:path>
              </a:pathLst>
            </a:custGeom>
            <a:solidFill>
              <a:srgbClr val="DBE8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 name="Freeform: Shape 288">
              <a:extLst>
                <a:ext uri="{FF2B5EF4-FFF2-40B4-BE49-F238E27FC236}">
                  <a16:creationId xmlns:a16="http://schemas.microsoft.com/office/drawing/2014/main" id="{70EB918F-20D4-22E2-84DE-43767D693991}"/>
                </a:ext>
              </a:extLst>
            </p:cNvPr>
            <p:cNvSpPr/>
            <p:nvPr/>
          </p:nvSpPr>
          <p:spPr>
            <a:xfrm flipH="1">
              <a:off x="1951183" y="4401988"/>
              <a:ext cx="93445" cy="77542"/>
            </a:xfrm>
            <a:custGeom>
              <a:avLst/>
              <a:gdLst>
                <a:gd name="connsiteX0" fmla="*/ 22639 w 78342"/>
                <a:gd name="connsiteY0" fmla="*/ 0 h 65009"/>
                <a:gd name="connsiteX1" fmla="*/ 78342 w 78342"/>
                <a:gd name="connsiteY1" fmla="*/ 1163 h 65009"/>
                <a:gd name="connsiteX2" fmla="*/ 60491 w 78342"/>
                <a:gd name="connsiteY2" fmla="*/ 5235 h 65009"/>
                <a:gd name="connsiteX3" fmla="*/ 43176 w 78342"/>
                <a:gd name="connsiteY3" fmla="*/ 45592 h 65009"/>
                <a:gd name="connsiteX4" fmla="*/ 0 w 78342"/>
                <a:gd name="connsiteY4" fmla="*/ 65009 h 65009"/>
                <a:gd name="connsiteX5" fmla="*/ 20536 w 78342"/>
                <a:gd name="connsiteY5" fmla="*/ 39686 h 65009"/>
                <a:gd name="connsiteX6" fmla="*/ 22639 w 78342"/>
                <a:gd name="connsiteY6" fmla="*/ 0 h 6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42" h="65009">
                  <a:moveTo>
                    <a:pt x="22639" y="0"/>
                  </a:moveTo>
                  <a:cubicBezTo>
                    <a:pt x="41162" y="268"/>
                    <a:pt x="59730" y="1074"/>
                    <a:pt x="78342" y="1163"/>
                  </a:cubicBezTo>
                  <a:cubicBezTo>
                    <a:pt x="72302" y="2327"/>
                    <a:pt x="66396" y="3803"/>
                    <a:pt x="60491" y="5235"/>
                  </a:cubicBezTo>
                  <a:cubicBezTo>
                    <a:pt x="57493" y="19507"/>
                    <a:pt x="57224" y="37046"/>
                    <a:pt x="43176" y="45592"/>
                  </a:cubicBezTo>
                  <a:cubicBezTo>
                    <a:pt x="29619" y="53690"/>
                    <a:pt x="16286" y="63712"/>
                    <a:pt x="0" y="65009"/>
                  </a:cubicBezTo>
                  <a:cubicBezTo>
                    <a:pt x="6935" y="56643"/>
                    <a:pt x="15033" y="49082"/>
                    <a:pt x="20536" y="39686"/>
                  </a:cubicBezTo>
                  <a:cubicBezTo>
                    <a:pt x="23624" y="26711"/>
                    <a:pt x="22281" y="13154"/>
                    <a:pt x="22639" y="0"/>
                  </a:cubicBezTo>
                  <a:close/>
                </a:path>
              </a:pathLst>
            </a:custGeom>
            <a:solidFill>
              <a:srgbClr val="B7D0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 name="Freeform: Shape 289">
              <a:extLst>
                <a:ext uri="{FF2B5EF4-FFF2-40B4-BE49-F238E27FC236}">
                  <a16:creationId xmlns:a16="http://schemas.microsoft.com/office/drawing/2014/main" id="{5AA756F3-819D-D74B-58D8-47EBC3FAAD2B}"/>
                </a:ext>
              </a:extLst>
            </p:cNvPr>
            <p:cNvSpPr/>
            <p:nvPr/>
          </p:nvSpPr>
          <p:spPr>
            <a:xfrm flipH="1">
              <a:off x="1767226" y="4402922"/>
              <a:ext cx="225903" cy="81890"/>
            </a:xfrm>
            <a:custGeom>
              <a:avLst/>
              <a:gdLst>
                <a:gd name="connsiteX0" fmla="*/ 35167 w 189390"/>
                <a:gd name="connsiteY0" fmla="*/ 380 h 68655"/>
                <a:gd name="connsiteX1" fmla="*/ 150466 w 189390"/>
                <a:gd name="connsiteY1" fmla="*/ 1543 h 68655"/>
                <a:gd name="connsiteX2" fmla="*/ 189391 w 189390"/>
                <a:gd name="connsiteY2" fmla="*/ 6420 h 68655"/>
                <a:gd name="connsiteX3" fmla="*/ 182769 w 189390"/>
                <a:gd name="connsiteY3" fmla="*/ 16889 h 68655"/>
                <a:gd name="connsiteX4" fmla="*/ 167915 w 189390"/>
                <a:gd name="connsiteY4" fmla="*/ 14787 h 68655"/>
                <a:gd name="connsiteX5" fmla="*/ 161114 w 189390"/>
                <a:gd name="connsiteY5" fmla="*/ 59841 h 68655"/>
                <a:gd name="connsiteX6" fmla="*/ 52213 w 189390"/>
                <a:gd name="connsiteY6" fmla="*/ 33131 h 68655"/>
                <a:gd name="connsiteX7" fmla="*/ 8904 w 189390"/>
                <a:gd name="connsiteY7" fmla="*/ 68655 h 68655"/>
                <a:gd name="connsiteX8" fmla="*/ 0 w 189390"/>
                <a:gd name="connsiteY8" fmla="*/ 44808 h 68655"/>
                <a:gd name="connsiteX9" fmla="*/ 17315 w 189390"/>
                <a:gd name="connsiteY9" fmla="*/ 4451 h 68655"/>
                <a:gd name="connsiteX10" fmla="*/ 35167 w 189390"/>
                <a:gd name="connsiteY10" fmla="*/ 380 h 6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390" h="68655">
                  <a:moveTo>
                    <a:pt x="35167" y="380"/>
                  </a:moveTo>
                  <a:cubicBezTo>
                    <a:pt x="73600" y="-784"/>
                    <a:pt x="112033" y="1051"/>
                    <a:pt x="150466" y="1543"/>
                  </a:cubicBezTo>
                  <a:cubicBezTo>
                    <a:pt x="163530" y="1856"/>
                    <a:pt x="176729" y="2930"/>
                    <a:pt x="189391" y="6420"/>
                  </a:cubicBezTo>
                  <a:cubicBezTo>
                    <a:pt x="187064" y="9865"/>
                    <a:pt x="184872" y="13355"/>
                    <a:pt x="182769" y="16889"/>
                  </a:cubicBezTo>
                  <a:cubicBezTo>
                    <a:pt x="177803" y="16129"/>
                    <a:pt x="172836" y="15413"/>
                    <a:pt x="167915" y="14787"/>
                  </a:cubicBezTo>
                  <a:cubicBezTo>
                    <a:pt x="165185" y="29685"/>
                    <a:pt x="162233" y="44629"/>
                    <a:pt x="161114" y="59841"/>
                  </a:cubicBezTo>
                  <a:cubicBezTo>
                    <a:pt x="130914" y="35860"/>
                    <a:pt x="90154" y="23377"/>
                    <a:pt x="52213" y="33131"/>
                  </a:cubicBezTo>
                  <a:cubicBezTo>
                    <a:pt x="34630" y="39797"/>
                    <a:pt x="17941" y="51832"/>
                    <a:pt x="8904" y="68655"/>
                  </a:cubicBezTo>
                  <a:cubicBezTo>
                    <a:pt x="2237" y="62481"/>
                    <a:pt x="1745" y="53085"/>
                    <a:pt x="0" y="44808"/>
                  </a:cubicBezTo>
                  <a:cubicBezTo>
                    <a:pt x="14049" y="36263"/>
                    <a:pt x="14317" y="18724"/>
                    <a:pt x="17315" y="4451"/>
                  </a:cubicBezTo>
                  <a:cubicBezTo>
                    <a:pt x="23221" y="3020"/>
                    <a:pt x="29127" y="1543"/>
                    <a:pt x="35167" y="380"/>
                  </a:cubicBezTo>
                  <a:close/>
                </a:path>
              </a:pathLst>
            </a:custGeom>
            <a:solidFill>
              <a:srgbClr val="E5EF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1" name="Freeform: Shape 290">
              <a:extLst>
                <a:ext uri="{FF2B5EF4-FFF2-40B4-BE49-F238E27FC236}">
                  <a16:creationId xmlns:a16="http://schemas.microsoft.com/office/drawing/2014/main" id="{AC92599F-C924-9244-2D22-B268FF583E82}"/>
                </a:ext>
              </a:extLst>
            </p:cNvPr>
            <p:cNvSpPr/>
            <p:nvPr/>
          </p:nvSpPr>
          <p:spPr>
            <a:xfrm flipH="1">
              <a:off x="1775125" y="4420560"/>
              <a:ext cx="25828" cy="81384"/>
            </a:xfrm>
            <a:custGeom>
              <a:avLst/>
              <a:gdLst>
                <a:gd name="connsiteX0" fmla="*/ 6801 w 21654"/>
                <a:gd name="connsiteY0" fmla="*/ 0 h 68230"/>
                <a:gd name="connsiteX1" fmla="*/ 21655 w 21654"/>
                <a:gd name="connsiteY1" fmla="*/ 2103 h 68230"/>
                <a:gd name="connsiteX2" fmla="*/ 1476 w 21654"/>
                <a:gd name="connsiteY2" fmla="*/ 68231 h 68230"/>
                <a:gd name="connsiteX3" fmla="*/ 0 w 21654"/>
                <a:gd name="connsiteY3" fmla="*/ 45054 h 68230"/>
                <a:gd name="connsiteX4" fmla="*/ 6801 w 21654"/>
                <a:gd name="connsiteY4" fmla="*/ 0 h 68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4" h="68230">
                  <a:moveTo>
                    <a:pt x="6801" y="0"/>
                  </a:moveTo>
                  <a:cubicBezTo>
                    <a:pt x="11722" y="626"/>
                    <a:pt x="16688" y="1342"/>
                    <a:pt x="21655" y="2103"/>
                  </a:cubicBezTo>
                  <a:cubicBezTo>
                    <a:pt x="16420" y="24339"/>
                    <a:pt x="22192" y="52750"/>
                    <a:pt x="1476" y="68231"/>
                  </a:cubicBezTo>
                  <a:cubicBezTo>
                    <a:pt x="850" y="60445"/>
                    <a:pt x="179" y="52795"/>
                    <a:pt x="0" y="45054"/>
                  </a:cubicBezTo>
                  <a:cubicBezTo>
                    <a:pt x="1119" y="29842"/>
                    <a:pt x="4071" y="14899"/>
                    <a:pt x="6801" y="0"/>
                  </a:cubicBezTo>
                  <a:close/>
                </a:path>
              </a:pathLst>
            </a:custGeom>
            <a:solidFill>
              <a:srgbClr val="CAE2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 name="Freeform: Shape 291">
              <a:extLst>
                <a:ext uri="{FF2B5EF4-FFF2-40B4-BE49-F238E27FC236}">
                  <a16:creationId xmlns:a16="http://schemas.microsoft.com/office/drawing/2014/main" id="{75EA95CD-EB01-B62F-C357-9EFD9BFE1BB0}"/>
                </a:ext>
              </a:extLst>
            </p:cNvPr>
            <p:cNvSpPr/>
            <p:nvPr/>
          </p:nvSpPr>
          <p:spPr>
            <a:xfrm flipH="1">
              <a:off x="1682746" y="4499010"/>
              <a:ext cx="131549" cy="134817"/>
            </a:xfrm>
            <a:custGeom>
              <a:avLst/>
              <a:gdLst>
                <a:gd name="connsiteX0" fmla="*/ 0 w 110287"/>
                <a:gd name="connsiteY0" fmla="*/ 109930 h 113026"/>
                <a:gd name="connsiteX1" fmla="*/ 105769 w 110287"/>
                <a:gd name="connsiteY1" fmla="*/ 0 h 113026"/>
                <a:gd name="connsiteX2" fmla="*/ 110288 w 110287"/>
                <a:gd name="connsiteY2" fmla="*/ 46621 h 113026"/>
                <a:gd name="connsiteX3" fmla="*/ 48321 w 110287"/>
                <a:gd name="connsiteY3" fmla="*/ 113017 h 113026"/>
                <a:gd name="connsiteX4" fmla="*/ 0 w 110287"/>
                <a:gd name="connsiteY4" fmla="*/ 109930 h 113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87" h="113026">
                  <a:moveTo>
                    <a:pt x="0" y="109930"/>
                  </a:moveTo>
                  <a:cubicBezTo>
                    <a:pt x="35167" y="73197"/>
                    <a:pt x="69707" y="35838"/>
                    <a:pt x="105769" y="0"/>
                  </a:cubicBezTo>
                  <a:cubicBezTo>
                    <a:pt x="109080" y="15302"/>
                    <a:pt x="108856" y="31051"/>
                    <a:pt x="110288" y="46621"/>
                  </a:cubicBezTo>
                  <a:cubicBezTo>
                    <a:pt x="90959" y="69976"/>
                    <a:pt x="69573" y="91452"/>
                    <a:pt x="48321" y="113017"/>
                  </a:cubicBezTo>
                  <a:cubicBezTo>
                    <a:pt x="32124" y="113151"/>
                    <a:pt x="16017" y="111854"/>
                    <a:pt x="0" y="109930"/>
                  </a:cubicBezTo>
                  <a:close/>
                </a:path>
              </a:pathLst>
            </a:custGeom>
            <a:solidFill>
              <a:srgbClr val="2445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3" name="Freeform: Shape 292">
              <a:extLst>
                <a:ext uri="{FF2B5EF4-FFF2-40B4-BE49-F238E27FC236}">
                  <a16:creationId xmlns:a16="http://schemas.microsoft.com/office/drawing/2014/main" id="{8E8A5051-24EC-D793-FAAC-4B20727138AE}"/>
                </a:ext>
              </a:extLst>
            </p:cNvPr>
            <p:cNvSpPr/>
            <p:nvPr/>
          </p:nvSpPr>
          <p:spPr>
            <a:xfrm flipH="1">
              <a:off x="1681020" y="4554618"/>
              <a:ext cx="75638" cy="79197"/>
            </a:xfrm>
            <a:custGeom>
              <a:avLst/>
              <a:gdLst>
                <a:gd name="connsiteX0" fmla="*/ 0 w 63413"/>
                <a:gd name="connsiteY0" fmla="*/ 66396 h 66396"/>
                <a:gd name="connsiteX1" fmla="*/ 61967 w 63413"/>
                <a:gd name="connsiteY1" fmla="*/ 0 h 66396"/>
                <a:gd name="connsiteX2" fmla="*/ 59640 w 63413"/>
                <a:gd name="connsiteY2" fmla="*/ 35122 h 66396"/>
                <a:gd name="connsiteX3" fmla="*/ 33467 w 63413"/>
                <a:gd name="connsiteY3" fmla="*/ 63533 h 66396"/>
                <a:gd name="connsiteX4" fmla="*/ 0 w 63413"/>
                <a:gd name="connsiteY4" fmla="*/ 66396 h 6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3" h="66396">
                  <a:moveTo>
                    <a:pt x="0" y="66396"/>
                  </a:moveTo>
                  <a:cubicBezTo>
                    <a:pt x="21252" y="44831"/>
                    <a:pt x="42638" y="23355"/>
                    <a:pt x="61967" y="0"/>
                  </a:cubicBezTo>
                  <a:cubicBezTo>
                    <a:pt x="64070" y="11677"/>
                    <a:pt x="64338" y="23892"/>
                    <a:pt x="59640" y="35122"/>
                  </a:cubicBezTo>
                  <a:cubicBezTo>
                    <a:pt x="51497" y="45144"/>
                    <a:pt x="42683" y="54584"/>
                    <a:pt x="33467" y="63533"/>
                  </a:cubicBezTo>
                  <a:cubicBezTo>
                    <a:pt x="22416" y="65815"/>
                    <a:pt x="11141" y="66173"/>
                    <a:pt x="0" y="66396"/>
                  </a:cubicBezTo>
                  <a:close/>
                </a:path>
              </a:pathLst>
            </a:custGeom>
            <a:solidFill>
              <a:srgbClr val="D1E4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4" name="Freeform: Shape 293">
              <a:extLst>
                <a:ext uri="{FF2B5EF4-FFF2-40B4-BE49-F238E27FC236}">
                  <a16:creationId xmlns:a16="http://schemas.microsoft.com/office/drawing/2014/main" id="{EBA8BE6A-ED44-AB5E-B526-BABD44ED1879}"/>
                </a:ext>
              </a:extLst>
            </p:cNvPr>
            <p:cNvSpPr/>
            <p:nvPr/>
          </p:nvSpPr>
          <p:spPr>
            <a:xfrm flipH="1">
              <a:off x="1680024" y="4596511"/>
              <a:ext cx="36716" cy="37089"/>
            </a:xfrm>
            <a:custGeom>
              <a:avLst/>
              <a:gdLst>
                <a:gd name="connsiteX0" fmla="*/ 0 w 30782"/>
                <a:gd name="connsiteY0" fmla="*/ 28411 h 31095"/>
                <a:gd name="connsiteX1" fmla="*/ 26174 w 30782"/>
                <a:gd name="connsiteY1" fmla="*/ 0 h 31095"/>
                <a:gd name="connsiteX2" fmla="*/ 30782 w 30782"/>
                <a:gd name="connsiteY2" fmla="*/ 31095 h 31095"/>
                <a:gd name="connsiteX3" fmla="*/ 0 w 30782"/>
                <a:gd name="connsiteY3" fmla="*/ 28411 h 31095"/>
              </a:gdLst>
              <a:ahLst/>
              <a:cxnLst>
                <a:cxn ang="0">
                  <a:pos x="connsiteX0" y="connsiteY0"/>
                </a:cxn>
                <a:cxn ang="0">
                  <a:pos x="connsiteX1" y="connsiteY1"/>
                </a:cxn>
                <a:cxn ang="0">
                  <a:pos x="connsiteX2" y="connsiteY2"/>
                </a:cxn>
                <a:cxn ang="0">
                  <a:pos x="connsiteX3" y="connsiteY3"/>
                </a:cxn>
              </a:cxnLst>
              <a:rect l="l" t="t" r="r" b="b"/>
              <a:pathLst>
                <a:path w="30782" h="31095">
                  <a:moveTo>
                    <a:pt x="0" y="28411"/>
                  </a:moveTo>
                  <a:cubicBezTo>
                    <a:pt x="9217" y="19462"/>
                    <a:pt x="18031" y="10022"/>
                    <a:pt x="26174" y="0"/>
                  </a:cubicBezTo>
                  <a:cubicBezTo>
                    <a:pt x="27740" y="10335"/>
                    <a:pt x="29216" y="20671"/>
                    <a:pt x="30782" y="31095"/>
                  </a:cubicBezTo>
                  <a:cubicBezTo>
                    <a:pt x="20492" y="30156"/>
                    <a:pt x="10201" y="29306"/>
                    <a:pt x="0" y="28411"/>
                  </a:cubicBezTo>
                  <a:close/>
                </a:path>
              </a:pathLst>
            </a:custGeom>
            <a:solidFill>
              <a:srgbClr val="2741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5" name="Freeform: Shape 294">
              <a:extLst>
                <a:ext uri="{FF2B5EF4-FFF2-40B4-BE49-F238E27FC236}">
                  <a16:creationId xmlns:a16="http://schemas.microsoft.com/office/drawing/2014/main" id="{7ACD936F-C793-1037-33D5-CF3751C02FE1}"/>
                </a:ext>
              </a:extLst>
            </p:cNvPr>
            <p:cNvSpPr/>
            <p:nvPr/>
          </p:nvSpPr>
          <p:spPr>
            <a:xfrm flipH="1">
              <a:off x="3015218" y="4647638"/>
              <a:ext cx="229959" cy="110522"/>
            </a:xfrm>
            <a:custGeom>
              <a:avLst/>
              <a:gdLst>
                <a:gd name="connsiteX0" fmla="*/ 0 w 192790"/>
                <a:gd name="connsiteY0" fmla="*/ 0 h 92659"/>
                <a:gd name="connsiteX1" fmla="*/ 192478 w 192790"/>
                <a:gd name="connsiteY1" fmla="*/ 179 h 92659"/>
                <a:gd name="connsiteX2" fmla="*/ 192791 w 192790"/>
                <a:gd name="connsiteY2" fmla="*/ 92481 h 92659"/>
                <a:gd name="connsiteX3" fmla="*/ 268 w 192790"/>
                <a:gd name="connsiteY3" fmla="*/ 92659 h 92659"/>
                <a:gd name="connsiteX4" fmla="*/ 0 w 192790"/>
                <a:gd name="connsiteY4" fmla="*/ 0 h 9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90" h="92659">
                  <a:moveTo>
                    <a:pt x="0" y="0"/>
                  </a:moveTo>
                  <a:cubicBezTo>
                    <a:pt x="64159" y="134"/>
                    <a:pt x="128318" y="134"/>
                    <a:pt x="192478" y="179"/>
                  </a:cubicBezTo>
                  <a:cubicBezTo>
                    <a:pt x="192478" y="30916"/>
                    <a:pt x="192030" y="61698"/>
                    <a:pt x="192791" y="92481"/>
                  </a:cubicBezTo>
                  <a:cubicBezTo>
                    <a:pt x="128632" y="92839"/>
                    <a:pt x="64472" y="92481"/>
                    <a:pt x="268" y="92659"/>
                  </a:cubicBezTo>
                  <a:cubicBezTo>
                    <a:pt x="268" y="61743"/>
                    <a:pt x="447" y="30871"/>
                    <a:pt x="0" y="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 name="Rectangle 295">
              <a:extLst>
                <a:ext uri="{FF2B5EF4-FFF2-40B4-BE49-F238E27FC236}">
                  <a16:creationId xmlns:a16="http://schemas.microsoft.com/office/drawing/2014/main" id="{2DAFBC01-CA7B-13A5-5A42-8DE5C83048B2}"/>
                </a:ext>
              </a:extLst>
            </p:cNvPr>
            <p:cNvSpPr/>
            <p:nvPr/>
          </p:nvSpPr>
          <p:spPr>
            <a:xfrm flipH="1">
              <a:off x="2405714" y="4695358"/>
              <a:ext cx="125340" cy="68112"/>
            </a:xfrm>
            <a:prstGeom prst="rect">
              <a:avLst/>
            </a:prstGeom>
            <a:solidFill>
              <a:srgbClr val="9FD4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7" name="Freeform: Shape 296">
              <a:extLst>
                <a:ext uri="{FF2B5EF4-FFF2-40B4-BE49-F238E27FC236}">
                  <a16:creationId xmlns:a16="http://schemas.microsoft.com/office/drawing/2014/main" id="{2226B9EE-2404-AF34-FAA9-40EDBD37F6EC}"/>
                </a:ext>
              </a:extLst>
            </p:cNvPr>
            <p:cNvSpPr/>
            <p:nvPr/>
          </p:nvSpPr>
          <p:spPr>
            <a:xfrm flipH="1">
              <a:off x="3011429" y="4757946"/>
              <a:ext cx="236736" cy="49577"/>
            </a:xfrm>
            <a:custGeom>
              <a:avLst/>
              <a:gdLst>
                <a:gd name="connsiteX0" fmla="*/ 2774 w 198473"/>
                <a:gd name="connsiteY0" fmla="*/ 179 h 41564"/>
                <a:gd name="connsiteX1" fmla="*/ 195296 w 198473"/>
                <a:gd name="connsiteY1" fmla="*/ 0 h 41564"/>
                <a:gd name="connsiteX2" fmla="*/ 198473 w 198473"/>
                <a:gd name="connsiteY2" fmla="*/ 40983 h 41564"/>
                <a:gd name="connsiteX3" fmla="*/ 0 w 198473"/>
                <a:gd name="connsiteY3" fmla="*/ 41565 h 41564"/>
                <a:gd name="connsiteX4" fmla="*/ 2774 w 198473"/>
                <a:gd name="connsiteY4" fmla="*/ 179 h 4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473" h="41564">
                  <a:moveTo>
                    <a:pt x="2774" y="179"/>
                  </a:moveTo>
                  <a:cubicBezTo>
                    <a:pt x="66978" y="45"/>
                    <a:pt x="131137" y="358"/>
                    <a:pt x="195296" y="0"/>
                  </a:cubicBezTo>
                  <a:cubicBezTo>
                    <a:pt x="195789" y="13646"/>
                    <a:pt x="197086" y="27337"/>
                    <a:pt x="198473" y="40983"/>
                  </a:cubicBezTo>
                  <a:cubicBezTo>
                    <a:pt x="132301" y="40357"/>
                    <a:pt x="66128" y="41386"/>
                    <a:pt x="0" y="41565"/>
                  </a:cubicBezTo>
                  <a:cubicBezTo>
                    <a:pt x="1745" y="27829"/>
                    <a:pt x="2550" y="14004"/>
                    <a:pt x="2774" y="179"/>
                  </a:cubicBezTo>
                  <a:close/>
                </a:path>
              </a:pathLst>
            </a:custGeom>
            <a:solidFill>
              <a:srgbClr val="2145A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8" name="Freeform: Shape 297">
              <a:extLst>
                <a:ext uri="{FF2B5EF4-FFF2-40B4-BE49-F238E27FC236}">
                  <a16:creationId xmlns:a16="http://schemas.microsoft.com/office/drawing/2014/main" id="{6DFDD6B6-45CE-8D52-0D3B-5761F8A6EC08}"/>
                </a:ext>
              </a:extLst>
            </p:cNvPr>
            <p:cNvSpPr/>
            <p:nvPr/>
          </p:nvSpPr>
          <p:spPr>
            <a:xfrm flipH="1">
              <a:off x="3011163" y="4806594"/>
              <a:ext cx="238764" cy="14397"/>
            </a:xfrm>
            <a:custGeom>
              <a:avLst/>
              <a:gdLst>
                <a:gd name="connsiteX0" fmla="*/ 1476 w 200173"/>
                <a:gd name="connsiteY0" fmla="*/ 781 h 12070"/>
                <a:gd name="connsiteX1" fmla="*/ 199950 w 200173"/>
                <a:gd name="connsiteY1" fmla="*/ 200 h 12070"/>
                <a:gd name="connsiteX2" fmla="*/ 200173 w 200173"/>
                <a:gd name="connsiteY2" fmla="*/ 2616 h 12070"/>
                <a:gd name="connsiteX3" fmla="*/ 198115 w 200173"/>
                <a:gd name="connsiteY3" fmla="*/ 10893 h 12070"/>
                <a:gd name="connsiteX4" fmla="*/ 0 w 200173"/>
                <a:gd name="connsiteY4" fmla="*/ 10580 h 12070"/>
                <a:gd name="connsiteX5" fmla="*/ 1476 w 200173"/>
                <a:gd name="connsiteY5" fmla="*/ 781 h 1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173" h="12070">
                  <a:moveTo>
                    <a:pt x="1476" y="781"/>
                  </a:moveTo>
                  <a:cubicBezTo>
                    <a:pt x="67604" y="603"/>
                    <a:pt x="133777" y="-426"/>
                    <a:pt x="199950" y="200"/>
                  </a:cubicBezTo>
                  <a:lnTo>
                    <a:pt x="200173" y="2616"/>
                  </a:lnTo>
                  <a:cubicBezTo>
                    <a:pt x="199681" y="4674"/>
                    <a:pt x="198607" y="8835"/>
                    <a:pt x="198115" y="10893"/>
                  </a:cubicBezTo>
                  <a:cubicBezTo>
                    <a:pt x="132122" y="12817"/>
                    <a:pt x="65994" y="12146"/>
                    <a:pt x="0" y="10580"/>
                  </a:cubicBezTo>
                  <a:cubicBezTo>
                    <a:pt x="358" y="8164"/>
                    <a:pt x="1074" y="3242"/>
                    <a:pt x="1476" y="781"/>
                  </a:cubicBezTo>
                  <a:close/>
                </a:path>
              </a:pathLst>
            </a:custGeom>
            <a:solidFill>
              <a:srgbClr val="FB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9" name="Rectangle 298">
              <a:extLst>
                <a:ext uri="{FF2B5EF4-FFF2-40B4-BE49-F238E27FC236}">
                  <a16:creationId xmlns:a16="http://schemas.microsoft.com/office/drawing/2014/main" id="{A8FD326E-248B-4EEB-47A8-A626E23E7047}"/>
                </a:ext>
              </a:extLst>
            </p:cNvPr>
            <p:cNvSpPr/>
            <p:nvPr/>
          </p:nvSpPr>
          <p:spPr>
            <a:xfrm flipH="1">
              <a:off x="1338004" y="4937857"/>
              <a:ext cx="3649936" cy="122361"/>
            </a:xfrm>
            <a:prstGeom prst="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0" name="Rectangle: Rounded Corners 299">
              <a:extLst>
                <a:ext uri="{FF2B5EF4-FFF2-40B4-BE49-F238E27FC236}">
                  <a16:creationId xmlns:a16="http://schemas.microsoft.com/office/drawing/2014/main" id="{60D3E705-EB7A-AA3B-FC42-3FA0EEF6554B}"/>
                </a:ext>
              </a:extLst>
            </p:cNvPr>
            <p:cNvSpPr/>
            <p:nvPr/>
          </p:nvSpPr>
          <p:spPr>
            <a:xfrm flipH="1">
              <a:off x="1242153" y="4976434"/>
              <a:ext cx="111648" cy="69644"/>
            </a:xfrm>
            <a:prstGeom prst="roundRect">
              <a:avLst/>
            </a:prstGeom>
            <a:solidFill>
              <a:srgbClr val="204B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1" name="Freeform: Shape 300">
              <a:extLst>
                <a:ext uri="{FF2B5EF4-FFF2-40B4-BE49-F238E27FC236}">
                  <a16:creationId xmlns:a16="http://schemas.microsoft.com/office/drawing/2014/main" id="{FE471288-ED10-27E4-246D-4A5804C9C745}"/>
                </a:ext>
              </a:extLst>
            </p:cNvPr>
            <p:cNvSpPr/>
            <p:nvPr/>
          </p:nvSpPr>
          <p:spPr>
            <a:xfrm flipH="1">
              <a:off x="2063522" y="5056107"/>
              <a:ext cx="590827" cy="91208"/>
            </a:xfrm>
            <a:custGeom>
              <a:avLst/>
              <a:gdLst>
                <a:gd name="connsiteX0" fmla="*/ 374933 w 495332"/>
                <a:gd name="connsiteY0" fmla="*/ 3448 h 76466"/>
                <a:gd name="connsiteX1" fmla="*/ 444596 w 495332"/>
                <a:gd name="connsiteY1" fmla="*/ 1927 h 76466"/>
                <a:gd name="connsiteX2" fmla="*/ 495333 w 495332"/>
                <a:gd name="connsiteY2" fmla="*/ 853 h 76466"/>
                <a:gd name="connsiteX3" fmla="*/ 461285 w 495332"/>
                <a:gd name="connsiteY3" fmla="*/ 18884 h 76466"/>
                <a:gd name="connsiteX4" fmla="*/ 192209 w 495332"/>
                <a:gd name="connsiteY4" fmla="*/ 54722 h 76466"/>
                <a:gd name="connsiteX5" fmla="*/ 29530 w 495332"/>
                <a:gd name="connsiteY5" fmla="*/ 75258 h 76466"/>
                <a:gd name="connsiteX6" fmla="*/ 1163 w 495332"/>
                <a:gd name="connsiteY6" fmla="*/ 76466 h 76466"/>
                <a:gd name="connsiteX7" fmla="*/ 0 w 495332"/>
                <a:gd name="connsiteY7" fmla="*/ 54677 h 76466"/>
                <a:gd name="connsiteX8" fmla="*/ 279232 w 495332"/>
                <a:gd name="connsiteY8" fmla="*/ 17408 h 76466"/>
                <a:gd name="connsiteX9" fmla="*/ 374933 w 495332"/>
                <a:gd name="connsiteY9" fmla="*/ 3448 h 76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332" h="76466">
                  <a:moveTo>
                    <a:pt x="374933" y="3448"/>
                  </a:moveTo>
                  <a:cubicBezTo>
                    <a:pt x="397662" y="-3934"/>
                    <a:pt x="421330" y="3001"/>
                    <a:pt x="444596" y="1927"/>
                  </a:cubicBezTo>
                  <a:cubicBezTo>
                    <a:pt x="461508" y="1480"/>
                    <a:pt x="478376" y="495"/>
                    <a:pt x="495333" y="853"/>
                  </a:cubicBezTo>
                  <a:cubicBezTo>
                    <a:pt x="485176" y="8772"/>
                    <a:pt x="474528" y="17273"/>
                    <a:pt x="461285" y="18884"/>
                  </a:cubicBezTo>
                  <a:cubicBezTo>
                    <a:pt x="371533" y="30204"/>
                    <a:pt x="281782" y="42149"/>
                    <a:pt x="192209" y="54722"/>
                  </a:cubicBezTo>
                  <a:cubicBezTo>
                    <a:pt x="137938" y="61120"/>
                    <a:pt x="83532" y="66713"/>
                    <a:pt x="29530" y="75258"/>
                  </a:cubicBezTo>
                  <a:cubicBezTo>
                    <a:pt x="20089" y="75885"/>
                    <a:pt x="10604" y="76108"/>
                    <a:pt x="1163" y="76466"/>
                  </a:cubicBezTo>
                  <a:cubicBezTo>
                    <a:pt x="761" y="69129"/>
                    <a:pt x="448" y="61925"/>
                    <a:pt x="0" y="54677"/>
                  </a:cubicBezTo>
                  <a:cubicBezTo>
                    <a:pt x="93241" y="43447"/>
                    <a:pt x="185990" y="28414"/>
                    <a:pt x="279232" y="17408"/>
                  </a:cubicBezTo>
                  <a:cubicBezTo>
                    <a:pt x="311087" y="12307"/>
                    <a:pt x="343570" y="11099"/>
                    <a:pt x="374933" y="3448"/>
                  </a:cubicBezTo>
                  <a:close/>
                </a:path>
              </a:pathLst>
            </a:custGeom>
            <a:solidFill>
              <a:srgbClr val="DBE6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2" name="Rectangle: Rounded Corners 301">
              <a:extLst>
                <a:ext uri="{FF2B5EF4-FFF2-40B4-BE49-F238E27FC236}">
                  <a16:creationId xmlns:a16="http://schemas.microsoft.com/office/drawing/2014/main" id="{D3EE5252-86C8-F3C7-09E3-EE2F8A49B85E}"/>
                </a:ext>
              </a:extLst>
            </p:cNvPr>
            <p:cNvSpPr/>
            <p:nvPr/>
          </p:nvSpPr>
          <p:spPr>
            <a:xfrm flipH="1">
              <a:off x="1530596" y="5057124"/>
              <a:ext cx="894488"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3" name="Rectangle 302">
              <a:extLst>
                <a:ext uri="{FF2B5EF4-FFF2-40B4-BE49-F238E27FC236}">
                  <a16:creationId xmlns:a16="http://schemas.microsoft.com/office/drawing/2014/main" id="{A06324AA-FEE7-2887-B048-424E1BC71E56}"/>
                </a:ext>
              </a:extLst>
            </p:cNvPr>
            <p:cNvSpPr/>
            <p:nvPr/>
          </p:nvSpPr>
          <p:spPr>
            <a:xfrm flipH="1">
              <a:off x="1516109" y="5061135"/>
              <a:ext cx="57019" cy="99841"/>
            </a:xfrm>
            <a:prstGeom prst="rect">
              <a:avLst/>
            </a:prstGeom>
            <a:solidFill>
              <a:srgbClr val="4A60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4" name="Freeform: Shape 303">
              <a:extLst>
                <a:ext uri="{FF2B5EF4-FFF2-40B4-BE49-F238E27FC236}">
                  <a16:creationId xmlns:a16="http://schemas.microsoft.com/office/drawing/2014/main" id="{D9417E19-622F-34EE-ABD3-ECE7EB9D16F8}"/>
                </a:ext>
              </a:extLst>
            </p:cNvPr>
            <p:cNvSpPr/>
            <p:nvPr/>
          </p:nvSpPr>
          <p:spPr>
            <a:xfrm flipH="1">
              <a:off x="3821704" y="5077831"/>
              <a:ext cx="338081" cy="67616"/>
            </a:xfrm>
            <a:custGeom>
              <a:avLst/>
              <a:gdLst>
                <a:gd name="connsiteX0" fmla="*/ 0 w 283437"/>
                <a:gd name="connsiteY0" fmla="*/ 19820 h 56687"/>
                <a:gd name="connsiteX1" fmla="*/ 43533 w 283437"/>
                <a:gd name="connsiteY1" fmla="*/ 0 h 56687"/>
                <a:gd name="connsiteX2" fmla="*/ 234490 w 283437"/>
                <a:gd name="connsiteY2" fmla="*/ 24697 h 56687"/>
                <a:gd name="connsiteX3" fmla="*/ 283392 w 283437"/>
                <a:gd name="connsiteY3" fmla="*/ 28635 h 56687"/>
                <a:gd name="connsiteX4" fmla="*/ 283437 w 283437"/>
                <a:gd name="connsiteY4" fmla="*/ 56687 h 56687"/>
                <a:gd name="connsiteX5" fmla="*/ 19999 w 283437"/>
                <a:gd name="connsiteY5" fmla="*/ 22326 h 56687"/>
                <a:gd name="connsiteX6" fmla="*/ 0 w 283437"/>
                <a:gd name="connsiteY6" fmla="*/ 19820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437" h="56687">
                  <a:moveTo>
                    <a:pt x="0" y="19820"/>
                  </a:moveTo>
                  <a:cubicBezTo>
                    <a:pt x="13601" y="11364"/>
                    <a:pt x="27650" y="3222"/>
                    <a:pt x="43533" y="0"/>
                  </a:cubicBezTo>
                  <a:cubicBezTo>
                    <a:pt x="107290" y="7561"/>
                    <a:pt x="170957" y="15749"/>
                    <a:pt x="234490" y="24697"/>
                  </a:cubicBezTo>
                  <a:cubicBezTo>
                    <a:pt x="250686" y="26800"/>
                    <a:pt x="266972" y="29574"/>
                    <a:pt x="283392" y="28635"/>
                  </a:cubicBezTo>
                  <a:cubicBezTo>
                    <a:pt x="283348" y="37941"/>
                    <a:pt x="283169" y="47292"/>
                    <a:pt x="283437" y="56687"/>
                  </a:cubicBezTo>
                  <a:cubicBezTo>
                    <a:pt x="195654" y="45055"/>
                    <a:pt x="107782" y="33959"/>
                    <a:pt x="19999" y="22326"/>
                  </a:cubicBezTo>
                  <a:cubicBezTo>
                    <a:pt x="13333" y="21387"/>
                    <a:pt x="6667" y="20402"/>
                    <a:pt x="0" y="19820"/>
                  </a:cubicBezTo>
                  <a:close/>
                </a:path>
              </a:pathLst>
            </a:custGeom>
            <a:solidFill>
              <a:srgbClr val="CFE0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5" name="Freeform: Shape 304">
              <a:extLst>
                <a:ext uri="{FF2B5EF4-FFF2-40B4-BE49-F238E27FC236}">
                  <a16:creationId xmlns:a16="http://schemas.microsoft.com/office/drawing/2014/main" id="{FDA1CF05-E6E4-6E28-A1E8-CE4210A6A300}"/>
                </a:ext>
              </a:extLst>
            </p:cNvPr>
            <p:cNvSpPr/>
            <p:nvPr/>
          </p:nvSpPr>
          <p:spPr>
            <a:xfrm flipH="1">
              <a:off x="3705363" y="5098536"/>
              <a:ext cx="905055" cy="332050"/>
            </a:xfrm>
            <a:custGeom>
              <a:avLst/>
              <a:gdLst>
                <a:gd name="connsiteX0" fmla="*/ 0 w 758770"/>
                <a:gd name="connsiteY0" fmla="*/ 0 h 278381"/>
                <a:gd name="connsiteX1" fmla="*/ 3445 w 758770"/>
                <a:gd name="connsiteY1" fmla="*/ 313 h 278381"/>
                <a:gd name="connsiteX2" fmla="*/ 3803 w 758770"/>
                <a:gd name="connsiteY2" fmla="*/ 254624 h 278381"/>
                <a:gd name="connsiteX3" fmla="*/ 5593 w 758770"/>
                <a:gd name="connsiteY3" fmla="*/ 271178 h 278381"/>
                <a:gd name="connsiteX4" fmla="*/ 28098 w 758770"/>
                <a:gd name="connsiteY4" fmla="*/ 270596 h 278381"/>
                <a:gd name="connsiteX5" fmla="*/ 396320 w 758770"/>
                <a:gd name="connsiteY5" fmla="*/ 166930 h 278381"/>
                <a:gd name="connsiteX6" fmla="*/ 680025 w 758770"/>
                <a:gd name="connsiteY6" fmla="*/ 87156 h 278381"/>
                <a:gd name="connsiteX7" fmla="*/ 715953 w 758770"/>
                <a:gd name="connsiteY7" fmla="*/ 98521 h 278381"/>
                <a:gd name="connsiteX8" fmla="*/ 758770 w 758770"/>
                <a:gd name="connsiteY8" fmla="*/ 115120 h 278381"/>
                <a:gd name="connsiteX9" fmla="*/ 754565 w 758770"/>
                <a:gd name="connsiteY9" fmla="*/ 133911 h 278381"/>
                <a:gd name="connsiteX10" fmla="*/ 757249 w 758770"/>
                <a:gd name="connsiteY10" fmla="*/ 141249 h 278381"/>
                <a:gd name="connsiteX11" fmla="*/ 723425 w 758770"/>
                <a:gd name="connsiteY11" fmla="*/ 170689 h 278381"/>
                <a:gd name="connsiteX12" fmla="*/ 722172 w 758770"/>
                <a:gd name="connsiteY12" fmla="*/ 171226 h 278381"/>
                <a:gd name="connsiteX13" fmla="*/ 508308 w 758770"/>
                <a:gd name="connsiteY13" fmla="*/ 231447 h 278381"/>
                <a:gd name="connsiteX14" fmla="*/ 389966 w 758770"/>
                <a:gd name="connsiteY14" fmla="*/ 263930 h 278381"/>
                <a:gd name="connsiteX15" fmla="*/ 350907 w 758770"/>
                <a:gd name="connsiteY15" fmla="*/ 277039 h 278381"/>
                <a:gd name="connsiteX16" fmla="*/ 671 w 758770"/>
                <a:gd name="connsiteY16" fmla="*/ 278381 h 278381"/>
                <a:gd name="connsiteX17" fmla="*/ 0 w 758770"/>
                <a:gd name="connsiteY17" fmla="*/ 2640 h 278381"/>
                <a:gd name="connsiteX18" fmla="*/ 0 w 758770"/>
                <a:gd name="connsiteY18" fmla="*/ 0 h 27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8770" h="278381">
                  <a:moveTo>
                    <a:pt x="0" y="0"/>
                  </a:moveTo>
                  <a:lnTo>
                    <a:pt x="3445" y="313"/>
                  </a:lnTo>
                  <a:cubicBezTo>
                    <a:pt x="4564" y="85054"/>
                    <a:pt x="3758" y="169883"/>
                    <a:pt x="3803" y="254624"/>
                  </a:cubicBezTo>
                  <a:cubicBezTo>
                    <a:pt x="3982" y="260127"/>
                    <a:pt x="4564" y="265675"/>
                    <a:pt x="5593" y="271178"/>
                  </a:cubicBezTo>
                  <a:cubicBezTo>
                    <a:pt x="13064" y="272386"/>
                    <a:pt x="20671" y="271715"/>
                    <a:pt x="28098" y="270596"/>
                  </a:cubicBezTo>
                  <a:cubicBezTo>
                    <a:pt x="151137" y="237085"/>
                    <a:pt x="273639" y="201605"/>
                    <a:pt x="396320" y="166930"/>
                  </a:cubicBezTo>
                  <a:cubicBezTo>
                    <a:pt x="490680" y="139593"/>
                    <a:pt x="585442" y="113643"/>
                    <a:pt x="680025" y="87156"/>
                  </a:cubicBezTo>
                  <a:cubicBezTo>
                    <a:pt x="692911" y="87291"/>
                    <a:pt x="705081" y="91899"/>
                    <a:pt x="715953" y="98521"/>
                  </a:cubicBezTo>
                  <a:cubicBezTo>
                    <a:pt x="728928" y="107021"/>
                    <a:pt x="743648" y="111988"/>
                    <a:pt x="758770" y="115120"/>
                  </a:cubicBezTo>
                  <a:cubicBezTo>
                    <a:pt x="757383" y="121339"/>
                    <a:pt x="755952" y="127603"/>
                    <a:pt x="754565" y="133911"/>
                  </a:cubicBezTo>
                  <a:cubicBezTo>
                    <a:pt x="755415" y="136283"/>
                    <a:pt x="756310" y="138743"/>
                    <a:pt x="757249" y="141249"/>
                  </a:cubicBezTo>
                  <a:cubicBezTo>
                    <a:pt x="744185" y="148810"/>
                    <a:pt x="732776" y="158787"/>
                    <a:pt x="723425" y="170689"/>
                  </a:cubicBezTo>
                  <a:lnTo>
                    <a:pt x="722172" y="171226"/>
                  </a:lnTo>
                  <a:cubicBezTo>
                    <a:pt x="650988" y="191583"/>
                    <a:pt x="579536" y="211225"/>
                    <a:pt x="508308" y="231447"/>
                  </a:cubicBezTo>
                  <a:cubicBezTo>
                    <a:pt x="468622" y="241380"/>
                    <a:pt x="429831" y="254713"/>
                    <a:pt x="389966" y="263930"/>
                  </a:cubicBezTo>
                  <a:cubicBezTo>
                    <a:pt x="376544" y="266972"/>
                    <a:pt x="363614" y="271804"/>
                    <a:pt x="350907" y="277039"/>
                  </a:cubicBezTo>
                  <a:cubicBezTo>
                    <a:pt x="234221" y="278605"/>
                    <a:pt x="117402" y="277665"/>
                    <a:pt x="671" y="278381"/>
                  </a:cubicBezTo>
                  <a:cubicBezTo>
                    <a:pt x="-626" y="186482"/>
                    <a:pt x="716" y="94584"/>
                    <a:pt x="0" y="2640"/>
                  </a:cubicBezTo>
                  <a:lnTo>
                    <a:pt x="0" y="0"/>
                  </a:lnTo>
                  <a:close/>
                </a:path>
              </a:pathLst>
            </a:custGeom>
            <a:solidFill>
              <a:srgbClr val="B7CC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6" name="Freeform: Shape 305">
              <a:extLst>
                <a:ext uri="{FF2B5EF4-FFF2-40B4-BE49-F238E27FC236}">
                  <a16:creationId xmlns:a16="http://schemas.microsoft.com/office/drawing/2014/main" id="{0C758621-BA3F-3DC0-B1DC-08CC4B73C79C}"/>
                </a:ext>
              </a:extLst>
            </p:cNvPr>
            <p:cNvSpPr/>
            <p:nvPr/>
          </p:nvSpPr>
          <p:spPr>
            <a:xfrm flipH="1">
              <a:off x="3537950" y="5095906"/>
              <a:ext cx="251413" cy="8041"/>
            </a:xfrm>
            <a:custGeom>
              <a:avLst/>
              <a:gdLst>
                <a:gd name="connsiteX0" fmla="*/ 0 w 210777"/>
                <a:gd name="connsiteY0" fmla="*/ 3190 h 6742"/>
                <a:gd name="connsiteX1" fmla="*/ 76374 w 210777"/>
                <a:gd name="connsiteY1" fmla="*/ 192 h 6742"/>
                <a:gd name="connsiteX2" fmla="*/ 210777 w 210777"/>
                <a:gd name="connsiteY2" fmla="*/ 3861 h 6742"/>
                <a:gd name="connsiteX3" fmla="*/ 81385 w 210777"/>
                <a:gd name="connsiteY3" fmla="*/ 6232 h 6742"/>
                <a:gd name="connsiteX4" fmla="*/ 0 w 210777"/>
                <a:gd name="connsiteY4" fmla="*/ 3190 h 6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77" h="6742">
                  <a:moveTo>
                    <a:pt x="0" y="3190"/>
                  </a:moveTo>
                  <a:cubicBezTo>
                    <a:pt x="25234" y="-1061"/>
                    <a:pt x="50916" y="147"/>
                    <a:pt x="76374" y="192"/>
                  </a:cubicBezTo>
                  <a:cubicBezTo>
                    <a:pt x="121205" y="1042"/>
                    <a:pt x="165991" y="1624"/>
                    <a:pt x="210777" y="3861"/>
                  </a:cubicBezTo>
                  <a:cubicBezTo>
                    <a:pt x="167825" y="8961"/>
                    <a:pt x="124516" y="5606"/>
                    <a:pt x="81385" y="6232"/>
                  </a:cubicBezTo>
                  <a:cubicBezTo>
                    <a:pt x="54271" y="5293"/>
                    <a:pt x="27024" y="6143"/>
                    <a:pt x="0" y="3190"/>
                  </a:cubicBezTo>
                  <a:close/>
                </a:path>
              </a:pathLst>
            </a:custGeom>
            <a:solidFill>
              <a:srgbClr val="516C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7" name="Freeform: Shape 306">
              <a:extLst>
                <a:ext uri="{FF2B5EF4-FFF2-40B4-BE49-F238E27FC236}">
                  <a16:creationId xmlns:a16="http://schemas.microsoft.com/office/drawing/2014/main" id="{061BEE76-8FBC-4113-E15E-560F6F05112D}"/>
                </a:ext>
              </a:extLst>
            </p:cNvPr>
            <p:cNvSpPr/>
            <p:nvPr/>
          </p:nvSpPr>
          <p:spPr>
            <a:xfrm flipH="1">
              <a:off x="2619128" y="5102304"/>
              <a:ext cx="1202749" cy="89732"/>
            </a:xfrm>
            <a:custGeom>
              <a:avLst/>
              <a:gdLst>
                <a:gd name="connsiteX0" fmla="*/ 291859 w 1008348"/>
                <a:gd name="connsiteY0" fmla="*/ 3822 h 75229"/>
                <a:gd name="connsiteX1" fmla="*/ 860120 w 1008348"/>
                <a:gd name="connsiteY1" fmla="*/ 1540 h 75229"/>
                <a:gd name="connsiteX2" fmla="*/ 977969 w 1008348"/>
                <a:gd name="connsiteY2" fmla="*/ 3285 h 75229"/>
                <a:gd name="connsiteX3" fmla="*/ 978819 w 1008348"/>
                <a:gd name="connsiteY3" fmla="*/ 15947 h 75229"/>
                <a:gd name="connsiteX4" fmla="*/ 979983 w 1008348"/>
                <a:gd name="connsiteY4" fmla="*/ 37736 h 75229"/>
                <a:gd name="connsiteX5" fmla="*/ 1008349 w 1008348"/>
                <a:gd name="connsiteY5" fmla="*/ 36528 h 75229"/>
                <a:gd name="connsiteX6" fmla="*/ 980519 w 1008348"/>
                <a:gd name="connsiteY6" fmla="*/ 41539 h 75229"/>
                <a:gd name="connsiteX7" fmla="*/ 989691 w 1008348"/>
                <a:gd name="connsiteY7" fmla="*/ 62836 h 75229"/>
                <a:gd name="connsiteX8" fmla="*/ 963920 w 1008348"/>
                <a:gd name="connsiteY8" fmla="*/ 75229 h 75229"/>
                <a:gd name="connsiteX9" fmla="*/ 800211 w 1008348"/>
                <a:gd name="connsiteY9" fmla="*/ 69010 h 75229"/>
                <a:gd name="connsiteX10" fmla="*/ 952511 w 1008348"/>
                <a:gd name="connsiteY10" fmla="*/ 65878 h 75229"/>
                <a:gd name="connsiteX11" fmla="*/ 877793 w 1008348"/>
                <a:gd name="connsiteY11" fmla="*/ 56796 h 75229"/>
                <a:gd name="connsiteX12" fmla="*/ 479639 w 1008348"/>
                <a:gd name="connsiteY12" fmla="*/ 56840 h 75229"/>
                <a:gd name="connsiteX13" fmla="*/ 266222 w 1008348"/>
                <a:gd name="connsiteY13" fmla="*/ 53306 h 75229"/>
                <a:gd name="connsiteX14" fmla="*/ 274007 w 1008348"/>
                <a:gd name="connsiteY14" fmla="*/ 38228 h 75229"/>
                <a:gd name="connsiteX15" fmla="*/ 74908 w 1008348"/>
                <a:gd name="connsiteY15" fmla="*/ 67757 h 75229"/>
                <a:gd name="connsiteX16" fmla="*/ 181840 w 1008348"/>
                <a:gd name="connsiteY16" fmla="*/ 68742 h 75229"/>
                <a:gd name="connsiteX17" fmla="*/ 139514 w 1008348"/>
                <a:gd name="connsiteY17" fmla="*/ 72679 h 75229"/>
                <a:gd name="connsiteX18" fmla="*/ 12762 w 1008348"/>
                <a:gd name="connsiteY18" fmla="*/ 68920 h 75229"/>
                <a:gd name="connsiteX19" fmla="*/ 145 w 1008348"/>
                <a:gd name="connsiteY19" fmla="*/ 36170 h 75229"/>
                <a:gd name="connsiteX20" fmla="*/ 100 w 1008348"/>
                <a:gd name="connsiteY20" fmla="*/ 8117 h 75229"/>
                <a:gd name="connsiteX21" fmla="*/ 138217 w 1008348"/>
                <a:gd name="connsiteY21" fmla="*/ 7401 h 75229"/>
                <a:gd name="connsiteX22" fmla="*/ 291859 w 1008348"/>
                <a:gd name="connsiteY22" fmla="*/ 3822 h 75229"/>
                <a:gd name="connsiteX23" fmla="*/ 57682 w 1008348"/>
                <a:gd name="connsiteY23" fmla="*/ 19929 h 75229"/>
                <a:gd name="connsiteX24" fmla="*/ 85690 w 1008348"/>
                <a:gd name="connsiteY24" fmla="*/ 23687 h 75229"/>
                <a:gd name="connsiteX25" fmla="*/ 261256 w 1008348"/>
                <a:gd name="connsiteY25" fmla="*/ 20645 h 75229"/>
                <a:gd name="connsiteX26" fmla="*/ 152847 w 1008348"/>
                <a:gd name="connsiteY26" fmla="*/ 14470 h 75229"/>
                <a:gd name="connsiteX27" fmla="*/ 57682 w 1008348"/>
                <a:gd name="connsiteY27" fmla="*/ 19929 h 75229"/>
                <a:gd name="connsiteX28" fmla="*/ 689029 w 1008348"/>
                <a:gd name="connsiteY28" fmla="*/ 25253 h 75229"/>
                <a:gd name="connsiteX29" fmla="*/ 859896 w 1008348"/>
                <a:gd name="connsiteY29" fmla="*/ 28251 h 75229"/>
                <a:gd name="connsiteX30" fmla="*/ 924369 w 1008348"/>
                <a:gd name="connsiteY30" fmla="*/ 25656 h 75229"/>
                <a:gd name="connsiteX31" fmla="*/ 873587 w 1008348"/>
                <a:gd name="connsiteY31" fmla="*/ 21584 h 75229"/>
                <a:gd name="connsiteX32" fmla="*/ 689029 w 1008348"/>
                <a:gd name="connsiteY32" fmla="*/ 25253 h 75229"/>
                <a:gd name="connsiteX33" fmla="*/ 37056 w 1008348"/>
                <a:gd name="connsiteY33" fmla="*/ 52366 h 75229"/>
                <a:gd name="connsiteX34" fmla="*/ 48152 w 1008348"/>
                <a:gd name="connsiteY34" fmla="*/ 62701 h 75229"/>
                <a:gd name="connsiteX35" fmla="*/ 37056 w 1008348"/>
                <a:gd name="connsiteY35" fmla="*/ 52366 h 7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8348" h="75229">
                  <a:moveTo>
                    <a:pt x="291859" y="3822"/>
                  </a:moveTo>
                  <a:cubicBezTo>
                    <a:pt x="481160" y="-3337"/>
                    <a:pt x="670685" y="1808"/>
                    <a:pt x="860120" y="1540"/>
                  </a:cubicBezTo>
                  <a:cubicBezTo>
                    <a:pt x="899403" y="1719"/>
                    <a:pt x="938776" y="-160"/>
                    <a:pt x="977969" y="3285"/>
                  </a:cubicBezTo>
                  <a:cubicBezTo>
                    <a:pt x="978238" y="7491"/>
                    <a:pt x="978551" y="11696"/>
                    <a:pt x="978819" y="15947"/>
                  </a:cubicBezTo>
                  <a:cubicBezTo>
                    <a:pt x="979267" y="23195"/>
                    <a:pt x="979580" y="30398"/>
                    <a:pt x="979983" y="37736"/>
                  </a:cubicBezTo>
                  <a:cubicBezTo>
                    <a:pt x="989423" y="37378"/>
                    <a:pt x="998908" y="37154"/>
                    <a:pt x="1008349" y="36528"/>
                  </a:cubicBezTo>
                  <a:cubicBezTo>
                    <a:pt x="999042" y="38004"/>
                    <a:pt x="989781" y="39794"/>
                    <a:pt x="980519" y="41539"/>
                  </a:cubicBezTo>
                  <a:cubicBezTo>
                    <a:pt x="980743" y="49905"/>
                    <a:pt x="979804" y="59838"/>
                    <a:pt x="989691" y="62836"/>
                  </a:cubicBezTo>
                  <a:cubicBezTo>
                    <a:pt x="978909" y="60777"/>
                    <a:pt x="971571" y="69368"/>
                    <a:pt x="963920" y="75229"/>
                  </a:cubicBezTo>
                  <a:cubicBezTo>
                    <a:pt x="909604" y="68562"/>
                    <a:pt x="854572" y="74916"/>
                    <a:pt x="800211" y="69010"/>
                  </a:cubicBezTo>
                  <a:cubicBezTo>
                    <a:pt x="850903" y="64446"/>
                    <a:pt x="901953" y="71918"/>
                    <a:pt x="952511" y="65878"/>
                  </a:cubicBezTo>
                  <a:cubicBezTo>
                    <a:pt x="929201" y="54916"/>
                    <a:pt x="902714" y="57959"/>
                    <a:pt x="877793" y="56796"/>
                  </a:cubicBezTo>
                  <a:cubicBezTo>
                    <a:pt x="745045" y="54379"/>
                    <a:pt x="612342" y="58048"/>
                    <a:pt x="479639" y="56840"/>
                  </a:cubicBezTo>
                  <a:cubicBezTo>
                    <a:pt x="408500" y="55409"/>
                    <a:pt x="337137" y="60107"/>
                    <a:pt x="266222" y="53306"/>
                  </a:cubicBezTo>
                  <a:cubicBezTo>
                    <a:pt x="268772" y="48205"/>
                    <a:pt x="271367" y="43194"/>
                    <a:pt x="274007" y="38228"/>
                  </a:cubicBezTo>
                  <a:cubicBezTo>
                    <a:pt x="206850" y="33396"/>
                    <a:pt x="134951" y="32635"/>
                    <a:pt x="74908" y="67757"/>
                  </a:cubicBezTo>
                  <a:cubicBezTo>
                    <a:pt x="110522" y="71560"/>
                    <a:pt x="146225" y="65073"/>
                    <a:pt x="181840" y="68742"/>
                  </a:cubicBezTo>
                  <a:cubicBezTo>
                    <a:pt x="167836" y="71113"/>
                    <a:pt x="153697" y="73037"/>
                    <a:pt x="139514" y="72679"/>
                  </a:cubicBezTo>
                  <a:cubicBezTo>
                    <a:pt x="97234" y="71918"/>
                    <a:pt x="54774" y="74692"/>
                    <a:pt x="12762" y="68920"/>
                  </a:cubicBezTo>
                  <a:cubicBezTo>
                    <a:pt x="2784" y="61225"/>
                    <a:pt x="1890" y="47623"/>
                    <a:pt x="145" y="36170"/>
                  </a:cubicBezTo>
                  <a:cubicBezTo>
                    <a:pt x="-124" y="26774"/>
                    <a:pt x="55" y="17423"/>
                    <a:pt x="100" y="8117"/>
                  </a:cubicBezTo>
                  <a:cubicBezTo>
                    <a:pt x="45736" y="-518"/>
                    <a:pt x="92178" y="6148"/>
                    <a:pt x="138217" y="7401"/>
                  </a:cubicBezTo>
                  <a:cubicBezTo>
                    <a:pt x="189491" y="11025"/>
                    <a:pt x="240585" y="3061"/>
                    <a:pt x="291859" y="3822"/>
                  </a:cubicBezTo>
                  <a:close/>
                  <a:moveTo>
                    <a:pt x="57682" y="19929"/>
                  </a:moveTo>
                  <a:cubicBezTo>
                    <a:pt x="65691" y="26103"/>
                    <a:pt x="76339" y="23418"/>
                    <a:pt x="85690" y="23687"/>
                  </a:cubicBezTo>
                  <a:cubicBezTo>
                    <a:pt x="144167" y="21137"/>
                    <a:pt x="202868" y="24671"/>
                    <a:pt x="261256" y="20645"/>
                  </a:cubicBezTo>
                  <a:cubicBezTo>
                    <a:pt x="225910" y="11383"/>
                    <a:pt x="188954" y="15141"/>
                    <a:pt x="152847" y="14470"/>
                  </a:cubicBezTo>
                  <a:cubicBezTo>
                    <a:pt x="121081" y="15410"/>
                    <a:pt x="88912" y="13038"/>
                    <a:pt x="57682" y="19929"/>
                  </a:cubicBezTo>
                  <a:close/>
                  <a:moveTo>
                    <a:pt x="689029" y="25253"/>
                  </a:moveTo>
                  <a:cubicBezTo>
                    <a:pt x="745895" y="29056"/>
                    <a:pt x="802941" y="28429"/>
                    <a:pt x="859896" y="28251"/>
                  </a:cubicBezTo>
                  <a:cubicBezTo>
                    <a:pt x="881417" y="28027"/>
                    <a:pt x="903072" y="29235"/>
                    <a:pt x="924369" y="25656"/>
                  </a:cubicBezTo>
                  <a:cubicBezTo>
                    <a:pt x="908396" y="18452"/>
                    <a:pt x="890455" y="22390"/>
                    <a:pt x="873587" y="21584"/>
                  </a:cubicBezTo>
                  <a:cubicBezTo>
                    <a:pt x="812068" y="22658"/>
                    <a:pt x="750280" y="18989"/>
                    <a:pt x="689029" y="25253"/>
                  </a:cubicBezTo>
                  <a:close/>
                  <a:moveTo>
                    <a:pt x="37056" y="52366"/>
                  </a:moveTo>
                  <a:cubicBezTo>
                    <a:pt x="32180" y="58406"/>
                    <a:pt x="42336" y="67623"/>
                    <a:pt x="48152" y="62701"/>
                  </a:cubicBezTo>
                  <a:cubicBezTo>
                    <a:pt x="51732" y="56840"/>
                    <a:pt x="42560" y="48742"/>
                    <a:pt x="37056" y="52366"/>
                  </a:cubicBezTo>
                  <a:close/>
                </a:path>
              </a:pathLst>
            </a:custGeom>
            <a:solidFill>
              <a:srgbClr val="7990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 name="Freeform: Shape 307">
              <a:extLst>
                <a:ext uri="{FF2B5EF4-FFF2-40B4-BE49-F238E27FC236}">
                  <a16:creationId xmlns:a16="http://schemas.microsoft.com/office/drawing/2014/main" id="{669F0155-83CE-77B3-B6FF-EB50C0B21FA1}"/>
                </a:ext>
              </a:extLst>
            </p:cNvPr>
            <p:cNvSpPr/>
            <p:nvPr/>
          </p:nvSpPr>
          <p:spPr>
            <a:xfrm flipH="1">
              <a:off x="3510253" y="5119319"/>
              <a:ext cx="242821" cy="11662"/>
            </a:xfrm>
            <a:custGeom>
              <a:avLst/>
              <a:gdLst>
                <a:gd name="connsiteX0" fmla="*/ 0 w 203573"/>
                <a:gd name="connsiteY0" fmla="*/ 5664 h 9777"/>
                <a:gd name="connsiteX1" fmla="*/ 95165 w 203573"/>
                <a:gd name="connsiteY1" fmla="*/ 206 h 9777"/>
                <a:gd name="connsiteX2" fmla="*/ 203574 w 203573"/>
                <a:gd name="connsiteY2" fmla="*/ 6380 h 9777"/>
                <a:gd name="connsiteX3" fmla="*/ 28008 w 203573"/>
                <a:gd name="connsiteY3" fmla="*/ 9423 h 9777"/>
                <a:gd name="connsiteX4" fmla="*/ 0 w 203573"/>
                <a:gd name="connsiteY4" fmla="*/ 5664 h 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73" h="9777">
                  <a:moveTo>
                    <a:pt x="0" y="5664"/>
                  </a:moveTo>
                  <a:cubicBezTo>
                    <a:pt x="31229" y="-1226"/>
                    <a:pt x="63399" y="1145"/>
                    <a:pt x="95165" y="206"/>
                  </a:cubicBezTo>
                  <a:cubicBezTo>
                    <a:pt x="131271" y="877"/>
                    <a:pt x="168228" y="-2881"/>
                    <a:pt x="203574" y="6380"/>
                  </a:cubicBezTo>
                  <a:cubicBezTo>
                    <a:pt x="145186" y="10407"/>
                    <a:pt x="86485" y="6872"/>
                    <a:pt x="28008" y="9423"/>
                  </a:cubicBezTo>
                  <a:cubicBezTo>
                    <a:pt x="18657" y="9154"/>
                    <a:pt x="8009" y="11838"/>
                    <a:pt x="0" y="5664"/>
                  </a:cubicBezTo>
                  <a:close/>
                </a:path>
              </a:pathLst>
            </a:custGeom>
            <a:solidFill>
              <a:srgbClr val="556F9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 name="Freeform: Shape 308">
              <a:extLst>
                <a:ext uri="{FF2B5EF4-FFF2-40B4-BE49-F238E27FC236}">
                  <a16:creationId xmlns:a16="http://schemas.microsoft.com/office/drawing/2014/main" id="{BEAA58BF-4AF8-0572-30F8-B1DDE90F8DDA}"/>
                </a:ext>
              </a:extLst>
            </p:cNvPr>
            <p:cNvSpPr/>
            <p:nvPr/>
          </p:nvSpPr>
          <p:spPr>
            <a:xfrm flipH="1">
              <a:off x="2719297" y="5127616"/>
              <a:ext cx="280712" cy="8564"/>
            </a:xfrm>
            <a:custGeom>
              <a:avLst/>
              <a:gdLst>
                <a:gd name="connsiteX0" fmla="*/ 0 w 235340"/>
                <a:gd name="connsiteY0" fmla="*/ 4032 h 7180"/>
                <a:gd name="connsiteX1" fmla="*/ 184559 w 235340"/>
                <a:gd name="connsiteY1" fmla="*/ 364 h 7180"/>
                <a:gd name="connsiteX2" fmla="*/ 235340 w 235340"/>
                <a:gd name="connsiteY2" fmla="*/ 4435 h 7180"/>
                <a:gd name="connsiteX3" fmla="*/ 170867 w 235340"/>
                <a:gd name="connsiteY3" fmla="*/ 7030 h 7180"/>
                <a:gd name="connsiteX4" fmla="*/ 0 w 235340"/>
                <a:gd name="connsiteY4" fmla="*/ 4032 h 7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40" h="7180">
                  <a:moveTo>
                    <a:pt x="0" y="4032"/>
                  </a:moveTo>
                  <a:cubicBezTo>
                    <a:pt x="61251" y="-2231"/>
                    <a:pt x="123039" y="1438"/>
                    <a:pt x="184559" y="364"/>
                  </a:cubicBezTo>
                  <a:cubicBezTo>
                    <a:pt x="201426" y="1169"/>
                    <a:pt x="219367" y="-2768"/>
                    <a:pt x="235340" y="4435"/>
                  </a:cubicBezTo>
                  <a:cubicBezTo>
                    <a:pt x="214043" y="8014"/>
                    <a:pt x="192388" y="6806"/>
                    <a:pt x="170867" y="7030"/>
                  </a:cubicBezTo>
                  <a:cubicBezTo>
                    <a:pt x="113912" y="7209"/>
                    <a:pt x="56866" y="7836"/>
                    <a:pt x="0" y="4032"/>
                  </a:cubicBezTo>
                  <a:close/>
                </a:path>
              </a:pathLst>
            </a:custGeom>
            <a:solidFill>
              <a:srgbClr val="455E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0" name="Freeform: Shape 309">
              <a:extLst>
                <a:ext uri="{FF2B5EF4-FFF2-40B4-BE49-F238E27FC236}">
                  <a16:creationId xmlns:a16="http://schemas.microsoft.com/office/drawing/2014/main" id="{51EA7884-4F7A-026E-16D8-26EEE8ABCE0A}"/>
                </a:ext>
              </a:extLst>
            </p:cNvPr>
            <p:cNvSpPr/>
            <p:nvPr/>
          </p:nvSpPr>
          <p:spPr>
            <a:xfrm flipH="1">
              <a:off x="3249393" y="5145035"/>
              <a:ext cx="483133" cy="39591"/>
            </a:xfrm>
            <a:custGeom>
              <a:avLst/>
              <a:gdLst>
                <a:gd name="connsiteX0" fmla="*/ 0 w 405044"/>
                <a:gd name="connsiteY0" fmla="*/ 31932 h 33192"/>
                <a:gd name="connsiteX1" fmla="*/ 199099 w 405044"/>
                <a:gd name="connsiteY1" fmla="*/ 2403 h 33192"/>
                <a:gd name="connsiteX2" fmla="*/ 191315 w 405044"/>
                <a:gd name="connsiteY2" fmla="*/ 17481 h 33192"/>
                <a:gd name="connsiteX3" fmla="*/ 404731 w 405044"/>
                <a:gd name="connsiteY3" fmla="*/ 21016 h 33192"/>
                <a:gd name="connsiteX4" fmla="*/ 405044 w 405044"/>
                <a:gd name="connsiteY4" fmla="*/ 33141 h 33192"/>
                <a:gd name="connsiteX5" fmla="*/ 239546 w 405044"/>
                <a:gd name="connsiteY5" fmla="*/ 32917 h 33192"/>
                <a:gd name="connsiteX6" fmla="*/ 106932 w 405044"/>
                <a:gd name="connsiteY6" fmla="*/ 32917 h 33192"/>
                <a:gd name="connsiteX7" fmla="*/ 0 w 405044"/>
                <a:gd name="connsiteY7" fmla="*/ 31932 h 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044" h="33192">
                  <a:moveTo>
                    <a:pt x="0" y="31932"/>
                  </a:moveTo>
                  <a:cubicBezTo>
                    <a:pt x="60043" y="-3189"/>
                    <a:pt x="131943" y="-2429"/>
                    <a:pt x="199099" y="2403"/>
                  </a:cubicBezTo>
                  <a:cubicBezTo>
                    <a:pt x="196460" y="7369"/>
                    <a:pt x="193865" y="12381"/>
                    <a:pt x="191315" y="17481"/>
                  </a:cubicBezTo>
                  <a:cubicBezTo>
                    <a:pt x="262230" y="24282"/>
                    <a:pt x="333592" y="19584"/>
                    <a:pt x="404731" y="21016"/>
                  </a:cubicBezTo>
                  <a:cubicBezTo>
                    <a:pt x="404821" y="24013"/>
                    <a:pt x="404955" y="30098"/>
                    <a:pt x="405044" y="33141"/>
                  </a:cubicBezTo>
                  <a:cubicBezTo>
                    <a:pt x="349878" y="32559"/>
                    <a:pt x="294712" y="33677"/>
                    <a:pt x="239546" y="32917"/>
                  </a:cubicBezTo>
                  <a:cubicBezTo>
                    <a:pt x="195341" y="33051"/>
                    <a:pt x="151092" y="29517"/>
                    <a:pt x="106932" y="32917"/>
                  </a:cubicBezTo>
                  <a:cubicBezTo>
                    <a:pt x="71318" y="29248"/>
                    <a:pt x="35614" y="35736"/>
                    <a:pt x="0" y="31932"/>
                  </a:cubicBezTo>
                  <a:close/>
                </a:path>
              </a:pathLst>
            </a:custGeom>
            <a:solidFill>
              <a:srgbClr val="4A6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1" name="Freeform: Shape 310">
              <a:extLst>
                <a:ext uri="{FF2B5EF4-FFF2-40B4-BE49-F238E27FC236}">
                  <a16:creationId xmlns:a16="http://schemas.microsoft.com/office/drawing/2014/main" id="{0A471E51-62ED-2978-B3D0-637E9E09D858}"/>
                </a:ext>
              </a:extLst>
            </p:cNvPr>
            <p:cNvSpPr/>
            <p:nvPr/>
          </p:nvSpPr>
          <p:spPr>
            <a:xfrm flipH="1">
              <a:off x="3763479" y="5163691"/>
              <a:ext cx="15731" cy="15064"/>
            </a:xfrm>
            <a:custGeom>
              <a:avLst/>
              <a:gdLst>
                <a:gd name="connsiteX0" fmla="*/ 1286 w 13188"/>
                <a:gd name="connsiteY0" fmla="*/ 901 h 12630"/>
                <a:gd name="connsiteX1" fmla="*/ 12382 w 13188"/>
                <a:gd name="connsiteY1" fmla="*/ 11236 h 12630"/>
                <a:gd name="connsiteX2" fmla="*/ 1286 w 13188"/>
                <a:gd name="connsiteY2" fmla="*/ 901 h 12630"/>
              </a:gdLst>
              <a:ahLst/>
              <a:cxnLst>
                <a:cxn ang="0">
                  <a:pos x="connsiteX0" y="connsiteY0"/>
                </a:cxn>
                <a:cxn ang="0">
                  <a:pos x="connsiteX1" y="connsiteY1"/>
                </a:cxn>
                <a:cxn ang="0">
                  <a:pos x="connsiteX2" y="connsiteY2"/>
                </a:cxn>
              </a:cxnLst>
              <a:rect l="l" t="t" r="r" b="b"/>
              <a:pathLst>
                <a:path w="13188" h="12630">
                  <a:moveTo>
                    <a:pt x="1286" y="901"/>
                  </a:moveTo>
                  <a:cubicBezTo>
                    <a:pt x="6789" y="-2723"/>
                    <a:pt x="15961" y="5375"/>
                    <a:pt x="12382" y="11236"/>
                  </a:cubicBezTo>
                  <a:cubicBezTo>
                    <a:pt x="6565" y="16158"/>
                    <a:pt x="-3591" y="6941"/>
                    <a:pt x="1286" y="901"/>
                  </a:cubicBezTo>
                  <a:close/>
                </a:path>
              </a:pathLst>
            </a:custGeom>
            <a:solidFill>
              <a:srgbClr val="526F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2" name="Freeform: Shape 311">
              <a:extLst>
                <a:ext uri="{FF2B5EF4-FFF2-40B4-BE49-F238E27FC236}">
                  <a16:creationId xmlns:a16="http://schemas.microsoft.com/office/drawing/2014/main" id="{7B2D44E5-F1EC-59F8-5D0C-AED09E62BF78}"/>
                </a:ext>
              </a:extLst>
            </p:cNvPr>
            <p:cNvSpPr/>
            <p:nvPr/>
          </p:nvSpPr>
          <p:spPr>
            <a:xfrm flipH="1">
              <a:off x="2685729" y="5169044"/>
              <a:ext cx="564038" cy="15574"/>
            </a:xfrm>
            <a:custGeom>
              <a:avLst/>
              <a:gdLst>
                <a:gd name="connsiteX0" fmla="*/ 0 w 472872"/>
                <a:gd name="connsiteY0" fmla="*/ 888 h 13057"/>
                <a:gd name="connsiteX1" fmla="*/ 398154 w 472872"/>
                <a:gd name="connsiteY1" fmla="*/ 843 h 13057"/>
                <a:gd name="connsiteX2" fmla="*/ 472872 w 472872"/>
                <a:gd name="connsiteY2" fmla="*/ 9926 h 13057"/>
                <a:gd name="connsiteX3" fmla="*/ 320573 w 472872"/>
                <a:gd name="connsiteY3" fmla="*/ 13058 h 13057"/>
                <a:gd name="connsiteX4" fmla="*/ 313 w 472872"/>
                <a:gd name="connsiteY4" fmla="*/ 13013 h 13057"/>
                <a:gd name="connsiteX5" fmla="*/ 0 w 472872"/>
                <a:gd name="connsiteY5" fmla="*/ 888 h 13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72" h="13057">
                  <a:moveTo>
                    <a:pt x="0" y="888"/>
                  </a:moveTo>
                  <a:cubicBezTo>
                    <a:pt x="132703" y="2096"/>
                    <a:pt x="265406" y="-1573"/>
                    <a:pt x="398154" y="843"/>
                  </a:cubicBezTo>
                  <a:cubicBezTo>
                    <a:pt x="423075" y="2006"/>
                    <a:pt x="449562" y="-1036"/>
                    <a:pt x="472872" y="9926"/>
                  </a:cubicBezTo>
                  <a:cubicBezTo>
                    <a:pt x="422315" y="15966"/>
                    <a:pt x="371265" y="8494"/>
                    <a:pt x="320573" y="13058"/>
                  </a:cubicBezTo>
                  <a:cubicBezTo>
                    <a:pt x="213819" y="12118"/>
                    <a:pt x="107066" y="13147"/>
                    <a:pt x="313" y="13013"/>
                  </a:cubicBezTo>
                  <a:cubicBezTo>
                    <a:pt x="224" y="9970"/>
                    <a:pt x="89" y="3886"/>
                    <a:pt x="0" y="888"/>
                  </a:cubicBezTo>
                  <a:close/>
                </a:path>
              </a:pathLst>
            </a:custGeom>
            <a:solidFill>
              <a:srgbClr val="4B65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3" name="Freeform: Shape 312">
              <a:extLst>
                <a:ext uri="{FF2B5EF4-FFF2-40B4-BE49-F238E27FC236}">
                  <a16:creationId xmlns:a16="http://schemas.microsoft.com/office/drawing/2014/main" id="{269D189B-AB0D-F38E-A33C-2C6CEB1A5B5C}"/>
                </a:ext>
              </a:extLst>
            </p:cNvPr>
            <p:cNvSpPr/>
            <p:nvPr/>
          </p:nvSpPr>
          <p:spPr>
            <a:xfrm flipH="1">
              <a:off x="2672120" y="5182531"/>
              <a:ext cx="1134534" cy="33898"/>
            </a:xfrm>
            <a:custGeom>
              <a:avLst/>
              <a:gdLst>
                <a:gd name="connsiteX0" fmla="*/ 0 w 951158"/>
                <a:gd name="connsiteY0" fmla="*/ 1661 h 28419"/>
                <a:gd name="connsiteX1" fmla="*/ 126752 w 951158"/>
                <a:gd name="connsiteY1" fmla="*/ 5419 h 28419"/>
                <a:gd name="connsiteX2" fmla="*/ 169078 w 951158"/>
                <a:gd name="connsiteY2" fmla="*/ 1482 h 28419"/>
                <a:gd name="connsiteX3" fmla="*/ 301692 w 951158"/>
                <a:gd name="connsiteY3" fmla="*/ 1482 h 28419"/>
                <a:gd name="connsiteX4" fmla="*/ 467190 w 951158"/>
                <a:gd name="connsiteY4" fmla="*/ 1706 h 28419"/>
                <a:gd name="connsiteX5" fmla="*/ 787450 w 951158"/>
                <a:gd name="connsiteY5" fmla="*/ 1750 h 28419"/>
                <a:gd name="connsiteX6" fmla="*/ 951158 w 951158"/>
                <a:gd name="connsiteY6" fmla="*/ 7969 h 28419"/>
                <a:gd name="connsiteX7" fmla="*/ 919974 w 951158"/>
                <a:gd name="connsiteY7" fmla="*/ 23405 h 28419"/>
                <a:gd name="connsiteX8" fmla="*/ 784765 w 951158"/>
                <a:gd name="connsiteY8" fmla="*/ 23405 h 28419"/>
                <a:gd name="connsiteX9" fmla="*/ 368401 w 951158"/>
                <a:gd name="connsiteY9" fmla="*/ 23539 h 28419"/>
                <a:gd name="connsiteX10" fmla="*/ 91407 w 951158"/>
                <a:gd name="connsiteY10" fmla="*/ 25732 h 28419"/>
                <a:gd name="connsiteX11" fmla="*/ 42102 w 951158"/>
                <a:gd name="connsiteY11" fmla="*/ 28103 h 28419"/>
                <a:gd name="connsiteX12" fmla="*/ 6174 w 951158"/>
                <a:gd name="connsiteY12" fmla="*/ 16739 h 28419"/>
                <a:gd name="connsiteX13" fmla="*/ 15167 w 951158"/>
                <a:gd name="connsiteY13" fmla="*/ 14099 h 28419"/>
                <a:gd name="connsiteX14" fmla="*/ 0 w 951158"/>
                <a:gd name="connsiteY14" fmla="*/ 1661 h 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158" h="28419">
                  <a:moveTo>
                    <a:pt x="0" y="1661"/>
                  </a:moveTo>
                  <a:cubicBezTo>
                    <a:pt x="42012" y="7433"/>
                    <a:pt x="84472" y="4658"/>
                    <a:pt x="126752" y="5419"/>
                  </a:cubicBezTo>
                  <a:cubicBezTo>
                    <a:pt x="140936" y="5777"/>
                    <a:pt x="155074" y="3853"/>
                    <a:pt x="169078" y="1482"/>
                  </a:cubicBezTo>
                  <a:cubicBezTo>
                    <a:pt x="213238" y="-1918"/>
                    <a:pt x="257487" y="1616"/>
                    <a:pt x="301692" y="1482"/>
                  </a:cubicBezTo>
                  <a:cubicBezTo>
                    <a:pt x="356858" y="2242"/>
                    <a:pt x="412024" y="1124"/>
                    <a:pt x="467190" y="1706"/>
                  </a:cubicBezTo>
                  <a:cubicBezTo>
                    <a:pt x="573943" y="1840"/>
                    <a:pt x="680696" y="811"/>
                    <a:pt x="787450" y="1750"/>
                  </a:cubicBezTo>
                  <a:cubicBezTo>
                    <a:pt x="841810" y="7656"/>
                    <a:pt x="896843" y="1303"/>
                    <a:pt x="951158" y="7969"/>
                  </a:cubicBezTo>
                  <a:cubicBezTo>
                    <a:pt x="942300" y="15799"/>
                    <a:pt x="931428" y="20765"/>
                    <a:pt x="919974" y="23405"/>
                  </a:cubicBezTo>
                  <a:cubicBezTo>
                    <a:pt x="874964" y="25821"/>
                    <a:pt x="829820" y="22958"/>
                    <a:pt x="784765" y="23405"/>
                  </a:cubicBezTo>
                  <a:cubicBezTo>
                    <a:pt x="645977" y="24166"/>
                    <a:pt x="507189" y="22645"/>
                    <a:pt x="368401" y="23539"/>
                  </a:cubicBezTo>
                  <a:cubicBezTo>
                    <a:pt x="276099" y="24658"/>
                    <a:pt x="183664" y="21258"/>
                    <a:pt x="91407" y="25732"/>
                  </a:cubicBezTo>
                  <a:cubicBezTo>
                    <a:pt x="74987" y="27119"/>
                    <a:pt x="58567" y="29222"/>
                    <a:pt x="42102" y="28103"/>
                  </a:cubicBezTo>
                  <a:cubicBezTo>
                    <a:pt x="31229" y="21481"/>
                    <a:pt x="19060" y="16873"/>
                    <a:pt x="6174" y="16739"/>
                  </a:cubicBezTo>
                  <a:cubicBezTo>
                    <a:pt x="8411" y="16068"/>
                    <a:pt x="12930" y="14770"/>
                    <a:pt x="15167" y="14099"/>
                  </a:cubicBezTo>
                  <a:cubicBezTo>
                    <a:pt x="10067" y="9938"/>
                    <a:pt x="4966" y="5867"/>
                    <a:pt x="0" y="1661"/>
                  </a:cubicBezTo>
                  <a:close/>
                </a:path>
              </a:pathLst>
            </a:custGeom>
            <a:solidFill>
              <a:srgbClr val="6998C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4" name="Freeform: Shape 313">
              <a:extLst>
                <a:ext uri="{FF2B5EF4-FFF2-40B4-BE49-F238E27FC236}">
                  <a16:creationId xmlns:a16="http://schemas.microsoft.com/office/drawing/2014/main" id="{10D3DD99-BECB-3838-D0DE-63A1B12E1CB2}"/>
                </a:ext>
              </a:extLst>
            </p:cNvPr>
            <p:cNvSpPr/>
            <p:nvPr/>
          </p:nvSpPr>
          <p:spPr>
            <a:xfrm flipH="1">
              <a:off x="4151674" y="5428917"/>
              <a:ext cx="571616" cy="88071"/>
            </a:xfrm>
            <a:custGeom>
              <a:avLst/>
              <a:gdLst>
                <a:gd name="connsiteX0" fmla="*/ 95299 w 479225"/>
                <a:gd name="connsiteY0" fmla="*/ 1400 h 73836"/>
                <a:gd name="connsiteX1" fmla="*/ 445535 w 479225"/>
                <a:gd name="connsiteY1" fmla="*/ 58 h 73836"/>
                <a:gd name="connsiteX2" fmla="*/ 479226 w 479225"/>
                <a:gd name="connsiteY2" fmla="*/ 103 h 73836"/>
                <a:gd name="connsiteX3" fmla="*/ 444462 w 479225"/>
                <a:gd name="connsiteY3" fmla="*/ 69363 h 73836"/>
                <a:gd name="connsiteX4" fmla="*/ 188675 w 479225"/>
                <a:gd name="connsiteY4" fmla="*/ 69631 h 73836"/>
                <a:gd name="connsiteX5" fmla="*/ 149973 w 479225"/>
                <a:gd name="connsiteY5" fmla="*/ 69765 h 73836"/>
                <a:gd name="connsiteX6" fmla="*/ 100802 w 479225"/>
                <a:gd name="connsiteY6" fmla="*/ 66589 h 73836"/>
                <a:gd name="connsiteX7" fmla="*/ 95836 w 479225"/>
                <a:gd name="connsiteY7" fmla="*/ 73837 h 73836"/>
                <a:gd name="connsiteX8" fmla="*/ 95523 w 479225"/>
                <a:gd name="connsiteY8" fmla="*/ 70257 h 73836"/>
                <a:gd name="connsiteX9" fmla="*/ 47560 w 479225"/>
                <a:gd name="connsiteY9" fmla="*/ 68826 h 73836"/>
                <a:gd name="connsiteX10" fmla="*/ 1298 w 479225"/>
                <a:gd name="connsiteY10" fmla="*/ 68602 h 73836"/>
                <a:gd name="connsiteX11" fmla="*/ 0 w 479225"/>
                <a:gd name="connsiteY11" fmla="*/ 1490 h 73836"/>
                <a:gd name="connsiteX12" fmla="*/ 95299 w 479225"/>
                <a:gd name="connsiteY12" fmla="*/ 1400 h 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9225" h="73836">
                  <a:moveTo>
                    <a:pt x="95299" y="1400"/>
                  </a:moveTo>
                  <a:cubicBezTo>
                    <a:pt x="212030" y="685"/>
                    <a:pt x="328850" y="1624"/>
                    <a:pt x="445535" y="58"/>
                  </a:cubicBezTo>
                  <a:cubicBezTo>
                    <a:pt x="456766" y="-76"/>
                    <a:pt x="467996" y="58"/>
                    <a:pt x="479226" y="103"/>
                  </a:cubicBezTo>
                  <a:cubicBezTo>
                    <a:pt x="467056" y="22876"/>
                    <a:pt x="456631" y="46544"/>
                    <a:pt x="444462" y="69363"/>
                  </a:cubicBezTo>
                  <a:cubicBezTo>
                    <a:pt x="359184" y="69184"/>
                    <a:pt x="273907" y="68915"/>
                    <a:pt x="188675" y="69631"/>
                  </a:cubicBezTo>
                  <a:cubicBezTo>
                    <a:pt x="175789" y="69631"/>
                    <a:pt x="162859" y="69810"/>
                    <a:pt x="149973" y="69765"/>
                  </a:cubicBezTo>
                  <a:cubicBezTo>
                    <a:pt x="133553" y="69363"/>
                    <a:pt x="117088" y="68781"/>
                    <a:pt x="100802" y="66589"/>
                  </a:cubicBezTo>
                  <a:cubicBezTo>
                    <a:pt x="99192" y="68960"/>
                    <a:pt x="97536" y="71376"/>
                    <a:pt x="95836" y="73837"/>
                  </a:cubicBezTo>
                  <a:cubicBezTo>
                    <a:pt x="95747" y="72942"/>
                    <a:pt x="95613" y="71152"/>
                    <a:pt x="95523" y="70257"/>
                  </a:cubicBezTo>
                  <a:cubicBezTo>
                    <a:pt x="79640" y="67528"/>
                    <a:pt x="63533" y="68692"/>
                    <a:pt x="47560" y="68826"/>
                  </a:cubicBezTo>
                  <a:cubicBezTo>
                    <a:pt x="32124" y="68557"/>
                    <a:pt x="16733" y="68334"/>
                    <a:pt x="1298" y="68602"/>
                  </a:cubicBezTo>
                  <a:cubicBezTo>
                    <a:pt x="671" y="46231"/>
                    <a:pt x="134" y="23861"/>
                    <a:pt x="0" y="1490"/>
                  </a:cubicBezTo>
                  <a:cubicBezTo>
                    <a:pt x="31766" y="1400"/>
                    <a:pt x="63533" y="1221"/>
                    <a:pt x="95299" y="1400"/>
                  </a:cubicBezTo>
                  <a:close/>
                </a:path>
              </a:pathLst>
            </a:custGeom>
            <a:solidFill>
              <a:srgbClr val="F4F5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5" name="Freeform: Shape 314">
              <a:extLst>
                <a:ext uri="{FF2B5EF4-FFF2-40B4-BE49-F238E27FC236}">
                  <a16:creationId xmlns:a16="http://schemas.microsoft.com/office/drawing/2014/main" id="{FE4A10D4-4FF1-2173-6C91-8E5B38EA612C}"/>
                </a:ext>
              </a:extLst>
            </p:cNvPr>
            <p:cNvSpPr/>
            <p:nvPr/>
          </p:nvSpPr>
          <p:spPr>
            <a:xfrm flipH="1">
              <a:off x="1477182" y="5432829"/>
              <a:ext cx="1030728" cy="81978"/>
            </a:xfrm>
            <a:custGeom>
              <a:avLst/>
              <a:gdLst>
                <a:gd name="connsiteX0" fmla="*/ 0 w 864131"/>
                <a:gd name="connsiteY0" fmla="*/ 1432 h 68728"/>
                <a:gd name="connsiteX1" fmla="*/ 174626 w 864131"/>
                <a:gd name="connsiteY1" fmla="*/ 1119 h 68728"/>
                <a:gd name="connsiteX2" fmla="*/ 299365 w 864131"/>
                <a:gd name="connsiteY2" fmla="*/ 134 h 68728"/>
                <a:gd name="connsiteX3" fmla="*/ 359811 w 864131"/>
                <a:gd name="connsiteY3" fmla="*/ 447 h 68728"/>
                <a:gd name="connsiteX4" fmla="*/ 725617 w 864131"/>
                <a:gd name="connsiteY4" fmla="*/ 0 h 68728"/>
                <a:gd name="connsiteX5" fmla="*/ 863779 w 864131"/>
                <a:gd name="connsiteY5" fmla="*/ 1924 h 68728"/>
                <a:gd name="connsiteX6" fmla="*/ 863779 w 864131"/>
                <a:gd name="connsiteY6" fmla="*/ 66889 h 68728"/>
                <a:gd name="connsiteX7" fmla="*/ 831654 w 864131"/>
                <a:gd name="connsiteY7" fmla="*/ 68276 h 68728"/>
                <a:gd name="connsiteX8" fmla="*/ 783065 w 864131"/>
                <a:gd name="connsiteY8" fmla="*/ 67828 h 68728"/>
                <a:gd name="connsiteX9" fmla="*/ 711926 w 864131"/>
                <a:gd name="connsiteY9" fmla="*/ 67738 h 68728"/>
                <a:gd name="connsiteX10" fmla="*/ 663471 w 864131"/>
                <a:gd name="connsiteY10" fmla="*/ 68186 h 68728"/>
                <a:gd name="connsiteX11" fmla="*/ 443120 w 864131"/>
                <a:gd name="connsiteY11" fmla="*/ 68544 h 68728"/>
                <a:gd name="connsiteX12" fmla="*/ 291401 w 864131"/>
                <a:gd name="connsiteY12" fmla="*/ 68096 h 68728"/>
                <a:gd name="connsiteX13" fmla="*/ 210464 w 864131"/>
                <a:gd name="connsiteY13" fmla="*/ 67962 h 68728"/>
                <a:gd name="connsiteX14" fmla="*/ 99908 w 864131"/>
                <a:gd name="connsiteY14" fmla="*/ 66933 h 68728"/>
                <a:gd name="connsiteX15" fmla="*/ 17002 w 864131"/>
                <a:gd name="connsiteY15" fmla="*/ 66754 h 68728"/>
                <a:gd name="connsiteX16" fmla="*/ 0 w 864131"/>
                <a:gd name="connsiteY16" fmla="*/ 1432 h 6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131" h="68728">
                  <a:moveTo>
                    <a:pt x="0" y="1432"/>
                  </a:moveTo>
                  <a:cubicBezTo>
                    <a:pt x="58209" y="1074"/>
                    <a:pt x="116417" y="1521"/>
                    <a:pt x="174626" y="1119"/>
                  </a:cubicBezTo>
                  <a:cubicBezTo>
                    <a:pt x="216191" y="1074"/>
                    <a:pt x="257800" y="1655"/>
                    <a:pt x="299365" y="134"/>
                  </a:cubicBezTo>
                  <a:cubicBezTo>
                    <a:pt x="319499" y="45"/>
                    <a:pt x="339677" y="179"/>
                    <a:pt x="359811" y="447"/>
                  </a:cubicBezTo>
                  <a:cubicBezTo>
                    <a:pt x="481731" y="1119"/>
                    <a:pt x="603696" y="1566"/>
                    <a:pt x="725617" y="0"/>
                  </a:cubicBezTo>
                  <a:cubicBezTo>
                    <a:pt x="771566" y="3266"/>
                    <a:pt x="817695" y="1163"/>
                    <a:pt x="863779" y="1924"/>
                  </a:cubicBezTo>
                  <a:cubicBezTo>
                    <a:pt x="864271" y="23534"/>
                    <a:pt x="864226" y="45234"/>
                    <a:pt x="863779" y="66889"/>
                  </a:cubicBezTo>
                  <a:cubicBezTo>
                    <a:pt x="853085" y="67470"/>
                    <a:pt x="842347" y="68096"/>
                    <a:pt x="831654" y="68276"/>
                  </a:cubicBezTo>
                  <a:cubicBezTo>
                    <a:pt x="815458" y="68052"/>
                    <a:pt x="799261" y="67246"/>
                    <a:pt x="783065" y="67828"/>
                  </a:cubicBezTo>
                  <a:cubicBezTo>
                    <a:pt x="759352" y="68902"/>
                    <a:pt x="735594" y="68812"/>
                    <a:pt x="711926" y="67738"/>
                  </a:cubicBezTo>
                  <a:cubicBezTo>
                    <a:pt x="695774" y="67246"/>
                    <a:pt x="679578" y="67381"/>
                    <a:pt x="663471" y="68186"/>
                  </a:cubicBezTo>
                  <a:cubicBezTo>
                    <a:pt x="590006" y="69349"/>
                    <a:pt x="516540" y="68231"/>
                    <a:pt x="443120" y="68544"/>
                  </a:cubicBezTo>
                  <a:cubicBezTo>
                    <a:pt x="392517" y="69036"/>
                    <a:pt x="341959" y="66038"/>
                    <a:pt x="291401" y="68096"/>
                  </a:cubicBezTo>
                  <a:cubicBezTo>
                    <a:pt x="264422" y="66933"/>
                    <a:pt x="237443" y="67201"/>
                    <a:pt x="210464" y="67962"/>
                  </a:cubicBezTo>
                  <a:cubicBezTo>
                    <a:pt x="173642" y="66531"/>
                    <a:pt x="136730" y="66531"/>
                    <a:pt x="99908" y="66933"/>
                  </a:cubicBezTo>
                  <a:cubicBezTo>
                    <a:pt x="72258" y="67023"/>
                    <a:pt x="44607" y="66486"/>
                    <a:pt x="17002" y="66754"/>
                  </a:cubicBezTo>
                  <a:cubicBezTo>
                    <a:pt x="12214" y="44741"/>
                    <a:pt x="6666" y="22908"/>
                    <a:pt x="0" y="1432"/>
                  </a:cubicBezTo>
                  <a:close/>
                </a:path>
              </a:pathLst>
            </a:custGeom>
            <a:solidFill>
              <a:srgbClr val="F5F5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6" name="Oval 315">
              <a:extLst>
                <a:ext uri="{FF2B5EF4-FFF2-40B4-BE49-F238E27FC236}">
                  <a16:creationId xmlns:a16="http://schemas.microsoft.com/office/drawing/2014/main" id="{59606581-26F0-7D3F-BAA2-2DDED45D373F}"/>
                </a:ext>
              </a:extLst>
            </p:cNvPr>
            <p:cNvSpPr/>
            <p:nvPr/>
          </p:nvSpPr>
          <p:spPr>
            <a:xfrm flipH="1">
              <a:off x="4462642"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7" name="Group 316">
              <a:extLst>
                <a:ext uri="{FF2B5EF4-FFF2-40B4-BE49-F238E27FC236}">
                  <a16:creationId xmlns:a16="http://schemas.microsoft.com/office/drawing/2014/main" id="{467BB6F3-66F6-1546-8B2D-7B5B97B84E03}"/>
                </a:ext>
              </a:extLst>
            </p:cNvPr>
            <p:cNvGrpSpPr/>
            <p:nvPr/>
          </p:nvGrpSpPr>
          <p:grpSpPr>
            <a:xfrm>
              <a:off x="575376" y="5590956"/>
              <a:ext cx="690037" cy="145212"/>
              <a:chOff x="604648" y="5900596"/>
              <a:chExt cx="747501" cy="157305"/>
            </a:xfrm>
          </p:grpSpPr>
          <p:sp>
            <p:nvSpPr>
              <p:cNvPr id="375" name="Freeform: Shape 374">
                <a:extLst>
                  <a:ext uri="{FF2B5EF4-FFF2-40B4-BE49-F238E27FC236}">
                    <a16:creationId xmlns:a16="http://schemas.microsoft.com/office/drawing/2014/main" id="{36E5BFD6-FD24-2FBB-9FCF-6B3CBCAF67CC}"/>
                  </a:ext>
                </a:extLst>
              </p:cNvPr>
              <p:cNvSpPr/>
              <p:nvPr/>
            </p:nvSpPr>
            <p:spPr>
              <a:xfrm flipH="1">
                <a:off x="1031355" y="5900596"/>
                <a:ext cx="216213" cy="93380"/>
              </a:xfrm>
              <a:custGeom>
                <a:avLst/>
                <a:gdLst>
                  <a:gd name="connsiteX0" fmla="*/ 84874 w 167332"/>
                  <a:gd name="connsiteY0" fmla="*/ 0 h 72269"/>
                  <a:gd name="connsiteX1" fmla="*/ 112659 w 167332"/>
                  <a:gd name="connsiteY1" fmla="*/ 582 h 72269"/>
                  <a:gd name="connsiteX2" fmla="*/ 163843 w 167332"/>
                  <a:gd name="connsiteY2" fmla="*/ 3758 h 72269"/>
                  <a:gd name="connsiteX3" fmla="*/ 167333 w 167332"/>
                  <a:gd name="connsiteY3" fmla="*/ 56687 h 72269"/>
                  <a:gd name="connsiteX4" fmla="*/ 112525 w 167332"/>
                  <a:gd name="connsiteY4" fmla="*/ 72213 h 72269"/>
                  <a:gd name="connsiteX5" fmla="*/ 0 w 167332"/>
                  <a:gd name="connsiteY5" fmla="*/ 65412 h 72269"/>
                  <a:gd name="connsiteX6" fmla="*/ 10335 w 167332"/>
                  <a:gd name="connsiteY6" fmla="*/ 58119 h 72269"/>
                  <a:gd name="connsiteX7" fmla="*/ 73779 w 167332"/>
                  <a:gd name="connsiteY7" fmla="*/ 35704 h 72269"/>
                  <a:gd name="connsiteX8" fmla="*/ 84874 w 167332"/>
                  <a:gd name="connsiteY8" fmla="*/ 0 h 7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32" h="72269">
                    <a:moveTo>
                      <a:pt x="84874" y="0"/>
                    </a:moveTo>
                    <a:cubicBezTo>
                      <a:pt x="94091" y="89"/>
                      <a:pt x="103353" y="224"/>
                      <a:pt x="112659" y="582"/>
                    </a:cubicBezTo>
                    <a:cubicBezTo>
                      <a:pt x="129705" y="1253"/>
                      <a:pt x="146707" y="3221"/>
                      <a:pt x="163843" y="3758"/>
                    </a:cubicBezTo>
                    <a:cubicBezTo>
                      <a:pt x="163709" y="21431"/>
                      <a:pt x="164783" y="39149"/>
                      <a:pt x="167333" y="56687"/>
                    </a:cubicBezTo>
                    <a:cubicBezTo>
                      <a:pt x="149839" y="64204"/>
                      <a:pt x="132077" y="73063"/>
                      <a:pt x="112525" y="72213"/>
                    </a:cubicBezTo>
                    <a:cubicBezTo>
                      <a:pt x="74942" y="71005"/>
                      <a:pt x="36822" y="74942"/>
                      <a:pt x="0" y="65412"/>
                    </a:cubicBezTo>
                    <a:cubicBezTo>
                      <a:pt x="2595" y="63577"/>
                      <a:pt x="7740" y="59909"/>
                      <a:pt x="10335" y="58119"/>
                    </a:cubicBezTo>
                    <a:cubicBezTo>
                      <a:pt x="32616" y="56106"/>
                      <a:pt x="56866" y="51542"/>
                      <a:pt x="73779" y="35704"/>
                    </a:cubicBezTo>
                    <a:cubicBezTo>
                      <a:pt x="83666" y="26487"/>
                      <a:pt x="83711" y="12393"/>
                      <a:pt x="84874" y="0"/>
                    </a:cubicBezTo>
                    <a:close/>
                  </a:path>
                </a:pathLst>
              </a:custGeom>
              <a:solidFill>
                <a:srgbClr val="F394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6" name="Freeform: Shape 375">
                <a:extLst>
                  <a:ext uri="{FF2B5EF4-FFF2-40B4-BE49-F238E27FC236}">
                    <a16:creationId xmlns:a16="http://schemas.microsoft.com/office/drawing/2014/main" id="{AEA1C989-35ED-1C07-866C-F59F91C0E059}"/>
                  </a:ext>
                </a:extLst>
              </p:cNvPr>
              <p:cNvSpPr/>
              <p:nvPr/>
            </p:nvSpPr>
            <p:spPr>
              <a:xfrm flipH="1">
                <a:off x="618059" y="5902677"/>
                <a:ext cx="241710" cy="91734"/>
              </a:xfrm>
              <a:custGeom>
                <a:avLst/>
                <a:gdLst>
                  <a:gd name="connsiteX0" fmla="*/ 94628 w 187064"/>
                  <a:gd name="connsiteY0" fmla="*/ 32706 h 70995"/>
                  <a:gd name="connsiteX1" fmla="*/ 102771 w 187064"/>
                  <a:gd name="connsiteY1" fmla="*/ 0 h 70995"/>
                  <a:gd name="connsiteX2" fmla="*/ 180264 w 187064"/>
                  <a:gd name="connsiteY2" fmla="*/ 1342 h 70995"/>
                  <a:gd name="connsiteX3" fmla="*/ 187064 w 187064"/>
                  <a:gd name="connsiteY3" fmla="*/ 58343 h 70995"/>
                  <a:gd name="connsiteX4" fmla="*/ 67112 w 187064"/>
                  <a:gd name="connsiteY4" fmla="*/ 70155 h 70995"/>
                  <a:gd name="connsiteX5" fmla="*/ 0 w 187064"/>
                  <a:gd name="connsiteY5" fmla="*/ 67336 h 70995"/>
                  <a:gd name="connsiteX6" fmla="*/ 40133 w 187064"/>
                  <a:gd name="connsiteY6" fmla="*/ 57001 h 70995"/>
                  <a:gd name="connsiteX7" fmla="*/ 94628 w 187064"/>
                  <a:gd name="connsiteY7" fmla="*/ 32706 h 7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064" h="70995">
                    <a:moveTo>
                      <a:pt x="94628" y="32706"/>
                    </a:moveTo>
                    <a:cubicBezTo>
                      <a:pt x="102861" y="23937"/>
                      <a:pt x="101071" y="11006"/>
                      <a:pt x="102771" y="0"/>
                    </a:cubicBezTo>
                    <a:cubicBezTo>
                      <a:pt x="128498" y="2819"/>
                      <a:pt x="154448" y="1969"/>
                      <a:pt x="180264" y="1342"/>
                    </a:cubicBezTo>
                    <a:cubicBezTo>
                      <a:pt x="180845" y="20492"/>
                      <a:pt x="183082" y="39596"/>
                      <a:pt x="187064" y="58343"/>
                    </a:cubicBezTo>
                    <a:cubicBezTo>
                      <a:pt x="149615" y="76731"/>
                      <a:pt x="107245" y="69439"/>
                      <a:pt x="67112" y="70155"/>
                    </a:cubicBezTo>
                    <a:cubicBezTo>
                      <a:pt x="44607" y="70602"/>
                      <a:pt x="22371" y="60759"/>
                      <a:pt x="0" y="67336"/>
                    </a:cubicBezTo>
                    <a:cubicBezTo>
                      <a:pt x="13557" y="64786"/>
                      <a:pt x="27024" y="61475"/>
                      <a:pt x="40133" y="57001"/>
                    </a:cubicBezTo>
                    <a:cubicBezTo>
                      <a:pt x="59327" y="52079"/>
                      <a:pt x="80624" y="48007"/>
                      <a:pt x="94628" y="32706"/>
                    </a:cubicBezTo>
                    <a:close/>
                  </a:path>
                </a:pathLst>
              </a:custGeom>
              <a:solidFill>
                <a:srgbClr val="F695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7" name="Freeform: Shape 376">
                <a:extLst>
                  <a:ext uri="{FF2B5EF4-FFF2-40B4-BE49-F238E27FC236}">
                    <a16:creationId xmlns:a16="http://schemas.microsoft.com/office/drawing/2014/main" id="{7485D179-51F3-DE10-0ED5-CCCB2374168A}"/>
                  </a:ext>
                </a:extLst>
              </p:cNvPr>
              <p:cNvSpPr/>
              <p:nvPr/>
            </p:nvSpPr>
            <p:spPr>
              <a:xfrm flipH="1">
                <a:off x="1021787" y="5972861"/>
                <a:ext cx="326663" cy="51131"/>
              </a:xfrm>
              <a:custGeom>
                <a:avLst/>
                <a:gdLst>
                  <a:gd name="connsiteX0" fmla="*/ 190598 w 252811"/>
                  <a:gd name="connsiteY0" fmla="*/ 16286 h 39571"/>
                  <a:gd name="connsiteX1" fmla="*/ 245407 w 252811"/>
                  <a:gd name="connsiteY1" fmla="*/ 761 h 39571"/>
                  <a:gd name="connsiteX2" fmla="*/ 247644 w 252811"/>
                  <a:gd name="connsiteY2" fmla="*/ 0 h 39571"/>
                  <a:gd name="connsiteX3" fmla="*/ 252700 w 252811"/>
                  <a:gd name="connsiteY3" fmla="*/ 38970 h 39571"/>
                  <a:gd name="connsiteX4" fmla="*/ 0 w 252811"/>
                  <a:gd name="connsiteY4" fmla="*/ 38522 h 39571"/>
                  <a:gd name="connsiteX5" fmla="*/ 78074 w 252811"/>
                  <a:gd name="connsiteY5" fmla="*/ 9485 h 39571"/>
                  <a:gd name="connsiteX6" fmla="*/ 190598 w 252811"/>
                  <a:gd name="connsiteY6" fmla="*/ 16286 h 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11" h="39571">
                    <a:moveTo>
                      <a:pt x="190598" y="16286"/>
                    </a:moveTo>
                    <a:cubicBezTo>
                      <a:pt x="210150" y="17136"/>
                      <a:pt x="227913" y="8277"/>
                      <a:pt x="245407" y="761"/>
                    </a:cubicBezTo>
                    <a:lnTo>
                      <a:pt x="247644" y="0"/>
                    </a:lnTo>
                    <a:cubicBezTo>
                      <a:pt x="251268" y="12617"/>
                      <a:pt x="253326" y="25726"/>
                      <a:pt x="252700" y="38970"/>
                    </a:cubicBezTo>
                    <a:cubicBezTo>
                      <a:pt x="168451" y="39238"/>
                      <a:pt x="84203" y="40401"/>
                      <a:pt x="0" y="38522"/>
                    </a:cubicBezTo>
                    <a:cubicBezTo>
                      <a:pt x="19104" y="16286"/>
                      <a:pt x="50961" y="13915"/>
                      <a:pt x="78074" y="9485"/>
                    </a:cubicBezTo>
                    <a:cubicBezTo>
                      <a:pt x="114896" y="19015"/>
                      <a:pt x="153016" y="15078"/>
                      <a:pt x="190598" y="16286"/>
                    </a:cubicBezTo>
                    <a:close/>
                  </a:path>
                </a:pathLst>
              </a:custGeom>
              <a:solidFill>
                <a:srgbClr val="2B39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8" name="Freeform: Shape 377">
                <a:extLst>
                  <a:ext uri="{FF2B5EF4-FFF2-40B4-BE49-F238E27FC236}">
                    <a16:creationId xmlns:a16="http://schemas.microsoft.com/office/drawing/2014/main" id="{41FA75DA-9039-A4CC-D1FD-2DBC58FF54C5}"/>
                  </a:ext>
                </a:extLst>
              </p:cNvPr>
              <p:cNvSpPr/>
              <p:nvPr/>
            </p:nvSpPr>
            <p:spPr>
              <a:xfrm flipH="1">
                <a:off x="606265" y="5975172"/>
                <a:ext cx="321316" cy="49046"/>
              </a:xfrm>
              <a:custGeom>
                <a:avLst/>
                <a:gdLst>
                  <a:gd name="connsiteX0" fmla="*/ 119594 w 248673"/>
                  <a:gd name="connsiteY0" fmla="*/ 14049 h 37958"/>
                  <a:gd name="connsiteX1" fmla="*/ 239546 w 248673"/>
                  <a:gd name="connsiteY1" fmla="*/ 2237 h 37958"/>
                  <a:gd name="connsiteX2" fmla="*/ 246033 w 248673"/>
                  <a:gd name="connsiteY2" fmla="*/ 0 h 37958"/>
                  <a:gd name="connsiteX3" fmla="*/ 248673 w 248673"/>
                  <a:gd name="connsiteY3" fmla="*/ 36822 h 37958"/>
                  <a:gd name="connsiteX4" fmla="*/ 0 w 248673"/>
                  <a:gd name="connsiteY4" fmla="*/ 37538 h 37958"/>
                  <a:gd name="connsiteX5" fmla="*/ 5772 w 248673"/>
                  <a:gd name="connsiteY5" fmla="*/ 27919 h 37958"/>
                  <a:gd name="connsiteX6" fmla="*/ 52482 w 248673"/>
                  <a:gd name="connsiteY6" fmla="*/ 11230 h 37958"/>
                  <a:gd name="connsiteX7" fmla="*/ 119594 w 248673"/>
                  <a:gd name="connsiteY7" fmla="*/ 14049 h 3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673" h="37958">
                    <a:moveTo>
                      <a:pt x="119594" y="14049"/>
                    </a:moveTo>
                    <a:cubicBezTo>
                      <a:pt x="159727" y="13333"/>
                      <a:pt x="202097" y="20626"/>
                      <a:pt x="239546" y="2237"/>
                    </a:cubicBezTo>
                    <a:lnTo>
                      <a:pt x="246033" y="0"/>
                    </a:lnTo>
                    <a:cubicBezTo>
                      <a:pt x="247778" y="12170"/>
                      <a:pt x="248226" y="24474"/>
                      <a:pt x="248673" y="36822"/>
                    </a:cubicBezTo>
                    <a:cubicBezTo>
                      <a:pt x="165767" y="38925"/>
                      <a:pt x="82861" y="37449"/>
                      <a:pt x="0" y="37538"/>
                    </a:cubicBezTo>
                    <a:cubicBezTo>
                      <a:pt x="1387" y="34093"/>
                      <a:pt x="1924" y="29574"/>
                      <a:pt x="5772" y="27919"/>
                    </a:cubicBezTo>
                    <a:cubicBezTo>
                      <a:pt x="19999" y="19239"/>
                      <a:pt x="36330" y="14765"/>
                      <a:pt x="52482" y="11230"/>
                    </a:cubicBezTo>
                    <a:cubicBezTo>
                      <a:pt x="74852" y="4653"/>
                      <a:pt x="97089" y="14496"/>
                      <a:pt x="119594" y="14049"/>
                    </a:cubicBezTo>
                    <a:close/>
                  </a:path>
                </a:pathLst>
              </a:custGeom>
              <a:solidFill>
                <a:srgbClr val="293C7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9" name="Freeform: Shape 378">
                <a:extLst>
                  <a:ext uri="{FF2B5EF4-FFF2-40B4-BE49-F238E27FC236}">
                    <a16:creationId xmlns:a16="http://schemas.microsoft.com/office/drawing/2014/main" id="{2EEB9C96-63C5-E4A0-2A87-8C5EA3A56278}"/>
                  </a:ext>
                </a:extLst>
              </p:cNvPr>
              <p:cNvSpPr/>
              <p:nvPr/>
            </p:nvSpPr>
            <p:spPr>
              <a:xfrm flipH="1">
                <a:off x="1021930" y="6022637"/>
                <a:ext cx="330219" cy="35264"/>
              </a:xfrm>
              <a:custGeom>
                <a:avLst/>
                <a:gdLst>
                  <a:gd name="connsiteX0" fmla="*/ 0 w 255563"/>
                  <a:gd name="connsiteY0" fmla="*/ 25860 h 27292"/>
                  <a:gd name="connsiteX1" fmla="*/ 2864 w 255563"/>
                  <a:gd name="connsiteY1" fmla="*/ 0 h 27292"/>
                  <a:gd name="connsiteX2" fmla="*/ 255563 w 255563"/>
                  <a:gd name="connsiteY2" fmla="*/ 447 h 27292"/>
                  <a:gd name="connsiteX3" fmla="*/ 243886 w 255563"/>
                  <a:gd name="connsiteY3" fmla="*/ 27292 h 27292"/>
                  <a:gd name="connsiteX4" fmla="*/ 0 w 255563"/>
                  <a:gd name="connsiteY4" fmla="*/ 25860 h 27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63" h="27292">
                    <a:moveTo>
                      <a:pt x="0" y="25860"/>
                    </a:moveTo>
                    <a:cubicBezTo>
                      <a:pt x="850" y="17181"/>
                      <a:pt x="1655" y="8545"/>
                      <a:pt x="2864" y="0"/>
                    </a:cubicBezTo>
                    <a:cubicBezTo>
                      <a:pt x="87067" y="1879"/>
                      <a:pt x="171315" y="716"/>
                      <a:pt x="255563" y="447"/>
                    </a:cubicBezTo>
                    <a:cubicBezTo>
                      <a:pt x="252342" y="9664"/>
                      <a:pt x="248360" y="18612"/>
                      <a:pt x="243886" y="27292"/>
                    </a:cubicBezTo>
                    <a:cubicBezTo>
                      <a:pt x="162591" y="26800"/>
                      <a:pt x="81250" y="27382"/>
                      <a:pt x="0" y="25860"/>
                    </a:cubicBezTo>
                    <a:close/>
                  </a:path>
                </a:pathLst>
              </a:custGeom>
              <a:solidFill>
                <a:srgbClr val="AFBED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0" name="Freeform: Shape 379">
                <a:extLst>
                  <a:ext uri="{FF2B5EF4-FFF2-40B4-BE49-F238E27FC236}">
                    <a16:creationId xmlns:a16="http://schemas.microsoft.com/office/drawing/2014/main" id="{D6C6C94D-5AE8-BDD6-2D7D-C32F38FFE6C3}"/>
                  </a:ext>
                </a:extLst>
              </p:cNvPr>
              <p:cNvSpPr/>
              <p:nvPr/>
            </p:nvSpPr>
            <p:spPr>
              <a:xfrm flipH="1">
                <a:off x="604648" y="6022751"/>
                <a:ext cx="322934" cy="35079"/>
              </a:xfrm>
              <a:custGeom>
                <a:avLst/>
                <a:gdLst>
                  <a:gd name="connsiteX0" fmla="*/ 0 w 249925"/>
                  <a:gd name="connsiteY0" fmla="*/ 716 h 27149"/>
                  <a:gd name="connsiteX1" fmla="*/ 248673 w 249925"/>
                  <a:gd name="connsiteY1" fmla="*/ 0 h 27149"/>
                  <a:gd name="connsiteX2" fmla="*/ 249747 w 249925"/>
                  <a:gd name="connsiteY2" fmla="*/ 20223 h 27149"/>
                  <a:gd name="connsiteX3" fmla="*/ 249926 w 249925"/>
                  <a:gd name="connsiteY3" fmla="*/ 26711 h 27149"/>
                  <a:gd name="connsiteX4" fmla="*/ 3132 w 249925"/>
                  <a:gd name="connsiteY4" fmla="*/ 26979 h 27149"/>
                  <a:gd name="connsiteX5" fmla="*/ 0 w 249925"/>
                  <a:gd name="connsiteY5" fmla="*/ 716 h 2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25" h="27149">
                    <a:moveTo>
                      <a:pt x="0" y="716"/>
                    </a:moveTo>
                    <a:cubicBezTo>
                      <a:pt x="82861" y="626"/>
                      <a:pt x="165767" y="2103"/>
                      <a:pt x="248673" y="0"/>
                    </a:cubicBezTo>
                    <a:cubicBezTo>
                      <a:pt x="248942" y="6711"/>
                      <a:pt x="249389" y="13422"/>
                      <a:pt x="249747" y="20223"/>
                    </a:cubicBezTo>
                    <a:lnTo>
                      <a:pt x="249926" y="26711"/>
                    </a:lnTo>
                    <a:cubicBezTo>
                      <a:pt x="167691" y="27158"/>
                      <a:pt x="85412" y="27292"/>
                      <a:pt x="3132" y="26979"/>
                    </a:cubicBezTo>
                    <a:cubicBezTo>
                      <a:pt x="2058" y="18165"/>
                      <a:pt x="940" y="9440"/>
                      <a:pt x="0" y="716"/>
                    </a:cubicBezTo>
                    <a:close/>
                  </a:path>
                </a:pathLst>
              </a:custGeom>
              <a:solidFill>
                <a:srgbClr val="B3C0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18" name="Freeform: Shape 317">
              <a:extLst>
                <a:ext uri="{FF2B5EF4-FFF2-40B4-BE49-F238E27FC236}">
                  <a16:creationId xmlns:a16="http://schemas.microsoft.com/office/drawing/2014/main" id="{29501265-5769-8788-4BE9-611C17E0E40A}"/>
                </a:ext>
              </a:extLst>
            </p:cNvPr>
            <p:cNvSpPr/>
            <p:nvPr/>
          </p:nvSpPr>
          <p:spPr>
            <a:xfrm flipH="1">
              <a:off x="3229737" y="4397985"/>
              <a:ext cx="1393094" cy="537140"/>
            </a:xfrm>
            <a:custGeom>
              <a:avLst/>
              <a:gdLst>
                <a:gd name="connsiteX0" fmla="*/ 48675 w 1167927"/>
                <a:gd name="connsiteY0" fmla="*/ 3042 h 450322"/>
                <a:gd name="connsiteX1" fmla="*/ 52344 w 1167927"/>
                <a:gd name="connsiteY1" fmla="*/ 0 h 450322"/>
                <a:gd name="connsiteX2" fmla="*/ 51181 w 1167927"/>
                <a:gd name="connsiteY2" fmla="*/ 11230 h 450322"/>
                <a:gd name="connsiteX3" fmla="*/ 83976 w 1167927"/>
                <a:gd name="connsiteY3" fmla="*/ 23579 h 450322"/>
                <a:gd name="connsiteX4" fmla="*/ 67556 w 1167927"/>
                <a:gd name="connsiteY4" fmla="*/ 38836 h 450322"/>
                <a:gd name="connsiteX5" fmla="*/ 42546 w 1167927"/>
                <a:gd name="connsiteY5" fmla="*/ 98700 h 450322"/>
                <a:gd name="connsiteX6" fmla="*/ 40174 w 1167927"/>
                <a:gd name="connsiteY6" fmla="*/ 197176 h 450322"/>
                <a:gd name="connsiteX7" fmla="*/ 153594 w 1167927"/>
                <a:gd name="connsiteY7" fmla="*/ 196549 h 450322"/>
                <a:gd name="connsiteX8" fmla="*/ 608480 w 1167927"/>
                <a:gd name="connsiteY8" fmla="*/ 197355 h 450322"/>
                <a:gd name="connsiteX9" fmla="*/ 643960 w 1167927"/>
                <a:gd name="connsiteY9" fmla="*/ 197265 h 450322"/>
                <a:gd name="connsiteX10" fmla="*/ 885564 w 1167927"/>
                <a:gd name="connsiteY10" fmla="*/ 194939 h 450322"/>
                <a:gd name="connsiteX11" fmla="*/ 971826 w 1167927"/>
                <a:gd name="connsiteY11" fmla="*/ 196415 h 450322"/>
                <a:gd name="connsiteX12" fmla="*/ 1007261 w 1167927"/>
                <a:gd name="connsiteY12" fmla="*/ 194625 h 450322"/>
                <a:gd name="connsiteX13" fmla="*/ 1055582 w 1167927"/>
                <a:gd name="connsiteY13" fmla="*/ 197713 h 450322"/>
                <a:gd name="connsiteX14" fmla="*/ 1089048 w 1167927"/>
                <a:gd name="connsiteY14" fmla="*/ 194849 h 450322"/>
                <a:gd name="connsiteX15" fmla="*/ 1119830 w 1167927"/>
                <a:gd name="connsiteY15" fmla="*/ 197534 h 450322"/>
                <a:gd name="connsiteX16" fmla="*/ 1115222 w 1167927"/>
                <a:gd name="connsiteY16" fmla="*/ 166438 h 450322"/>
                <a:gd name="connsiteX17" fmla="*/ 1117549 w 1167927"/>
                <a:gd name="connsiteY17" fmla="*/ 131316 h 450322"/>
                <a:gd name="connsiteX18" fmla="*/ 1113030 w 1167927"/>
                <a:gd name="connsiteY18" fmla="*/ 84696 h 450322"/>
                <a:gd name="connsiteX19" fmla="*/ 1103052 w 1167927"/>
                <a:gd name="connsiteY19" fmla="*/ 55703 h 450322"/>
                <a:gd name="connsiteX20" fmla="*/ 1103724 w 1167927"/>
                <a:gd name="connsiteY20" fmla="*/ 37493 h 450322"/>
                <a:gd name="connsiteX21" fmla="*/ 1089004 w 1167927"/>
                <a:gd name="connsiteY21" fmla="*/ 13870 h 450322"/>
                <a:gd name="connsiteX22" fmla="*/ 1096207 w 1167927"/>
                <a:gd name="connsiteY22" fmla="*/ 9888 h 450322"/>
                <a:gd name="connsiteX23" fmla="*/ 1123052 w 1167927"/>
                <a:gd name="connsiteY23" fmla="*/ 18523 h 450322"/>
                <a:gd name="connsiteX24" fmla="*/ 1142201 w 1167927"/>
                <a:gd name="connsiteY24" fmla="*/ 48276 h 450322"/>
                <a:gd name="connsiteX25" fmla="*/ 1153163 w 1167927"/>
                <a:gd name="connsiteY25" fmla="*/ 92436 h 450322"/>
                <a:gd name="connsiteX26" fmla="*/ 1157100 w 1167927"/>
                <a:gd name="connsiteY26" fmla="*/ 119728 h 450322"/>
                <a:gd name="connsiteX27" fmla="*/ 1159740 w 1167927"/>
                <a:gd name="connsiteY27" fmla="*/ 206169 h 450322"/>
                <a:gd name="connsiteX28" fmla="*/ 1164169 w 1167927"/>
                <a:gd name="connsiteY28" fmla="*/ 253282 h 450322"/>
                <a:gd name="connsiteX29" fmla="*/ 1167928 w 1167927"/>
                <a:gd name="connsiteY29" fmla="*/ 255921 h 450322"/>
                <a:gd name="connsiteX30" fmla="*/ 1160277 w 1167927"/>
                <a:gd name="connsiteY30" fmla="*/ 260798 h 450322"/>
                <a:gd name="connsiteX31" fmla="*/ 1159516 w 1167927"/>
                <a:gd name="connsiteY31" fmla="*/ 351578 h 450322"/>
                <a:gd name="connsiteX32" fmla="*/ 1153073 w 1167927"/>
                <a:gd name="connsiteY32" fmla="*/ 383971 h 450322"/>
                <a:gd name="connsiteX33" fmla="*/ 1139517 w 1167927"/>
                <a:gd name="connsiteY33" fmla="*/ 413143 h 450322"/>
                <a:gd name="connsiteX34" fmla="*/ 1123320 w 1167927"/>
                <a:gd name="connsiteY34" fmla="*/ 412651 h 450322"/>
                <a:gd name="connsiteX35" fmla="*/ 1116743 w 1167927"/>
                <a:gd name="connsiteY35" fmla="*/ 425491 h 450322"/>
                <a:gd name="connsiteX36" fmla="*/ 1101173 w 1167927"/>
                <a:gd name="connsiteY36" fmla="*/ 407192 h 450322"/>
                <a:gd name="connsiteX37" fmla="*/ 1118041 w 1167927"/>
                <a:gd name="connsiteY37" fmla="*/ 356276 h 450322"/>
                <a:gd name="connsiteX38" fmla="*/ 1098131 w 1167927"/>
                <a:gd name="connsiteY38" fmla="*/ 356545 h 450322"/>
                <a:gd name="connsiteX39" fmla="*/ 974063 w 1167927"/>
                <a:gd name="connsiteY39" fmla="*/ 356366 h 450322"/>
                <a:gd name="connsiteX40" fmla="*/ 878898 w 1167927"/>
                <a:gd name="connsiteY40" fmla="*/ 356545 h 450322"/>
                <a:gd name="connsiteX41" fmla="*/ 745702 w 1167927"/>
                <a:gd name="connsiteY41" fmla="*/ 355471 h 450322"/>
                <a:gd name="connsiteX42" fmla="*/ 710044 w 1167927"/>
                <a:gd name="connsiteY42" fmla="*/ 356142 h 450322"/>
                <a:gd name="connsiteX43" fmla="*/ 643781 w 1167927"/>
                <a:gd name="connsiteY43" fmla="*/ 356097 h 450322"/>
                <a:gd name="connsiteX44" fmla="*/ 642573 w 1167927"/>
                <a:gd name="connsiteY44" fmla="*/ 356187 h 450322"/>
                <a:gd name="connsiteX45" fmla="*/ 624095 w 1167927"/>
                <a:gd name="connsiteY45" fmla="*/ 400704 h 450322"/>
                <a:gd name="connsiteX46" fmla="*/ 612552 w 1167927"/>
                <a:gd name="connsiteY46" fmla="*/ 441375 h 450322"/>
                <a:gd name="connsiteX47" fmla="*/ 610091 w 1167927"/>
                <a:gd name="connsiteY47" fmla="*/ 441509 h 450322"/>
                <a:gd name="connsiteX48" fmla="*/ 608659 w 1167927"/>
                <a:gd name="connsiteY48" fmla="*/ 422762 h 450322"/>
                <a:gd name="connsiteX49" fmla="*/ 610091 w 1167927"/>
                <a:gd name="connsiteY49" fmla="*/ 356589 h 450322"/>
                <a:gd name="connsiteX50" fmla="*/ 287102 w 1167927"/>
                <a:gd name="connsiteY50" fmla="*/ 354844 h 450322"/>
                <a:gd name="connsiteX51" fmla="*/ 43575 w 1167927"/>
                <a:gd name="connsiteY51" fmla="*/ 353816 h 450322"/>
                <a:gd name="connsiteX52" fmla="*/ 52255 w 1167927"/>
                <a:gd name="connsiteY52" fmla="*/ 381197 h 450322"/>
                <a:gd name="connsiteX53" fmla="*/ 76594 w 1167927"/>
                <a:gd name="connsiteY53" fmla="*/ 416990 h 450322"/>
                <a:gd name="connsiteX54" fmla="*/ 56952 w 1167927"/>
                <a:gd name="connsiteY54" fmla="*/ 450323 h 450322"/>
                <a:gd name="connsiteX55" fmla="*/ 40443 w 1167927"/>
                <a:gd name="connsiteY55" fmla="*/ 434797 h 450322"/>
                <a:gd name="connsiteX56" fmla="*/ 8497 w 1167927"/>
                <a:gd name="connsiteY56" fmla="*/ 375157 h 450322"/>
                <a:gd name="connsiteX57" fmla="*/ 3844 w 1167927"/>
                <a:gd name="connsiteY57" fmla="*/ 345180 h 450322"/>
                <a:gd name="connsiteX58" fmla="*/ 3621 w 1167927"/>
                <a:gd name="connsiteY58" fmla="*/ 342765 h 450322"/>
                <a:gd name="connsiteX59" fmla="*/ 444 w 1167927"/>
                <a:gd name="connsiteY59" fmla="*/ 301781 h 450322"/>
                <a:gd name="connsiteX60" fmla="*/ 131 w 1167927"/>
                <a:gd name="connsiteY60" fmla="*/ 209480 h 450322"/>
                <a:gd name="connsiteX61" fmla="*/ 1697 w 1167927"/>
                <a:gd name="connsiteY61" fmla="*/ 98610 h 450322"/>
                <a:gd name="connsiteX62" fmla="*/ 48675 w 1167927"/>
                <a:gd name="connsiteY62" fmla="*/ 3042 h 450322"/>
                <a:gd name="connsiteX63" fmla="*/ 406831 w 1167927"/>
                <a:gd name="connsiteY63" fmla="*/ 249389 h 450322"/>
                <a:gd name="connsiteX64" fmla="*/ 406562 w 1167927"/>
                <a:gd name="connsiteY64" fmla="*/ 306121 h 450322"/>
                <a:gd name="connsiteX65" fmla="*/ 511123 w 1167927"/>
                <a:gd name="connsiteY65" fmla="*/ 306121 h 450322"/>
                <a:gd name="connsiteX66" fmla="*/ 510138 w 1167927"/>
                <a:gd name="connsiteY66" fmla="*/ 250015 h 450322"/>
                <a:gd name="connsiteX67" fmla="*/ 406831 w 1167927"/>
                <a:gd name="connsiteY67" fmla="*/ 249389 h 45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7927" h="450322">
                  <a:moveTo>
                    <a:pt x="48675" y="3042"/>
                  </a:moveTo>
                  <a:cubicBezTo>
                    <a:pt x="49615" y="2282"/>
                    <a:pt x="51449" y="761"/>
                    <a:pt x="52344" y="0"/>
                  </a:cubicBezTo>
                  <a:cubicBezTo>
                    <a:pt x="51941" y="3714"/>
                    <a:pt x="51539" y="7472"/>
                    <a:pt x="51181" y="11230"/>
                  </a:cubicBezTo>
                  <a:cubicBezTo>
                    <a:pt x="63172" y="11901"/>
                    <a:pt x="74581" y="15973"/>
                    <a:pt x="83976" y="23579"/>
                  </a:cubicBezTo>
                  <a:cubicBezTo>
                    <a:pt x="78249" y="28366"/>
                    <a:pt x="72746" y="33422"/>
                    <a:pt x="67556" y="38836"/>
                  </a:cubicBezTo>
                  <a:cubicBezTo>
                    <a:pt x="51628" y="54674"/>
                    <a:pt x="45096" y="76955"/>
                    <a:pt x="42546" y="98700"/>
                  </a:cubicBezTo>
                  <a:cubicBezTo>
                    <a:pt x="38922" y="131361"/>
                    <a:pt x="39011" y="164336"/>
                    <a:pt x="40174" y="197176"/>
                  </a:cubicBezTo>
                  <a:cubicBezTo>
                    <a:pt x="77981" y="197310"/>
                    <a:pt x="115832" y="199413"/>
                    <a:pt x="153594" y="196549"/>
                  </a:cubicBezTo>
                  <a:cubicBezTo>
                    <a:pt x="305223" y="196549"/>
                    <a:pt x="456896" y="195118"/>
                    <a:pt x="608480" y="197355"/>
                  </a:cubicBezTo>
                  <a:cubicBezTo>
                    <a:pt x="620292" y="198249"/>
                    <a:pt x="632104" y="198071"/>
                    <a:pt x="643960" y="197265"/>
                  </a:cubicBezTo>
                  <a:cubicBezTo>
                    <a:pt x="724450" y="194715"/>
                    <a:pt x="805119" y="198921"/>
                    <a:pt x="885564" y="194939"/>
                  </a:cubicBezTo>
                  <a:cubicBezTo>
                    <a:pt x="914288" y="196728"/>
                    <a:pt x="943102" y="195431"/>
                    <a:pt x="971826" y="196415"/>
                  </a:cubicBezTo>
                  <a:cubicBezTo>
                    <a:pt x="983593" y="196728"/>
                    <a:pt x="995628" y="197086"/>
                    <a:pt x="1007261" y="194625"/>
                  </a:cubicBezTo>
                  <a:cubicBezTo>
                    <a:pt x="1023278" y="196549"/>
                    <a:pt x="1039385" y="197847"/>
                    <a:pt x="1055582" y="197713"/>
                  </a:cubicBezTo>
                  <a:cubicBezTo>
                    <a:pt x="1066722" y="197489"/>
                    <a:pt x="1077997" y="197131"/>
                    <a:pt x="1089048" y="194849"/>
                  </a:cubicBezTo>
                  <a:cubicBezTo>
                    <a:pt x="1099249" y="195744"/>
                    <a:pt x="1109540" y="196594"/>
                    <a:pt x="1119830" y="197534"/>
                  </a:cubicBezTo>
                  <a:cubicBezTo>
                    <a:pt x="1118265" y="187109"/>
                    <a:pt x="1116788" y="176774"/>
                    <a:pt x="1115222" y="166438"/>
                  </a:cubicBezTo>
                  <a:cubicBezTo>
                    <a:pt x="1119920" y="155208"/>
                    <a:pt x="1119652" y="142994"/>
                    <a:pt x="1117549" y="131316"/>
                  </a:cubicBezTo>
                  <a:cubicBezTo>
                    <a:pt x="1116117" y="115746"/>
                    <a:pt x="1116341" y="99997"/>
                    <a:pt x="1113030" y="84696"/>
                  </a:cubicBezTo>
                  <a:cubicBezTo>
                    <a:pt x="1110345" y="74808"/>
                    <a:pt x="1107124" y="65054"/>
                    <a:pt x="1103052" y="55703"/>
                  </a:cubicBezTo>
                  <a:cubicBezTo>
                    <a:pt x="1103410" y="49618"/>
                    <a:pt x="1103858" y="43534"/>
                    <a:pt x="1103724" y="37493"/>
                  </a:cubicBezTo>
                  <a:cubicBezTo>
                    <a:pt x="1104484" y="27203"/>
                    <a:pt x="1094596" y="21118"/>
                    <a:pt x="1089004" y="13870"/>
                  </a:cubicBezTo>
                  <a:cubicBezTo>
                    <a:pt x="1090838" y="12886"/>
                    <a:pt x="1094417" y="10872"/>
                    <a:pt x="1096207" y="9888"/>
                  </a:cubicBezTo>
                  <a:cubicBezTo>
                    <a:pt x="1104305" y="15212"/>
                    <a:pt x="1112582" y="21968"/>
                    <a:pt x="1123052" y="18523"/>
                  </a:cubicBezTo>
                  <a:cubicBezTo>
                    <a:pt x="1130524" y="27650"/>
                    <a:pt x="1137101" y="37583"/>
                    <a:pt x="1142201" y="48276"/>
                  </a:cubicBezTo>
                  <a:cubicBezTo>
                    <a:pt x="1146094" y="62906"/>
                    <a:pt x="1149628" y="77671"/>
                    <a:pt x="1153163" y="92436"/>
                  </a:cubicBezTo>
                  <a:cubicBezTo>
                    <a:pt x="1154774" y="101429"/>
                    <a:pt x="1155982" y="110556"/>
                    <a:pt x="1157100" y="119728"/>
                  </a:cubicBezTo>
                  <a:cubicBezTo>
                    <a:pt x="1160187" y="148408"/>
                    <a:pt x="1159606" y="177310"/>
                    <a:pt x="1159740" y="206169"/>
                  </a:cubicBezTo>
                  <a:cubicBezTo>
                    <a:pt x="1159919" y="221873"/>
                    <a:pt x="1158398" y="238248"/>
                    <a:pt x="1164169" y="253282"/>
                  </a:cubicBezTo>
                  <a:lnTo>
                    <a:pt x="1167928" y="255921"/>
                  </a:lnTo>
                  <a:cubicBezTo>
                    <a:pt x="1166004" y="257174"/>
                    <a:pt x="1162201" y="259590"/>
                    <a:pt x="1160277" y="260798"/>
                  </a:cubicBezTo>
                  <a:cubicBezTo>
                    <a:pt x="1160187" y="291043"/>
                    <a:pt x="1161574" y="321333"/>
                    <a:pt x="1159516" y="351578"/>
                  </a:cubicBezTo>
                  <a:cubicBezTo>
                    <a:pt x="1158129" y="362495"/>
                    <a:pt x="1155579" y="373233"/>
                    <a:pt x="1153073" y="383971"/>
                  </a:cubicBezTo>
                  <a:cubicBezTo>
                    <a:pt x="1149047" y="393904"/>
                    <a:pt x="1144573" y="403658"/>
                    <a:pt x="1139517" y="413143"/>
                  </a:cubicBezTo>
                  <a:cubicBezTo>
                    <a:pt x="1134058" y="412919"/>
                    <a:pt x="1128689" y="412740"/>
                    <a:pt x="1123320" y="412651"/>
                  </a:cubicBezTo>
                  <a:cubicBezTo>
                    <a:pt x="1121039" y="416856"/>
                    <a:pt x="1118891" y="421151"/>
                    <a:pt x="1116743" y="425491"/>
                  </a:cubicBezTo>
                  <a:cubicBezTo>
                    <a:pt x="1111553" y="419362"/>
                    <a:pt x="1106318" y="413277"/>
                    <a:pt x="1101173" y="407192"/>
                  </a:cubicBezTo>
                  <a:cubicBezTo>
                    <a:pt x="1111017" y="391935"/>
                    <a:pt x="1117549" y="374531"/>
                    <a:pt x="1118041" y="356276"/>
                  </a:cubicBezTo>
                  <a:cubicBezTo>
                    <a:pt x="1111329" y="356321"/>
                    <a:pt x="1104708" y="356411"/>
                    <a:pt x="1098131" y="356545"/>
                  </a:cubicBezTo>
                  <a:cubicBezTo>
                    <a:pt x="1056745" y="356231"/>
                    <a:pt x="1015404" y="356500"/>
                    <a:pt x="974063" y="356366"/>
                  </a:cubicBezTo>
                  <a:cubicBezTo>
                    <a:pt x="942341" y="355874"/>
                    <a:pt x="910619" y="356545"/>
                    <a:pt x="878898" y="356545"/>
                  </a:cubicBezTo>
                  <a:cubicBezTo>
                    <a:pt x="834514" y="356097"/>
                    <a:pt x="790086" y="356768"/>
                    <a:pt x="745702" y="355471"/>
                  </a:cubicBezTo>
                  <a:cubicBezTo>
                    <a:pt x="733801" y="355202"/>
                    <a:pt x="721900" y="355605"/>
                    <a:pt x="710044" y="356142"/>
                  </a:cubicBezTo>
                  <a:cubicBezTo>
                    <a:pt x="687941" y="356903"/>
                    <a:pt x="665839" y="355829"/>
                    <a:pt x="643781" y="356097"/>
                  </a:cubicBezTo>
                  <a:lnTo>
                    <a:pt x="642573" y="356187"/>
                  </a:lnTo>
                  <a:cubicBezTo>
                    <a:pt x="638278" y="371712"/>
                    <a:pt x="634654" y="387953"/>
                    <a:pt x="624095" y="400704"/>
                  </a:cubicBezTo>
                  <a:cubicBezTo>
                    <a:pt x="613939" y="411890"/>
                    <a:pt x="614073" y="427236"/>
                    <a:pt x="612552" y="441375"/>
                  </a:cubicBezTo>
                  <a:lnTo>
                    <a:pt x="610091" y="441509"/>
                  </a:lnTo>
                  <a:cubicBezTo>
                    <a:pt x="609509" y="435200"/>
                    <a:pt x="609017" y="428981"/>
                    <a:pt x="608659" y="422762"/>
                  </a:cubicBezTo>
                  <a:cubicBezTo>
                    <a:pt x="609688" y="400704"/>
                    <a:pt x="610673" y="378647"/>
                    <a:pt x="610091" y="356589"/>
                  </a:cubicBezTo>
                  <a:cubicBezTo>
                    <a:pt x="502488" y="352965"/>
                    <a:pt x="394750" y="354710"/>
                    <a:pt x="287102" y="354844"/>
                  </a:cubicBezTo>
                  <a:cubicBezTo>
                    <a:pt x="205941" y="354531"/>
                    <a:pt x="124736" y="354621"/>
                    <a:pt x="43575" y="353816"/>
                  </a:cubicBezTo>
                  <a:cubicBezTo>
                    <a:pt x="46170" y="362987"/>
                    <a:pt x="48631" y="372249"/>
                    <a:pt x="52255" y="381197"/>
                  </a:cubicBezTo>
                  <a:cubicBezTo>
                    <a:pt x="57981" y="394530"/>
                    <a:pt x="66840" y="406297"/>
                    <a:pt x="76594" y="416990"/>
                  </a:cubicBezTo>
                  <a:cubicBezTo>
                    <a:pt x="68451" y="427102"/>
                    <a:pt x="61561" y="438153"/>
                    <a:pt x="56952" y="450323"/>
                  </a:cubicBezTo>
                  <a:cubicBezTo>
                    <a:pt x="51270" y="445312"/>
                    <a:pt x="45722" y="440166"/>
                    <a:pt x="40443" y="434797"/>
                  </a:cubicBezTo>
                  <a:cubicBezTo>
                    <a:pt x="25499" y="417617"/>
                    <a:pt x="15253" y="396767"/>
                    <a:pt x="8497" y="375157"/>
                  </a:cubicBezTo>
                  <a:cubicBezTo>
                    <a:pt x="6484" y="365225"/>
                    <a:pt x="5052" y="355202"/>
                    <a:pt x="3844" y="345180"/>
                  </a:cubicBezTo>
                  <a:lnTo>
                    <a:pt x="3621" y="342765"/>
                  </a:lnTo>
                  <a:cubicBezTo>
                    <a:pt x="2234" y="329118"/>
                    <a:pt x="936" y="315427"/>
                    <a:pt x="444" y="301781"/>
                  </a:cubicBezTo>
                  <a:cubicBezTo>
                    <a:pt x="-317" y="270999"/>
                    <a:pt x="131" y="240217"/>
                    <a:pt x="131" y="209480"/>
                  </a:cubicBezTo>
                  <a:cubicBezTo>
                    <a:pt x="310" y="172523"/>
                    <a:pt x="-675" y="135522"/>
                    <a:pt x="1697" y="98610"/>
                  </a:cubicBezTo>
                  <a:cubicBezTo>
                    <a:pt x="4023" y="62236"/>
                    <a:pt x="20488" y="26532"/>
                    <a:pt x="48675" y="3042"/>
                  </a:cubicBezTo>
                  <a:close/>
                  <a:moveTo>
                    <a:pt x="406831" y="249389"/>
                  </a:moveTo>
                  <a:cubicBezTo>
                    <a:pt x="406249" y="268270"/>
                    <a:pt x="406249" y="287195"/>
                    <a:pt x="406562" y="306121"/>
                  </a:cubicBezTo>
                  <a:cubicBezTo>
                    <a:pt x="441416" y="305987"/>
                    <a:pt x="476269" y="306837"/>
                    <a:pt x="511123" y="306121"/>
                  </a:cubicBezTo>
                  <a:cubicBezTo>
                    <a:pt x="511749" y="287375"/>
                    <a:pt x="511436" y="268672"/>
                    <a:pt x="510138" y="250015"/>
                  </a:cubicBezTo>
                  <a:cubicBezTo>
                    <a:pt x="475688" y="249568"/>
                    <a:pt x="441282" y="249120"/>
                    <a:pt x="406831" y="249389"/>
                  </a:cubicBezTo>
                  <a:close/>
                </a:path>
              </a:pathLst>
            </a:custGeom>
            <a:solidFill>
              <a:srgbClr val="496B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9" name="Freeform: Shape 318">
              <a:extLst>
                <a:ext uri="{FF2B5EF4-FFF2-40B4-BE49-F238E27FC236}">
                  <a16:creationId xmlns:a16="http://schemas.microsoft.com/office/drawing/2014/main" id="{3B8AFBAB-2E6B-026F-A9AF-234B9E0B330F}"/>
                </a:ext>
              </a:extLst>
            </p:cNvPr>
            <p:cNvSpPr/>
            <p:nvPr/>
          </p:nvSpPr>
          <p:spPr>
            <a:xfrm flipH="1">
              <a:off x="3283264" y="4356626"/>
              <a:ext cx="1278518" cy="277474"/>
            </a:xfrm>
            <a:custGeom>
              <a:avLst/>
              <a:gdLst>
                <a:gd name="connsiteX0" fmla="*/ 642315 w 1274151"/>
                <a:gd name="connsiteY0" fmla="*/ 0 h 276526"/>
                <a:gd name="connsiteX1" fmla="*/ 166947 w 1274151"/>
                <a:gd name="connsiteY1" fmla="*/ 1010 h 276526"/>
                <a:gd name="connsiteX2" fmla="*/ 160991 w 1274151"/>
                <a:gd name="connsiteY2" fmla="*/ 905 h 276526"/>
                <a:gd name="connsiteX3" fmla="*/ 53292 w 1274151"/>
                <a:gd name="connsiteY3" fmla="*/ 11169 h 276526"/>
                <a:gd name="connsiteX4" fmla="*/ 1383 w 1274151"/>
                <a:gd name="connsiteY4" fmla="*/ 41219 h 276526"/>
                <a:gd name="connsiteX5" fmla="*/ 0 w 1274151"/>
                <a:gd name="connsiteY5" fmla="*/ 54568 h 276526"/>
                <a:gd name="connsiteX6" fmla="*/ 38985 w 1274151"/>
                <a:gd name="connsiteY6" fmla="*/ 69246 h 276526"/>
                <a:gd name="connsiteX7" fmla="*/ 115412 w 1274151"/>
                <a:gd name="connsiteY7" fmla="*/ 46164 h 276526"/>
                <a:gd name="connsiteX8" fmla="*/ 552964 w 1274151"/>
                <a:gd name="connsiteY8" fmla="*/ 45793 h 276526"/>
                <a:gd name="connsiteX9" fmla="*/ 625827 w 1274151"/>
                <a:gd name="connsiteY9" fmla="*/ 45367 h 276526"/>
                <a:gd name="connsiteX10" fmla="*/ 662206 w 1274151"/>
                <a:gd name="connsiteY10" fmla="*/ 45207 h 276526"/>
                <a:gd name="connsiteX11" fmla="*/ 660823 w 1274151"/>
                <a:gd name="connsiteY11" fmla="*/ 95360 h 276526"/>
                <a:gd name="connsiteX12" fmla="*/ 661408 w 1274151"/>
                <a:gd name="connsiteY12" fmla="*/ 168969 h 276526"/>
                <a:gd name="connsiteX13" fmla="*/ 662472 w 1274151"/>
                <a:gd name="connsiteY13" fmla="*/ 275817 h 276526"/>
                <a:gd name="connsiteX14" fmla="*/ 704648 w 1274151"/>
                <a:gd name="connsiteY14" fmla="*/ 275711 h 276526"/>
                <a:gd name="connsiteX15" fmla="*/ 703743 w 1274151"/>
                <a:gd name="connsiteY15" fmla="*/ 190455 h 276526"/>
                <a:gd name="connsiteX16" fmla="*/ 703956 w 1274151"/>
                <a:gd name="connsiteY16" fmla="*/ 94669 h 276526"/>
                <a:gd name="connsiteX17" fmla="*/ 702626 w 1274151"/>
                <a:gd name="connsiteY17" fmla="*/ 45739 h 276526"/>
                <a:gd name="connsiteX18" fmla="*/ 862607 w 1274151"/>
                <a:gd name="connsiteY18" fmla="*/ 45527 h 276526"/>
                <a:gd name="connsiteX19" fmla="*/ 933874 w 1274151"/>
                <a:gd name="connsiteY19" fmla="*/ 45207 h 276526"/>
                <a:gd name="connsiteX20" fmla="*/ 1000089 w 1274151"/>
                <a:gd name="connsiteY20" fmla="*/ 46589 h 276526"/>
                <a:gd name="connsiteX21" fmla="*/ 1137147 w 1274151"/>
                <a:gd name="connsiteY21" fmla="*/ 47973 h 276526"/>
                <a:gd name="connsiteX22" fmla="*/ 1183418 w 1274151"/>
                <a:gd name="connsiteY22" fmla="*/ 53770 h 276526"/>
                <a:gd name="connsiteX23" fmla="*/ 1250378 w 1274151"/>
                <a:gd name="connsiteY23" fmla="*/ 107434 h 276526"/>
                <a:gd name="connsiteX24" fmla="*/ 1251176 w 1274151"/>
                <a:gd name="connsiteY24" fmla="*/ 85787 h 276526"/>
                <a:gd name="connsiteX25" fmla="*/ 1233678 w 1274151"/>
                <a:gd name="connsiteY25" fmla="*/ 57706 h 276526"/>
                <a:gd name="connsiteX26" fmla="*/ 1242240 w 1274151"/>
                <a:gd name="connsiteY26" fmla="*/ 52973 h 276526"/>
                <a:gd name="connsiteX27" fmla="*/ 1274151 w 1274151"/>
                <a:gd name="connsiteY27" fmla="*/ 63237 h 276526"/>
                <a:gd name="connsiteX28" fmla="*/ 1229104 w 1274151"/>
                <a:gd name="connsiteY28" fmla="*/ 24678 h 276526"/>
                <a:gd name="connsiteX29" fmla="*/ 1185120 w 1274151"/>
                <a:gd name="connsiteY29" fmla="*/ 7339 h 276526"/>
                <a:gd name="connsiteX30" fmla="*/ 1170174 w 1274151"/>
                <a:gd name="connsiteY30" fmla="*/ 4042 h 276526"/>
                <a:gd name="connsiteX31" fmla="*/ 1089705 w 1274151"/>
                <a:gd name="connsiteY31" fmla="*/ 1006 h 276526"/>
                <a:gd name="connsiteX32" fmla="*/ 977434 w 1274151"/>
                <a:gd name="connsiteY32" fmla="*/ 1006 h 276526"/>
                <a:gd name="connsiteX33" fmla="*/ 977432 w 1274151"/>
                <a:gd name="connsiteY33" fmla="*/ 1010 h 276526"/>
                <a:gd name="connsiteX34" fmla="*/ 939353 w 1274151"/>
                <a:gd name="connsiteY34" fmla="*/ 1010 h 276526"/>
                <a:gd name="connsiteX35" fmla="*/ 939351 w 1274151"/>
                <a:gd name="connsiteY35" fmla="*/ 1006 h 276526"/>
                <a:gd name="connsiteX36" fmla="*/ 738720 w 1274151"/>
                <a:gd name="connsiteY36" fmla="*/ 1006 h 276526"/>
                <a:gd name="connsiteX37" fmla="*/ 738720 w 1274151"/>
                <a:gd name="connsiteY37" fmla="*/ 477 h 27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74151" h="276526">
                  <a:moveTo>
                    <a:pt x="642315" y="0"/>
                  </a:moveTo>
                  <a:cubicBezTo>
                    <a:pt x="483877" y="1915"/>
                    <a:pt x="325385" y="319"/>
                    <a:pt x="166947" y="1010"/>
                  </a:cubicBezTo>
                  <a:lnTo>
                    <a:pt x="160991" y="905"/>
                  </a:lnTo>
                  <a:cubicBezTo>
                    <a:pt x="124984" y="1277"/>
                    <a:pt x="87808" y="-1170"/>
                    <a:pt x="53292" y="11169"/>
                  </a:cubicBezTo>
                  <a:cubicBezTo>
                    <a:pt x="34198" y="17604"/>
                    <a:pt x="17073" y="28719"/>
                    <a:pt x="1383" y="41219"/>
                  </a:cubicBezTo>
                  <a:cubicBezTo>
                    <a:pt x="905" y="45632"/>
                    <a:pt x="426" y="50101"/>
                    <a:pt x="0" y="54568"/>
                  </a:cubicBezTo>
                  <a:cubicBezTo>
                    <a:pt x="14254" y="55366"/>
                    <a:pt x="27816" y="60205"/>
                    <a:pt x="38985" y="69246"/>
                  </a:cubicBezTo>
                  <a:cubicBezTo>
                    <a:pt x="60951" y="52973"/>
                    <a:pt x="88234" y="45739"/>
                    <a:pt x="115412" y="46164"/>
                  </a:cubicBezTo>
                  <a:cubicBezTo>
                    <a:pt x="261245" y="45579"/>
                    <a:pt x="407131" y="46111"/>
                    <a:pt x="552964" y="45793"/>
                  </a:cubicBezTo>
                  <a:cubicBezTo>
                    <a:pt x="577216" y="45367"/>
                    <a:pt x="601522" y="45314"/>
                    <a:pt x="625827" y="45367"/>
                  </a:cubicBezTo>
                  <a:cubicBezTo>
                    <a:pt x="637900" y="45314"/>
                    <a:pt x="650080" y="45207"/>
                    <a:pt x="662206" y="45207"/>
                  </a:cubicBezTo>
                  <a:cubicBezTo>
                    <a:pt x="661408" y="61907"/>
                    <a:pt x="660877" y="78607"/>
                    <a:pt x="660823" y="95360"/>
                  </a:cubicBezTo>
                  <a:cubicBezTo>
                    <a:pt x="661408" y="119878"/>
                    <a:pt x="661301" y="144450"/>
                    <a:pt x="661408" y="168969"/>
                  </a:cubicBezTo>
                  <a:cubicBezTo>
                    <a:pt x="662737" y="204550"/>
                    <a:pt x="662844" y="240184"/>
                    <a:pt x="662472" y="275817"/>
                  </a:cubicBezTo>
                  <a:cubicBezTo>
                    <a:pt x="676512" y="276881"/>
                    <a:pt x="690553" y="276668"/>
                    <a:pt x="704648" y="275711"/>
                  </a:cubicBezTo>
                  <a:cubicBezTo>
                    <a:pt x="704381" y="247310"/>
                    <a:pt x="704487" y="218856"/>
                    <a:pt x="703743" y="190455"/>
                  </a:cubicBezTo>
                  <a:cubicBezTo>
                    <a:pt x="702786" y="158544"/>
                    <a:pt x="703371" y="126580"/>
                    <a:pt x="703956" y="94669"/>
                  </a:cubicBezTo>
                  <a:cubicBezTo>
                    <a:pt x="703956" y="78341"/>
                    <a:pt x="703318" y="62014"/>
                    <a:pt x="702626" y="45739"/>
                  </a:cubicBezTo>
                  <a:cubicBezTo>
                    <a:pt x="755917" y="44516"/>
                    <a:pt x="809262" y="45952"/>
                    <a:pt x="862607" y="45527"/>
                  </a:cubicBezTo>
                  <a:cubicBezTo>
                    <a:pt x="886326" y="45048"/>
                    <a:pt x="910101" y="44729"/>
                    <a:pt x="933874" y="45207"/>
                  </a:cubicBezTo>
                  <a:cubicBezTo>
                    <a:pt x="955892" y="45527"/>
                    <a:pt x="977965" y="46484"/>
                    <a:pt x="1000089" y="46589"/>
                  </a:cubicBezTo>
                  <a:cubicBezTo>
                    <a:pt x="1045775" y="45207"/>
                    <a:pt x="1091461" y="47388"/>
                    <a:pt x="1137147" y="47973"/>
                  </a:cubicBezTo>
                  <a:cubicBezTo>
                    <a:pt x="1152677" y="48345"/>
                    <a:pt x="1168366" y="49622"/>
                    <a:pt x="1183418" y="53770"/>
                  </a:cubicBezTo>
                  <a:cubicBezTo>
                    <a:pt x="1210064" y="65205"/>
                    <a:pt x="1235167" y="82064"/>
                    <a:pt x="1250378" y="107434"/>
                  </a:cubicBezTo>
                  <a:cubicBezTo>
                    <a:pt x="1250804" y="100200"/>
                    <a:pt x="1251335" y="92967"/>
                    <a:pt x="1251176" y="85787"/>
                  </a:cubicBezTo>
                  <a:cubicBezTo>
                    <a:pt x="1252079" y="73554"/>
                    <a:pt x="1240325" y="66322"/>
                    <a:pt x="1233678" y="57706"/>
                  </a:cubicBezTo>
                  <a:cubicBezTo>
                    <a:pt x="1235858" y="56535"/>
                    <a:pt x="1240113" y="54142"/>
                    <a:pt x="1242240" y="52973"/>
                  </a:cubicBezTo>
                  <a:cubicBezTo>
                    <a:pt x="1251868" y="59301"/>
                    <a:pt x="1261707" y="67332"/>
                    <a:pt x="1274151" y="63237"/>
                  </a:cubicBezTo>
                  <a:cubicBezTo>
                    <a:pt x="1261494" y="47866"/>
                    <a:pt x="1245857" y="35262"/>
                    <a:pt x="1229104" y="24678"/>
                  </a:cubicBezTo>
                  <a:cubicBezTo>
                    <a:pt x="1215116" y="17285"/>
                    <a:pt x="1200277" y="11541"/>
                    <a:pt x="1185120" y="7339"/>
                  </a:cubicBezTo>
                  <a:cubicBezTo>
                    <a:pt x="1181343" y="6541"/>
                    <a:pt x="1173897" y="4893"/>
                    <a:pt x="1170174" y="4042"/>
                  </a:cubicBezTo>
                  <a:lnTo>
                    <a:pt x="1089705" y="1006"/>
                  </a:lnTo>
                  <a:lnTo>
                    <a:pt x="977434" y="1006"/>
                  </a:lnTo>
                  <a:lnTo>
                    <a:pt x="977432" y="1010"/>
                  </a:lnTo>
                  <a:cubicBezTo>
                    <a:pt x="964669" y="1117"/>
                    <a:pt x="952010" y="1117"/>
                    <a:pt x="939353" y="1010"/>
                  </a:cubicBezTo>
                  <a:lnTo>
                    <a:pt x="939351" y="1006"/>
                  </a:lnTo>
                  <a:lnTo>
                    <a:pt x="738720" y="1006"/>
                  </a:lnTo>
                  <a:lnTo>
                    <a:pt x="738720" y="477"/>
                  </a:lnTo>
                  <a:close/>
                </a:path>
              </a:pathLst>
            </a:custGeom>
            <a:solidFill>
              <a:srgbClr val="4569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0" name="Freeform: Shape 319">
              <a:extLst>
                <a:ext uri="{FF2B5EF4-FFF2-40B4-BE49-F238E27FC236}">
                  <a16:creationId xmlns:a16="http://schemas.microsoft.com/office/drawing/2014/main" id="{CE5866D0-C0D8-1B40-2AB8-5C4BFF679BCD}"/>
                </a:ext>
              </a:extLst>
            </p:cNvPr>
            <p:cNvSpPr/>
            <p:nvPr/>
          </p:nvSpPr>
          <p:spPr>
            <a:xfrm flipH="1">
              <a:off x="3263626" y="4822735"/>
              <a:ext cx="1291273" cy="145151"/>
            </a:xfrm>
            <a:custGeom>
              <a:avLst/>
              <a:gdLst>
                <a:gd name="connsiteX0" fmla="*/ 567143 w 1082564"/>
                <a:gd name="connsiteY0" fmla="*/ 44607 h 121690"/>
                <a:gd name="connsiteX1" fmla="*/ 585621 w 1082564"/>
                <a:gd name="connsiteY1" fmla="*/ 90 h 121690"/>
                <a:gd name="connsiteX2" fmla="*/ 586829 w 1082564"/>
                <a:gd name="connsiteY2" fmla="*/ 0 h 121690"/>
                <a:gd name="connsiteX3" fmla="*/ 587187 w 1082564"/>
                <a:gd name="connsiteY3" fmla="*/ 65054 h 121690"/>
                <a:gd name="connsiteX4" fmla="*/ 586918 w 1082564"/>
                <a:gd name="connsiteY4" fmla="*/ 85277 h 121690"/>
                <a:gd name="connsiteX5" fmla="*/ 671435 w 1082564"/>
                <a:gd name="connsiteY5" fmla="*/ 83980 h 121690"/>
                <a:gd name="connsiteX6" fmla="*/ 735102 w 1082564"/>
                <a:gd name="connsiteY6" fmla="*/ 84338 h 121690"/>
                <a:gd name="connsiteX7" fmla="*/ 986146 w 1082564"/>
                <a:gd name="connsiteY7" fmla="*/ 84561 h 121690"/>
                <a:gd name="connsiteX8" fmla="*/ 1044221 w 1082564"/>
                <a:gd name="connsiteY8" fmla="*/ 51095 h 121690"/>
                <a:gd name="connsiteX9" fmla="*/ 1059791 w 1082564"/>
                <a:gd name="connsiteY9" fmla="*/ 69394 h 121690"/>
                <a:gd name="connsiteX10" fmla="*/ 1066368 w 1082564"/>
                <a:gd name="connsiteY10" fmla="*/ 56553 h 121690"/>
                <a:gd name="connsiteX11" fmla="*/ 1082564 w 1082564"/>
                <a:gd name="connsiteY11" fmla="*/ 57045 h 121690"/>
                <a:gd name="connsiteX12" fmla="*/ 1071245 w 1082564"/>
                <a:gd name="connsiteY12" fmla="*/ 74987 h 121690"/>
                <a:gd name="connsiteX13" fmla="*/ 977467 w 1082564"/>
                <a:gd name="connsiteY13" fmla="*/ 121294 h 121690"/>
                <a:gd name="connsiteX14" fmla="*/ 82637 w 1082564"/>
                <a:gd name="connsiteY14" fmla="*/ 121607 h 121690"/>
                <a:gd name="connsiteX15" fmla="*/ 21476 w 1082564"/>
                <a:gd name="connsiteY15" fmla="*/ 109840 h 121690"/>
                <a:gd name="connsiteX16" fmla="*/ 0 w 1082564"/>
                <a:gd name="connsiteY16" fmla="*/ 94225 h 121690"/>
                <a:gd name="connsiteX17" fmla="*/ 19642 w 1082564"/>
                <a:gd name="connsiteY17" fmla="*/ 60893 h 121690"/>
                <a:gd name="connsiteX18" fmla="*/ 34451 w 1082564"/>
                <a:gd name="connsiteY18" fmla="*/ 73018 h 121690"/>
                <a:gd name="connsiteX19" fmla="*/ 54853 w 1082564"/>
                <a:gd name="connsiteY19" fmla="*/ 83845 h 121690"/>
                <a:gd name="connsiteX20" fmla="*/ 118520 w 1082564"/>
                <a:gd name="connsiteY20" fmla="*/ 85769 h 121690"/>
                <a:gd name="connsiteX21" fmla="*/ 553139 w 1082564"/>
                <a:gd name="connsiteY21" fmla="*/ 85411 h 121690"/>
                <a:gd name="connsiteX22" fmla="*/ 555599 w 1082564"/>
                <a:gd name="connsiteY22" fmla="*/ 85277 h 121690"/>
                <a:gd name="connsiteX23" fmla="*/ 567143 w 1082564"/>
                <a:gd name="connsiteY23" fmla="*/ 44607 h 1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82564" h="121690">
                  <a:moveTo>
                    <a:pt x="567143" y="44607"/>
                  </a:moveTo>
                  <a:cubicBezTo>
                    <a:pt x="577702" y="31856"/>
                    <a:pt x="581326" y="15615"/>
                    <a:pt x="585621" y="90"/>
                  </a:cubicBezTo>
                  <a:lnTo>
                    <a:pt x="586829" y="0"/>
                  </a:lnTo>
                  <a:cubicBezTo>
                    <a:pt x="587142" y="21699"/>
                    <a:pt x="587321" y="43354"/>
                    <a:pt x="587187" y="65054"/>
                  </a:cubicBezTo>
                  <a:cubicBezTo>
                    <a:pt x="587053" y="71765"/>
                    <a:pt x="587008" y="78476"/>
                    <a:pt x="586918" y="85277"/>
                  </a:cubicBezTo>
                  <a:cubicBezTo>
                    <a:pt x="615105" y="85188"/>
                    <a:pt x="643293" y="85098"/>
                    <a:pt x="671435" y="83980"/>
                  </a:cubicBezTo>
                  <a:cubicBezTo>
                    <a:pt x="692642" y="84069"/>
                    <a:pt x="713895" y="84203"/>
                    <a:pt x="735102" y="84338"/>
                  </a:cubicBezTo>
                  <a:cubicBezTo>
                    <a:pt x="818769" y="85098"/>
                    <a:pt x="902480" y="86485"/>
                    <a:pt x="986146" y="84561"/>
                  </a:cubicBezTo>
                  <a:cubicBezTo>
                    <a:pt x="1010441" y="85411"/>
                    <a:pt x="1030396" y="69573"/>
                    <a:pt x="1044221" y="51095"/>
                  </a:cubicBezTo>
                  <a:cubicBezTo>
                    <a:pt x="1049366" y="57179"/>
                    <a:pt x="1054601" y="63264"/>
                    <a:pt x="1059791" y="69394"/>
                  </a:cubicBezTo>
                  <a:cubicBezTo>
                    <a:pt x="1061938" y="65054"/>
                    <a:pt x="1064086" y="60759"/>
                    <a:pt x="1066368" y="56553"/>
                  </a:cubicBezTo>
                  <a:cubicBezTo>
                    <a:pt x="1071737" y="56643"/>
                    <a:pt x="1077106" y="56822"/>
                    <a:pt x="1082564" y="57045"/>
                  </a:cubicBezTo>
                  <a:cubicBezTo>
                    <a:pt x="1079030" y="63175"/>
                    <a:pt x="1075316" y="69215"/>
                    <a:pt x="1071245" y="74987"/>
                  </a:cubicBezTo>
                  <a:cubicBezTo>
                    <a:pt x="1048382" y="102726"/>
                    <a:pt x="1014020" y="121876"/>
                    <a:pt x="977467" y="121294"/>
                  </a:cubicBezTo>
                  <a:cubicBezTo>
                    <a:pt x="679175" y="122099"/>
                    <a:pt x="380929" y="120757"/>
                    <a:pt x="82637" y="121607"/>
                  </a:cubicBezTo>
                  <a:cubicBezTo>
                    <a:pt x="61654" y="122323"/>
                    <a:pt x="40670" y="118431"/>
                    <a:pt x="21476" y="109840"/>
                  </a:cubicBezTo>
                  <a:cubicBezTo>
                    <a:pt x="14004" y="105008"/>
                    <a:pt x="6801" y="99908"/>
                    <a:pt x="0" y="94225"/>
                  </a:cubicBezTo>
                  <a:cubicBezTo>
                    <a:pt x="4608" y="82056"/>
                    <a:pt x="11499" y="71005"/>
                    <a:pt x="19642" y="60893"/>
                  </a:cubicBezTo>
                  <a:cubicBezTo>
                    <a:pt x="24339" y="65188"/>
                    <a:pt x="29306" y="69215"/>
                    <a:pt x="34451" y="73018"/>
                  </a:cubicBezTo>
                  <a:cubicBezTo>
                    <a:pt x="40804" y="77224"/>
                    <a:pt x="47202" y="82056"/>
                    <a:pt x="54853" y="83845"/>
                  </a:cubicBezTo>
                  <a:cubicBezTo>
                    <a:pt x="75926" y="86709"/>
                    <a:pt x="97268" y="85635"/>
                    <a:pt x="118520" y="85769"/>
                  </a:cubicBezTo>
                  <a:cubicBezTo>
                    <a:pt x="263393" y="85367"/>
                    <a:pt x="408266" y="85143"/>
                    <a:pt x="553139" y="85411"/>
                  </a:cubicBezTo>
                  <a:lnTo>
                    <a:pt x="555599" y="85277"/>
                  </a:lnTo>
                  <a:cubicBezTo>
                    <a:pt x="557121" y="71139"/>
                    <a:pt x="556986" y="55792"/>
                    <a:pt x="567143" y="44607"/>
                  </a:cubicBezTo>
                  <a:close/>
                </a:path>
              </a:pathLst>
            </a:custGeom>
            <a:solidFill>
              <a:srgbClr val="3F66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1" name="Freeform: Shape 320">
              <a:extLst>
                <a:ext uri="{FF2B5EF4-FFF2-40B4-BE49-F238E27FC236}">
                  <a16:creationId xmlns:a16="http://schemas.microsoft.com/office/drawing/2014/main" id="{2634ECE9-1C6E-3C7C-102C-67D69817F9AB}"/>
                </a:ext>
              </a:extLst>
            </p:cNvPr>
            <p:cNvSpPr/>
            <p:nvPr/>
          </p:nvSpPr>
          <p:spPr>
            <a:xfrm flipH="1">
              <a:off x="1774952" y="4117276"/>
              <a:ext cx="1100700" cy="607832"/>
            </a:xfrm>
            <a:custGeom>
              <a:avLst/>
              <a:gdLst>
                <a:gd name="connsiteX0" fmla="*/ 659476 w 820189"/>
                <a:gd name="connsiteY0" fmla="*/ 27709 h 437804"/>
                <a:gd name="connsiteX1" fmla="*/ 537556 w 820189"/>
                <a:gd name="connsiteY1" fmla="*/ 0 h 437804"/>
                <a:gd name="connsiteX2" fmla="*/ 421178 w 820189"/>
                <a:gd name="connsiteY2" fmla="*/ 0 h 437804"/>
                <a:gd name="connsiteX3" fmla="*/ 321425 w 820189"/>
                <a:gd name="connsiteY3" fmla="*/ 33251 h 437804"/>
                <a:gd name="connsiteX4" fmla="*/ 0 w 820189"/>
                <a:gd name="connsiteY4" fmla="*/ 160713 h 437804"/>
                <a:gd name="connsiteX5" fmla="*/ 199505 w 820189"/>
                <a:gd name="connsiteY5" fmla="*/ 371302 h 437804"/>
                <a:gd name="connsiteX6" fmla="*/ 820189 w 820189"/>
                <a:gd name="connsiteY6" fmla="*/ 437804 h 437804"/>
                <a:gd name="connsiteX7" fmla="*/ 642851 w 820189"/>
                <a:gd name="connsiteY7" fmla="*/ 166255 h 437804"/>
                <a:gd name="connsiteX8" fmla="*/ 659476 w 820189"/>
                <a:gd name="connsiteY8" fmla="*/ 27709 h 437804"/>
                <a:gd name="connsiteX0" fmla="*/ 659476 w 1096940"/>
                <a:gd name="connsiteY0" fmla="*/ 27709 h 545700"/>
                <a:gd name="connsiteX1" fmla="*/ 537556 w 1096940"/>
                <a:gd name="connsiteY1" fmla="*/ 0 h 545700"/>
                <a:gd name="connsiteX2" fmla="*/ 421178 w 1096940"/>
                <a:gd name="connsiteY2" fmla="*/ 0 h 545700"/>
                <a:gd name="connsiteX3" fmla="*/ 321425 w 1096940"/>
                <a:gd name="connsiteY3" fmla="*/ 33251 h 545700"/>
                <a:gd name="connsiteX4" fmla="*/ 0 w 1096940"/>
                <a:gd name="connsiteY4" fmla="*/ 160713 h 545700"/>
                <a:gd name="connsiteX5" fmla="*/ 199505 w 1096940"/>
                <a:gd name="connsiteY5" fmla="*/ 371302 h 545700"/>
                <a:gd name="connsiteX6" fmla="*/ 820189 w 1096940"/>
                <a:gd name="connsiteY6" fmla="*/ 437804 h 545700"/>
                <a:gd name="connsiteX7" fmla="*/ 1096940 w 1096940"/>
                <a:gd name="connsiteY7" fmla="*/ 545700 h 545700"/>
                <a:gd name="connsiteX8" fmla="*/ 659476 w 1096940"/>
                <a:gd name="connsiteY8" fmla="*/ 27709 h 545700"/>
                <a:gd name="connsiteX0" fmla="*/ 659476 w 1096940"/>
                <a:gd name="connsiteY0" fmla="*/ 27709 h 605755"/>
                <a:gd name="connsiteX1" fmla="*/ 537556 w 1096940"/>
                <a:gd name="connsiteY1" fmla="*/ 0 h 605755"/>
                <a:gd name="connsiteX2" fmla="*/ 421178 w 1096940"/>
                <a:gd name="connsiteY2" fmla="*/ 0 h 605755"/>
                <a:gd name="connsiteX3" fmla="*/ 321425 w 1096940"/>
                <a:gd name="connsiteY3" fmla="*/ 33251 h 605755"/>
                <a:gd name="connsiteX4" fmla="*/ 0 w 1096940"/>
                <a:gd name="connsiteY4" fmla="*/ 160713 h 605755"/>
                <a:gd name="connsiteX5" fmla="*/ 199505 w 1096940"/>
                <a:gd name="connsiteY5" fmla="*/ 371302 h 605755"/>
                <a:gd name="connsiteX6" fmla="*/ 702001 w 1096940"/>
                <a:gd name="connsiteY6" fmla="*/ 605755 h 605755"/>
                <a:gd name="connsiteX7" fmla="*/ 1096940 w 1096940"/>
                <a:gd name="connsiteY7" fmla="*/ 545700 h 605755"/>
                <a:gd name="connsiteX8" fmla="*/ 659476 w 1096940"/>
                <a:gd name="connsiteY8" fmla="*/ 27709 h 6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940" h="605755">
                  <a:moveTo>
                    <a:pt x="659476" y="27709"/>
                  </a:moveTo>
                  <a:lnTo>
                    <a:pt x="537556" y="0"/>
                  </a:lnTo>
                  <a:lnTo>
                    <a:pt x="421178" y="0"/>
                  </a:lnTo>
                  <a:lnTo>
                    <a:pt x="321425" y="33251"/>
                  </a:lnTo>
                  <a:lnTo>
                    <a:pt x="0" y="160713"/>
                  </a:lnTo>
                  <a:lnTo>
                    <a:pt x="199505" y="371302"/>
                  </a:lnTo>
                  <a:lnTo>
                    <a:pt x="702001" y="605755"/>
                  </a:lnTo>
                  <a:lnTo>
                    <a:pt x="1096940" y="545700"/>
                  </a:lnTo>
                  <a:lnTo>
                    <a:pt x="659476" y="277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2" name="Rectangle: Rounded Corners 321">
              <a:extLst>
                <a:ext uri="{FF2B5EF4-FFF2-40B4-BE49-F238E27FC236}">
                  <a16:creationId xmlns:a16="http://schemas.microsoft.com/office/drawing/2014/main" id="{346AAD1D-88F7-CD2B-CF80-2E132C006FD0}"/>
                </a:ext>
              </a:extLst>
            </p:cNvPr>
            <p:cNvSpPr/>
            <p:nvPr/>
          </p:nvSpPr>
          <p:spPr>
            <a:xfrm flipH="1">
              <a:off x="4013030" y="5057124"/>
              <a:ext cx="734028"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3" name="Rectangle 322">
              <a:extLst>
                <a:ext uri="{FF2B5EF4-FFF2-40B4-BE49-F238E27FC236}">
                  <a16:creationId xmlns:a16="http://schemas.microsoft.com/office/drawing/2014/main" id="{15B37343-AFA9-558E-E195-8626FB6E6F02}"/>
                </a:ext>
              </a:extLst>
            </p:cNvPr>
            <p:cNvSpPr/>
            <p:nvPr/>
          </p:nvSpPr>
          <p:spPr>
            <a:xfrm flipH="1">
              <a:off x="4768164" y="5061135"/>
              <a:ext cx="57019" cy="99841"/>
            </a:xfrm>
            <a:prstGeom prst="rect">
              <a:avLst/>
            </a:prstGeom>
            <a:solidFill>
              <a:srgbClr val="4A60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4" name="Freeform: Shape 323">
              <a:extLst>
                <a:ext uri="{FF2B5EF4-FFF2-40B4-BE49-F238E27FC236}">
                  <a16:creationId xmlns:a16="http://schemas.microsoft.com/office/drawing/2014/main" id="{779EF00B-121D-CD2C-1C11-6751C322A8C8}"/>
                </a:ext>
              </a:extLst>
            </p:cNvPr>
            <p:cNvSpPr/>
            <p:nvPr/>
          </p:nvSpPr>
          <p:spPr>
            <a:xfrm flipH="1">
              <a:off x="2567042"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5" name="Freeform: Shape 324">
              <a:extLst>
                <a:ext uri="{FF2B5EF4-FFF2-40B4-BE49-F238E27FC236}">
                  <a16:creationId xmlns:a16="http://schemas.microsoft.com/office/drawing/2014/main" id="{C22096C0-C3B9-B101-5343-228D89B4D144}"/>
                </a:ext>
              </a:extLst>
            </p:cNvPr>
            <p:cNvSpPr/>
            <p:nvPr/>
          </p:nvSpPr>
          <p:spPr>
            <a:xfrm flipH="1">
              <a:off x="2762472"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6" name="Freeform: Shape 325">
              <a:extLst>
                <a:ext uri="{FF2B5EF4-FFF2-40B4-BE49-F238E27FC236}">
                  <a16:creationId xmlns:a16="http://schemas.microsoft.com/office/drawing/2014/main" id="{E3629A7D-B34A-C43B-62F7-84B474AFC0F5}"/>
                </a:ext>
              </a:extLst>
            </p:cNvPr>
            <p:cNvSpPr/>
            <p:nvPr/>
          </p:nvSpPr>
          <p:spPr>
            <a:xfrm flipH="1">
              <a:off x="668955"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7" name="Freeform: Shape 326">
              <a:extLst>
                <a:ext uri="{FF2B5EF4-FFF2-40B4-BE49-F238E27FC236}">
                  <a16:creationId xmlns:a16="http://schemas.microsoft.com/office/drawing/2014/main" id="{B9C29370-7D22-027C-CF9C-07E058D9ACC5}"/>
                </a:ext>
              </a:extLst>
            </p:cNvPr>
            <p:cNvSpPr/>
            <p:nvPr/>
          </p:nvSpPr>
          <p:spPr>
            <a:xfrm flipH="1">
              <a:off x="864387"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8" name="Rectangle: Rounded Corners 327">
              <a:extLst>
                <a:ext uri="{FF2B5EF4-FFF2-40B4-BE49-F238E27FC236}">
                  <a16:creationId xmlns:a16="http://schemas.microsoft.com/office/drawing/2014/main" id="{DA4CAE21-EB0E-68CE-7F72-A3B332E1EFB3}"/>
                </a:ext>
              </a:extLst>
            </p:cNvPr>
            <p:cNvSpPr/>
            <p:nvPr/>
          </p:nvSpPr>
          <p:spPr>
            <a:xfrm>
              <a:off x="1237488" y="4056541"/>
              <a:ext cx="120978" cy="8908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9" name="Rectangle: Rounded Corners 328">
              <a:extLst>
                <a:ext uri="{FF2B5EF4-FFF2-40B4-BE49-F238E27FC236}">
                  <a16:creationId xmlns:a16="http://schemas.microsoft.com/office/drawing/2014/main" id="{9FAF465D-9C86-58D6-E3DB-AF55930BAA63}"/>
                </a:ext>
              </a:extLst>
            </p:cNvPr>
            <p:cNvSpPr/>
            <p:nvPr/>
          </p:nvSpPr>
          <p:spPr>
            <a:xfrm flipH="1">
              <a:off x="1242417" y="4944893"/>
              <a:ext cx="111119" cy="32980"/>
            </a:xfrm>
            <a:prstGeom prst="roundRect">
              <a:avLst/>
            </a:prstGeom>
            <a:solidFill>
              <a:srgbClr val="FB95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0" name="Freeform: Shape 329">
              <a:extLst>
                <a:ext uri="{FF2B5EF4-FFF2-40B4-BE49-F238E27FC236}">
                  <a16:creationId xmlns:a16="http://schemas.microsoft.com/office/drawing/2014/main" id="{E32D8C19-8D52-6EC3-4812-7CB79727141F}"/>
                </a:ext>
              </a:extLst>
            </p:cNvPr>
            <p:cNvSpPr/>
            <p:nvPr/>
          </p:nvSpPr>
          <p:spPr>
            <a:xfrm flipH="1">
              <a:off x="1676180" y="4322363"/>
              <a:ext cx="1278518" cy="311735"/>
            </a:xfrm>
            <a:custGeom>
              <a:avLst/>
              <a:gdLst>
                <a:gd name="connsiteX0" fmla="*/ 775593 w 1071871"/>
                <a:gd name="connsiteY0" fmla="*/ 0 h 261349"/>
                <a:gd name="connsiteX1" fmla="*/ 790224 w 1071871"/>
                <a:gd name="connsiteY1" fmla="*/ 29574 h 261349"/>
                <a:gd name="connsiteX2" fmla="*/ 822258 w 1071871"/>
                <a:gd name="connsiteY2" fmla="*/ 29574 h 261349"/>
                <a:gd name="connsiteX3" fmla="*/ 838902 w 1071871"/>
                <a:gd name="connsiteY3" fmla="*/ 179 h 261349"/>
                <a:gd name="connsiteX4" fmla="*/ 825972 w 1071871"/>
                <a:gd name="connsiteY4" fmla="*/ 29306 h 261349"/>
                <a:gd name="connsiteX5" fmla="*/ 984401 w 1071871"/>
                <a:gd name="connsiteY5" fmla="*/ 32124 h 261349"/>
                <a:gd name="connsiteX6" fmla="*/ 996974 w 1071871"/>
                <a:gd name="connsiteY6" fmla="*/ 34898 h 261349"/>
                <a:gd name="connsiteX7" fmla="*/ 1033975 w 1071871"/>
                <a:gd name="connsiteY7" fmla="*/ 49484 h 261349"/>
                <a:gd name="connsiteX8" fmla="*/ 1071871 w 1071871"/>
                <a:gd name="connsiteY8" fmla="*/ 81922 h 261349"/>
                <a:gd name="connsiteX9" fmla="*/ 1045026 w 1071871"/>
                <a:gd name="connsiteY9" fmla="*/ 73287 h 261349"/>
                <a:gd name="connsiteX10" fmla="*/ 1037823 w 1071871"/>
                <a:gd name="connsiteY10" fmla="*/ 77269 h 261349"/>
                <a:gd name="connsiteX11" fmla="*/ 1052543 w 1071871"/>
                <a:gd name="connsiteY11" fmla="*/ 100892 h 261349"/>
                <a:gd name="connsiteX12" fmla="*/ 1051872 w 1071871"/>
                <a:gd name="connsiteY12" fmla="*/ 119102 h 261349"/>
                <a:gd name="connsiteX13" fmla="*/ 995542 w 1071871"/>
                <a:gd name="connsiteY13" fmla="*/ 73958 h 261349"/>
                <a:gd name="connsiteX14" fmla="*/ 956617 w 1071871"/>
                <a:gd name="connsiteY14" fmla="*/ 69081 h 261349"/>
                <a:gd name="connsiteX15" fmla="*/ 841318 w 1071871"/>
                <a:gd name="connsiteY15" fmla="*/ 67917 h 261349"/>
                <a:gd name="connsiteX16" fmla="*/ 785615 w 1071871"/>
                <a:gd name="connsiteY16" fmla="*/ 66754 h 261349"/>
                <a:gd name="connsiteX17" fmla="*/ 725662 w 1071871"/>
                <a:gd name="connsiteY17" fmla="*/ 67023 h 261349"/>
                <a:gd name="connsiteX18" fmla="*/ 591079 w 1071871"/>
                <a:gd name="connsiteY18" fmla="*/ 67202 h 261349"/>
                <a:gd name="connsiteX19" fmla="*/ 592198 w 1071871"/>
                <a:gd name="connsiteY19" fmla="*/ 108364 h 261349"/>
                <a:gd name="connsiteX20" fmla="*/ 592019 w 1071871"/>
                <a:gd name="connsiteY20" fmla="*/ 188943 h 261349"/>
                <a:gd name="connsiteX21" fmla="*/ 592780 w 1071871"/>
                <a:gd name="connsiteY21" fmla="*/ 260664 h 261349"/>
                <a:gd name="connsiteX22" fmla="*/ 557300 w 1071871"/>
                <a:gd name="connsiteY22" fmla="*/ 260753 h 261349"/>
                <a:gd name="connsiteX23" fmla="*/ 556405 w 1071871"/>
                <a:gd name="connsiteY23" fmla="*/ 170868 h 261349"/>
                <a:gd name="connsiteX24" fmla="*/ 555913 w 1071871"/>
                <a:gd name="connsiteY24" fmla="*/ 108945 h 261349"/>
                <a:gd name="connsiteX25" fmla="*/ 557076 w 1071871"/>
                <a:gd name="connsiteY25" fmla="*/ 66754 h 261349"/>
                <a:gd name="connsiteX26" fmla="*/ 526473 w 1071871"/>
                <a:gd name="connsiteY26" fmla="*/ 66889 h 261349"/>
                <a:gd name="connsiteX27" fmla="*/ 465177 w 1071871"/>
                <a:gd name="connsiteY27" fmla="*/ 67247 h 261349"/>
                <a:gd name="connsiteX28" fmla="*/ 97089 w 1071871"/>
                <a:gd name="connsiteY28" fmla="*/ 67559 h 261349"/>
                <a:gd name="connsiteX29" fmla="*/ 32796 w 1071871"/>
                <a:gd name="connsiteY29" fmla="*/ 86977 h 261349"/>
                <a:gd name="connsiteX30" fmla="*/ 0 w 1071871"/>
                <a:gd name="connsiteY30" fmla="*/ 74629 h 261349"/>
                <a:gd name="connsiteX31" fmla="*/ 1163 w 1071871"/>
                <a:gd name="connsiteY31" fmla="*/ 63399 h 261349"/>
                <a:gd name="connsiteX32" fmla="*/ 44831 w 1071871"/>
                <a:gd name="connsiteY32" fmla="*/ 38120 h 261349"/>
                <a:gd name="connsiteX33" fmla="*/ 135432 w 1071871"/>
                <a:gd name="connsiteY33" fmla="*/ 29485 h 261349"/>
                <a:gd name="connsiteX34" fmla="*/ 140443 w 1071871"/>
                <a:gd name="connsiteY34" fmla="*/ 29574 h 261349"/>
                <a:gd name="connsiteX35" fmla="*/ 540343 w 1071871"/>
                <a:gd name="connsiteY35" fmla="*/ 28724 h 261349"/>
                <a:gd name="connsiteX36" fmla="*/ 694119 w 1071871"/>
                <a:gd name="connsiteY36" fmla="*/ 29485 h 261349"/>
                <a:gd name="connsiteX37" fmla="*/ 786823 w 1071871"/>
                <a:gd name="connsiteY37" fmla="*/ 29529 h 261349"/>
                <a:gd name="connsiteX38" fmla="*/ 775593 w 1071871"/>
                <a:gd name="connsiteY38" fmla="*/ 0 h 26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1871" h="261349">
                  <a:moveTo>
                    <a:pt x="775593" y="0"/>
                  </a:moveTo>
                  <a:cubicBezTo>
                    <a:pt x="781141" y="9485"/>
                    <a:pt x="786018" y="19373"/>
                    <a:pt x="790224" y="29574"/>
                  </a:cubicBezTo>
                  <a:cubicBezTo>
                    <a:pt x="800872" y="29664"/>
                    <a:pt x="811521" y="29664"/>
                    <a:pt x="822258" y="29574"/>
                  </a:cubicBezTo>
                  <a:cubicBezTo>
                    <a:pt x="827270" y="19462"/>
                    <a:pt x="832683" y="9575"/>
                    <a:pt x="838902" y="179"/>
                  </a:cubicBezTo>
                  <a:cubicBezTo>
                    <a:pt x="834697" y="9932"/>
                    <a:pt x="830312" y="19597"/>
                    <a:pt x="825972" y="29306"/>
                  </a:cubicBezTo>
                  <a:cubicBezTo>
                    <a:pt x="878722" y="30603"/>
                    <a:pt x="931786" y="26621"/>
                    <a:pt x="984401" y="32124"/>
                  </a:cubicBezTo>
                  <a:cubicBezTo>
                    <a:pt x="987533" y="32840"/>
                    <a:pt x="993797" y="34227"/>
                    <a:pt x="996974" y="34898"/>
                  </a:cubicBezTo>
                  <a:cubicBezTo>
                    <a:pt x="1009725" y="38433"/>
                    <a:pt x="1022208" y="43265"/>
                    <a:pt x="1033975" y="49484"/>
                  </a:cubicBezTo>
                  <a:cubicBezTo>
                    <a:pt x="1048069" y="58388"/>
                    <a:pt x="1061223" y="68991"/>
                    <a:pt x="1071871" y="81922"/>
                  </a:cubicBezTo>
                  <a:cubicBezTo>
                    <a:pt x="1061402" y="85367"/>
                    <a:pt x="1053125" y="78611"/>
                    <a:pt x="1045026" y="73287"/>
                  </a:cubicBezTo>
                  <a:cubicBezTo>
                    <a:pt x="1043237" y="74271"/>
                    <a:pt x="1039657" y="76284"/>
                    <a:pt x="1037823" y="77269"/>
                  </a:cubicBezTo>
                  <a:cubicBezTo>
                    <a:pt x="1043415" y="84517"/>
                    <a:pt x="1053303" y="90601"/>
                    <a:pt x="1052543" y="100892"/>
                  </a:cubicBezTo>
                  <a:cubicBezTo>
                    <a:pt x="1052677" y="106932"/>
                    <a:pt x="1052230" y="113017"/>
                    <a:pt x="1051872" y="119102"/>
                  </a:cubicBezTo>
                  <a:cubicBezTo>
                    <a:pt x="1039076" y="97760"/>
                    <a:pt x="1017958" y="83577"/>
                    <a:pt x="995542" y="73958"/>
                  </a:cubicBezTo>
                  <a:cubicBezTo>
                    <a:pt x="982880" y="70468"/>
                    <a:pt x="969682" y="69394"/>
                    <a:pt x="956617" y="69081"/>
                  </a:cubicBezTo>
                  <a:cubicBezTo>
                    <a:pt x="918184" y="68589"/>
                    <a:pt x="879751" y="66754"/>
                    <a:pt x="841318" y="67917"/>
                  </a:cubicBezTo>
                  <a:cubicBezTo>
                    <a:pt x="822706" y="67828"/>
                    <a:pt x="804138" y="67023"/>
                    <a:pt x="785615" y="66754"/>
                  </a:cubicBezTo>
                  <a:cubicBezTo>
                    <a:pt x="765616" y="66352"/>
                    <a:pt x="745616" y="66620"/>
                    <a:pt x="725662" y="67023"/>
                  </a:cubicBezTo>
                  <a:cubicBezTo>
                    <a:pt x="680786" y="67381"/>
                    <a:pt x="635910" y="66173"/>
                    <a:pt x="591079" y="67202"/>
                  </a:cubicBezTo>
                  <a:cubicBezTo>
                    <a:pt x="591661" y="80893"/>
                    <a:pt x="592198" y="94628"/>
                    <a:pt x="592198" y="108364"/>
                  </a:cubicBezTo>
                  <a:cubicBezTo>
                    <a:pt x="591706" y="135209"/>
                    <a:pt x="591214" y="162098"/>
                    <a:pt x="592019" y="188943"/>
                  </a:cubicBezTo>
                  <a:cubicBezTo>
                    <a:pt x="592645" y="212835"/>
                    <a:pt x="592556" y="236772"/>
                    <a:pt x="592780" y="260664"/>
                  </a:cubicBezTo>
                  <a:cubicBezTo>
                    <a:pt x="580923" y="261469"/>
                    <a:pt x="569111" y="261648"/>
                    <a:pt x="557300" y="260753"/>
                  </a:cubicBezTo>
                  <a:cubicBezTo>
                    <a:pt x="557613" y="230777"/>
                    <a:pt x="557523" y="200800"/>
                    <a:pt x="556405" y="170868"/>
                  </a:cubicBezTo>
                  <a:cubicBezTo>
                    <a:pt x="556315" y="150242"/>
                    <a:pt x="556405" y="129571"/>
                    <a:pt x="555913" y="108945"/>
                  </a:cubicBezTo>
                  <a:cubicBezTo>
                    <a:pt x="555958" y="94852"/>
                    <a:pt x="556405" y="80803"/>
                    <a:pt x="557076" y="66754"/>
                  </a:cubicBezTo>
                  <a:cubicBezTo>
                    <a:pt x="546875" y="66754"/>
                    <a:pt x="536629" y="66844"/>
                    <a:pt x="526473" y="66889"/>
                  </a:cubicBezTo>
                  <a:cubicBezTo>
                    <a:pt x="506026" y="66844"/>
                    <a:pt x="485579" y="66889"/>
                    <a:pt x="465177" y="67247"/>
                  </a:cubicBezTo>
                  <a:cubicBezTo>
                    <a:pt x="342496" y="67515"/>
                    <a:pt x="219770" y="67067"/>
                    <a:pt x="97089" y="67559"/>
                  </a:cubicBezTo>
                  <a:cubicBezTo>
                    <a:pt x="74226" y="67202"/>
                    <a:pt x="51274" y="73287"/>
                    <a:pt x="32796" y="86977"/>
                  </a:cubicBezTo>
                  <a:cubicBezTo>
                    <a:pt x="23400" y="79371"/>
                    <a:pt x="11991" y="75300"/>
                    <a:pt x="0" y="74629"/>
                  </a:cubicBezTo>
                  <a:cubicBezTo>
                    <a:pt x="358" y="70871"/>
                    <a:pt x="761" y="67112"/>
                    <a:pt x="1163" y="63399"/>
                  </a:cubicBezTo>
                  <a:cubicBezTo>
                    <a:pt x="14362" y="52884"/>
                    <a:pt x="28769" y="43533"/>
                    <a:pt x="44831" y="38120"/>
                  </a:cubicBezTo>
                  <a:cubicBezTo>
                    <a:pt x="73868" y="27740"/>
                    <a:pt x="105142" y="29798"/>
                    <a:pt x="135432" y="29485"/>
                  </a:cubicBezTo>
                  <a:lnTo>
                    <a:pt x="140443" y="29574"/>
                  </a:lnTo>
                  <a:cubicBezTo>
                    <a:pt x="273728" y="28992"/>
                    <a:pt x="407058" y="30335"/>
                    <a:pt x="540343" y="28724"/>
                  </a:cubicBezTo>
                  <a:cubicBezTo>
                    <a:pt x="591616" y="28187"/>
                    <a:pt x="642845" y="30603"/>
                    <a:pt x="694119" y="29485"/>
                  </a:cubicBezTo>
                  <a:cubicBezTo>
                    <a:pt x="725035" y="29619"/>
                    <a:pt x="755952" y="29708"/>
                    <a:pt x="786823" y="29529"/>
                  </a:cubicBezTo>
                  <a:cubicBezTo>
                    <a:pt x="782976" y="19731"/>
                    <a:pt x="779172" y="9888"/>
                    <a:pt x="775593" y="0"/>
                  </a:cubicBezTo>
                  <a:close/>
                </a:path>
              </a:pathLst>
            </a:custGeom>
            <a:solidFill>
              <a:srgbClr val="4569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1" name="Freeform: Shape 330">
              <a:extLst>
                <a:ext uri="{FF2B5EF4-FFF2-40B4-BE49-F238E27FC236}">
                  <a16:creationId xmlns:a16="http://schemas.microsoft.com/office/drawing/2014/main" id="{A2BD7C9A-45EC-D270-6F20-CD368BB6E188}"/>
                </a:ext>
              </a:extLst>
            </p:cNvPr>
            <p:cNvSpPr/>
            <p:nvPr/>
          </p:nvSpPr>
          <p:spPr>
            <a:xfrm flipH="1">
              <a:off x="1622654" y="4397985"/>
              <a:ext cx="1393094" cy="537140"/>
            </a:xfrm>
            <a:custGeom>
              <a:avLst/>
              <a:gdLst>
                <a:gd name="connsiteX0" fmla="*/ 48675 w 1167927"/>
                <a:gd name="connsiteY0" fmla="*/ 3042 h 450322"/>
                <a:gd name="connsiteX1" fmla="*/ 52344 w 1167927"/>
                <a:gd name="connsiteY1" fmla="*/ 0 h 450322"/>
                <a:gd name="connsiteX2" fmla="*/ 51181 w 1167927"/>
                <a:gd name="connsiteY2" fmla="*/ 11230 h 450322"/>
                <a:gd name="connsiteX3" fmla="*/ 83976 w 1167927"/>
                <a:gd name="connsiteY3" fmla="*/ 23579 h 450322"/>
                <a:gd name="connsiteX4" fmla="*/ 67556 w 1167927"/>
                <a:gd name="connsiteY4" fmla="*/ 38836 h 450322"/>
                <a:gd name="connsiteX5" fmla="*/ 42546 w 1167927"/>
                <a:gd name="connsiteY5" fmla="*/ 98700 h 450322"/>
                <a:gd name="connsiteX6" fmla="*/ 40174 w 1167927"/>
                <a:gd name="connsiteY6" fmla="*/ 197176 h 450322"/>
                <a:gd name="connsiteX7" fmla="*/ 153594 w 1167927"/>
                <a:gd name="connsiteY7" fmla="*/ 196549 h 450322"/>
                <a:gd name="connsiteX8" fmla="*/ 608480 w 1167927"/>
                <a:gd name="connsiteY8" fmla="*/ 197355 h 450322"/>
                <a:gd name="connsiteX9" fmla="*/ 643960 w 1167927"/>
                <a:gd name="connsiteY9" fmla="*/ 197265 h 450322"/>
                <a:gd name="connsiteX10" fmla="*/ 885564 w 1167927"/>
                <a:gd name="connsiteY10" fmla="*/ 194939 h 450322"/>
                <a:gd name="connsiteX11" fmla="*/ 971826 w 1167927"/>
                <a:gd name="connsiteY11" fmla="*/ 196415 h 450322"/>
                <a:gd name="connsiteX12" fmla="*/ 1007261 w 1167927"/>
                <a:gd name="connsiteY12" fmla="*/ 194625 h 450322"/>
                <a:gd name="connsiteX13" fmla="*/ 1055582 w 1167927"/>
                <a:gd name="connsiteY13" fmla="*/ 197713 h 450322"/>
                <a:gd name="connsiteX14" fmla="*/ 1089048 w 1167927"/>
                <a:gd name="connsiteY14" fmla="*/ 194849 h 450322"/>
                <a:gd name="connsiteX15" fmla="*/ 1119830 w 1167927"/>
                <a:gd name="connsiteY15" fmla="*/ 197534 h 450322"/>
                <a:gd name="connsiteX16" fmla="*/ 1115222 w 1167927"/>
                <a:gd name="connsiteY16" fmla="*/ 166438 h 450322"/>
                <a:gd name="connsiteX17" fmla="*/ 1117549 w 1167927"/>
                <a:gd name="connsiteY17" fmla="*/ 131316 h 450322"/>
                <a:gd name="connsiteX18" fmla="*/ 1113030 w 1167927"/>
                <a:gd name="connsiteY18" fmla="*/ 84696 h 450322"/>
                <a:gd name="connsiteX19" fmla="*/ 1103052 w 1167927"/>
                <a:gd name="connsiteY19" fmla="*/ 55703 h 450322"/>
                <a:gd name="connsiteX20" fmla="*/ 1103724 w 1167927"/>
                <a:gd name="connsiteY20" fmla="*/ 37493 h 450322"/>
                <a:gd name="connsiteX21" fmla="*/ 1089004 w 1167927"/>
                <a:gd name="connsiteY21" fmla="*/ 13870 h 450322"/>
                <a:gd name="connsiteX22" fmla="*/ 1096207 w 1167927"/>
                <a:gd name="connsiteY22" fmla="*/ 9888 h 450322"/>
                <a:gd name="connsiteX23" fmla="*/ 1123052 w 1167927"/>
                <a:gd name="connsiteY23" fmla="*/ 18523 h 450322"/>
                <a:gd name="connsiteX24" fmla="*/ 1142201 w 1167927"/>
                <a:gd name="connsiteY24" fmla="*/ 48276 h 450322"/>
                <a:gd name="connsiteX25" fmla="*/ 1153163 w 1167927"/>
                <a:gd name="connsiteY25" fmla="*/ 92436 h 450322"/>
                <a:gd name="connsiteX26" fmla="*/ 1157100 w 1167927"/>
                <a:gd name="connsiteY26" fmla="*/ 119728 h 450322"/>
                <a:gd name="connsiteX27" fmla="*/ 1159740 w 1167927"/>
                <a:gd name="connsiteY27" fmla="*/ 206169 h 450322"/>
                <a:gd name="connsiteX28" fmla="*/ 1164169 w 1167927"/>
                <a:gd name="connsiteY28" fmla="*/ 253282 h 450322"/>
                <a:gd name="connsiteX29" fmla="*/ 1167928 w 1167927"/>
                <a:gd name="connsiteY29" fmla="*/ 255921 h 450322"/>
                <a:gd name="connsiteX30" fmla="*/ 1160277 w 1167927"/>
                <a:gd name="connsiteY30" fmla="*/ 260798 h 450322"/>
                <a:gd name="connsiteX31" fmla="*/ 1159516 w 1167927"/>
                <a:gd name="connsiteY31" fmla="*/ 351578 h 450322"/>
                <a:gd name="connsiteX32" fmla="*/ 1153073 w 1167927"/>
                <a:gd name="connsiteY32" fmla="*/ 383971 h 450322"/>
                <a:gd name="connsiteX33" fmla="*/ 1139517 w 1167927"/>
                <a:gd name="connsiteY33" fmla="*/ 413143 h 450322"/>
                <a:gd name="connsiteX34" fmla="*/ 1123320 w 1167927"/>
                <a:gd name="connsiteY34" fmla="*/ 412651 h 450322"/>
                <a:gd name="connsiteX35" fmla="*/ 1116743 w 1167927"/>
                <a:gd name="connsiteY35" fmla="*/ 425491 h 450322"/>
                <a:gd name="connsiteX36" fmla="*/ 1101173 w 1167927"/>
                <a:gd name="connsiteY36" fmla="*/ 407192 h 450322"/>
                <a:gd name="connsiteX37" fmla="*/ 1118041 w 1167927"/>
                <a:gd name="connsiteY37" fmla="*/ 356276 h 450322"/>
                <a:gd name="connsiteX38" fmla="*/ 1098131 w 1167927"/>
                <a:gd name="connsiteY38" fmla="*/ 356545 h 450322"/>
                <a:gd name="connsiteX39" fmla="*/ 974063 w 1167927"/>
                <a:gd name="connsiteY39" fmla="*/ 356366 h 450322"/>
                <a:gd name="connsiteX40" fmla="*/ 878898 w 1167927"/>
                <a:gd name="connsiteY40" fmla="*/ 356545 h 450322"/>
                <a:gd name="connsiteX41" fmla="*/ 745702 w 1167927"/>
                <a:gd name="connsiteY41" fmla="*/ 355471 h 450322"/>
                <a:gd name="connsiteX42" fmla="*/ 710044 w 1167927"/>
                <a:gd name="connsiteY42" fmla="*/ 356142 h 450322"/>
                <a:gd name="connsiteX43" fmla="*/ 643781 w 1167927"/>
                <a:gd name="connsiteY43" fmla="*/ 356097 h 450322"/>
                <a:gd name="connsiteX44" fmla="*/ 642573 w 1167927"/>
                <a:gd name="connsiteY44" fmla="*/ 356187 h 450322"/>
                <a:gd name="connsiteX45" fmla="*/ 624095 w 1167927"/>
                <a:gd name="connsiteY45" fmla="*/ 400704 h 450322"/>
                <a:gd name="connsiteX46" fmla="*/ 612552 w 1167927"/>
                <a:gd name="connsiteY46" fmla="*/ 441375 h 450322"/>
                <a:gd name="connsiteX47" fmla="*/ 610091 w 1167927"/>
                <a:gd name="connsiteY47" fmla="*/ 441509 h 450322"/>
                <a:gd name="connsiteX48" fmla="*/ 608659 w 1167927"/>
                <a:gd name="connsiteY48" fmla="*/ 422762 h 450322"/>
                <a:gd name="connsiteX49" fmla="*/ 610091 w 1167927"/>
                <a:gd name="connsiteY49" fmla="*/ 356589 h 450322"/>
                <a:gd name="connsiteX50" fmla="*/ 287102 w 1167927"/>
                <a:gd name="connsiteY50" fmla="*/ 354844 h 450322"/>
                <a:gd name="connsiteX51" fmla="*/ 43575 w 1167927"/>
                <a:gd name="connsiteY51" fmla="*/ 353816 h 450322"/>
                <a:gd name="connsiteX52" fmla="*/ 52255 w 1167927"/>
                <a:gd name="connsiteY52" fmla="*/ 381197 h 450322"/>
                <a:gd name="connsiteX53" fmla="*/ 76594 w 1167927"/>
                <a:gd name="connsiteY53" fmla="*/ 416990 h 450322"/>
                <a:gd name="connsiteX54" fmla="*/ 56952 w 1167927"/>
                <a:gd name="connsiteY54" fmla="*/ 450323 h 450322"/>
                <a:gd name="connsiteX55" fmla="*/ 40443 w 1167927"/>
                <a:gd name="connsiteY55" fmla="*/ 434797 h 450322"/>
                <a:gd name="connsiteX56" fmla="*/ 8497 w 1167927"/>
                <a:gd name="connsiteY56" fmla="*/ 375157 h 450322"/>
                <a:gd name="connsiteX57" fmla="*/ 3844 w 1167927"/>
                <a:gd name="connsiteY57" fmla="*/ 345180 h 450322"/>
                <a:gd name="connsiteX58" fmla="*/ 3621 w 1167927"/>
                <a:gd name="connsiteY58" fmla="*/ 342765 h 450322"/>
                <a:gd name="connsiteX59" fmla="*/ 444 w 1167927"/>
                <a:gd name="connsiteY59" fmla="*/ 301781 h 450322"/>
                <a:gd name="connsiteX60" fmla="*/ 131 w 1167927"/>
                <a:gd name="connsiteY60" fmla="*/ 209480 h 450322"/>
                <a:gd name="connsiteX61" fmla="*/ 1697 w 1167927"/>
                <a:gd name="connsiteY61" fmla="*/ 98610 h 450322"/>
                <a:gd name="connsiteX62" fmla="*/ 48675 w 1167927"/>
                <a:gd name="connsiteY62" fmla="*/ 3042 h 450322"/>
                <a:gd name="connsiteX63" fmla="*/ 406831 w 1167927"/>
                <a:gd name="connsiteY63" fmla="*/ 249389 h 450322"/>
                <a:gd name="connsiteX64" fmla="*/ 406562 w 1167927"/>
                <a:gd name="connsiteY64" fmla="*/ 306121 h 450322"/>
                <a:gd name="connsiteX65" fmla="*/ 511123 w 1167927"/>
                <a:gd name="connsiteY65" fmla="*/ 306121 h 450322"/>
                <a:gd name="connsiteX66" fmla="*/ 510138 w 1167927"/>
                <a:gd name="connsiteY66" fmla="*/ 250015 h 450322"/>
                <a:gd name="connsiteX67" fmla="*/ 406831 w 1167927"/>
                <a:gd name="connsiteY67" fmla="*/ 249389 h 45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7927" h="450322">
                  <a:moveTo>
                    <a:pt x="48675" y="3042"/>
                  </a:moveTo>
                  <a:cubicBezTo>
                    <a:pt x="49615" y="2282"/>
                    <a:pt x="51449" y="761"/>
                    <a:pt x="52344" y="0"/>
                  </a:cubicBezTo>
                  <a:cubicBezTo>
                    <a:pt x="51941" y="3714"/>
                    <a:pt x="51539" y="7472"/>
                    <a:pt x="51181" y="11230"/>
                  </a:cubicBezTo>
                  <a:cubicBezTo>
                    <a:pt x="63172" y="11901"/>
                    <a:pt x="74581" y="15973"/>
                    <a:pt x="83976" y="23579"/>
                  </a:cubicBezTo>
                  <a:cubicBezTo>
                    <a:pt x="78249" y="28366"/>
                    <a:pt x="72746" y="33422"/>
                    <a:pt x="67556" y="38836"/>
                  </a:cubicBezTo>
                  <a:cubicBezTo>
                    <a:pt x="51628" y="54674"/>
                    <a:pt x="45096" y="76955"/>
                    <a:pt x="42546" y="98700"/>
                  </a:cubicBezTo>
                  <a:cubicBezTo>
                    <a:pt x="38922" y="131361"/>
                    <a:pt x="39011" y="164336"/>
                    <a:pt x="40174" y="197176"/>
                  </a:cubicBezTo>
                  <a:cubicBezTo>
                    <a:pt x="77981" y="197310"/>
                    <a:pt x="115832" y="199413"/>
                    <a:pt x="153594" y="196549"/>
                  </a:cubicBezTo>
                  <a:cubicBezTo>
                    <a:pt x="305223" y="196549"/>
                    <a:pt x="456896" y="195118"/>
                    <a:pt x="608480" y="197355"/>
                  </a:cubicBezTo>
                  <a:cubicBezTo>
                    <a:pt x="620292" y="198249"/>
                    <a:pt x="632104" y="198071"/>
                    <a:pt x="643960" y="197265"/>
                  </a:cubicBezTo>
                  <a:cubicBezTo>
                    <a:pt x="724450" y="194715"/>
                    <a:pt x="805119" y="198921"/>
                    <a:pt x="885564" y="194939"/>
                  </a:cubicBezTo>
                  <a:cubicBezTo>
                    <a:pt x="914288" y="196728"/>
                    <a:pt x="943102" y="195431"/>
                    <a:pt x="971826" y="196415"/>
                  </a:cubicBezTo>
                  <a:cubicBezTo>
                    <a:pt x="983593" y="196728"/>
                    <a:pt x="995628" y="197086"/>
                    <a:pt x="1007261" y="194625"/>
                  </a:cubicBezTo>
                  <a:cubicBezTo>
                    <a:pt x="1023278" y="196549"/>
                    <a:pt x="1039385" y="197847"/>
                    <a:pt x="1055582" y="197713"/>
                  </a:cubicBezTo>
                  <a:cubicBezTo>
                    <a:pt x="1066722" y="197489"/>
                    <a:pt x="1077997" y="197131"/>
                    <a:pt x="1089048" y="194849"/>
                  </a:cubicBezTo>
                  <a:cubicBezTo>
                    <a:pt x="1099249" y="195744"/>
                    <a:pt x="1109540" y="196594"/>
                    <a:pt x="1119830" y="197534"/>
                  </a:cubicBezTo>
                  <a:cubicBezTo>
                    <a:pt x="1118265" y="187109"/>
                    <a:pt x="1116788" y="176774"/>
                    <a:pt x="1115222" y="166438"/>
                  </a:cubicBezTo>
                  <a:cubicBezTo>
                    <a:pt x="1119920" y="155208"/>
                    <a:pt x="1119652" y="142994"/>
                    <a:pt x="1117549" y="131316"/>
                  </a:cubicBezTo>
                  <a:cubicBezTo>
                    <a:pt x="1116117" y="115746"/>
                    <a:pt x="1116341" y="99997"/>
                    <a:pt x="1113030" y="84696"/>
                  </a:cubicBezTo>
                  <a:cubicBezTo>
                    <a:pt x="1110345" y="74808"/>
                    <a:pt x="1107124" y="65054"/>
                    <a:pt x="1103052" y="55703"/>
                  </a:cubicBezTo>
                  <a:cubicBezTo>
                    <a:pt x="1103410" y="49618"/>
                    <a:pt x="1103858" y="43534"/>
                    <a:pt x="1103724" y="37493"/>
                  </a:cubicBezTo>
                  <a:cubicBezTo>
                    <a:pt x="1104484" y="27203"/>
                    <a:pt x="1094596" y="21118"/>
                    <a:pt x="1089004" y="13870"/>
                  </a:cubicBezTo>
                  <a:cubicBezTo>
                    <a:pt x="1090838" y="12886"/>
                    <a:pt x="1094417" y="10872"/>
                    <a:pt x="1096207" y="9888"/>
                  </a:cubicBezTo>
                  <a:cubicBezTo>
                    <a:pt x="1104305" y="15212"/>
                    <a:pt x="1112582" y="21968"/>
                    <a:pt x="1123052" y="18523"/>
                  </a:cubicBezTo>
                  <a:cubicBezTo>
                    <a:pt x="1130524" y="27650"/>
                    <a:pt x="1137101" y="37583"/>
                    <a:pt x="1142201" y="48276"/>
                  </a:cubicBezTo>
                  <a:cubicBezTo>
                    <a:pt x="1146094" y="62906"/>
                    <a:pt x="1149628" y="77671"/>
                    <a:pt x="1153163" y="92436"/>
                  </a:cubicBezTo>
                  <a:cubicBezTo>
                    <a:pt x="1154774" y="101429"/>
                    <a:pt x="1155982" y="110556"/>
                    <a:pt x="1157100" y="119728"/>
                  </a:cubicBezTo>
                  <a:cubicBezTo>
                    <a:pt x="1160187" y="148408"/>
                    <a:pt x="1159606" y="177310"/>
                    <a:pt x="1159740" y="206169"/>
                  </a:cubicBezTo>
                  <a:cubicBezTo>
                    <a:pt x="1159919" y="221873"/>
                    <a:pt x="1158398" y="238248"/>
                    <a:pt x="1164169" y="253282"/>
                  </a:cubicBezTo>
                  <a:lnTo>
                    <a:pt x="1167928" y="255921"/>
                  </a:lnTo>
                  <a:cubicBezTo>
                    <a:pt x="1166004" y="257174"/>
                    <a:pt x="1162201" y="259590"/>
                    <a:pt x="1160277" y="260798"/>
                  </a:cubicBezTo>
                  <a:cubicBezTo>
                    <a:pt x="1160187" y="291043"/>
                    <a:pt x="1161574" y="321333"/>
                    <a:pt x="1159516" y="351578"/>
                  </a:cubicBezTo>
                  <a:cubicBezTo>
                    <a:pt x="1158129" y="362495"/>
                    <a:pt x="1155579" y="373233"/>
                    <a:pt x="1153073" y="383971"/>
                  </a:cubicBezTo>
                  <a:cubicBezTo>
                    <a:pt x="1149047" y="393904"/>
                    <a:pt x="1144573" y="403658"/>
                    <a:pt x="1139517" y="413143"/>
                  </a:cubicBezTo>
                  <a:cubicBezTo>
                    <a:pt x="1134058" y="412919"/>
                    <a:pt x="1128689" y="412740"/>
                    <a:pt x="1123320" y="412651"/>
                  </a:cubicBezTo>
                  <a:cubicBezTo>
                    <a:pt x="1121039" y="416856"/>
                    <a:pt x="1118891" y="421151"/>
                    <a:pt x="1116743" y="425491"/>
                  </a:cubicBezTo>
                  <a:cubicBezTo>
                    <a:pt x="1111553" y="419362"/>
                    <a:pt x="1106318" y="413277"/>
                    <a:pt x="1101173" y="407192"/>
                  </a:cubicBezTo>
                  <a:cubicBezTo>
                    <a:pt x="1111017" y="391935"/>
                    <a:pt x="1117549" y="374531"/>
                    <a:pt x="1118041" y="356276"/>
                  </a:cubicBezTo>
                  <a:cubicBezTo>
                    <a:pt x="1111329" y="356321"/>
                    <a:pt x="1104708" y="356411"/>
                    <a:pt x="1098131" y="356545"/>
                  </a:cubicBezTo>
                  <a:cubicBezTo>
                    <a:pt x="1056745" y="356231"/>
                    <a:pt x="1015404" y="356500"/>
                    <a:pt x="974063" y="356366"/>
                  </a:cubicBezTo>
                  <a:cubicBezTo>
                    <a:pt x="942341" y="355874"/>
                    <a:pt x="910619" y="356545"/>
                    <a:pt x="878898" y="356545"/>
                  </a:cubicBezTo>
                  <a:cubicBezTo>
                    <a:pt x="834514" y="356097"/>
                    <a:pt x="790086" y="356768"/>
                    <a:pt x="745702" y="355471"/>
                  </a:cubicBezTo>
                  <a:cubicBezTo>
                    <a:pt x="733801" y="355202"/>
                    <a:pt x="721900" y="355605"/>
                    <a:pt x="710044" y="356142"/>
                  </a:cubicBezTo>
                  <a:cubicBezTo>
                    <a:pt x="687941" y="356903"/>
                    <a:pt x="665839" y="355829"/>
                    <a:pt x="643781" y="356097"/>
                  </a:cubicBezTo>
                  <a:lnTo>
                    <a:pt x="642573" y="356187"/>
                  </a:lnTo>
                  <a:cubicBezTo>
                    <a:pt x="638278" y="371712"/>
                    <a:pt x="634654" y="387953"/>
                    <a:pt x="624095" y="400704"/>
                  </a:cubicBezTo>
                  <a:cubicBezTo>
                    <a:pt x="613939" y="411890"/>
                    <a:pt x="614073" y="427236"/>
                    <a:pt x="612552" y="441375"/>
                  </a:cubicBezTo>
                  <a:lnTo>
                    <a:pt x="610091" y="441509"/>
                  </a:lnTo>
                  <a:cubicBezTo>
                    <a:pt x="609509" y="435200"/>
                    <a:pt x="609017" y="428981"/>
                    <a:pt x="608659" y="422762"/>
                  </a:cubicBezTo>
                  <a:cubicBezTo>
                    <a:pt x="609688" y="400704"/>
                    <a:pt x="610673" y="378647"/>
                    <a:pt x="610091" y="356589"/>
                  </a:cubicBezTo>
                  <a:cubicBezTo>
                    <a:pt x="502488" y="352965"/>
                    <a:pt x="394750" y="354710"/>
                    <a:pt x="287102" y="354844"/>
                  </a:cubicBezTo>
                  <a:cubicBezTo>
                    <a:pt x="205941" y="354531"/>
                    <a:pt x="124736" y="354621"/>
                    <a:pt x="43575" y="353816"/>
                  </a:cubicBezTo>
                  <a:cubicBezTo>
                    <a:pt x="46170" y="362987"/>
                    <a:pt x="48631" y="372249"/>
                    <a:pt x="52255" y="381197"/>
                  </a:cubicBezTo>
                  <a:cubicBezTo>
                    <a:pt x="57981" y="394530"/>
                    <a:pt x="66840" y="406297"/>
                    <a:pt x="76594" y="416990"/>
                  </a:cubicBezTo>
                  <a:cubicBezTo>
                    <a:pt x="68451" y="427102"/>
                    <a:pt x="61561" y="438153"/>
                    <a:pt x="56952" y="450323"/>
                  </a:cubicBezTo>
                  <a:cubicBezTo>
                    <a:pt x="51270" y="445312"/>
                    <a:pt x="45722" y="440166"/>
                    <a:pt x="40443" y="434797"/>
                  </a:cubicBezTo>
                  <a:cubicBezTo>
                    <a:pt x="25499" y="417617"/>
                    <a:pt x="15253" y="396767"/>
                    <a:pt x="8497" y="375157"/>
                  </a:cubicBezTo>
                  <a:cubicBezTo>
                    <a:pt x="6484" y="365225"/>
                    <a:pt x="5052" y="355202"/>
                    <a:pt x="3844" y="345180"/>
                  </a:cubicBezTo>
                  <a:lnTo>
                    <a:pt x="3621" y="342765"/>
                  </a:lnTo>
                  <a:cubicBezTo>
                    <a:pt x="2234" y="329118"/>
                    <a:pt x="936" y="315427"/>
                    <a:pt x="444" y="301781"/>
                  </a:cubicBezTo>
                  <a:cubicBezTo>
                    <a:pt x="-317" y="270999"/>
                    <a:pt x="131" y="240217"/>
                    <a:pt x="131" y="209480"/>
                  </a:cubicBezTo>
                  <a:cubicBezTo>
                    <a:pt x="310" y="172523"/>
                    <a:pt x="-675" y="135522"/>
                    <a:pt x="1697" y="98610"/>
                  </a:cubicBezTo>
                  <a:cubicBezTo>
                    <a:pt x="4023" y="62236"/>
                    <a:pt x="20488" y="26532"/>
                    <a:pt x="48675" y="3042"/>
                  </a:cubicBezTo>
                  <a:close/>
                  <a:moveTo>
                    <a:pt x="406831" y="249389"/>
                  </a:moveTo>
                  <a:cubicBezTo>
                    <a:pt x="406249" y="268270"/>
                    <a:pt x="406249" y="287195"/>
                    <a:pt x="406562" y="306121"/>
                  </a:cubicBezTo>
                  <a:cubicBezTo>
                    <a:pt x="441416" y="305987"/>
                    <a:pt x="476269" y="306837"/>
                    <a:pt x="511123" y="306121"/>
                  </a:cubicBezTo>
                  <a:cubicBezTo>
                    <a:pt x="511749" y="287375"/>
                    <a:pt x="511436" y="268672"/>
                    <a:pt x="510138" y="250015"/>
                  </a:cubicBezTo>
                  <a:cubicBezTo>
                    <a:pt x="475688" y="249568"/>
                    <a:pt x="441282" y="249120"/>
                    <a:pt x="406831" y="249389"/>
                  </a:cubicBezTo>
                  <a:close/>
                </a:path>
              </a:pathLst>
            </a:custGeom>
            <a:solidFill>
              <a:srgbClr val="496B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2" name="Freeform: Shape 331">
              <a:extLst>
                <a:ext uri="{FF2B5EF4-FFF2-40B4-BE49-F238E27FC236}">
                  <a16:creationId xmlns:a16="http://schemas.microsoft.com/office/drawing/2014/main" id="{68C07DBC-D214-2762-A0A6-05E627F0C00A}"/>
                </a:ext>
              </a:extLst>
            </p:cNvPr>
            <p:cNvSpPr/>
            <p:nvPr/>
          </p:nvSpPr>
          <p:spPr>
            <a:xfrm flipH="1">
              <a:off x="1656542" y="4822735"/>
              <a:ext cx="1291273" cy="145151"/>
            </a:xfrm>
            <a:custGeom>
              <a:avLst/>
              <a:gdLst>
                <a:gd name="connsiteX0" fmla="*/ 567143 w 1082564"/>
                <a:gd name="connsiteY0" fmla="*/ 44607 h 121690"/>
                <a:gd name="connsiteX1" fmla="*/ 585621 w 1082564"/>
                <a:gd name="connsiteY1" fmla="*/ 90 h 121690"/>
                <a:gd name="connsiteX2" fmla="*/ 586829 w 1082564"/>
                <a:gd name="connsiteY2" fmla="*/ 0 h 121690"/>
                <a:gd name="connsiteX3" fmla="*/ 587187 w 1082564"/>
                <a:gd name="connsiteY3" fmla="*/ 65054 h 121690"/>
                <a:gd name="connsiteX4" fmla="*/ 586918 w 1082564"/>
                <a:gd name="connsiteY4" fmla="*/ 85277 h 121690"/>
                <a:gd name="connsiteX5" fmla="*/ 671435 w 1082564"/>
                <a:gd name="connsiteY5" fmla="*/ 83980 h 121690"/>
                <a:gd name="connsiteX6" fmla="*/ 735102 w 1082564"/>
                <a:gd name="connsiteY6" fmla="*/ 84338 h 121690"/>
                <a:gd name="connsiteX7" fmla="*/ 986146 w 1082564"/>
                <a:gd name="connsiteY7" fmla="*/ 84561 h 121690"/>
                <a:gd name="connsiteX8" fmla="*/ 1044221 w 1082564"/>
                <a:gd name="connsiteY8" fmla="*/ 51095 h 121690"/>
                <a:gd name="connsiteX9" fmla="*/ 1059791 w 1082564"/>
                <a:gd name="connsiteY9" fmla="*/ 69394 h 121690"/>
                <a:gd name="connsiteX10" fmla="*/ 1066368 w 1082564"/>
                <a:gd name="connsiteY10" fmla="*/ 56553 h 121690"/>
                <a:gd name="connsiteX11" fmla="*/ 1082564 w 1082564"/>
                <a:gd name="connsiteY11" fmla="*/ 57045 h 121690"/>
                <a:gd name="connsiteX12" fmla="*/ 1071245 w 1082564"/>
                <a:gd name="connsiteY12" fmla="*/ 74987 h 121690"/>
                <a:gd name="connsiteX13" fmla="*/ 977467 w 1082564"/>
                <a:gd name="connsiteY13" fmla="*/ 121294 h 121690"/>
                <a:gd name="connsiteX14" fmla="*/ 82637 w 1082564"/>
                <a:gd name="connsiteY14" fmla="*/ 121607 h 121690"/>
                <a:gd name="connsiteX15" fmla="*/ 21476 w 1082564"/>
                <a:gd name="connsiteY15" fmla="*/ 109840 h 121690"/>
                <a:gd name="connsiteX16" fmla="*/ 0 w 1082564"/>
                <a:gd name="connsiteY16" fmla="*/ 94225 h 121690"/>
                <a:gd name="connsiteX17" fmla="*/ 19642 w 1082564"/>
                <a:gd name="connsiteY17" fmla="*/ 60893 h 121690"/>
                <a:gd name="connsiteX18" fmla="*/ 34451 w 1082564"/>
                <a:gd name="connsiteY18" fmla="*/ 73018 h 121690"/>
                <a:gd name="connsiteX19" fmla="*/ 54853 w 1082564"/>
                <a:gd name="connsiteY19" fmla="*/ 83845 h 121690"/>
                <a:gd name="connsiteX20" fmla="*/ 118520 w 1082564"/>
                <a:gd name="connsiteY20" fmla="*/ 85769 h 121690"/>
                <a:gd name="connsiteX21" fmla="*/ 553139 w 1082564"/>
                <a:gd name="connsiteY21" fmla="*/ 85411 h 121690"/>
                <a:gd name="connsiteX22" fmla="*/ 555599 w 1082564"/>
                <a:gd name="connsiteY22" fmla="*/ 85277 h 121690"/>
                <a:gd name="connsiteX23" fmla="*/ 567143 w 1082564"/>
                <a:gd name="connsiteY23" fmla="*/ 44607 h 1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82564" h="121690">
                  <a:moveTo>
                    <a:pt x="567143" y="44607"/>
                  </a:moveTo>
                  <a:cubicBezTo>
                    <a:pt x="577702" y="31856"/>
                    <a:pt x="581326" y="15615"/>
                    <a:pt x="585621" y="90"/>
                  </a:cubicBezTo>
                  <a:lnTo>
                    <a:pt x="586829" y="0"/>
                  </a:lnTo>
                  <a:cubicBezTo>
                    <a:pt x="587142" y="21699"/>
                    <a:pt x="587321" y="43354"/>
                    <a:pt x="587187" y="65054"/>
                  </a:cubicBezTo>
                  <a:cubicBezTo>
                    <a:pt x="587053" y="71765"/>
                    <a:pt x="587008" y="78476"/>
                    <a:pt x="586918" y="85277"/>
                  </a:cubicBezTo>
                  <a:cubicBezTo>
                    <a:pt x="615105" y="85188"/>
                    <a:pt x="643293" y="85098"/>
                    <a:pt x="671435" y="83980"/>
                  </a:cubicBezTo>
                  <a:cubicBezTo>
                    <a:pt x="692642" y="84069"/>
                    <a:pt x="713895" y="84203"/>
                    <a:pt x="735102" y="84338"/>
                  </a:cubicBezTo>
                  <a:cubicBezTo>
                    <a:pt x="818769" y="85098"/>
                    <a:pt x="902480" y="86485"/>
                    <a:pt x="986146" y="84561"/>
                  </a:cubicBezTo>
                  <a:cubicBezTo>
                    <a:pt x="1010441" y="85411"/>
                    <a:pt x="1030396" y="69573"/>
                    <a:pt x="1044221" y="51095"/>
                  </a:cubicBezTo>
                  <a:cubicBezTo>
                    <a:pt x="1049366" y="57179"/>
                    <a:pt x="1054601" y="63264"/>
                    <a:pt x="1059791" y="69394"/>
                  </a:cubicBezTo>
                  <a:cubicBezTo>
                    <a:pt x="1061938" y="65054"/>
                    <a:pt x="1064086" y="60759"/>
                    <a:pt x="1066368" y="56553"/>
                  </a:cubicBezTo>
                  <a:cubicBezTo>
                    <a:pt x="1071737" y="56643"/>
                    <a:pt x="1077106" y="56822"/>
                    <a:pt x="1082564" y="57045"/>
                  </a:cubicBezTo>
                  <a:cubicBezTo>
                    <a:pt x="1079030" y="63175"/>
                    <a:pt x="1075316" y="69215"/>
                    <a:pt x="1071245" y="74987"/>
                  </a:cubicBezTo>
                  <a:cubicBezTo>
                    <a:pt x="1048382" y="102726"/>
                    <a:pt x="1014020" y="121876"/>
                    <a:pt x="977467" y="121294"/>
                  </a:cubicBezTo>
                  <a:cubicBezTo>
                    <a:pt x="679175" y="122099"/>
                    <a:pt x="380929" y="120757"/>
                    <a:pt x="82637" y="121607"/>
                  </a:cubicBezTo>
                  <a:cubicBezTo>
                    <a:pt x="61654" y="122323"/>
                    <a:pt x="40670" y="118431"/>
                    <a:pt x="21476" y="109840"/>
                  </a:cubicBezTo>
                  <a:cubicBezTo>
                    <a:pt x="14004" y="105008"/>
                    <a:pt x="6801" y="99908"/>
                    <a:pt x="0" y="94225"/>
                  </a:cubicBezTo>
                  <a:cubicBezTo>
                    <a:pt x="4608" y="82056"/>
                    <a:pt x="11499" y="71005"/>
                    <a:pt x="19642" y="60893"/>
                  </a:cubicBezTo>
                  <a:cubicBezTo>
                    <a:pt x="24339" y="65188"/>
                    <a:pt x="29306" y="69215"/>
                    <a:pt x="34451" y="73018"/>
                  </a:cubicBezTo>
                  <a:cubicBezTo>
                    <a:pt x="40804" y="77224"/>
                    <a:pt x="47202" y="82056"/>
                    <a:pt x="54853" y="83845"/>
                  </a:cubicBezTo>
                  <a:cubicBezTo>
                    <a:pt x="75926" y="86709"/>
                    <a:pt x="97268" y="85635"/>
                    <a:pt x="118520" y="85769"/>
                  </a:cubicBezTo>
                  <a:cubicBezTo>
                    <a:pt x="263393" y="85367"/>
                    <a:pt x="408266" y="85143"/>
                    <a:pt x="553139" y="85411"/>
                  </a:cubicBezTo>
                  <a:lnTo>
                    <a:pt x="555599" y="85277"/>
                  </a:lnTo>
                  <a:cubicBezTo>
                    <a:pt x="557121" y="71139"/>
                    <a:pt x="556986" y="55792"/>
                    <a:pt x="567143" y="44607"/>
                  </a:cubicBezTo>
                  <a:close/>
                </a:path>
              </a:pathLst>
            </a:custGeom>
            <a:solidFill>
              <a:srgbClr val="3F66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3" name="Rectangle: Rounded Corners 332">
              <a:extLst>
                <a:ext uri="{FF2B5EF4-FFF2-40B4-BE49-F238E27FC236}">
                  <a16:creationId xmlns:a16="http://schemas.microsoft.com/office/drawing/2014/main" id="{8D76E4BA-FA92-C272-F3E6-870190C36EE1}"/>
                </a:ext>
              </a:extLst>
            </p:cNvPr>
            <p:cNvSpPr/>
            <p:nvPr/>
          </p:nvSpPr>
          <p:spPr>
            <a:xfrm flipH="1">
              <a:off x="1244690" y="3962820"/>
              <a:ext cx="106573" cy="36672"/>
            </a:xfrm>
            <a:prstGeom prst="roundRect">
              <a:avLst/>
            </a:prstGeom>
            <a:solidFill>
              <a:srgbClr val="FE9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4" name="Rectangle: Rounded Corners 333">
              <a:extLst>
                <a:ext uri="{FF2B5EF4-FFF2-40B4-BE49-F238E27FC236}">
                  <a16:creationId xmlns:a16="http://schemas.microsoft.com/office/drawing/2014/main" id="{FD7D811E-5FCA-F382-7A89-A7ACAAECCF0E}"/>
                </a:ext>
              </a:extLst>
            </p:cNvPr>
            <p:cNvSpPr/>
            <p:nvPr/>
          </p:nvSpPr>
          <p:spPr>
            <a:xfrm flipH="1">
              <a:off x="1222228" y="3997409"/>
              <a:ext cx="151499" cy="66231"/>
            </a:xfrm>
            <a:prstGeom prst="round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5" name="Rectangle: Rounded Corners 334">
              <a:extLst>
                <a:ext uri="{FF2B5EF4-FFF2-40B4-BE49-F238E27FC236}">
                  <a16:creationId xmlns:a16="http://schemas.microsoft.com/office/drawing/2014/main" id="{D6442F4E-AE58-8715-2CB6-0EF3E3737909}"/>
                </a:ext>
              </a:extLst>
            </p:cNvPr>
            <p:cNvSpPr/>
            <p:nvPr/>
          </p:nvSpPr>
          <p:spPr>
            <a:xfrm>
              <a:off x="4297367" y="2193945"/>
              <a:ext cx="112690" cy="42204"/>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6" name="Oval 335">
              <a:extLst>
                <a:ext uri="{FF2B5EF4-FFF2-40B4-BE49-F238E27FC236}">
                  <a16:creationId xmlns:a16="http://schemas.microsoft.com/office/drawing/2014/main" id="{568CEDFC-609C-DF79-3426-1D603B1716D4}"/>
                </a:ext>
              </a:extLst>
            </p:cNvPr>
            <p:cNvSpPr/>
            <p:nvPr/>
          </p:nvSpPr>
          <p:spPr>
            <a:xfrm flipH="1">
              <a:off x="2897298" y="3444840"/>
              <a:ext cx="70543" cy="69986"/>
            </a:xfrm>
            <a:prstGeom prst="ellipse">
              <a:avLst/>
            </a:prstGeom>
            <a:solidFill>
              <a:srgbClr val="1C93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7" name="Freeform: Shape 336">
              <a:extLst>
                <a:ext uri="{FF2B5EF4-FFF2-40B4-BE49-F238E27FC236}">
                  <a16:creationId xmlns:a16="http://schemas.microsoft.com/office/drawing/2014/main" id="{3E1D935F-7DCB-D1C1-A1CA-BDF7D64C2784}"/>
                </a:ext>
              </a:extLst>
            </p:cNvPr>
            <p:cNvSpPr/>
            <p:nvPr/>
          </p:nvSpPr>
          <p:spPr>
            <a:xfrm>
              <a:off x="2039456" y="3362120"/>
              <a:ext cx="215028" cy="615403"/>
            </a:xfrm>
            <a:custGeom>
              <a:avLst/>
              <a:gdLst>
                <a:gd name="connsiteX0" fmla="*/ 0 w 239417"/>
                <a:gd name="connsiteY0" fmla="*/ 647700 h 647700"/>
                <a:gd name="connsiteX1" fmla="*/ 123825 w 239417"/>
                <a:gd name="connsiteY1" fmla="*/ 571500 h 647700"/>
                <a:gd name="connsiteX2" fmla="*/ 180975 w 239417"/>
                <a:gd name="connsiteY2" fmla="*/ 504825 h 647700"/>
                <a:gd name="connsiteX3" fmla="*/ 190500 w 239417"/>
                <a:gd name="connsiteY3" fmla="*/ 466725 h 647700"/>
                <a:gd name="connsiteX4" fmla="*/ 209550 w 239417"/>
                <a:gd name="connsiteY4" fmla="*/ 438150 h 647700"/>
                <a:gd name="connsiteX5" fmla="*/ 228600 w 239417"/>
                <a:gd name="connsiteY5" fmla="*/ 342900 h 647700"/>
                <a:gd name="connsiteX6" fmla="*/ 238125 w 239417"/>
                <a:gd name="connsiteY6" fmla="*/ 314325 h 647700"/>
                <a:gd name="connsiteX7" fmla="*/ 238125 w 239417"/>
                <a:gd name="connsiteY7" fmla="*/ 0 h 647700"/>
                <a:gd name="connsiteX0" fmla="*/ 0 w 220466"/>
                <a:gd name="connsiteY0" fmla="*/ 666652 h 666652"/>
                <a:gd name="connsiteX1" fmla="*/ 104874 w 220466"/>
                <a:gd name="connsiteY1" fmla="*/ 571500 h 666652"/>
                <a:gd name="connsiteX2" fmla="*/ 162024 w 220466"/>
                <a:gd name="connsiteY2" fmla="*/ 504825 h 666652"/>
                <a:gd name="connsiteX3" fmla="*/ 171549 w 220466"/>
                <a:gd name="connsiteY3" fmla="*/ 466725 h 666652"/>
                <a:gd name="connsiteX4" fmla="*/ 190599 w 220466"/>
                <a:gd name="connsiteY4" fmla="*/ 438150 h 666652"/>
                <a:gd name="connsiteX5" fmla="*/ 209649 w 220466"/>
                <a:gd name="connsiteY5" fmla="*/ 342900 h 666652"/>
                <a:gd name="connsiteX6" fmla="*/ 219174 w 220466"/>
                <a:gd name="connsiteY6" fmla="*/ 314325 h 666652"/>
                <a:gd name="connsiteX7" fmla="*/ 219174 w 220466"/>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200124 w 229991"/>
                <a:gd name="connsiteY3" fmla="*/ 438150 h 666652"/>
                <a:gd name="connsiteX4" fmla="*/ 219174 w 229991"/>
                <a:gd name="connsiteY4" fmla="*/ 342900 h 666652"/>
                <a:gd name="connsiteX5" fmla="*/ 228699 w 229991"/>
                <a:gd name="connsiteY5" fmla="*/ 314325 h 666652"/>
                <a:gd name="connsiteX6" fmla="*/ 228699 w 229991"/>
                <a:gd name="connsiteY6" fmla="*/ 0 h 666652"/>
                <a:gd name="connsiteX0" fmla="*/ 0 w 232935"/>
                <a:gd name="connsiteY0" fmla="*/ 666652 h 666652"/>
                <a:gd name="connsiteX1" fmla="*/ 114399 w 232935"/>
                <a:gd name="connsiteY1" fmla="*/ 571500 h 666652"/>
                <a:gd name="connsiteX2" fmla="*/ 171549 w 232935"/>
                <a:gd name="connsiteY2" fmla="*/ 504825 h 666652"/>
                <a:gd name="connsiteX3" fmla="*/ 200124 w 232935"/>
                <a:gd name="connsiteY3" fmla="*/ 438150 h 666652"/>
                <a:gd name="connsiteX4" fmla="*/ 219174 w 232935"/>
                <a:gd name="connsiteY4" fmla="*/ 342900 h 666652"/>
                <a:gd name="connsiteX5" fmla="*/ 232176 w 232935"/>
                <a:gd name="connsiteY5" fmla="*/ 196113 h 666652"/>
                <a:gd name="connsiteX6" fmla="*/ 228699 w 232935"/>
                <a:gd name="connsiteY6" fmla="*/ 0 h 66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35" h="666652">
                  <a:moveTo>
                    <a:pt x="0" y="666652"/>
                  </a:moveTo>
                  <a:cubicBezTo>
                    <a:pt x="46854" y="647911"/>
                    <a:pt x="85808" y="598471"/>
                    <a:pt x="114399" y="571500"/>
                  </a:cubicBezTo>
                  <a:cubicBezTo>
                    <a:pt x="142991" y="544529"/>
                    <a:pt x="131749" y="544625"/>
                    <a:pt x="171549" y="504825"/>
                  </a:cubicBezTo>
                  <a:cubicBezTo>
                    <a:pt x="185837" y="482600"/>
                    <a:pt x="192187" y="465137"/>
                    <a:pt x="200124" y="438150"/>
                  </a:cubicBezTo>
                  <a:cubicBezTo>
                    <a:pt x="208061" y="411163"/>
                    <a:pt x="213832" y="383240"/>
                    <a:pt x="219174" y="342900"/>
                  </a:cubicBezTo>
                  <a:cubicBezTo>
                    <a:pt x="224516" y="302560"/>
                    <a:pt x="229267" y="300848"/>
                    <a:pt x="232176" y="196113"/>
                  </a:cubicBezTo>
                  <a:cubicBezTo>
                    <a:pt x="235085" y="91378"/>
                    <a:pt x="228699" y="104775"/>
                    <a:pt x="228699" y="0"/>
                  </a:cubicBezTo>
                </a:path>
              </a:pathLst>
            </a:custGeom>
            <a:noFill/>
            <a:ln w="76200">
              <a:solidFill>
                <a:srgbClr val="D2DB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8" name="Freeform: Shape 337">
              <a:extLst>
                <a:ext uri="{FF2B5EF4-FFF2-40B4-BE49-F238E27FC236}">
                  <a16:creationId xmlns:a16="http://schemas.microsoft.com/office/drawing/2014/main" id="{213A1408-7911-3B1F-32A9-98A5D9A11911}"/>
                </a:ext>
              </a:extLst>
            </p:cNvPr>
            <p:cNvSpPr/>
            <p:nvPr/>
          </p:nvSpPr>
          <p:spPr>
            <a:xfrm flipH="1">
              <a:off x="2022770" y="3952047"/>
              <a:ext cx="36415" cy="55128"/>
            </a:xfrm>
            <a:custGeom>
              <a:avLst/>
              <a:gdLst>
                <a:gd name="connsiteX0" fmla="*/ 18736 w 30529"/>
                <a:gd name="connsiteY0" fmla="*/ 2 h 46218"/>
                <a:gd name="connsiteX1" fmla="*/ 28803 w 30529"/>
                <a:gd name="connsiteY1" fmla="*/ 31052 h 46218"/>
                <a:gd name="connsiteX2" fmla="*/ 2226 w 30529"/>
                <a:gd name="connsiteY2" fmla="*/ 40896 h 46218"/>
                <a:gd name="connsiteX3" fmla="*/ 18736 w 30529"/>
                <a:gd name="connsiteY3" fmla="*/ 2 h 46218"/>
              </a:gdLst>
              <a:ahLst/>
              <a:cxnLst>
                <a:cxn ang="0">
                  <a:pos x="connsiteX0" y="connsiteY0"/>
                </a:cxn>
                <a:cxn ang="0">
                  <a:pos x="connsiteX1" y="connsiteY1"/>
                </a:cxn>
                <a:cxn ang="0">
                  <a:pos x="connsiteX2" y="connsiteY2"/>
                </a:cxn>
                <a:cxn ang="0">
                  <a:pos x="connsiteX3" y="connsiteY3"/>
                </a:cxn>
              </a:cxnLst>
              <a:rect l="l" t="t" r="r" b="b"/>
              <a:pathLst>
                <a:path w="30529" h="46218">
                  <a:moveTo>
                    <a:pt x="18736" y="2"/>
                  </a:moveTo>
                  <a:cubicBezTo>
                    <a:pt x="34485" y="-222"/>
                    <a:pt x="30503" y="20762"/>
                    <a:pt x="28803" y="31052"/>
                  </a:cubicBezTo>
                  <a:cubicBezTo>
                    <a:pt x="28579" y="43848"/>
                    <a:pt x="9922" y="52215"/>
                    <a:pt x="2226" y="40896"/>
                  </a:cubicBezTo>
                  <a:cubicBezTo>
                    <a:pt x="-3188" y="26623"/>
                    <a:pt x="884" y="2731"/>
                    <a:pt x="18736" y="2"/>
                  </a:cubicBezTo>
                  <a:close/>
                </a:path>
              </a:pathLst>
            </a:custGeom>
            <a:solidFill>
              <a:srgbClr val="FB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9" name="Rectangle: Rounded Corners 338">
              <a:extLst>
                <a:ext uri="{FF2B5EF4-FFF2-40B4-BE49-F238E27FC236}">
                  <a16:creationId xmlns:a16="http://schemas.microsoft.com/office/drawing/2014/main" id="{FAE2A1AE-5B97-71F5-284E-5D53B8DCCF45}"/>
                </a:ext>
              </a:extLst>
            </p:cNvPr>
            <p:cNvSpPr/>
            <p:nvPr/>
          </p:nvSpPr>
          <p:spPr>
            <a:xfrm>
              <a:off x="2668358" y="2193945"/>
              <a:ext cx="211026" cy="42204"/>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40" name="Group 339">
              <a:extLst>
                <a:ext uri="{FF2B5EF4-FFF2-40B4-BE49-F238E27FC236}">
                  <a16:creationId xmlns:a16="http://schemas.microsoft.com/office/drawing/2014/main" id="{385EBEA8-10E3-59B1-D83B-6FDBA1577F18}"/>
                </a:ext>
              </a:extLst>
            </p:cNvPr>
            <p:cNvGrpSpPr/>
            <p:nvPr/>
          </p:nvGrpSpPr>
          <p:grpSpPr>
            <a:xfrm>
              <a:off x="1276589" y="2822659"/>
              <a:ext cx="233273" cy="541699"/>
              <a:chOff x="1335680" y="2721561"/>
              <a:chExt cx="330300" cy="767013"/>
            </a:xfrm>
          </p:grpSpPr>
          <p:sp>
            <p:nvSpPr>
              <p:cNvPr id="366" name="Freeform: Shape 365">
                <a:extLst>
                  <a:ext uri="{FF2B5EF4-FFF2-40B4-BE49-F238E27FC236}">
                    <a16:creationId xmlns:a16="http://schemas.microsoft.com/office/drawing/2014/main" id="{243E117E-9C4D-2BE8-D855-3EADE68D5D98}"/>
                  </a:ext>
                </a:extLst>
              </p:cNvPr>
              <p:cNvSpPr/>
              <p:nvPr/>
            </p:nvSpPr>
            <p:spPr>
              <a:xfrm>
                <a:off x="1416289" y="2721561"/>
                <a:ext cx="175454" cy="94605"/>
              </a:xfrm>
              <a:custGeom>
                <a:avLst/>
                <a:gdLst>
                  <a:gd name="connsiteX0" fmla="*/ 0 w 136691"/>
                  <a:gd name="connsiteY0" fmla="*/ 488 h 73703"/>
                  <a:gd name="connsiteX1" fmla="*/ 135370 w 136691"/>
                  <a:gd name="connsiteY1" fmla="*/ 1301 h 73703"/>
                  <a:gd name="connsiteX2" fmla="*/ 122667 w 136691"/>
                  <a:gd name="connsiteY2" fmla="*/ 11210 h 73703"/>
                  <a:gd name="connsiteX3" fmla="*/ 136692 w 136691"/>
                  <a:gd name="connsiteY3" fmla="*/ 17765 h 73703"/>
                  <a:gd name="connsiteX4" fmla="*/ 82269 w 136691"/>
                  <a:gd name="connsiteY4" fmla="*/ 18680 h 73703"/>
                  <a:gd name="connsiteX5" fmla="*/ 90908 w 136691"/>
                  <a:gd name="connsiteY5" fmla="*/ 73509 h 73703"/>
                  <a:gd name="connsiteX6" fmla="*/ 38467 w 136691"/>
                  <a:gd name="connsiteY6" fmla="*/ 73204 h 73703"/>
                  <a:gd name="connsiteX7" fmla="*/ 47461 w 136691"/>
                  <a:gd name="connsiteY7" fmla="*/ 17969 h 73703"/>
                  <a:gd name="connsiteX8" fmla="*/ 53610 w 136691"/>
                  <a:gd name="connsiteY8" fmla="*/ 11363 h 73703"/>
                  <a:gd name="connsiteX9" fmla="*/ 711 w 136691"/>
                  <a:gd name="connsiteY9" fmla="*/ 3385 h 73703"/>
                  <a:gd name="connsiteX10" fmla="*/ 0 w 136691"/>
                  <a:gd name="connsiteY10" fmla="*/ 488 h 7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691" h="73703">
                    <a:moveTo>
                      <a:pt x="0" y="488"/>
                    </a:moveTo>
                    <a:cubicBezTo>
                      <a:pt x="45123" y="488"/>
                      <a:pt x="90298" y="-1036"/>
                      <a:pt x="135370" y="1301"/>
                    </a:cubicBezTo>
                    <a:cubicBezTo>
                      <a:pt x="131102" y="4554"/>
                      <a:pt x="126884" y="7857"/>
                      <a:pt x="122667" y="11210"/>
                    </a:cubicBezTo>
                    <a:cubicBezTo>
                      <a:pt x="127342" y="13345"/>
                      <a:pt x="132017" y="15530"/>
                      <a:pt x="136692" y="17765"/>
                    </a:cubicBezTo>
                    <a:cubicBezTo>
                      <a:pt x="118551" y="18070"/>
                      <a:pt x="100410" y="18274"/>
                      <a:pt x="82269" y="18680"/>
                    </a:cubicBezTo>
                    <a:cubicBezTo>
                      <a:pt x="83133" y="37177"/>
                      <a:pt x="85826" y="55622"/>
                      <a:pt x="90908" y="73509"/>
                    </a:cubicBezTo>
                    <a:cubicBezTo>
                      <a:pt x="73427" y="73865"/>
                      <a:pt x="55947" y="73712"/>
                      <a:pt x="38467" y="73204"/>
                    </a:cubicBezTo>
                    <a:cubicBezTo>
                      <a:pt x="42786" y="55013"/>
                      <a:pt x="45581" y="36516"/>
                      <a:pt x="47461" y="17969"/>
                    </a:cubicBezTo>
                    <a:cubicBezTo>
                      <a:pt x="48985" y="16343"/>
                      <a:pt x="52085" y="12989"/>
                      <a:pt x="53610" y="11363"/>
                    </a:cubicBezTo>
                    <a:cubicBezTo>
                      <a:pt x="35926" y="8873"/>
                      <a:pt x="18192" y="6840"/>
                      <a:pt x="711" y="3385"/>
                    </a:cubicBezTo>
                    <a:lnTo>
                      <a:pt x="0" y="488"/>
                    </a:lnTo>
                    <a:close/>
                  </a:path>
                </a:pathLst>
              </a:custGeom>
              <a:solidFill>
                <a:srgbClr val="EBF4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7" name="Freeform: Shape 366">
                <a:extLst>
                  <a:ext uri="{FF2B5EF4-FFF2-40B4-BE49-F238E27FC236}">
                    <a16:creationId xmlns:a16="http://schemas.microsoft.com/office/drawing/2014/main" id="{C3028854-9940-EFF2-9CCF-E3AF7D7733B2}"/>
                  </a:ext>
                </a:extLst>
              </p:cNvPr>
              <p:cNvSpPr/>
              <p:nvPr/>
            </p:nvSpPr>
            <p:spPr>
              <a:xfrm>
                <a:off x="1335680" y="2806222"/>
                <a:ext cx="330300" cy="607509"/>
              </a:xfrm>
              <a:custGeom>
                <a:avLst/>
                <a:gdLst>
                  <a:gd name="connsiteX0" fmla="*/ 61886 w 257326"/>
                  <a:gd name="connsiteY0" fmla="*/ 13590 h 473291"/>
                  <a:gd name="connsiteX1" fmla="*/ 163109 w 257326"/>
                  <a:gd name="connsiteY1" fmla="*/ 2360 h 473291"/>
                  <a:gd name="connsiteX2" fmla="*/ 257217 w 257326"/>
                  <a:gd name="connsiteY2" fmla="*/ 115524 h 473291"/>
                  <a:gd name="connsiteX3" fmla="*/ 256100 w 257326"/>
                  <a:gd name="connsiteY3" fmla="*/ 359333 h 473291"/>
                  <a:gd name="connsiteX4" fmla="*/ 149236 w 257326"/>
                  <a:gd name="connsiteY4" fmla="*/ 455627 h 473291"/>
                  <a:gd name="connsiteX5" fmla="*/ 146340 w 257326"/>
                  <a:gd name="connsiteY5" fmla="*/ 471126 h 473291"/>
                  <a:gd name="connsiteX6" fmla="*/ 111379 w 257326"/>
                  <a:gd name="connsiteY6" fmla="*/ 472600 h 473291"/>
                  <a:gd name="connsiteX7" fmla="*/ 105535 w 257326"/>
                  <a:gd name="connsiteY7" fmla="*/ 455831 h 473291"/>
                  <a:gd name="connsiteX8" fmla="*/ 18134 w 257326"/>
                  <a:gd name="connsiteY8" fmla="*/ 408166 h 473291"/>
                  <a:gd name="connsiteX9" fmla="*/ 197 w 257326"/>
                  <a:gd name="connsiteY9" fmla="*/ 324170 h 473291"/>
                  <a:gd name="connsiteX10" fmla="*/ 654 w 257326"/>
                  <a:gd name="connsiteY10" fmla="*/ 115372 h 473291"/>
                  <a:gd name="connsiteX11" fmla="*/ 61886 w 257326"/>
                  <a:gd name="connsiteY11" fmla="*/ 13590 h 473291"/>
                  <a:gd name="connsiteX12" fmla="*/ 36580 w 257326"/>
                  <a:gd name="connsiteY12" fmla="*/ 165526 h 473291"/>
                  <a:gd name="connsiteX13" fmla="*/ 103198 w 257326"/>
                  <a:gd name="connsiteY13" fmla="*/ 165170 h 473291"/>
                  <a:gd name="connsiteX14" fmla="*/ 36580 w 257326"/>
                  <a:gd name="connsiteY14" fmla="*/ 165526 h 473291"/>
                  <a:gd name="connsiteX15" fmla="*/ 140191 w 257326"/>
                  <a:gd name="connsiteY15" fmla="*/ 172437 h 473291"/>
                  <a:gd name="connsiteX16" fmla="*/ 156909 w 257326"/>
                  <a:gd name="connsiteY16" fmla="*/ 174673 h 473291"/>
                  <a:gd name="connsiteX17" fmla="*/ 140191 w 257326"/>
                  <a:gd name="connsiteY17" fmla="*/ 172437 h 473291"/>
                  <a:gd name="connsiteX18" fmla="*/ 35411 w 257326"/>
                  <a:gd name="connsiteY18" fmla="*/ 200436 h 473291"/>
                  <a:gd name="connsiteX19" fmla="*/ 103909 w 257326"/>
                  <a:gd name="connsiteY19" fmla="*/ 201046 h 473291"/>
                  <a:gd name="connsiteX20" fmla="*/ 71896 w 257326"/>
                  <a:gd name="connsiteY20" fmla="*/ 192255 h 473291"/>
                  <a:gd name="connsiteX21" fmla="*/ 35411 w 257326"/>
                  <a:gd name="connsiteY21" fmla="*/ 200436 h 473291"/>
                  <a:gd name="connsiteX22" fmla="*/ 140496 w 257326"/>
                  <a:gd name="connsiteY22" fmla="*/ 209684 h 473291"/>
                  <a:gd name="connsiteX23" fmla="*/ 137803 w 257326"/>
                  <a:gd name="connsiteY23" fmla="*/ 239360 h 473291"/>
                  <a:gd name="connsiteX24" fmla="*/ 157570 w 257326"/>
                  <a:gd name="connsiteY24" fmla="*/ 222337 h 473291"/>
                  <a:gd name="connsiteX25" fmla="*/ 140496 w 257326"/>
                  <a:gd name="connsiteY25" fmla="*/ 209684 h 473291"/>
                  <a:gd name="connsiteX26" fmla="*/ 38613 w 257326"/>
                  <a:gd name="connsiteY26" fmla="*/ 221981 h 473291"/>
                  <a:gd name="connsiteX27" fmla="*/ 39222 w 257326"/>
                  <a:gd name="connsiteY27" fmla="*/ 354811 h 473291"/>
                  <a:gd name="connsiteX28" fmla="*/ 46336 w 257326"/>
                  <a:gd name="connsiteY28" fmla="*/ 368226 h 473291"/>
                  <a:gd name="connsiteX29" fmla="*/ 96033 w 257326"/>
                  <a:gd name="connsiteY29" fmla="*/ 367007 h 473291"/>
                  <a:gd name="connsiteX30" fmla="*/ 101064 w 257326"/>
                  <a:gd name="connsiteY30" fmla="*/ 344699 h 473291"/>
                  <a:gd name="connsiteX31" fmla="*/ 101216 w 257326"/>
                  <a:gd name="connsiteY31" fmla="*/ 222489 h 473291"/>
                  <a:gd name="connsiteX32" fmla="*/ 38613 w 257326"/>
                  <a:gd name="connsiteY32" fmla="*/ 221981 h 473291"/>
                  <a:gd name="connsiteX33" fmla="*/ 134093 w 257326"/>
                  <a:gd name="connsiteY33" fmla="*/ 290378 h 473291"/>
                  <a:gd name="connsiteX34" fmla="*/ 129927 w 257326"/>
                  <a:gd name="connsiteY34" fmla="*/ 306791 h 473291"/>
                  <a:gd name="connsiteX35" fmla="*/ 158027 w 257326"/>
                  <a:gd name="connsiteY35" fmla="*/ 304047 h 473291"/>
                  <a:gd name="connsiteX36" fmla="*/ 134093 w 257326"/>
                  <a:gd name="connsiteY36" fmla="*/ 290378 h 473291"/>
                  <a:gd name="connsiteX37" fmla="*/ 134093 w 257326"/>
                  <a:gd name="connsiteY37" fmla="*/ 370005 h 473291"/>
                  <a:gd name="connsiteX38" fmla="*/ 129114 w 257326"/>
                  <a:gd name="connsiteY38" fmla="*/ 389111 h 473291"/>
                  <a:gd name="connsiteX39" fmla="*/ 157824 w 257326"/>
                  <a:gd name="connsiteY39" fmla="*/ 384639 h 473291"/>
                  <a:gd name="connsiteX40" fmla="*/ 134093 w 257326"/>
                  <a:gd name="connsiteY40" fmla="*/ 370005 h 47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7326" h="473291">
                    <a:moveTo>
                      <a:pt x="61886" y="13590"/>
                    </a:moveTo>
                    <a:cubicBezTo>
                      <a:pt x="92679" y="-3331"/>
                      <a:pt x="129368" y="-943"/>
                      <a:pt x="163109" y="2360"/>
                    </a:cubicBezTo>
                    <a:cubicBezTo>
                      <a:pt x="216972" y="9830"/>
                      <a:pt x="258539" y="61712"/>
                      <a:pt x="257217" y="115524"/>
                    </a:cubicBezTo>
                    <a:cubicBezTo>
                      <a:pt x="256913" y="196777"/>
                      <a:pt x="258183" y="278081"/>
                      <a:pt x="256100" y="359333"/>
                    </a:cubicBezTo>
                    <a:cubicBezTo>
                      <a:pt x="254270" y="413959"/>
                      <a:pt x="202388" y="456440"/>
                      <a:pt x="149236" y="455627"/>
                    </a:cubicBezTo>
                    <a:cubicBezTo>
                      <a:pt x="148474" y="459489"/>
                      <a:pt x="147051" y="467264"/>
                      <a:pt x="146340" y="471126"/>
                    </a:cubicBezTo>
                    <a:cubicBezTo>
                      <a:pt x="135567" y="475445"/>
                      <a:pt x="122863" y="471837"/>
                      <a:pt x="111379" y="472600"/>
                    </a:cubicBezTo>
                    <a:cubicBezTo>
                      <a:pt x="109448" y="466959"/>
                      <a:pt x="107517" y="461369"/>
                      <a:pt x="105535" y="455831"/>
                    </a:cubicBezTo>
                    <a:cubicBezTo>
                      <a:pt x="71947" y="451257"/>
                      <a:pt x="37393" y="437436"/>
                      <a:pt x="18134" y="408166"/>
                    </a:cubicBezTo>
                    <a:cubicBezTo>
                      <a:pt x="95" y="384029"/>
                      <a:pt x="44" y="352829"/>
                      <a:pt x="197" y="324170"/>
                    </a:cubicBezTo>
                    <a:cubicBezTo>
                      <a:pt x="552" y="254553"/>
                      <a:pt x="-718" y="184937"/>
                      <a:pt x="654" y="115372"/>
                    </a:cubicBezTo>
                    <a:cubicBezTo>
                      <a:pt x="756" y="73805"/>
                      <a:pt x="24435" y="32391"/>
                      <a:pt x="61886" y="13590"/>
                    </a:cubicBezTo>
                    <a:close/>
                    <a:moveTo>
                      <a:pt x="36580" y="165526"/>
                    </a:moveTo>
                    <a:cubicBezTo>
                      <a:pt x="58684" y="167711"/>
                      <a:pt x="81144" y="168118"/>
                      <a:pt x="103198" y="165170"/>
                    </a:cubicBezTo>
                    <a:cubicBezTo>
                      <a:pt x="81043" y="162985"/>
                      <a:pt x="58684" y="163239"/>
                      <a:pt x="36580" y="165526"/>
                    </a:cubicBezTo>
                    <a:close/>
                    <a:moveTo>
                      <a:pt x="140191" y="172437"/>
                    </a:moveTo>
                    <a:cubicBezTo>
                      <a:pt x="140140" y="179653"/>
                      <a:pt x="152996" y="178433"/>
                      <a:pt x="156909" y="174673"/>
                    </a:cubicBezTo>
                    <a:cubicBezTo>
                      <a:pt x="156909" y="167355"/>
                      <a:pt x="144053" y="168524"/>
                      <a:pt x="140191" y="172437"/>
                    </a:cubicBezTo>
                    <a:close/>
                    <a:moveTo>
                      <a:pt x="35411" y="200436"/>
                    </a:moveTo>
                    <a:cubicBezTo>
                      <a:pt x="58176" y="202773"/>
                      <a:pt x="81144" y="202672"/>
                      <a:pt x="103909" y="201046"/>
                    </a:cubicBezTo>
                    <a:cubicBezTo>
                      <a:pt x="97202" y="189561"/>
                      <a:pt x="83025" y="192814"/>
                      <a:pt x="71896" y="192255"/>
                    </a:cubicBezTo>
                    <a:cubicBezTo>
                      <a:pt x="59548" y="193068"/>
                      <a:pt x="44761" y="190222"/>
                      <a:pt x="35411" y="200436"/>
                    </a:cubicBezTo>
                    <a:close/>
                    <a:moveTo>
                      <a:pt x="140496" y="209684"/>
                    </a:moveTo>
                    <a:cubicBezTo>
                      <a:pt x="125658" y="210650"/>
                      <a:pt x="124845" y="234431"/>
                      <a:pt x="137803" y="239360"/>
                    </a:cubicBezTo>
                    <a:cubicBezTo>
                      <a:pt x="148017" y="241494"/>
                      <a:pt x="159348" y="233364"/>
                      <a:pt x="157570" y="222337"/>
                    </a:cubicBezTo>
                    <a:cubicBezTo>
                      <a:pt x="157417" y="213698"/>
                      <a:pt x="148677" y="207499"/>
                      <a:pt x="140496" y="209684"/>
                    </a:cubicBezTo>
                    <a:close/>
                    <a:moveTo>
                      <a:pt x="38613" y="221981"/>
                    </a:moveTo>
                    <a:cubicBezTo>
                      <a:pt x="39222" y="266241"/>
                      <a:pt x="37495" y="310551"/>
                      <a:pt x="39222" y="354811"/>
                    </a:cubicBezTo>
                    <a:cubicBezTo>
                      <a:pt x="39680" y="359943"/>
                      <a:pt x="39019" y="367820"/>
                      <a:pt x="46336" y="368226"/>
                    </a:cubicBezTo>
                    <a:cubicBezTo>
                      <a:pt x="62597" y="372240"/>
                      <a:pt x="79925" y="371173"/>
                      <a:pt x="96033" y="367007"/>
                    </a:cubicBezTo>
                    <a:cubicBezTo>
                      <a:pt x="101064" y="360858"/>
                      <a:pt x="100251" y="352118"/>
                      <a:pt x="101064" y="344699"/>
                    </a:cubicBezTo>
                    <a:cubicBezTo>
                      <a:pt x="102080" y="303945"/>
                      <a:pt x="100302" y="263192"/>
                      <a:pt x="101216" y="222489"/>
                    </a:cubicBezTo>
                    <a:cubicBezTo>
                      <a:pt x="80382" y="220508"/>
                      <a:pt x="59447" y="220355"/>
                      <a:pt x="38613" y="221981"/>
                    </a:cubicBezTo>
                    <a:close/>
                    <a:moveTo>
                      <a:pt x="134093" y="290378"/>
                    </a:moveTo>
                    <a:cubicBezTo>
                      <a:pt x="131197" y="294951"/>
                      <a:pt x="126014" y="301303"/>
                      <a:pt x="129927" y="306791"/>
                    </a:cubicBezTo>
                    <a:cubicBezTo>
                      <a:pt x="134144" y="319444"/>
                      <a:pt x="157671" y="319241"/>
                      <a:pt x="158027" y="304047"/>
                    </a:cubicBezTo>
                    <a:cubicBezTo>
                      <a:pt x="161889" y="290683"/>
                      <a:pt x="143697" y="282705"/>
                      <a:pt x="134093" y="290378"/>
                    </a:cubicBezTo>
                    <a:close/>
                    <a:moveTo>
                      <a:pt x="134093" y="370005"/>
                    </a:moveTo>
                    <a:cubicBezTo>
                      <a:pt x="127081" y="373155"/>
                      <a:pt x="127742" y="382810"/>
                      <a:pt x="129114" y="389111"/>
                    </a:cubicBezTo>
                    <a:cubicBezTo>
                      <a:pt x="133179" y="403796"/>
                      <a:pt x="157671" y="399121"/>
                      <a:pt x="157824" y="384639"/>
                    </a:cubicBezTo>
                    <a:cubicBezTo>
                      <a:pt x="161838" y="370919"/>
                      <a:pt x="144561" y="361163"/>
                      <a:pt x="134093" y="370005"/>
                    </a:cubicBezTo>
                    <a:close/>
                  </a:path>
                </a:pathLst>
              </a:custGeom>
              <a:solidFill>
                <a:srgbClr val="F6F7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8" name="Freeform: Shape 367">
                <a:extLst>
                  <a:ext uri="{FF2B5EF4-FFF2-40B4-BE49-F238E27FC236}">
                    <a16:creationId xmlns:a16="http://schemas.microsoft.com/office/drawing/2014/main" id="{CB95BD68-0BF8-E1B4-811D-3FF035FDE224}"/>
                  </a:ext>
                </a:extLst>
              </p:cNvPr>
              <p:cNvSpPr/>
              <p:nvPr/>
            </p:nvSpPr>
            <p:spPr>
              <a:xfrm>
                <a:off x="1515627" y="3023577"/>
                <a:ext cx="21459" cy="10711"/>
              </a:xfrm>
              <a:custGeom>
                <a:avLst/>
                <a:gdLst>
                  <a:gd name="connsiteX0" fmla="*/ 0 w 16718"/>
                  <a:gd name="connsiteY0" fmla="*/ 3103 h 8345"/>
                  <a:gd name="connsiteX1" fmla="*/ 16718 w 16718"/>
                  <a:gd name="connsiteY1" fmla="*/ 5339 h 8345"/>
                  <a:gd name="connsiteX2" fmla="*/ 0 w 16718"/>
                  <a:gd name="connsiteY2" fmla="*/ 3103 h 8345"/>
                </a:gdLst>
                <a:ahLst/>
                <a:cxnLst>
                  <a:cxn ang="0">
                    <a:pos x="connsiteX0" y="connsiteY0"/>
                  </a:cxn>
                  <a:cxn ang="0">
                    <a:pos x="connsiteX1" y="connsiteY1"/>
                  </a:cxn>
                  <a:cxn ang="0">
                    <a:pos x="connsiteX2" y="connsiteY2"/>
                  </a:cxn>
                </a:cxnLst>
                <a:rect l="l" t="t" r="r" b="b"/>
                <a:pathLst>
                  <a:path w="16718" h="8345">
                    <a:moveTo>
                      <a:pt x="0" y="3103"/>
                    </a:moveTo>
                    <a:cubicBezTo>
                      <a:pt x="3862" y="-810"/>
                      <a:pt x="16718" y="-1979"/>
                      <a:pt x="16718" y="5339"/>
                    </a:cubicBezTo>
                    <a:cubicBezTo>
                      <a:pt x="12805" y="9099"/>
                      <a:pt x="-51" y="10319"/>
                      <a:pt x="0" y="3103"/>
                    </a:cubicBezTo>
                    <a:close/>
                  </a:path>
                </a:pathLst>
              </a:custGeom>
              <a:solidFill>
                <a:srgbClr val="B8B7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9" name="Freeform: Shape 368">
                <a:extLst>
                  <a:ext uri="{FF2B5EF4-FFF2-40B4-BE49-F238E27FC236}">
                    <a16:creationId xmlns:a16="http://schemas.microsoft.com/office/drawing/2014/main" id="{936DBC87-1180-3693-758E-4F8C8D7A0F7A}"/>
                  </a:ext>
                </a:extLst>
              </p:cNvPr>
              <p:cNvSpPr/>
              <p:nvPr/>
            </p:nvSpPr>
            <p:spPr>
              <a:xfrm>
                <a:off x="1381133" y="3052963"/>
                <a:ext cx="87923" cy="12842"/>
              </a:xfrm>
              <a:custGeom>
                <a:avLst/>
                <a:gdLst>
                  <a:gd name="connsiteX0" fmla="*/ 0 w 68498"/>
                  <a:gd name="connsiteY0" fmla="*/ 8208 h 10005"/>
                  <a:gd name="connsiteX1" fmla="*/ 36485 w 68498"/>
                  <a:gd name="connsiteY1" fmla="*/ 26 h 10005"/>
                  <a:gd name="connsiteX2" fmla="*/ 68498 w 68498"/>
                  <a:gd name="connsiteY2" fmla="*/ 8818 h 10005"/>
                  <a:gd name="connsiteX3" fmla="*/ 0 w 68498"/>
                  <a:gd name="connsiteY3" fmla="*/ 8208 h 10005"/>
                </a:gdLst>
                <a:ahLst/>
                <a:cxnLst>
                  <a:cxn ang="0">
                    <a:pos x="connsiteX0" y="connsiteY0"/>
                  </a:cxn>
                  <a:cxn ang="0">
                    <a:pos x="connsiteX1" y="connsiteY1"/>
                  </a:cxn>
                  <a:cxn ang="0">
                    <a:pos x="connsiteX2" y="connsiteY2"/>
                  </a:cxn>
                  <a:cxn ang="0">
                    <a:pos x="connsiteX3" y="connsiteY3"/>
                  </a:cxn>
                </a:cxnLst>
                <a:rect l="l" t="t" r="r" b="b"/>
                <a:pathLst>
                  <a:path w="68498" h="10005">
                    <a:moveTo>
                      <a:pt x="0" y="8208"/>
                    </a:moveTo>
                    <a:cubicBezTo>
                      <a:pt x="9350" y="-2006"/>
                      <a:pt x="24137" y="840"/>
                      <a:pt x="36485" y="26"/>
                    </a:cubicBezTo>
                    <a:cubicBezTo>
                      <a:pt x="47613" y="586"/>
                      <a:pt x="61791" y="-2667"/>
                      <a:pt x="68498" y="8818"/>
                    </a:cubicBezTo>
                    <a:cubicBezTo>
                      <a:pt x="45733" y="10444"/>
                      <a:pt x="22765" y="10545"/>
                      <a:pt x="0" y="8208"/>
                    </a:cubicBezTo>
                    <a:close/>
                  </a:path>
                </a:pathLst>
              </a:custGeom>
              <a:solidFill>
                <a:srgbClr val="D2DD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0" name="Freeform: Shape 369">
                <a:extLst>
                  <a:ext uri="{FF2B5EF4-FFF2-40B4-BE49-F238E27FC236}">
                    <a16:creationId xmlns:a16="http://schemas.microsoft.com/office/drawing/2014/main" id="{D82EB6F5-07E7-92E4-0AE7-2F7590C439EA}"/>
                  </a:ext>
                </a:extLst>
              </p:cNvPr>
              <p:cNvSpPr/>
              <p:nvPr/>
            </p:nvSpPr>
            <p:spPr>
              <a:xfrm>
                <a:off x="1500857" y="3074804"/>
                <a:ext cx="37314" cy="39095"/>
              </a:xfrm>
              <a:custGeom>
                <a:avLst/>
                <a:gdLst>
                  <a:gd name="connsiteX0" fmla="*/ 11811 w 29070"/>
                  <a:gd name="connsiteY0" fmla="*/ 441 h 30458"/>
                  <a:gd name="connsiteX1" fmla="*/ 28885 w 29070"/>
                  <a:gd name="connsiteY1" fmla="*/ 13094 h 30458"/>
                  <a:gd name="connsiteX2" fmla="*/ 9118 w 29070"/>
                  <a:gd name="connsiteY2" fmla="*/ 30117 h 30458"/>
                  <a:gd name="connsiteX3" fmla="*/ 11811 w 29070"/>
                  <a:gd name="connsiteY3" fmla="*/ 441 h 30458"/>
                </a:gdLst>
                <a:ahLst/>
                <a:cxnLst>
                  <a:cxn ang="0">
                    <a:pos x="connsiteX0" y="connsiteY0"/>
                  </a:cxn>
                  <a:cxn ang="0">
                    <a:pos x="connsiteX1" y="connsiteY1"/>
                  </a:cxn>
                  <a:cxn ang="0">
                    <a:pos x="connsiteX2" y="connsiteY2"/>
                  </a:cxn>
                  <a:cxn ang="0">
                    <a:pos x="connsiteX3" y="connsiteY3"/>
                  </a:cxn>
                </a:cxnLst>
                <a:rect l="l" t="t" r="r" b="b"/>
                <a:pathLst>
                  <a:path w="29070" h="30458">
                    <a:moveTo>
                      <a:pt x="11811" y="441"/>
                    </a:moveTo>
                    <a:cubicBezTo>
                      <a:pt x="19993" y="-1744"/>
                      <a:pt x="28733" y="4456"/>
                      <a:pt x="28885" y="13094"/>
                    </a:cubicBezTo>
                    <a:cubicBezTo>
                      <a:pt x="30664" y="24121"/>
                      <a:pt x="19332" y="32251"/>
                      <a:pt x="9118" y="30117"/>
                    </a:cubicBezTo>
                    <a:cubicBezTo>
                      <a:pt x="-3839" y="25188"/>
                      <a:pt x="-3026" y="1407"/>
                      <a:pt x="11811" y="441"/>
                    </a:cubicBezTo>
                    <a:close/>
                  </a:path>
                </a:pathLst>
              </a:custGeom>
              <a:solidFill>
                <a:srgbClr val="D327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1" name="Freeform: Shape 370">
                <a:extLst>
                  <a:ext uri="{FF2B5EF4-FFF2-40B4-BE49-F238E27FC236}">
                    <a16:creationId xmlns:a16="http://schemas.microsoft.com/office/drawing/2014/main" id="{BE7E4BAA-FE77-AEED-FACF-8D9DAC0C150E}"/>
                  </a:ext>
                </a:extLst>
              </p:cNvPr>
              <p:cNvSpPr/>
              <p:nvPr/>
            </p:nvSpPr>
            <p:spPr>
              <a:xfrm>
                <a:off x="1385007" y="3089729"/>
                <a:ext cx="80812" cy="192373"/>
              </a:xfrm>
              <a:custGeom>
                <a:avLst/>
                <a:gdLst>
                  <a:gd name="connsiteX0" fmla="*/ 183 w 62958"/>
                  <a:gd name="connsiteY0" fmla="*/ 1110 h 149872"/>
                  <a:gd name="connsiteX1" fmla="*/ 62787 w 62958"/>
                  <a:gd name="connsiteY1" fmla="*/ 1618 h 149872"/>
                  <a:gd name="connsiteX2" fmla="*/ 62634 w 62958"/>
                  <a:gd name="connsiteY2" fmla="*/ 123828 h 149872"/>
                  <a:gd name="connsiteX3" fmla="*/ 57604 w 62958"/>
                  <a:gd name="connsiteY3" fmla="*/ 146135 h 149872"/>
                  <a:gd name="connsiteX4" fmla="*/ 7907 w 62958"/>
                  <a:gd name="connsiteY4" fmla="*/ 147355 h 149872"/>
                  <a:gd name="connsiteX5" fmla="*/ 793 w 62958"/>
                  <a:gd name="connsiteY5" fmla="*/ 133940 h 149872"/>
                  <a:gd name="connsiteX6" fmla="*/ 183 w 62958"/>
                  <a:gd name="connsiteY6" fmla="*/ 1110 h 14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58" h="149872">
                    <a:moveTo>
                      <a:pt x="183" y="1110"/>
                    </a:moveTo>
                    <a:cubicBezTo>
                      <a:pt x="21017" y="-516"/>
                      <a:pt x="41953" y="-363"/>
                      <a:pt x="62787" y="1618"/>
                    </a:cubicBezTo>
                    <a:cubicBezTo>
                      <a:pt x="61872" y="42321"/>
                      <a:pt x="63651" y="83074"/>
                      <a:pt x="62634" y="123828"/>
                    </a:cubicBezTo>
                    <a:cubicBezTo>
                      <a:pt x="61821" y="131247"/>
                      <a:pt x="62634" y="139987"/>
                      <a:pt x="57604" y="146135"/>
                    </a:cubicBezTo>
                    <a:cubicBezTo>
                      <a:pt x="41495" y="150302"/>
                      <a:pt x="24168" y="151369"/>
                      <a:pt x="7907" y="147355"/>
                    </a:cubicBezTo>
                    <a:cubicBezTo>
                      <a:pt x="590" y="146948"/>
                      <a:pt x="1250" y="139072"/>
                      <a:pt x="793" y="133940"/>
                    </a:cubicBezTo>
                    <a:cubicBezTo>
                      <a:pt x="-935" y="89680"/>
                      <a:pt x="793" y="45370"/>
                      <a:pt x="183" y="1110"/>
                    </a:cubicBezTo>
                    <a:close/>
                  </a:path>
                </a:pathLst>
              </a:custGeom>
              <a:solidFill>
                <a:srgbClr val="60C3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2" name="Freeform: Shape 371">
                <a:extLst>
                  <a:ext uri="{FF2B5EF4-FFF2-40B4-BE49-F238E27FC236}">
                    <a16:creationId xmlns:a16="http://schemas.microsoft.com/office/drawing/2014/main" id="{BAF66581-9F29-83D2-2B59-BFEDB34E2A6E}"/>
                  </a:ext>
                </a:extLst>
              </p:cNvPr>
              <p:cNvSpPr/>
              <p:nvPr/>
            </p:nvSpPr>
            <p:spPr>
              <a:xfrm>
                <a:off x="1500644" y="3175104"/>
                <a:ext cx="38557" cy="36591"/>
              </a:xfrm>
              <a:custGeom>
                <a:avLst/>
                <a:gdLst>
                  <a:gd name="connsiteX0" fmla="*/ 5574 w 30038"/>
                  <a:gd name="connsiteY0" fmla="*/ 2994 h 28507"/>
                  <a:gd name="connsiteX1" fmla="*/ 29508 w 30038"/>
                  <a:gd name="connsiteY1" fmla="*/ 16663 h 28507"/>
                  <a:gd name="connsiteX2" fmla="*/ 1408 w 30038"/>
                  <a:gd name="connsiteY2" fmla="*/ 19407 h 28507"/>
                  <a:gd name="connsiteX3" fmla="*/ 5574 w 30038"/>
                  <a:gd name="connsiteY3" fmla="*/ 2994 h 28507"/>
                </a:gdLst>
                <a:ahLst/>
                <a:cxnLst>
                  <a:cxn ang="0">
                    <a:pos x="connsiteX0" y="connsiteY0"/>
                  </a:cxn>
                  <a:cxn ang="0">
                    <a:pos x="connsiteX1" y="connsiteY1"/>
                  </a:cxn>
                  <a:cxn ang="0">
                    <a:pos x="connsiteX2" y="connsiteY2"/>
                  </a:cxn>
                  <a:cxn ang="0">
                    <a:pos x="connsiteX3" y="connsiteY3"/>
                  </a:cxn>
                </a:cxnLst>
                <a:rect l="l" t="t" r="r" b="b"/>
                <a:pathLst>
                  <a:path w="30038" h="28507">
                    <a:moveTo>
                      <a:pt x="5574" y="2994"/>
                    </a:moveTo>
                    <a:cubicBezTo>
                      <a:pt x="15178" y="-4679"/>
                      <a:pt x="33370" y="3299"/>
                      <a:pt x="29508" y="16663"/>
                    </a:cubicBezTo>
                    <a:cubicBezTo>
                      <a:pt x="29152" y="31857"/>
                      <a:pt x="5625" y="32060"/>
                      <a:pt x="1408" y="19407"/>
                    </a:cubicBezTo>
                    <a:cubicBezTo>
                      <a:pt x="-2505" y="13920"/>
                      <a:pt x="2678" y="7568"/>
                      <a:pt x="5574" y="2994"/>
                    </a:cubicBezTo>
                    <a:close/>
                  </a:path>
                </a:pathLst>
              </a:custGeom>
              <a:solidFill>
                <a:srgbClr val="CF24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3" name="Freeform: Shape 372">
                <a:extLst>
                  <a:ext uri="{FF2B5EF4-FFF2-40B4-BE49-F238E27FC236}">
                    <a16:creationId xmlns:a16="http://schemas.microsoft.com/office/drawing/2014/main" id="{B87EEF03-3DA2-D171-002F-73A4C52A547F}"/>
                  </a:ext>
                </a:extLst>
              </p:cNvPr>
              <p:cNvSpPr/>
              <p:nvPr/>
            </p:nvSpPr>
            <p:spPr>
              <a:xfrm>
                <a:off x="1500276" y="3276813"/>
                <a:ext cx="38744" cy="40377"/>
              </a:xfrm>
              <a:custGeom>
                <a:avLst/>
                <a:gdLst>
                  <a:gd name="connsiteX0" fmla="*/ 5861 w 30184"/>
                  <a:gd name="connsiteY0" fmla="*/ 3383 h 31456"/>
                  <a:gd name="connsiteX1" fmla="*/ 29591 w 30184"/>
                  <a:gd name="connsiteY1" fmla="*/ 18018 h 31456"/>
                  <a:gd name="connsiteX2" fmla="*/ 881 w 30184"/>
                  <a:gd name="connsiteY2" fmla="*/ 22490 h 31456"/>
                  <a:gd name="connsiteX3" fmla="*/ 5861 w 30184"/>
                  <a:gd name="connsiteY3" fmla="*/ 3383 h 31456"/>
                </a:gdLst>
                <a:ahLst/>
                <a:cxnLst>
                  <a:cxn ang="0">
                    <a:pos x="connsiteX0" y="connsiteY0"/>
                  </a:cxn>
                  <a:cxn ang="0">
                    <a:pos x="connsiteX1" y="connsiteY1"/>
                  </a:cxn>
                  <a:cxn ang="0">
                    <a:pos x="connsiteX2" y="connsiteY2"/>
                  </a:cxn>
                  <a:cxn ang="0">
                    <a:pos x="connsiteX3" y="connsiteY3"/>
                  </a:cxn>
                </a:cxnLst>
                <a:rect l="l" t="t" r="r" b="b"/>
                <a:pathLst>
                  <a:path w="30184" h="31456">
                    <a:moveTo>
                      <a:pt x="5861" y="3383"/>
                    </a:moveTo>
                    <a:cubicBezTo>
                      <a:pt x="16328" y="-5458"/>
                      <a:pt x="33605" y="4298"/>
                      <a:pt x="29591" y="18018"/>
                    </a:cubicBezTo>
                    <a:cubicBezTo>
                      <a:pt x="29439" y="32500"/>
                      <a:pt x="4946" y="37175"/>
                      <a:pt x="881" y="22490"/>
                    </a:cubicBezTo>
                    <a:cubicBezTo>
                      <a:pt x="-491" y="16189"/>
                      <a:pt x="-1152" y="6534"/>
                      <a:pt x="5861" y="3383"/>
                    </a:cubicBezTo>
                    <a:close/>
                  </a:path>
                </a:pathLst>
              </a:custGeom>
              <a:solidFill>
                <a:srgbClr val="2375D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4" name="Rectangle 373">
                <a:extLst>
                  <a:ext uri="{FF2B5EF4-FFF2-40B4-BE49-F238E27FC236}">
                    <a16:creationId xmlns:a16="http://schemas.microsoft.com/office/drawing/2014/main" id="{4D38A577-4262-6B94-B3FC-4EE6B6AD7EB1}"/>
                  </a:ext>
                </a:extLst>
              </p:cNvPr>
              <p:cNvSpPr/>
              <p:nvPr/>
            </p:nvSpPr>
            <p:spPr>
              <a:xfrm>
                <a:off x="1411119" y="3414653"/>
                <a:ext cx="182880" cy="739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41" name="Freeform: Shape 340">
              <a:extLst>
                <a:ext uri="{FF2B5EF4-FFF2-40B4-BE49-F238E27FC236}">
                  <a16:creationId xmlns:a16="http://schemas.microsoft.com/office/drawing/2014/main" id="{161F8CE9-EB12-386E-377C-7B0714306C58}"/>
                </a:ext>
              </a:extLst>
            </p:cNvPr>
            <p:cNvSpPr/>
            <p:nvPr/>
          </p:nvSpPr>
          <p:spPr>
            <a:xfrm>
              <a:off x="1308173" y="5665414"/>
              <a:ext cx="175856" cy="88655"/>
            </a:xfrm>
            <a:custGeom>
              <a:avLst/>
              <a:gdLst>
                <a:gd name="connsiteX0" fmla="*/ 191163 w 382326"/>
                <a:gd name="connsiteY0" fmla="*/ 0 h 192744"/>
                <a:gd name="connsiteX1" fmla="*/ 382326 w 382326"/>
                <a:gd name="connsiteY1" fmla="*/ 191163 h 192744"/>
                <a:gd name="connsiteX2" fmla="*/ 382326 w 382326"/>
                <a:gd name="connsiteY2" fmla="*/ 192744 h 192744"/>
                <a:gd name="connsiteX3" fmla="*/ 0 w 382326"/>
                <a:gd name="connsiteY3" fmla="*/ 192744 h 192744"/>
                <a:gd name="connsiteX4" fmla="*/ 0 w 382326"/>
                <a:gd name="connsiteY4" fmla="*/ 191163 h 192744"/>
                <a:gd name="connsiteX5" fmla="*/ 191163 w 382326"/>
                <a:gd name="connsiteY5" fmla="*/ 0 h 19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326" h="192744">
                  <a:moveTo>
                    <a:pt x="191163" y="0"/>
                  </a:moveTo>
                  <a:cubicBezTo>
                    <a:pt x="296739" y="0"/>
                    <a:pt x="382326" y="85587"/>
                    <a:pt x="382326" y="191163"/>
                  </a:cubicBezTo>
                  <a:lnTo>
                    <a:pt x="382326" y="192744"/>
                  </a:lnTo>
                  <a:lnTo>
                    <a:pt x="0" y="192744"/>
                  </a:lnTo>
                  <a:lnTo>
                    <a:pt x="0" y="191163"/>
                  </a:lnTo>
                  <a:cubicBezTo>
                    <a:pt x="0" y="85587"/>
                    <a:pt x="85587" y="0"/>
                    <a:pt x="1911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2" name="Oval 341">
              <a:extLst>
                <a:ext uri="{FF2B5EF4-FFF2-40B4-BE49-F238E27FC236}">
                  <a16:creationId xmlns:a16="http://schemas.microsoft.com/office/drawing/2014/main" id="{AC310B3F-71E7-D7F8-F677-6EDB161CA9A5}"/>
                </a:ext>
              </a:extLst>
            </p:cNvPr>
            <p:cNvSpPr/>
            <p:nvPr/>
          </p:nvSpPr>
          <p:spPr>
            <a:xfrm flipH="1">
              <a:off x="3246184" y="3507510"/>
              <a:ext cx="41187" cy="45720"/>
            </a:xfrm>
            <a:prstGeom prst="ellipse">
              <a:avLst/>
            </a:prstGeom>
            <a:solidFill>
              <a:srgbClr val="198F6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3" name="Oval 342">
              <a:extLst>
                <a:ext uri="{FF2B5EF4-FFF2-40B4-BE49-F238E27FC236}">
                  <a16:creationId xmlns:a16="http://schemas.microsoft.com/office/drawing/2014/main" id="{029D73A8-EBFB-2E3D-25D1-411E03AEA112}"/>
                </a:ext>
              </a:extLst>
            </p:cNvPr>
            <p:cNvSpPr/>
            <p:nvPr/>
          </p:nvSpPr>
          <p:spPr>
            <a:xfrm flipH="1">
              <a:off x="3105410" y="3469521"/>
              <a:ext cx="41187" cy="45720"/>
            </a:xfrm>
            <a:prstGeom prst="ellipse">
              <a:avLst/>
            </a:prstGeom>
            <a:solidFill>
              <a:srgbClr val="198F6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4" name="Freeform: Shape 343">
              <a:extLst>
                <a:ext uri="{FF2B5EF4-FFF2-40B4-BE49-F238E27FC236}">
                  <a16:creationId xmlns:a16="http://schemas.microsoft.com/office/drawing/2014/main" id="{014972CE-980A-8C1C-489D-86FCD53A7A6A}"/>
                </a:ext>
              </a:extLst>
            </p:cNvPr>
            <p:cNvSpPr/>
            <p:nvPr/>
          </p:nvSpPr>
          <p:spPr>
            <a:xfrm flipH="1">
              <a:off x="3124386" y="3260625"/>
              <a:ext cx="64008" cy="59288"/>
            </a:xfrm>
            <a:custGeom>
              <a:avLst/>
              <a:gdLst>
                <a:gd name="connsiteX0" fmla="*/ 2539 w 39717"/>
                <a:gd name="connsiteY0" fmla="*/ 3398 h 49705"/>
                <a:gd name="connsiteX1" fmla="*/ 32426 w 39717"/>
                <a:gd name="connsiteY1" fmla="*/ 4651 h 49705"/>
                <a:gd name="connsiteX2" fmla="*/ 37974 w 39717"/>
                <a:gd name="connsiteY2" fmla="*/ 40534 h 49705"/>
                <a:gd name="connsiteX3" fmla="*/ 9205 w 39717"/>
                <a:gd name="connsiteY3" fmla="*/ 49706 h 49705"/>
                <a:gd name="connsiteX4" fmla="*/ 2539 w 39717"/>
                <a:gd name="connsiteY4" fmla="*/ 3398 h 49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17" h="49705">
                  <a:moveTo>
                    <a:pt x="2539" y="3398"/>
                  </a:moveTo>
                  <a:cubicBezTo>
                    <a:pt x="12203" y="2414"/>
                    <a:pt x="24686" y="-4431"/>
                    <a:pt x="32426" y="4651"/>
                  </a:cubicBezTo>
                  <a:cubicBezTo>
                    <a:pt x="43164" y="13197"/>
                    <a:pt x="39227" y="28767"/>
                    <a:pt x="37974" y="40534"/>
                  </a:cubicBezTo>
                  <a:cubicBezTo>
                    <a:pt x="31934" y="50959"/>
                    <a:pt x="19362" y="49258"/>
                    <a:pt x="9205" y="49706"/>
                  </a:cubicBezTo>
                  <a:cubicBezTo>
                    <a:pt x="-1264" y="36104"/>
                    <a:pt x="-1756" y="19371"/>
                    <a:pt x="2539" y="3398"/>
                  </a:cubicBezTo>
                  <a:close/>
                </a:path>
              </a:pathLst>
            </a:custGeom>
            <a:solidFill>
              <a:schemeClr val="bg2">
                <a:lumMod val="40000"/>
                <a:lumOff val="6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 name="Oval 344">
              <a:extLst>
                <a:ext uri="{FF2B5EF4-FFF2-40B4-BE49-F238E27FC236}">
                  <a16:creationId xmlns:a16="http://schemas.microsoft.com/office/drawing/2014/main" id="{2684D5CA-2F5D-7FDA-13E9-D9D5E465B26D}"/>
                </a:ext>
              </a:extLst>
            </p:cNvPr>
            <p:cNvSpPr/>
            <p:nvPr/>
          </p:nvSpPr>
          <p:spPr>
            <a:xfrm flipH="1">
              <a:off x="3389322" y="3483139"/>
              <a:ext cx="64008" cy="64008"/>
            </a:xfrm>
            <a:prstGeom prst="ellipse">
              <a:avLst/>
            </a:prstGeom>
            <a:solidFill>
              <a:srgbClr val="386A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6" name="Rectangle: Rounded Corners 345">
              <a:extLst>
                <a:ext uri="{FF2B5EF4-FFF2-40B4-BE49-F238E27FC236}">
                  <a16:creationId xmlns:a16="http://schemas.microsoft.com/office/drawing/2014/main" id="{9671817F-C1A7-2488-D70B-71E0F06C0782}"/>
                </a:ext>
              </a:extLst>
            </p:cNvPr>
            <p:cNvSpPr/>
            <p:nvPr/>
          </p:nvSpPr>
          <p:spPr>
            <a:xfrm flipH="1">
              <a:off x="2683008" y="2867205"/>
              <a:ext cx="184117" cy="217598"/>
            </a:xfrm>
            <a:prstGeom prst="roundRect">
              <a:avLst/>
            </a:prstGeom>
            <a:solidFill>
              <a:srgbClr val="F6F6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7" name="Freeform: Shape 346">
              <a:extLst>
                <a:ext uri="{FF2B5EF4-FFF2-40B4-BE49-F238E27FC236}">
                  <a16:creationId xmlns:a16="http://schemas.microsoft.com/office/drawing/2014/main" id="{62EA9C12-2DA2-9056-10EF-6B714A374DF0}"/>
                </a:ext>
              </a:extLst>
            </p:cNvPr>
            <p:cNvSpPr/>
            <p:nvPr/>
          </p:nvSpPr>
          <p:spPr>
            <a:xfrm flipH="1">
              <a:off x="2741207" y="2912037"/>
              <a:ext cx="67719" cy="69157"/>
            </a:xfrm>
            <a:custGeom>
              <a:avLst/>
              <a:gdLst>
                <a:gd name="connsiteX0" fmla="*/ 14207 w 56773"/>
                <a:gd name="connsiteY0" fmla="*/ 3572 h 57979"/>
                <a:gd name="connsiteX1" fmla="*/ 56219 w 56773"/>
                <a:gd name="connsiteY1" fmla="*/ 24645 h 57979"/>
                <a:gd name="connsiteX2" fmla="*/ 12731 w 56773"/>
                <a:gd name="connsiteY2" fmla="*/ 51982 h 57979"/>
                <a:gd name="connsiteX3" fmla="*/ 14207 w 56773"/>
                <a:gd name="connsiteY3" fmla="*/ 3572 h 57979"/>
              </a:gdLst>
              <a:ahLst/>
              <a:cxnLst>
                <a:cxn ang="0">
                  <a:pos x="connsiteX0" y="connsiteY0"/>
                </a:cxn>
                <a:cxn ang="0">
                  <a:pos x="connsiteX1" y="connsiteY1"/>
                </a:cxn>
                <a:cxn ang="0">
                  <a:pos x="connsiteX2" y="connsiteY2"/>
                </a:cxn>
                <a:cxn ang="0">
                  <a:pos x="connsiteX3" y="connsiteY3"/>
                </a:cxn>
              </a:cxnLst>
              <a:rect l="l" t="t" r="r" b="b"/>
              <a:pathLst>
                <a:path w="56773" h="57979">
                  <a:moveTo>
                    <a:pt x="14207" y="3572"/>
                  </a:moveTo>
                  <a:cubicBezTo>
                    <a:pt x="30762" y="-6092"/>
                    <a:pt x="55056" y="4825"/>
                    <a:pt x="56219" y="24645"/>
                  </a:cubicBezTo>
                  <a:cubicBezTo>
                    <a:pt x="61231" y="47463"/>
                    <a:pt x="31075" y="68716"/>
                    <a:pt x="12731" y="51982"/>
                  </a:cubicBezTo>
                  <a:cubicBezTo>
                    <a:pt x="-4853" y="41647"/>
                    <a:pt x="-4092" y="12655"/>
                    <a:pt x="14207" y="3572"/>
                  </a:cubicBezTo>
                  <a:close/>
                </a:path>
              </a:pathLst>
            </a:custGeom>
            <a:solidFill>
              <a:srgbClr val="8DA5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8" name="Freeform: Shape 347">
              <a:extLst>
                <a:ext uri="{FF2B5EF4-FFF2-40B4-BE49-F238E27FC236}">
                  <a16:creationId xmlns:a16="http://schemas.microsoft.com/office/drawing/2014/main" id="{B09C52E6-5658-8256-E768-CE898C2094CD}"/>
                </a:ext>
              </a:extLst>
            </p:cNvPr>
            <p:cNvSpPr/>
            <p:nvPr/>
          </p:nvSpPr>
          <p:spPr>
            <a:xfrm flipH="1">
              <a:off x="2752207" y="2999653"/>
              <a:ext cx="45719" cy="46690"/>
            </a:xfrm>
            <a:custGeom>
              <a:avLst/>
              <a:gdLst>
                <a:gd name="connsiteX0" fmla="*/ 14207 w 56773"/>
                <a:gd name="connsiteY0" fmla="*/ 3572 h 57979"/>
                <a:gd name="connsiteX1" fmla="*/ 56219 w 56773"/>
                <a:gd name="connsiteY1" fmla="*/ 24645 h 57979"/>
                <a:gd name="connsiteX2" fmla="*/ 12731 w 56773"/>
                <a:gd name="connsiteY2" fmla="*/ 51982 h 57979"/>
                <a:gd name="connsiteX3" fmla="*/ 14207 w 56773"/>
                <a:gd name="connsiteY3" fmla="*/ 3572 h 57979"/>
              </a:gdLst>
              <a:ahLst/>
              <a:cxnLst>
                <a:cxn ang="0">
                  <a:pos x="connsiteX0" y="connsiteY0"/>
                </a:cxn>
                <a:cxn ang="0">
                  <a:pos x="connsiteX1" y="connsiteY1"/>
                </a:cxn>
                <a:cxn ang="0">
                  <a:pos x="connsiteX2" y="connsiteY2"/>
                </a:cxn>
                <a:cxn ang="0">
                  <a:pos x="connsiteX3" y="connsiteY3"/>
                </a:cxn>
              </a:cxnLst>
              <a:rect l="l" t="t" r="r" b="b"/>
              <a:pathLst>
                <a:path w="56773" h="57979">
                  <a:moveTo>
                    <a:pt x="14207" y="3572"/>
                  </a:moveTo>
                  <a:cubicBezTo>
                    <a:pt x="30762" y="-6092"/>
                    <a:pt x="55056" y="4825"/>
                    <a:pt x="56219" y="24645"/>
                  </a:cubicBezTo>
                  <a:cubicBezTo>
                    <a:pt x="61231" y="47463"/>
                    <a:pt x="31075" y="68716"/>
                    <a:pt x="12731" y="51982"/>
                  </a:cubicBezTo>
                  <a:cubicBezTo>
                    <a:pt x="-4853" y="41647"/>
                    <a:pt x="-4092" y="12655"/>
                    <a:pt x="14207" y="3572"/>
                  </a:cubicBezTo>
                  <a:close/>
                </a:path>
              </a:pathLst>
            </a:custGeom>
            <a:solidFill>
              <a:srgbClr val="8DA5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9" name="Oval 348">
              <a:extLst>
                <a:ext uri="{FF2B5EF4-FFF2-40B4-BE49-F238E27FC236}">
                  <a16:creationId xmlns:a16="http://schemas.microsoft.com/office/drawing/2014/main" id="{C09A244C-AC88-5A7D-075D-5928311C7239}"/>
                </a:ext>
              </a:extLst>
            </p:cNvPr>
            <p:cNvSpPr/>
            <p:nvPr/>
          </p:nvSpPr>
          <p:spPr>
            <a:xfrm flipH="1">
              <a:off x="3501338" y="3243333"/>
              <a:ext cx="46494" cy="45719"/>
            </a:xfrm>
            <a:prstGeom prst="ellipse">
              <a:avLst/>
            </a:prstGeom>
            <a:solidFill>
              <a:srgbClr val="FF694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 name="Rectangle: Rounded Corners 349">
              <a:extLst>
                <a:ext uri="{FF2B5EF4-FFF2-40B4-BE49-F238E27FC236}">
                  <a16:creationId xmlns:a16="http://schemas.microsoft.com/office/drawing/2014/main" id="{C2B5F3EC-990C-892E-9E72-36495DBB2B2F}"/>
                </a:ext>
              </a:extLst>
            </p:cNvPr>
            <p:cNvSpPr/>
            <p:nvPr/>
          </p:nvSpPr>
          <p:spPr>
            <a:xfrm>
              <a:off x="4927872" y="4056539"/>
              <a:ext cx="104906" cy="10627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1" name="Rectangle: Rounded Corners 350">
              <a:extLst>
                <a:ext uri="{FF2B5EF4-FFF2-40B4-BE49-F238E27FC236}">
                  <a16:creationId xmlns:a16="http://schemas.microsoft.com/office/drawing/2014/main" id="{7626FB1C-747E-5AE4-D57C-FE291D6597CC}"/>
                </a:ext>
              </a:extLst>
            </p:cNvPr>
            <p:cNvSpPr/>
            <p:nvPr/>
          </p:nvSpPr>
          <p:spPr>
            <a:xfrm flipH="1">
              <a:off x="4927038" y="3962820"/>
              <a:ext cx="106573" cy="36672"/>
            </a:xfrm>
            <a:prstGeom prst="roundRect">
              <a:avLst/>
            </a:prstGeom>
            <a:solidFill>
              <a:srgbClr val="FE9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 name="Rectangle: Rounded Corners 351">
              <a:extLst>
                <a:ext uri="{FF2B5EF4-FFF2-40B4-BE49-F238E27FC236}">
                  <a16:creationId xmlns:a16="http://schemas.microsoft.com/office/drawing/2014/main" id="{73AF4DE7-C92D-2840-8CEF-C51F724B9A5D}"/>
                </a:ext>
              </a:extLst>
            </p:cNvPr>
            <p:cNvSpPr/>
            <p:nvPr/>
          </p:nvSpPr>
          <p:spPr>
            <a:xfrm flipH="1">
              <a:off x="4904576" y="3997409"/>
              <a:ext cx="151499" cy="66231"/>
            </a:xfrm>
            <a:prstGeom prst="round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3" name="Rectangle: Rounded Corners 352">
              <a:extLst>
                <a:ext uri="{FF2B5EF4-FFF2-40B4-BE49-F238E27FC236}">
                  <a16:creationId xmlns:a16="http://schemas.microsoft.com/office/drawing/2014/main" id="{6490A45E-8083-368D-E122-01E206A94E29}"/>
                </a:ext>
              </a:extLst>
            </p:cNvPr>
            <p:cNvSpPr/>
            <p:nvPr/>
          </p:nvSpPr>
          <p:spPr>
            <a:xfrm flipH="1">
              <a:off x="4924501" y="4976434"/>
              <a:ext cx="111648" cy="69644"/>
            </a:xfrm>
            <a:prstGeom prst="roundRect">
              <a:avLst/>
            </a:prstGeom>
            <a:solidFill>
              <a:srgbClr val="204B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 name="Rectangle: Rounded Corners 353">
              <a:extLst>
                <a:ext uri="{FF2B5EF4-FFF2-40B4-BE49-F238E27FC236}">
                  <a16:creationId xmlns:a16="http://schemas.microsoft.com/office/drawing/2014/main" id="{A50FC377-5464-E28B-8752-5C07FD12040C}"/>
                </a:ext>
              </a:extLst>
            </p:cNvPr>
            <p:cNvSpPr/>
            <p:nvPr/>
          </p:nvSpPr>
          <p:spPr>
            <a:xfrm flipH="1">
              <a:off x="4924766" y="4944893"/>
              <a:ext cx="111119" cy="32980"/>
            </a:xfrm>
            <a:prstGeom prst="roundRect">
              <a:avLst/>
            </a:prstGeom>
            <a:solidFill>
              <a:srgbClr val="FB95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5" name="Rectangle 354">
              <a:extLst>
                <a:ext uri="{FF2B5EF4-FFF2-40B4-BE49-F238E27FC236}">
                  <a16:creationId xmlns:a16="http://schemas.microsoft.com/office/drawing/2014/main" id="{4DE4BFD5-A3AC-4746-B61A-8F45673AFCB4}"/>
                </a:ext>
              </a:extLst>
            </p:cNvPr>
            <p:cNvSpPr/>
            <p:nvPr/>
          </p:nvSpPr>
          <p:spPr>
            <a:xfrm flipH="1">
              <a:off x="4303206" y="2516415"/>
              <a:ext cx="91440" cy="37896"/>
            </a:xfrm>
            <a:prstGeom prst="rect">
              <a:avLst/>
            </a:prstGeom>
            <a:solidFill>
              <a:srgbClr val="FA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6" name="Oval 355">
              <a:extLst>
                <a:ext uri="{FF2B5EF4-FFF2-40B4-BE49-F238E27FC236}">
                  <a16:creationId xmlns:a16="http://schemas.microsoft.com/office/drawing/2014/main" id="{C69A01CB-6B01-2B3C-82E5-2833008F2C9B}"/>
                </a:ext>
              </a:extLst>
            </p:cNvPr>
            <p:cNvSpPr/>
            <p:nvPr/>
          </p:nvSpPr>
          <p:spPr>
            <a:xfrm flipH="1">
              <a:off x="4498272"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7" name="Freeform: Shape 356">
              <a:extLst>
                <a:ext uri="{FF2B5EF4-FFF2-40B4-BE49-F238E27FC236}">
                  <a16:creationId xmlns:a16="http://schemas.microsoft.com/office/drawing/2014/main" id="{A240C885-43E0-AACE-ABFE-0A855B87552A}"/>
                </a:ext>
              </a:extLst>
            </p:cNvPr>
            <p:cNvSpPr/>
            <p:nvPr/>
          </p:nvSpPr>
          <p:spPr>
            <a:xfrm flipH="1">
              <a:off x="4608976"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 name="Oval 357">
              <a:extLst>
                <a:ext uri="{FF2B5EF4-FFF2-40B4-BE49-F238E27FC236}">
                  <a16:creationId xmlns:a16="http://schemas.microsoft.com/office/drawing/2014/main" id="{75046458-D3C0-17D7-A893-FC012DE2E5D0}"/>
                </a:ext>
              </a:extLst>
            </p:cNvPr>
            <p:cNvSpPr/>
            <p:nvPr/>
          </p:nvSpPr>
          <p:spPr>
            <a:xfrm flipH="1">
              <a:off x="2220898"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 name="Oval 358">
              <a:extLst>
                <a:ext uri="{FF2B5EF4-FFF2-40B4-BE49-F238E27FC236}">
                  <a16:creationId xmlns:a16="http://schemas.microsoft.com/office/drawing/2014/main" id="{C4107007-9D31-1CC6-DDA9-6C82C593C089}"/>
                </a:ext>
              </a:extLst>
            </p:cNvPr>
            <p:cNvSpPr/>
            <p:nvPr/>
          </p:nvSpPr>
          <p:spPr>
            <a:xfrm flipH="1">
              <a:off x="2256528"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0" name="Freeform: Shape 359">
              <a:extLst>
                <a:ext uri="{FF2B5EF4-FFF2-40B4-BE49-F238E27FC236}">
                  <a16:creationId xmlns:a16="http://schemas.microsoft.com/office/drawing/2014/main" id="{D3041E5F-25F2-4F72-4280-D1F8999D48B8}"/>
                </a:ext>
              </a:extLst>
            </p:cNvPr>
            <p:cNvSpPr/>
            <p:nvPr/>
          </p:nvSpPr>
          <p:spPr>
            <a:xfrm flipH="1">
              <a:off x="2367232"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1" name="Oval 360">
              <a:extLst>
                <a:ext uri="{FF2B5EF4-FFF2-40B4-BE49-F238E27FC236}">
                  <a16:creationId xmlns:a16="http://schemas.microsoft.com/office/drawing/2014/main" id="{D3C0D05F-0701-3F5C-929F-681BDBD9A522}"/>
                </a:ext>
              </a:extLst>
            </p:cNvPr>
            <p:cNvSpPr/>
            <p:nvPr/>
          </p:nvSpPr>
          <p:spPr>
            <a:xfrm flipH="1">
              <a:off x="1594081"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2" name="Oval 361">
              <a:extLst>
                <a:ext uri="{FF2B5EF4-FFF2-40B4-BE49-F238E27FC236}">
                  <a16:creationId xmlns:a16="http://schemas.microsoft.com/office/drawing/2014/main" id="{972C68DB-F0EA-8FA3-BA1D-0944A323FE4D}"/>
                </a:ext>
              </a:extLst>
            </p:cNvPr>
            <p:cNvSpPr/>
            <p:nvPr/>
          </p:nvSpPr>
          <p:spPr>
            <a:xfrm flipH="1">
              <a:off x="1629711"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3" name="Freeform: Shape 362">
              <a:extLst>
                <a:ext uri="{FF2B5EF4-FFF2-40B4-BE49-F238E27FC236}">
                  <a16:creationId xmlns:a16="http://schemas.microsoft.com/office/drawing/2014/main" id="{E9D77449-0110-2BDE-FBFD-BAE6C874D0C6}"/>
                </a:ext>
              </a:extLst>
            </p:cNvPr>
            <p:cNvSpPr/>
            <p:nvPr/>
          </p:nvSpPr>
          <p:spPr>
            <a:xfrm flipH="1">
              <a:off x="1740415"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 name="Oval 363">
              <a:extLst>
                <a:ext uri="{FF2B5EF4-FFF2-40B4-BE49-F238E27FC236}">
                  <a16:creationId xmlns:a16="http://schemas.microsoft.com/office/drawing/2014/main" id="{5EB606B8-916A-D2A7-C8D2-4C8D211DEEC3}"/>
                </a:ext>
              </a:extLst>
            </p:cNvPr>
            <p:cNvSpPr/>
            <p:nvPr/>
          </p:nvSpPr>
          <p:spPr>
            <a:xfrm flipH="1">
              <a:off x="2448013" y="4714383"/>
              <a:ext cx="44452" cy="44454"/>
            </a:xfrm>
            <a:prstGeom prst="ellipse">
              <a:avLst/>
            </a:prstGeom>
            <a:solidFill>
              <a:srgbClr val="E3F0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 name="Freeform: Shape 364">
              <a:extLst>
                <a:ext uri="{FF2B5EF4-FFF2-40B4-BE49-F238E27FC236}">
                  <a16:creationId xmlns:a16="http://schemas.microsoft.com/office/drawing/2014/main" id="{49CC2FC4-17D7-9367-7DC0-5D7D1CB6D81E}"/>
                </a:ext>
              </a:extLst>
            </p:cNvPr>
            <p:cNvSpPr/>
            <p:nvPr/>
          </p:nvSpPr>
          <p:spPr>
            <a:xfrm flipH="1">
              <a:off x="3325656" y="3510020"/>
              <a:ext cx="142564" cy="587265"/>
            </a:xfrm>
            <a:custGeom>
              <a:avLst/>
              <a:gdLst>
                <a:gd name="connsiteX0" fmla="*/ 32169 w 119521"/>
                <a:gd name="connsiteY0" fmla="*/ 20357 h 492345"/>
                <a:gd name="connsiteX1" fmla="*/ 43444 w 119521"/>
                <a:gd name="connsiteY1" fmla="*/ 0 h 492345"/>
                <a:gd name="connsiteX2" fmla="*/ 44294 w 119521"/>
                <a:gd name="connsiteY2" fmla="*/ 20402 h 492345"/>
                <a:gd name="connsiteX3" fmla="*/ 43847 w 119521"/>
                <a:gd name="connsiteY3" fmla="*/ 54450 h 492345"/>
                <a:gd name="connsiteX4" fmla="*/ 55927 w 119521"/>
                <a:gd name="connsiteY4" fmla="*/ 123934 h 492345"/>
                <a:gd name="connsiteX5" fmla="*/ 117894 w 119521"/>
                <a:gd name="connsiteY5" fmla="*/ 382718 h 492345"/>
                <a:gd name="connsiteX6" fmla="*/ 111809 w 119521"/>
                <a:gd name="connsiteY6" fmla="*/ 458600 h 492345"/>
                <a:gd name="connsiteX7" fmla="*/ 42370 w 119521"/>
                <a:gd name="connsiteY7" fmla="*/ 488711 h 492345"/>
                <a:gd name="connsiteX8" fmla="*/ 6712 w 119521"/>
                <a:gd name="connsiteY8" fmla="*/ 445893 h 492345"/>
                <a:gd name="connsiteX9" fmla="*/ 358 w 119521"/>
                <a:gd name="connsiteY9" fmla="*/ 374441 h 492345"/>
                <a:gd name="connsiteX10" fmla="*/ 761 w 119521"/>
                <a:gd name="connsiteY10" fmla="*/ 367775 h 492345"/>
                <a:gd name="connsiteX11" fmla="*/ 3759 w 119521"/>
                <a:gd name="connsiteY11" fmla="*/ 336814 h 492345"/>
                <a:gd name="connsiteX12" fmla="*/ 16197 w 119521"/>
                <a:gd name="connsiteY12" fmla="*/ 201694 h 492345"/>
                <a:gd name="connsiteX13" fmla="*/ 23669 w 119521"/>
                <a:gd name="connsiteY13" fmla="*/ 115746 h 492345"/>
                <a:gd name="connsiteX14" fmla="*/ 28680 w 119521"/>
                <a:gd name="connsiteY14" fmla="*/ 54406 h 492345"/>
                <a:gd name="connsiteX15" fmla="*/ 32169 w 119521"/>
                <a:gd name="connsiteY15" fmla="*/ 20357 h 492345"/>
                <a:gd name="connsiteX16" fmla="*/ 37449 w 119521"/>
                <a:gd name="connsiteY16" fmla="*/ 117088 h 492345"/>
                <a:gd name="connsiteX17" fmla="*/ 34899 w 119521"/>
                <a:gd name="connsiteY17" fmla="*/ 167557 h 492345"/>
                <a:gd name="connsiteX18" fmla="*/ 23087 w 119521"/>
                <a:gd name="connsiteY18" fmla="*/ 308358 h 492345"/>
                <a:gd name="connsiteX19" fmla="*/ 15347 w 119521"/>
                <a:gd name="connsiteY19" fmla="*/ 378110 h 492345"/>
                <a:gd name="connsiteX20" fmla="*/ 32751 w 119521"/>
                <a:gd name="connsiteY20" fmla="*/ 462493 h 492345"/>
                <a:gd name="connsiteX21" fmla="*/ 71989 w 119521"/>
                <a:gd name="connsiteY21" fmla="*/ 476004 h 492345"/>
                <a:gd name="connsiteX22" fmla="*/ 103398 w 119521"/>
                <a:gd name="connsiteY22" fmla="*/ 432158 h 492345"/>
                <a:gd name="connsiteX23" fmla="*/ 88633 w 119521"/>
                <a:gd name="connsiteY23" fmla="*/ 299186 h 492345"/>
                <a:gd name="connsiteX24" fmla="*/ 49977 w 119521"/>
                <a:gd name="connsiteY24" fmla="*/ 157758 h 492345"/>
                <a:gd name="connsiteX25" fmla="*/ 37449 w 119521"/>
                <a:gd name="connsiteY25" fmla="*/ 117088 h 49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521" h="492345">
                  <a:moveTo>
                    <a:pt x="32169" y="20357"/>
                  </a:moveTo>
                  <a:cubicBezTo>
                    <a:pt x="33288" y="12170"/>
                    <a:pt x="36375" y="4743"/>
                    <a:pt x="43444" y="0"/>
                  </a:cubicBezTo>
                  <a:cubicBezTo>
                    <a:pt x="43892" y="6756"/>
                    <a:pt x="44205" y="13557"/>
                    <a:pt x="44294" y="20402"/>
                  </a:cubicBezTo>
                  <a:cubicBezTo>
                    <a:pt x="44160" y="31722"/>
                    <a:pt x="43623" y="43086"/>
                    <a:pt x="43847" y="54450"/>
                  </a:cubicBezTo>
                  <a:cubicBezTo>
                    <a:pt x="43892" y="78163"/>
                    <a:pt x="48545" y="101474"/>
                    <a:pt x="55927" y="123934"/>
                  </a:cubicBezTo>
                  <a:cubicBezTo>
                    <a:pt x="80624" y="209122"/>
                    <a:pt x="107514" y="294309"/>
                    <a:pt x="117894" y="382718"/>
                  </a:cubicBezTo>
                  <a:cubicBezTo>
                    <a:pt x="119907" y="407953"/>
                    <a:pt x="121876" y="434708"/>
                    <a:pt x="111809" y="458600"/>
                  </a:cubicBezTo>
                  <a:cubicBezTo>
                    <a:pt x="100982" y="484282"/>
                    <a:pt x="68634" y="499807"/>
                    <a:pt x="42370" y="488711"/>
                  </a:cubicBezTo>
                  <a:cubicBezTo>
                    <a:pt x="24384" y="481060"/>
                    <a:pt x="13512" y="463432"/>
                    <a:pt x="6712" y="445893"/>
                  </a:cubicBezTo>
                  <a:cubicBezTo>
                    <a:pt x="90" y="422717"/>
                    <a:pt x="-626" y="398378"/>
                    <a:pt x="358" y="374441"/>
                  </a:cubicBezTo>
                  <a:cubicBezTo>
                    <a:pt x="448" y="372786"/>
                    <a:pt x="627" y="369475"/>
                    <a:pt x="761" y="367775"/>
                  </a:cubicBezTo>
                  <a:cubicBezTo>
                    <a:pt x="1611" y="357439"/>
                    <a:pt x="2685" y="347149"/>
                    <a:pt x="3759" y="336814"/>
                  </a:cubicBezTo>
                  <a:cubicBezTo>
                    <a:pt x="7785" y="291759"/>
                    <a:pt x="14228" y="246883"/>
                    <a:pt x="16197" y="201694"/>
                  </a:cubicBezTo>
                  <a:cubicBezTo>
                    <a:pt x="19060" y="173105"/>
                    <a:pt x="20447" y="144336"/>
                    <a:pt x="23669" y="115746"/>
                  </a:cubicBezTo>
                  <a:cubicBezTo>
                    <a:pt x="26487" y="95389"/>
                    <a:pt x="27337" y="74853"/>
                    <a:pt x="28680" y="54406"/>
                  </a:cubicBezTo>
                  <a:cubicBezTo>
                    <a:pt x="29574" y="43041"/>
                    <a:pt x="30693" y="31677"/>
                    <a:pt x="32169" y="20357"/>
                  </a:cubicBezTo>
                  <a:close/>
                  <a:moveTo>
                    <a:pt x="37449" y="117088"/>
                  </a:moveTo>
                  <a:cubicBezTo>
                    <a:pt x="35704" y="133822"/>
                    <a:pt x="35704" y="150734"/>
                    <a:pt x="34899" y="167557"/>
                  </a:cubicBezTo>
                  <a:cubicBezTo>
                    <a:pt x="31722" y="214535"/>
                    <a:pt x="23669" y="261335"/>
                    <a:pt x="23087" y="308358"/>
                  </a:cubicBezTo>
                  <a:cubicBezTo>
                    <a:pt x="18792" y="331355"/>
                    <a:pt x="17047" y="354755"/>
                    <a:pt x="15347" y="378110"/>
                  </a:cubicBezTo>
                  <a:cubicBezTo>
                    <a:pt x="13691" y="406834"/>
                    <a:pt x="15168" y="438287"/>
                    <a:pt x="32751" y="462493"/>
                  </a:cubicBezTo>
                  <a:cubicBezTo>
                    <a:pt x="40983" y="474886"/>
                    <a:pt x="57762" y="481508"/>
                    <a:pt x="71989" y="476004"/>
                  </a:cubicBezTo>
                  <a:cubicBezTo>
                    <a:pt x="90244" y="469696"/>
                    <a:pt x="101832" y="450904"/>
                    <a:pt x="103398" y="432158"/>
                  </a:cubicBezTo>
                  <a:cubicBezTo>
                    <a:pt x="107961" y="387282"/>
                    <a:pt x="98253" y="342720"/>
                    <a:pt x="88633" y="299186"/>
                  </a:cubicBezTo>
                  <a:cubicBezTo>
                    <a:pt x="78701" y="251268"/>
                    <a:pt x="64741" y="204334"/>
                    <a:pt x="49977" y="157758"/>
                  </a:cubicBezTo>
                  <a:cubicBezTo>
                    <a:pt x="46308" y="144023"/>
                    <a:pt x="43668" y="129929"/>
                    <a:pt x="37449" y="117088"/>
                  </a:cubicBezTo>
                  <a:close/>
                </a:path>
              </a:pathLst>
            </a:custGeom>
            <a:solidFill>
              <a:srgbClr val="FAFF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8" name="Slide Number Placeholder 7">
            <a:extLst>
              <a:ext uri="{FF2B5EF4-FFF2-40B4-BE49-F238E27FC236}">
                <a16:creationId xmlns:a16="http://schemas.microsoft.com/office/drawing/2014/main" id="{E9C0D699-9CAD-08E4-8BB3-DE61E0FFECC3}"/>
              </a:ext>
            </a:extLst>
          </p:cNvPr>
          <p:cNvSpPr>
            <a:spLocks noGrp="1"/>
          </p:cNvSpPr>
          <p:nvPr>
            <p:ph type="sldNum" sz="quarter" idx="4"/>
            <p:custDataLst>
              <p:tags r:id="rId6"/>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10" name="Footer Placeholder 9">
            <a:extLst>
              <a:ext uri="{FF2B5EF4-FFF2-40B4-BE49-F238E27FC236}">
                <a16:creationId xmlns:a16="http://schemas.microsoft.com/office/drawing/2014/main" id="{E1459758-736A-9FDB-5B29-FD0DDEA42340}"/>
              </a:ext>
            </a:extLst>
          </p:cNvPr>
          <p:cNvSpPr>
            <a:spLocks noGrp="1"/>
          </p:cNvSpPr>
          <p:nvPr>
            <p:ph type="ftr" sz="quarter" idx="3"/>
            <p:custDataLst>
              <p:tags r:id="rId7"/>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2843(pptx)-E2 7-23-24</a:t>
            </a:r>
          </a:p>
        </p:txBody>
      </p:sp>
    </p:spTree>
    <p:custDataLst>
      <p:tags r:id="rId1"/>
    </p:custDataLst>
    <p:extLst>
      <p:ext uri="{BB962C8B-B14F-4D97-AF65-F5344CB8AC3E}">
        <p14:creationId xmlns:p14="http://schemas.microsoft.com/office/powerpoint/2010/main" val="2097954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6143CD-8BD6-4813-BD83-2165BC788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4" name="Object 3" hidden="1">
                        <a:extLst>
                          <a:ext uri="{FF2B5EF4-FFF2-40B4-BE49-F238E27FC236}">
                            <a16:creationId xmlns:a16="http://schemas.microsoft.com/office/drawing/2014/main" id="{546143CD-8BD6-4813-BD83-2165BC788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custDataLst>
              <p:tags r:id="rId3"/>
            </p:custDataLst>
          </p:nvPr>
        </p:nvSpPr>
        <p:spPr>
          <a:xfrm>
            <a:off x="266700" y="235313"/>
            <a:ext cx="11658600" cy="877824"/>
          </a:xfrm>
        </p:spPr>
        <p:txBody>
          <a:bodyPr vert="horz"/>
          <a:lstStyle/>
          <a:p>
            <a:r>
              <a:rPr lang="en-US" dirty="0"/>
              <a:t>NOK Order of Priority</a:t>
            </a:r>
          </a:p>
        </p:txBody>
      </p:sp>
      <p:sp>
        <p:nvSpPr>
          <p:cNvPr id="3" name="Slide Number Placeholder 2">
            <a:extLst>
              <a:ext uri="{FF2B5EF4-FFF2-40B4-BE49-F238E27FC236}">
                <a16:creationId xmlns:a16="http://schemas.microsoft.com/office/drawing/2014/main" id="{921B0E66-BC15-46A1-EE76-D03C2BF20911}"/>
              </a:ext>
            </a:extLst>
          </p:cNvPr>
          <p:cNvSpPr>
            <a:spLocks noGrp="1"/>
          </p:cNvSpPr>
          <p:nvPr>
            <p:ph type="sldNum" sz="quarter" idx="4"/>
            <p:custDataLst>
              <p:tags r:id="rId4"/>
            </p:custDataLst>
          </p:nvPr>
        </p:nvSpPr>
        <p:spPr>
          <a:xfrm>
            <a:off x="11441161" y="6192967"/>
            <a:ext cx="598439" cy="43643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2" name="Footer Placeholder 1">
            <a:extLst>
              <a:ext uri="{FF2B5EF4-FFF2-40B4-BE49-F238E27FC236}">
                <a16:creationId xmlns:a16="http://schemas.microsoft.com/office/drawing/2014/main" id="{07CEE80D-77B9-65F3-E24B-F91081A25F20}"/>
              </a:ext>
            </a:extLst>
          </p:cNvPr>
          <p:cNvSpPr>
            <a:spLocks noGrp="1"/>
          </p:cNvSpPr>
          <p:nvPr>
            <p:ph type="ftr" sz="quarter" idx="3"/>
            <p:custDataLst>
              <p:tags r:id="rId5"/>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grpSp>
        <p:nvGrpSpPr>
          <p:cNvPr id="6" name="Group 5">
            <a:extLst>
              <a:ext uri="{FF2B5EF4-FFF2-40B4-BE49-F238E27FC236}">
                <a16:creationId xmlns:a16="http://schemas.microsoft.com/office/drawing/2014/main" id="{9F87A792-7219-8F49-1070-2AD381F64F5A}"/>
              </a:ext>
            </a:extLst>
          </p:cNvPr>
          <p:cNvGrpSpPr/>
          <p:nvPr>
            <p:custDataLst>
              <p:tags r:id="rId6"/>
            </p:custDataLst>
          </p:nvPr>
        </p:nvGrpSpPr>
        <p:grpSpPr>
          <a:xfrm>
            <a:off x="266700" y="1599596"/>
            <a:ext cx="11648150" cy="4106912"/>
            <a:chOff x="265176" y="1950988"/>
            <a:chExt cx="11648150" cy="4106912"/>
          </a:xfrm>
        </p:grpSpPr>
        <p:sp>
          <p:nvSpPr>
            <p:cNvPr id="8" name="Freeform 7"/>
            <p:cNvSpPr/>
            <p:nvPr/>
          </p:nvSpPr>
          <p:spPr>
            <a:xfrm>
              <a:off x="265176" y="1950988"/>
              <a:ext cx="1404390" cy="1304651"/>
            </a:xfrm>
            <a:custGeom>
              <a:avLst/>
              <a:gdLst>
                <a:gd name="connsiteX0" fmla="*/ 0 w 1484312"/>
                <a:gd name="connsiteY0" fmla="*/ 0 h 1039018"/>
                <a:gd name="connsiteX1" fmla="*/ 964803 w 1484312"/>
                <a:gd name="connsiteY1" fmla="*/ 0 h 1039018"/>
                <a:gd name="connsiteX2" fmla="*/ 1484312 w 1484312"/>
                <a:gd name="connsiteY2" fmla="*/ 519509 h 1039018"/>
                <a:gd name="connsiteX3" fmla="*/ 964803 w 1484312"/>
                <a:gd name="connsiteY3" fmla="*/ 1039018 h 1039018"/>
                <a:gd name="connsiteX4" fmla="*/ 0 w 1484312"/>
                <a:gd name="connsiteY4" fmla="*/ 1039018 h 1039018"/>
                <a:gd name="connsiteX5" fmla="*/ 519509 w 1484312"/>
                <a:gd name="connsiteY5" fmla="*/ 519509 h 1039018"/>
                <a:gd name="connsiteX6" fmla="*/ 0 w 1484312"/>
                <a:gd name="connsiteY6" fmla="*/ 0 h 103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312" h="1039018">
                  <a:moveTo>
                    <a:pt x="1484312" y="0"/>
                  </a:moveTo>
                  <a:lnTo>
                    <a:pt x="1484312" y="675362"/>
                  </a:lnTo>
                  <a:lnTo>
                    <a:pt x="742156" y="1039018"/>
                  </a:lnTo>
                  <a:lnTo>
                    <a:pt x="0" y="675362"/>
                  </a:lnTo>
                  <a:lnTo>
                    <a:pt x="0" y="0"/>
                  </a:lnTo>
                  <a:lnTo>
                    <a:pt x="742156" y="363656"/>
                  </a:lnTo>
                  <a:lnTo>
                    <a:pt x="1484312" y="0"/>
                  </a:lnTo>
                  <a:close/>
                </a:path>
              </a:pathLst>
            </a:custGeom>
            <a:solidFill>
              <a:schemeClr val="accent5"/>
            </a:solidFill>
            <a:ln w="12700" cap="flat" cmpd="sng" algn="ctr">
              <a:noFill/>
              <a:prstDash val="solid"/>
              <a:round/>
              <a:headEnd type="none" w="med" len="med"/>
              <a:tailEnd type="none" w="med" len="med"/>
            </a:ln>
            <a:effectLst/>
          </p:spPr>
          <p:txBody>
            <a:bodyPr vert="horz" wrap="square" lIns="91440" tIns="182880" rIns="91440" bIns="4572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ヒラギノ明朝 ProN W3" pitchFamily="1" charset="-128"/>
                  <a:cs typeface="+mn-cs"/>
                </a:rPr>
                <a:t>1</a:t>
              </a:r>
            </a:p>
          </p:txBody>
        </p:sp>
        <p:sp>
          <p:nvSpPr>
            <p:cNvPr id="9" name="Freeform 8"/>
            <p:cNvSpPr/>
            <p:nvPr/>
          </p:nvSpPr>
          <p:spPr>
            <a:xfrm>
              <a:off x="1669565" y="1950990"/>
              <a:ext cx="10243761" cy="848026"/>
            </a:xfrm>
            <a:prstGeom prst="rect">
              <a:avLst/>
            </a:prstGeom>
            <a:solidFill>
              <a:schemeClr val="bg1">
                <a:alpha val="90000"/>
              </a:schemeClr>
            </a:solidFill>
            <a:ln w="12700">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6248" tIns="65514" rIns="65513" bIns="65514" numCol="1" spcCol="1270" anchor="ctr" anchorCtr="0">
              <a:noAutofit/>
            </a:bodyPr>
            <a:lstStyle/>
            <a:p>
              <a:pPr marL="0" marR="0" lvl="1" indent="0" algn="l" defTabSz="1289050"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dirty="0">
                  <a:ln>
                    <a:noFill/>
                  </a:ln>
                  <a:solidFill>
                    <a:prstClr val="black">
                      <a:hueOff val="0"/>
                      <a:satOff val="0"/>
                      <a:lumOff val="0"/>
                      <a:alphaOff val="0"/>
                    </a:prstClr>
                  </a:solidFill>
                  <a:effectLst/>
                  <a:uLnTx/>
                  <a:uFillTx/>
                  <a:latin typeface="Calibri"/>
                  <a:ea typeface="Calibri"/>
                  <a:cs typeface="Calibri"/>
                </a:rPr>
                <a:t>Spouse or, if none,</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Freeform 9"/>
            <p:cNvSpPr/>
            <p:nvPr/>
          </p:nvSpPr>
          <p:spPr>
            <a:xfrm>
              <a:off x="265176" y="2885075"/>
              <a:ext cx="1404390" cy="1304651"/>
            </a:xfrm>
            <a:custGeom>
              <a:avLst/>
              <a:gdLst>
                <a:gd name="connsiteX0" fmla="*/ 0 w 1484312"/>
                <a:gd name="connsiteY0" fmla="*/ 0 h 1039018"/>
                <a:gd name="connsiteX1" fmla="*/ 964803 w 1484312"/>
                <a:gd name="connsiteY1" fmla="*/ 0 h 1039018"/>
                <a:gd name="connsiteX2" fmla="*/ 1484312 w 1484312"/>
                <a:gd name="connsiteY2" fmla="*/ 519509 h 1039018"/>
                <a:gd name="connsiteX3" fmla="*/ 964803 w 1484312"/>
                <a:gd name="connsiteY3" fmla="*/ 1039018 h 1039018"/>
                <a:gd name="connsiteX4" fmla="*/ 0 w 1484312"/>
                <a:gd name="connsiteY4" fmla="*/ 1039018 h 1039018"/>
                <a:gd name="connsiteX5" fmla="*/ 519509 w 1484312"/>
                <a:gd name="connsiteY5" fmla="*/ 519509 h 1039018"/>
                <a:gd name="connsiteX6" fmla="*/ 0 w 1484312"/>
                <a:gd name="connsiteY6" fmla="*/ 0 h 103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312" h="1039018">
                  <a:moveTo>
                    <a:pt x="1484312" y="0"/>
                  </a:moveTo>
                  <a:lnTo>
                    <a:pt x="1484312" y="675362"/>
                  </a:lnTo>
                  <a:lnTo>
                    <a:pt x="742156" y="1039018"/>
                  </a:lnTo>
                  <a:lnTo>
                    <a:pt x="0" y="675362"/>
                  </a:lnTo>
                  <a:lnTo>
                    <a:pt x="0" y="0"/>
                  </a:lnTo>
                  <a:lnTo>
                    <a:pt x="742156" y="363656"/>
                  </a:lnTo>
                  <a:lnTo>
                    <a:pt x="1484312" y="0"/>
                  </a:lnTo>
                  <a:close/>
                </a:path>
              </a:pathLst>
            </a:custGeom>
            <a:solidFill>
              <a:schemeClr val="bg2"/>
            </a:solidFill>
            <a:ln w="12700" cap="flat" cmpd="sng" algn="ctr">
              <a:noFill/>
              <a:prstDash val="solid"/>
              <a:round/>
              <a:headEnd type="none" w="med" len="med"/>
              <a:tailEnd type="none" w="med" len="med"/>
            </a:ln>
            <a:effectLst/>
          </p:spPr>
          <p:txBody>
            <a:bodyPr vert="horz" wrap="square" lIns="91440" tIns="182880" rIns="91440" bIns="4572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ヒラギノ明朝 ProN W3" pitchFamily="1" charset="-128"/>
                  <a:cs typeface="+mn-cs"/>
                </a:rPr>
                <a:t>2</a:t>
              </a:r>
            </a:p>
          </p:txBody>
        </p:sp>
        <p:sp>
          <p:nvSpPr>
            <p:cNvPr id="11" name="Freeform 10"/>
            <p:cNvSpPr/>
            <p:nvPr/>
          </p:nvSpPr>
          <p:spPr>
            <a:xfrm>
              <a:off x="1669565" y="2885076"/>
              <a:ext cx="10243761" cy="848025"/>
            </a:xfrm>
            <a:prstGeom prst="rect">
              <a:avLst/>
            </a:prstGeom>
            <a:solidFill>
              <a:schemeClr val="bg1">
                <a:alpha val="90000"/>
              </a:schemeClr>
            </a:solidFill>
            <a:ln w="12700">
              <a:solidFill>
                <a:srgbClr val="333E48"/>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6248" tIns="65513" rIns="65513" bIns="65514" numCol="1" spcCol="1270" anchor="ctr" anchorCtr="0">
              <a:noAutofit/>
            </a:bodyPr>
            <a:lstStyle/>
            <a:p>
              <a:pPr marL="0" marR="0" lvl="1" indent="0" algn="l" defTabSz="1289050" rtl="0" eaLnBrk="1" fontAlgn="auto" latinLnBrk="0" hangingPunct="1">
                <a:lnSpc>
                  <a:spcPct val="100000"/>
                </a:lnSpc>
                <a:spcBef>
                  <a:spcPts val="600"/>
                </a:spcBef>
                <a:spcAft>
                  <a:spcPts val="0"/>
                </a:spcAft>
                <a:buClrTx/>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0" marR="0" lvl="1" indent="0" algn="l" defTabSz="1289050"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Children or, if none or, if they do not participate or cannot be located</a:t>
              </a:r>
            </a:p>
            <a:p>
              <a:pPr marL="228600" marR="0" lvl="1" indent="-228600" algn="l" defTabSz="128905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11"/>
            <p:cNvSpPr/>
            <p:nvPr/>
          </p:nvSpPr>
          <p:spPr>
            <a:xfrm>
              <a:off x="265176" y="3819163"/>
              <a:ext cx="1404390" cy="1304651"/>
            </a:xfrm>
            <a:custGeom>
              <a:avLst/>
              <a:gdLst>
                <a:gd name="connsiteX0" fmla="*/ 0 w 1484312"/>
                <a:gd name="connsiteY0" fmla="*/ 0 h 1039018"/>
                <a:gd name="connsiteX1" fmla="*/ 964803 w 1484312"/>
                <a:gd name="connsiteY1" fmla="*/ 0 h 1039018"/>
                <a:gd name="connsiteX2" fmla="*/ 1484312 w 1484312"/>
                <a:gd name="connsiteY2" fmla="*/ 519509 h 1039018"/>
                <a:gd name="connsiteX3" fmla="*/ 964803 w 1484312"/>
                <a:gd name="connsiteY3" fmla="*/ 1039018 h 1039018"/>
                <a:gd name="connsiteX4" fmla="*/ 0 w 1484312"/>
                <a:gd name="connsiteY4" fmla="*/ 1039018 h 1039018"/>
                <a:gd name="connsiteX5" fmla="*/ 519509 w 1484312"/>
                <a:gd name="connsiteY5" fmla="*/ 519509 h 1039018"/>
                <a:gd name="connsiteX6" fmla="*/ 0 w 1484312"/>
                <a:gd name="connsiteY6" fmla="*/ 0 h 103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312" h="1039018">
                  <a:moveTo>
                    <a:pt x="1484312" y="0"/>
                  </a:moveTo>
                  <a:lnTo>
                    <a:pt x="1484312" y="675362"/>
                  </a:lnTo>
                  <a:lnTo>
                    <a:pt x="742156" y="1039018"/>
                  </a:lnTo>
                  <a:lnTo>
                    <a:pt x="0" y="675362"/>
                  </a:lnTo>
                  <a:lnTo>
                    <a:pt x="0" y="0"/>
                  </a:lnTo>
                  <a:lnTo>
                    <a:pt x="742156" y="363656"/>
                  </a:lnTo>
                  <a:lnTo>
                    <a:pt x="1484312" y="0"/>
                  </a:lnTo>
                  <a:close/>
                </a:path>
              </a:pathLst>
            </a:custGeom>
            <a:solidFill>
              <a:schemeClr val="accent2"/>
            </a:solidFill>
            <a:ln w="12700" cap="flat" cmpd="sng" algn="ctr">
              <a:noFill/>
              <a:prstDash val="solid"/>
              <a:round/>
              <a:headEnd type="none" w="med" len="med"/>
              <a:tailEnd type="none" w="med" len="med"/>
            </a:ln>
            <a:effectLst/>
          </p:spPr>
          <p:txBody>
            <a:bodyPr vert="horz" wrap="square" lIns="91440" tIns="182880" rIns="91440" bIns="4572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ヒラギノ明朝 ProN W3" pitchFamily="1" charset="-128"/>
                  <a:cs typeface="+mn-cs"/>
                </a:rPr>
                <a:t>3</a:t>
              </a:r>
            </a:p>
          </p:txBody>
        </p:sp>
        <p:sp>
          <p:nvSpPr>
            <p:cNvPr id="13" name="Freeform 12"/>
            <p:cNvSpPr/>
            <p:nvPr/>
          </p:nvSpPr>
          <p:spPr>
            <a:xfrm>
              <a:off x="1669565" y="3819163"/>
              <a:ext cx="10243761" cy="848025"/>
            </a:xfrm>
            <a:prstGeom prst="rect">
              <a:avLst/>
            </a:prstGeom>
            <a:solidFill>
              <a:schemeClr val="bg1">
                <a:alpha val="90000"/>
              </a:schemeClr>
            </a:solidFill>
            <a:ln w="12700">
              <a:solidFill>
                <a:schemeClr val="accent2"/>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6248" tIns="65513" rIns="65513" bIns="65514" numCol="1" spcCol="1270" anchor="ctr" anchorCtr="0">
              <a:noAutofit/>
            </a:bodyPr>
            <a:lstStyle/>
            <a:p>
              <a:pPr marL="0" marR="0" lvl="1" indent="0" algn="l" defTabSz="1289050"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Parent(s) or, if none or, if they do not participate or cannot be located</a:t>
              </a:r>
            </a:p>
          </p:txBody>
        </p:sp>
        <p:sp>
          <p:nvSpPr>
            <p:cNvPr id="15" name="Freeform 14"/>
            <p:cNvSpPr/>
            <p:nvPr/>
          </p:nvSpPr>
          <p:spPr>
            <a:xfrm>
              <a:off x="265176" y="4753249"/>
              <a:ext cx="1404390" cy="1304651"/>
            </a:xfrm>
            <a:custGeom>
              <a:avLst/>
              <a:gdLst>
                <a:gd name="connsiteX0" fmla="*/ 0 w 1484312"/>
                <a:gd name="connsiteY0" fmla="*/ 0 h 1039018"/>
                <a:gd name="connsiteX1" fmla="*/ 964803 w 1484312"/>
                <a:gd name="connsiteY1" fmla="*/ 0 h 1039018"/>
                <a:gd name="connsiteX2" fmla="*/ 1484312 w 1484312"/>
                <a:gd name="connsiteY2" fmla="*/ 519509 h 1039018"/>
                <a:gd name="connsiteX3" fmla="*/ 964803 w 1484312"/>
                <a:gd name="connsiteY3" fmla="*/ 1039018 h 1039018"/>
                <a:gd name="connsiteX4" fmla="*/ 0 w 1484312"/>
                <a:gd name="connsiteY4" fmla="*/ 1039018 h 1039018"/>
                <a:gd name="connsiteX5" fmla="*/ 519509 w 1484312"/>
                <a:gd name="connsiteY5" fmla="*/ 519509 h 1039018"/>
                <a:gd name="connsiteX6" fmla="*/ 0 w 1484312"/>
                <a:gd name="connsiteY6" fmla="*/ 0 h 103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4312" h="1039018">
                  <a:moveTo>
                    <a:pt x="1484312" y="0"/>
                  </a:moveTo>
                  <a:lnTo>
                    <a:pt x="1484312" y="675362"/>
                  </a:lnTo>
                  <a:lnTo>
                    <a:pt x="742156" y="1039018"/>
                  </a:lnTo>
                  <a:lnTo>
                    <a:pt x="0" y="675362"/>
                  </a:lnTo>
                  <a:lnTo>
                    <a:pt x="0" y="0"/>
                  </a:lnTo>
                  <a:lnTo>
                    <a:pt x="742156" y="363656"/>
                  </a:lnTo>
                  <a:lnTo>
                    <a:pt x="1484312" y="0"/>
                  </a:lnTo>
                  <a:close/>
                </a:path>
              </a:pathLst>
            </a:custGeom>
            <a:solidFill>
              <a:schemeClr val="accent1"/>
            </a:solidFill>
            <a:ln w="12700" cap="flat" cmpd="sng" algn="ctr">
              <a:noFill/>
              <a:prstDash val="solid"/>
              <a:round/>
              <a:headEnd type="none" w="med" len="med"/>
              <a:tailEnd type="none" w="med" len="med"/>
            </a:ln>
            <a:effectLst/>
          </p:spPr>
          <p:txBody>
            <a:bodyPr vert="horz" wrap="square" lIns="91440" tIns="182880" rIns="91440" bIns="4572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ヒラギノ明朝 ProN W3" pitchFamily="1" charset="-128"/>
                  <a:cs typeface="+mn-cs"/>
                </a:rPr>
                <a:t>4</a:t>
              </a:r>
            </a:p>
          </p:txBody>
        </p:sp>
        <p:sp>
          <p:nvSpPr>
            <p:cNvPr id="16" name="Freeform 15"/>
            <p:cNvSpPr/>
            <p:nvPr/>
          </p:nvSpPr>
          <p:spPr>
            <a:xfrm>
              <a:off x="1669565" y="4753249"/>
              <a:ext cx="10243761" cy="848025"/>
            </a:xfrm>
            <a:prstGeom prst="rect">
              <a:avLst/>
            </a:prstGeom>
            <a:solidFill>
              <a:schemeClr val="bg1">
                <a:alpha val="90000"/>
              </a:schemeClr>
            </a:solidFill>
            <a:ln w="12700">
              <a:solidFill>
                <a:schemeClr val="accent1"/>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6248" tIns="65513" rIns="65513" bIns="65514" numCol="1" spcCol="1270" anchor="ctr" anchorCtr="0">
              <a:noAutofit/>
            </a:bodyPr>
            <a:lstStyle/>
            <a:p>
              <a:pPr marL="0" marR="0" lvl="1" indent="0" algn="l" defTabSz="1289050"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Sibling(s) or, if none or if they do not participate or cannot be located</a:t>
              </a:r>
            </a:p>
          </p:txBody>
        </p:sp>
      </p:grpSp>
    </p:spTree>
    <p:custDataLst>
      <p:tags r:id="rId1"/>
    </p:custDataLst>
    <p:extLst>
      <p:ext uri="{BB962C8B-B14F-4D97-AF65-F5344CB8AC3E}">
        <p14:creationId xmlns:p14="http://schemas.microsoft.com/office/powerpoint/2010/main" val="27869449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0EF52B-33A9-CD05-E223-468E4B45CD97}"/>
              </a:ext>
            </a:extLst>
          </p:cNvPr>
          <p:cNvGraphicFramePr>
            <a:graphicFrameLocks noChangeAspect="1"/>
          </p:cNvGraphicFramePr>
          <p:nvPr>
            <p:custDataLst>
              <p:tags r:id="rId2"/>
            </p:custDataLst>
            <p:extLst>
              <p:ext uri="{D42A27DB-BD31-4B8C-83A1-F6EECF244321}">
                <p14:modId xmlns:p14="http://schemas.microsoft.com/office/powerpoint/2010/main" val="1778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think-cell data - do not delete" hidden="1">
                        <a:extLst>
                          <a:ext uri="{FF2B5EF4-FFF2-40B4-BE49-F238E27FC236}">
                            <a16:creationId xmlns:a16="http://schemas.microsoft.com/office/drawing/2014/main" id="{2E0EF52B-33A9-CD05-E223-468E4B45CD9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7" name="Rectangle: Rounded Corners 16">
            <a:extLst>
              <a:ext uri="{FF2B5EF4-FFF2-40B4-BE49-F238E27FC236}">
                <a16:creationId xmlns:a16="http://schemas.microsoft.com/office/drawing/2014/main" id="{59B21D55-F7AC-DEBB-083C-6C0693E61231}"/>
              </a:ext>
            </a:extLst>
          </p:cNvPr>
          <p:cNvSpPr/>
          <p:nvPr>
            <p:custDataLst>
              <p:tags r:id="rId3"/>
            </p:custDataLst>
          </p:nvPr>
        </p:nvSpPr>
        <p:spPr>
          <a:xfrm>
            <a:off x="266700" y="4600585"/>
            <a:ext cx="11658600" cy="1554480"/>
          </a:xfrm>
          <a:prstGeom prst="roundRect">
            <a:avLst>
              <a:gd name="adj" fmla="val 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24" name="Oval 23">
            <a:extLst>
              <a:ext uri="{FF2B5EF4-FFF2-40B4-BE49-F238E27FC236}">
                <a16:creationId xmlns:a16="http://schemas.microsoft.com/office/drawing/2014/main" id="{778C40DD-D4AE-00E2-C238-1E562D346D86}"/>
              </a:ext>
            </a:extLst>
          </p:cNvPr>
          <p:cNvSpPr/>
          <p:nvPr>
            <p:custDataLst>
              <p:tags r:id="rId4"/>
            </p:custDataLst>
          </p:nvPr>
        </p:nvSpPr>
        <p:spPr>
          <a:xfrm>
            <a:off x="433632" y="4871838"/>
            <a:ext cx="980387" cy="980387"/>
          </a:xfrm>
          <a:prstGeom prst="ellipse">
            <a:avLst/>
          </a:prstGeom>
          <a:solidFill>
            <a:schemeClr val="bg1"/>
          </a:solidFill>
          <a:ln>
            <a:solidFill>
              <a:schemeClr val="tx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6A91F778-AEDD-F726-5AF8-A87312153BE8}"/>
              </a:ext>
            </a:extLst>
          </p:cNvPr>
          <p:cNvSpPr/>
          <p:nvPr>
            <p:custDataLst>
              <p:tags r:id="rId5"/>
            </p:custDataLst>
          </p:nvPr>
        </p:nvSpPr>
        <p:spPr>
          <a:xfrm>
            <a:off x="266700" y="2856466"/>
            <a:ext cx="11658600" cy="1554480"/>
          </a:xfrm>
          <a:prstGeom prst="roundRect">
            <a:avLst>
              <a:gd name="adj" fmla="val 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22" name="Oval 21">
            <a:extLst>
              <a:ext uri="{FF2B5EF4-FFF2-40B4-BE49-F238E27FC236}">
                <a16:creationId xmlns:a16="http://schemas.microsoft.com/office/drawing/2014/main" id="{BC147333-EB32-E9CB-3969-889712CB41DD}"/>
              </a:ext>
            </a:extLst>
          </p:cNvPr>
          <p:cNvSpPr/>
          <p:nvPr>
            <p:custDataLst>
              <p:tags r:id="rId6"/>
            </p:custDataLst>
          </p:nvPr>
        </p:nvSpPr>
        <p:spPr>
          <a:xfrm>
            <a:off x="433632" y="3127719"/>
            <a:ext cx="980387" cy="980387"/>
          </a:xfrm>
          <a:prstGeom prst="ellipse">
            <a:avLst/>
          </a:prstGeom>
          <a:solidFill>
            <a:schemeClr val="bg1"/>
          </a:solidFill>
          <a:ln>
            <a:solidFill>
              <a:schemeClr val="tx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Rounded Corners 7">
            <a:extLst>
              <a:ext uri="{FF2B5EF4-FFF2-40B4-BE49-F238E27FC236}">
                <a16:creationId xmlns:a16="http://schemas.microsoft.com/office/drawing/2014/main" id="{C646A7ED-CEAC-AF2A-F683-989834E0E3E9}"/>
              </a:ext>
            </a:extLst>
          </p:cNvPr>
          <p:cNvSpPr/>
          <p:nvPr>
            <p:custDataLst>
              <p:tags r:id="rId7"/>
            </p:custDataLst>
          </p:nvPr>
        </p:nvSpPr>
        <p:spPr>
          <a:xfrm>
            <a:off x="266700" y="1112347"/>
            <a:ext cx="11658600" cy="1554480"/>
          </a:xfrm>
          <a:prstGeom prst="roundRect">
            <a:avLst>
              <a:gd name="adj" fmla="val 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B8CEFDFD-91DA-2B01-C8A2-C7B02B9C2C87}"/>
              </a:ext>
            </a:extLst>
          </p:cNvPr>
          <p:cNvSpPr/>
          <p:nvPr>
            <p:custDataLst>
              <p:tags r:id="rId8"/>
            </p:custDataLst>
          </p:nvPr>
        </p:nvSpPr>
        <p:spPr>
          <a:xfrm>
            <a:off x="1520506" y="1176146"/>
            <a:ext cx="4804094" cy="1395295"/>
          </a:xfrm>
          <a:custGeom>
            <a:avLst/>
            <a:gdLst>
              <a:gd name="connsiteX0" fmla="*/ 0 w 5246370"/>
              <a:gd name="connsiteY0" fmla="*/ 0 h 1395295"/>
              <a:gd name="connsiteX1" fmla="*/ 5246370 w 5246370"/>
              <a:gd name="connsiteY1" fmla="*/ 0 h 1395295"/>
              <a:gd name="connsiteX2" fmla="*/ 5246370 w 5246370"/>
              <a:gd name="connsiteY2" fmla="*/ 1395295 h 1395295"/>
              <a:gd name="connsiteX3" fmla="*/ 0 w 5246370"/>
              <a:gd name="connsiteY3" fmla="*/ 1395295 h 1395295"/>
              <a:gd name="connsiteX4" fmla="*/ 0 w 5246370"/>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70" h="1395295">
                <a:moveTo>
                  <a:pt x="0" y="0"/>
                </a:moveTo>
                <a:lnTo>
                  <a:pt x="5246370" y="0"/>
                </a:lnTo>
                <a:lnTo>
                  <a:pt x="5246370"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f two or more NOK individuals share the authority, the authority shall be exercised as decided by a majority of the individuals per policy; however, best practice is that all NOK are in consensus. </a:t>
            </a:r>
          </a:p>
        </p:txBody>
      </p:sp>
      <p:sp>
        <p:nvSpPr>
          <p:cNvPr id="11" name="Freeform: Shape 10">
            <a:extLst>
              <a:ext uri="{FF2B5EF4-FFF2-40B4-BE49-F238E27FC236}">
                <a16:creationId xmlns:a16="http://schemas.microsoft.com/office/drawing/2014/main" id="{0E9C24A8-0D72-077F-611A-3C3793FEB549}"/>
              </a:ext>
            </a:extLst>
          </p:cNvPr>
          <p:cNvSpPr/>
          <p:nvPr>
            <p:custDataLst>
              <p:tags r:id="rId9"/>
            </p:custDataLst>
          </p:nvPr>
        </p:nvSpPr>
        <p:spPr>
          <a:xfrm>
            <a:off x="6708503" y="1176146"/>
            <a:ext cx="5215220" cy="1395295"/>
          </a:xfrm>
          <a:custGeom>
            <a:avLst/>
            <a:gdLst>
              <a:gd name="connsiteX0" fmla="*/ 0 w 4799088"/>
              <a:gd name="connsiteY0" fmla="*/ 0 h 1395295"/>
              <a:gd name="connsiteX1" fmla="*/ 4799088 w 4799088"/>
              <a:gd name="connsiteY1" fmla="*/ 0 h 1395295"/>
              <a:gd name="connsiteX2" fmla="*/ 4799088 w 4799088"/>
              <a:gd name="connsiteY2" fmla="*/ 1395295 h 1395295"/>
              <a:gd name="connsiteX3" fmla="*/ 0 w 4799088"/>
              <a:gd name="connsiteY3" fmla="*/ 1395295 h 1395295"/>
              <a:gd name="connsiteX4" fmla="*/ 0 w 4799088"/>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9088" h="1395295">
                <a:moveTo>
                  <a:pt x="0" y="0"/>
                </a:moveTo>
                <a:lnTo>
                  <a:pt x="4799088" y="0"/>
                </a:lnTo>
                <a:lnTo>
                  <a:pt x="4799088"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If a majority cannot agree, or if the medical team has concerns:</a:t>
            </a:r>
          </a:p>
          <a:p>
            <a:pPr marL="285750" marR="0" lvl="1" indent="-2857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n ethics consult should be considered.</a:t>
            </a:r>
          </a:p>
          <a:p>
            <a:pPr marL="285750" marR="0" lvl="1" indent="-28575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ending the patient’s prognosis</a:t>
            </a: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 it may be appropriate to recommend a Guardian be appointed.</a:t>
            </a:r>
          </a:p>
        </p:txBody>
      </p:sp>
      <p:sp>
        <p:nvSpPr>
          <p:cNvPr id="14" name="Rectangle 13" descr="Judge">
            <a:extLst>
              <a:ext uri="{FF2B5EF4-FFF2-40B4-BE49-F238E27FC236}">
                <a16:creationId xmlns:a16="http://schemas.microsoft.com/office/drawing/2014/main" id="{E6516FAE-2E8A-FF06-14F5-A2BA563DE9D7}"/>
              </a:ext>
            </a:extLst>
          </p:cNvPr>
          <p:cNvSpPr/>
          <p:nvPr>
            <p:custDataLst>
              <p:tags r:id="rId10"/>
            </p:custDataLst>
          </p:nvPr>
        </p:nvSpPr>
        <p:spPr>
          <a:xfrm>
            <a:off x="540119" y="3234206"/>
            <a:ext cx="767412" cy="767412"/>
          </a:xfrm>
          <a:prstGeom prst="rect">
            <a:avLst/>
          </a:prstGeom>
          <a: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a:bli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DA3788B7-85F4-4F83-A25E-5C9AE5320A90}"/>
              </a:ext>
            </a:extLst>
          </p:cNvPr>
          <p:cNvSpPr/>
          <p:nvPr>
            <p:custDataLst>
              <p:tags r:id="rId11"/>
            </p:custDataLst>
          </p:nvPr>
        </p:nvSpPr>
        <p:spPr>
          <a:xfrm>
            <a:off x="1520506" y="2920265"/>
            <a:ext cx="4804094" cy="1395295"/>
          </a:xfrm>
          <a:custGeom>
            <a:avLst/>
            <a:gdLst>
              <a:gd name="connsiteX0" fmla="*/ 0 w 5246370"/>
              <a:gd name="connsiteY0" fmla="*/ 0 h 1395295"/>
              <a:gd name="connsiteX1" fmla="*/ 5246370 w 5246370"/>
              <a:gd name="connsiteY1" fmla="*/ 0 h 1395295"/>
              <a:gd name="connsiteX2" fmla="*/ 5246370 w 5246370"/>
              <a:gd name="connsiteY2" fmla="*/ 1395295 h 1395295"/>
              <a:gd name="connsiteX3" fmla="*/ 0 w 5246370"/>
              <a:gd name="connsiteY3" fmla="*/ 1395295 h 1395295"/>
              <a:gd name="connsiteX4" fmla="*/ 0 w 5246370"/>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70" h="1395295">
                <a:moveTo>
                  <a:pt x="0" y="0"/>
                </a:moveTo>
                <a:lnTo>
                  <a:pt x="5246370" y="0"/>
                </a:lnTo>
                <a:lnTo>
                  <a:pt x="5246370"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legal NOK individuals can also appoint/verbally designate a surrogate decision-maker amongst themselves. </a:t>
            </a:r>
          </a:p>
        </p:txBody>
      </p:sp>
      <p:sp>
        <p:nvSpPr>
          <p:cNvPr id="16" name="Freeform: Shape 15">
            <a:extLst>
              <a:ext uri="{FF2B5EF4-FFF2-40B4-BE49-F238E27FC236}">
                <a16:creationId xmlns:a16="http://schemas.microsoft.com/office/drawing/2014/main" id="{64C8FE78-F27C-29FC-7C18-2112BCBBD8ED}"/>
              </a:ext>
            </a:extLst>
          </p:cNvPr>
          <p:cNvSpPr/>
          <p:nvPr>
            <p:custDataLst>
              <p:tags r:id="rId12"/>
            </p:custDataLst>
          </p:nvPr>
        </p:nvSpPr>
        <p:spPr>
          <a:xfrm>
            <a:off x="6708502" y="2920265"/>
            <a:ext cx="5331097" cy="1395295"/>
          </a:xfrm>
          <a:custGeom>
            <a:avLst/>
            <a:gdLst>
              <a:gd name="connsiteX0" fmla="*/ 0 w 4799088"/>
              <a:gd name="connsiteY0" fmla="*/ 0 h 1395295"/>
              <a:gd name="connsiteX1" fmla="*/ 4799088 w 4799088"/>
              <a:gd name="connsiteY1" fmla="*/ 0 h 1395295"/>
              <a:gd name="connsiteX2" fmla="*/ 4799088 w 4799088"/>
              <a:gd name="connsiteY2" fmla="*/ 1395295 h 1395295"/>
              <a:gd name="connsiteX3" fmla="*/ 0 w 4799088"/>
              <a:gd name="connsiteY3" fmla="*/ 1395295 h 1395295"/>
              <a:gd name="connsiteX4" fmla="*/ 0 w 4799088"/>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9088" h="1395295">
                <a:moveTo>
                  <a:pt x="0" y="0"/>
                </a:moveTo>
                <a:lnTo>
                  <a:pt x="4799088" y="0"/>
                </a:lnTo>
                <a:lnTo>
                  <a:pt x="4799088"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6223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For example: </a:t>
            </a:r>
            <a:r>
              <a:rPr kumimoji="0" lang="en-US" sz="1600" b="0" i="0" u="none" strike="noStrike" kern="1200" cap="none" spc="0" normalizeH="0" baseline="0" noProof="0" dirty="0">
                <a:ln>
                  <a:noFill/>
                </a:ln>
                <a:solidFill>
                  <a:prstClr val="black"/>
                </a:solidFill>
                <a:effectLst/>
                <a:uLnTx/>
                <a:uFillTx/>
                <a:latin typeface="Calibri"/>
                <a:ea typeface="+mn-ea"/>
                <a:cs typeface="+mn-cs"/>
              </a:rPr>
              <a:t>If there are four children and all children verbally designate the one sibling to be the patient’s surrogate medical decision-maker and this person is accepting, then this designation can be documented, </a:t>
            </a:r>
            <a:br>
              <a:rPr kumimoji="0" lang="en-US" sz="1600" b="0" i="0" u="none" strike="noStrike" kern="1200" cap="none" spc="0" normalizeH="0" baseline="0" noProof="0" dirty="0">
                <a:ln>
                  <a:noFill/>
                </a:ln>
                <a:solidFill>
                  <a:prstClr val="black"/>
                </a:solidFill>
                <a:effectLst/>
                <a:uLnTx/>
                <a:uFillTx/>
                <a:latin typeface="Calibri"/>
                <a:ea typeface="+mn-ea"/>
                <a:cs typeface="+mn-cs"/>
              </a:rPr>
            </a:br>
            <a:r>
              <a:rPr kumimoji="0" lang="en-US" sz="1600" b="0" i="0" u="none" strike="noStrike" kern="1200" cap="none" spc="0" normalizeH="0" baseline="0" noProof="0" dirty="0">
                <a:ln>
                  <a:noFill/>
                </a:ln>
                <a:solidFill>
                  <a:prstClr val="black"/>
                </a:solidFill>
                <a:effectLst/>
                <a:uLnTx/>
                <a:uFillTx/>
                <a:latin typeface="Calibri"/>
                <a:ea typeface="+mn-ea"/>
                <a:cs typeface="+mn-cs"/>
              </a:rPr>
              <a:t>and the person can then serve as the surrogate medical decision-maker.</a:t>
            </a:r>
          </a:p>
        </p:txBody>
      </p:sp>
      <p:sp>
        <p:nvSpPr>
          <p:cNvPr id="18" name="Rectangle 17" descr="Scales of Justice">
            <a:extLst>
              <a:ext uri="{FF2B5EF4-FFF2-40B4-BE49-F238E27FC236}">
                <a16:creationId xmlns:a16="http://schemas.microsoft.com/office/drawing/2014/main" id="{378B5A3D-E504-2478-8C4F-40115279181E}"/>
              </a:ext>
            </a:extLst>
          </p:cNvPr>
          <p:cNvSpPr/>
          <p:nvPr>
            <p:custDataLst>
              <p:tags r:id="rId13"/>
            </p:custDataLst>
          </p:nvPr>
        </p:nvSpPr>
        <p:spPr>
          <a:xfrm>
            <a:off x="540119" y="4978325"/>
            <a:ext cx="767412" cy="767412"/>
          </a:xfrm>
          <a:prstGeom prst="rect">
            <a:avLst/>
          </a:prstGeom>
          <a: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a:blip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0002D540-E5E2-A06E-88FD-EA028ACE1A3E}"/>
              </a:ext>
            </a:extLst>
          </p:cNvPr>
          <p:cNvSpPr/>
          <p:nvPr>
            <p:custDataLst>
              <p:tags r:id="rId14"/>
            </p:custDataLst>
          </p:nvPr>
        </p:nvSpPr>
        <p:spPr>
          <a:xfrm>
            <a:off x="1520506" y="4664384"/>
            <a:ext cx="4804094" cy="1395295"/>
          </a:xfrm>
          <a:custGeom>
            <a:avLst/>
            <a:gdLst>
              <a:gd name="connsiteX0" fmla="*/ 0 w 5246370"/>
              <a:gd name="connsiteY0" fmla="*/ 0 h 1395295"/>
              <a:gd name="connsiteX1" fmla="*/ 5246370 w 5246370"/>
              <a:gd name="connsiteY1" fmla="*/ 0 h 1395295"/>
              <a:gd name="connsiteX2" fmla="*/ 5246370 w 5246370"/>
              <a:gd name="connsiteY2" fmla="*/ 1395295 h 1395295"/>
              <a:gd name="connsiteX3" fmla="*/ 0 w 5246370"/>
              <a:gd name="connsiteY3" fmla="*/ 1395295 h 1395295"/>
              <a:gd name="connsiteX4" fmla="*/ 0 w 5246370"/>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70" h="1395295">
                <a:moveTo>
                  <a:pt x="0" y="0"/>
                </a:moveTo>
                <a:lnTo>
                  <a:pt x="5246370" y="0"/>
                </a:lnTo>
                <a:lnTo>
                  <a:pt x="5246370"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You are unable to reach the NOK despite multiple attempts.</a:t>
            </a:r>
          </a:p>
        </p:txBody>
      </p:sp>
      <p:sp>
        <p:nvSpPr>
          <p:cNvPr id="20" name="Freeform: Shape 19">
            <a:extLst>
              <a:ext uri="{FF2B5EF4-FFF2-40B4-BE49-F238E27FC236}">
                <a16:creationId xmlns:a16="http://schemas.microsoft.com/office/drawing/2014/main" id="{4698B9B8-6AAC-A3EF-A0F6-52BF35012EFD}"/>
              </a:ext>
            </a:extLst>
          </p:cNvPr>
          <p:cNvSpPr/>
          <p:nvPr>
            <p:custDataLst>
              <p:tags r:id="rId15"/>
            </p:custDataLst>
          </p:nvPr>
        </p:nvSpPr>
        <p:spPr>
          <a:xfrm>
            <a:off x="6708503" y="4664384"/>
            <a:ext cx="5215220" cy="1395295"/>
          </a:xfrm>
          <a:custGeom>
            <a:avLst/>
            <a:gdLst>
              <a:gd name="connsiteX0" fmla="*/ 0 w 4799088"/>
              <a:gd name="connsiteY0" fmla="*/ 0 h 1395295"/>
              <a:gd name="connsiteX1" fmla="*/ 4799088 w 4799088"/>
              <a:gd name="connsiteY1" fmla="*/ 0 h 1395295"/>
              <a:gd name="connsiteX2" fmla="*/ 4799088 w 4799088"/>
              <a:gd name="connsiteY2" fmla="*/ 1395295 h 1395295"/>
              <a:gd name="connsiteX3" fmla="*/ 0 w 4799088"/>
              <a:gd name="connsiteY3" fmla="*/ 1395295 h 1395295"/>
              <a:gd name="connsiteX4" fmla="*/ 0 w 4799088"/>
              <a:gd name="connsiteY4" fmla="*/ 0 h 1395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9088" h="1395295">
                <a:moveTo>
                  <a:pt x="0" y="0"/>
                </a:moveTo>
                <a:lnTo>
                  <a:pt x="4799088" y="0"/>
                </a:lnTo>
                <a:lnTo>
                  <a:pt x="4799088" y="1395295"/>
                </a:lnTo>
                <a:lnTo>
                  <a:pt x="0" y="13952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669" tIns="147669" rIns="147669" bIns="147669" numCol="1" spcCol="1270" anchor="ctr" anchorCtr="0">
            <a:noAutofit/>
          </a:bodyPr>
          <a:lstStyle/>
          <a:p>
            <a:pPr marL="0" marR="0" lvl="0" indent="0" algn="l" defTabSz="6223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Document those attempts.</a:t>
            </a:r>
          </a:p>
          <a:p>
            <a:pPr marL="0" marR="0" lvl="0" indent="0" algn="l" defTabSz="6223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onsider an Ethics consult, especially if there is a guarded patient prognosis and you are unable to reach the NOK or next tier NOK, they do not wish to participate, or they cannot be located.</a:t>
            </a:r>
          </a:p>
        </p:txBody>
      </p:sp>
      <p:sp>
        <p:nvSpPr>
          <p:cNvPr id="2" name="Title 1">
            <a:extLst>
              <a:ext uri="{FF2B5EF4-FFF2-40B4-BE49-F238E27FC236}">
                <a16:creationId xmlns:a16="http://schemas.microsoft.com/office/drawing/2014/main" id="{2A9B9131-6847-80B3-63A5-8A7AA5F20CA4}"/>
              </a:ext>
            </a:extLst>
          </p:cNvPr>
          <p:cNvSpPr>
            <a:spLocks noGrp="1"/>
          </p:cNvSpPr>
          <p:nvPr>
            <p:ph type="title"/>
            <p:custDataLst>
              <p:tags r:id="rId16"/>
            </p:custDataLst>
          </p:nvPr>
        </p:nvSpPr>
        <p:spPr>
          <a:xfrm>
            <a:off x="266700" y="235313"/>
            <a:ext cx="11658600" cy="877824"/>
          </a:xfrm>
        </p:spPr>
        <p:txBody>
          <a:bodyPr vert="horz" anchor="t">
            <a:normAutofit/>
          </a:bodyPr>
          <a:lstStyle/>
          <a:p>
            <a:r>
              <a:rPr lang="en-US" dirty="0"/>
              <a:t>Special Circumstances</a:t>
            </a:r>
          </a:p>
        </p:txBody>
      </p:sp>
      <p:sp>
        <p:nvSpPr>
          <p:cNvPr id="3" name="Footer Placeholder 2">
            <a:extLst>
              <a:ext uri="{FF2B5EF4-FFF2-40B4-BE49-F238E27FC236}">
                <a16:creationId xmlns:a16="http://schemas.microsoft.com/office/drawing/2014/main" id="{BFB78C76-3CCE-6CD5-67C3-07DF2E2F1FF3}"/>
              </a:ext>
            </a:extLst>
          </p:cNvPr>
          <p:cNvSpPr>
            <a:spLocks noGrp="1"/>
          </p:cNvSpPr>
          <p:nvPr>
            <p:ph type="ftr" sz="quarter" idx="3"/>
            <p:custDataLst>
              <p:tags r:id="rId17"/>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6" name="Oval 5">
            <a:extLst>
              <a:ext uri="{FF2B5EF4-FFF2-40B4-BE49-F238E27FC236}">
                <a16:creationId xmlns:a16="http://schemas.microsoft.com/office/drawing/2014/main" id="{C81FCE2E-2932-13C5-E048-2ADE208E3B5A}"/>
              </a:ext>
            </a:extLst>
          </p:cNvPr>
          <p:cNvSpPr/>
          <p:nvPr>
            <p:custDataLst>
              <p:tags r:id="rId18"/>
            </p:custDataLst>
          </p:nvPr>
        </p:nvSpPr>
        <p:spPr>
          <a:xfrm>
            <a:off x="433632" y="1383600"/>
            <a:ext cx="980387" cy="980387"/>
          </a:xfrm>
          <a:prstGeom prst="ellipse">
            <a:avLst/>
          </a:prstGeom>
          <a:solidFill>
            <a:schemeClr val="bg1"/>
          </a:solidFill>
          <a:ln>
            <a:solidFill>
              <a:schemeClr val="tx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8" descr="Hierarchy">
            <a:extLst>
              <a:ext uri="{FF2B5EF4-FFF2-40B4-BE49-F238E27FC236}">
                <a16:creationId xmlns:a16="http://schemas.microsoft.com/office/drawing/2014/main" id="{C93F118E-974F-0F68-EC40-4BCDFCDF9339}"/>
              </a:ext>
            </a:extLst>
          </p:cNvPr>
          <p:cNvSpPr/>
          <p:nvPr>
            <p:custDataLst>
              <p:tags r:id="rId19"/>
            </p:custDataLst>
          </p:nvPr>
        </p:nvSpPr>
        <p:spPr>
          <a:xfrm>
            <a:off x="540119" y="1442952"/>
            <a:ext cx="767412" cy="767412"/>
          </a:xfrm>
          <a:prstGeom prst="rect">
            <a:avLst/>
          </a:prstGeom>
          <a: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Slide Number Placeholder 25">
            <a:extLst>
              <a:ext uri="{FF2B5EF4-FFF2-40B4-BE49-F238E27FC236}">
                <a16:creationId xmlns:a16="http://schemas.microsoft.com/office/drawing/2014/main" id="{0C4F0726-35BB-9EA4-AC21-D1BF875477C6}"/>
              </a:ext>
            </a:extLst>
          </p:cNvPr>
          <p:cNvSpPr>
            <a:spLocks noGrp="1"/>
          </p:cNvSpPr>
          <p:nvPr>
            <p:ph type="sldNum" sz="quarter" idx="4"/>
            <p:custDataLst>
              <p:tags r:id="rId20"/>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956435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05877E-CBDF-DA38-3FBF-AEC01C03C123}"/>
              </a:ext>
            </a:extLst>
          </p:cNvPr>
          <p:cNvGraphicFramePr>
            <a:graphicFrameLocks noChangeAspect="1"/>
          </p:cNvGraphicFramePr>
          <p:nvPr>
            <p:custDataLst>
              <p:tags r:id="rId2"/>
            </p:custDataLst>
            <p:extLst>
              <p:ext uri="{D42A27DB-BD31-4B8C-83A1-F6EECF244321}">
                <p14:modId xmlns:p14="http://schemas.microsoft.com/office/powerpoint/2010/main" val="41616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think-cell data - do not delete" hidden="1">
                        <a:extLst>
                          <a:ext uri="{FF2B5EF4-FFF2-40B4-BE49-F238E27FC236}">
                            <a16:creationId xmlns:a16="http://schemas.microsoft.com/office/drawing/2014/main" id="{7D05877E-CBDF-DA38-3FBF-AEC01C03C1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0268C7-9F49-4EE2-321C-445C38F90D4F}"/>
              </a:ext>
            </a:extLst>
          </p:cNvPr>
          <p:cNvSpPr>
            <a:spLocks noGrp="1"/>
          </p:cNvSpPr>
          <p:nvPr>
            <p:ph type="title"/>
            <p:custDataLst>
              <p:tags r:id="rId3"/>
            </p:custDataLst>
          </p:nvPr>
        </p:nvSpPr>
        <p:spPr/>
        <p:txBody>
          <a:bodyPr vert="horz"/>
          <a:lstStyle/>
          <a:p>
            <a:r>
              <a:rPr lang="en-US"/>
              <a:t>Appendix </a:t>
            </a:r>
            <a:r>
              <a:rPr lang="en-US" dirty="0"/>
              <a:t>B</a:t>
            </a:r>
          </a:p>
        </p:txBody>
      </p:sp>
      <p:sp>
        <p:nvSpPr>
          <p:cNvPr id="4" name="Text Placeholder 3">
            <a:extLst>
              <a:ext uri="{FF2B5EF4-FFF2-40B4-BE49-F238E27FC236}">
                <a16:creationId xmlns:a16="http://schemas.microsoft.com/office/drawing/2014/main" id="{12159AB1-03F6-4FC7-E013-E6B2736AEFD3}"/>
              </a:ext>
            </a:extLst>
          </p:cNvPr>
          <p:cNvSpPr>
            <a:spLocks noGrp="1"/>
          </p:cNvSpPr>
          <p:nvPr>
            <p:ph type="body" sz="quarter" idx="11"/>
            <p:custDataLst>
              <p:tags r:id="rId4"/>
            </p:custDataLst>
          </p:nvPr>
        </p:nvSpPr>
        <p:spPr/>
        <p:txBody>
          <a:bodyPr/>
          <a:lstStyle/>
          <a:p>
            <a:r>
              <a:rPr lang="en-US" dirty="0"/>
              <a:t>Resources for Providers</a:t>
            </a:r>
          </a:p>
        </p:txBody>
      </p:sp>
      <p:sp>
        <p:nvSpPr>
          <p:cNvPr id="5" name="Footer Placeholder 4">
            <a:extLst>
              <a:ext uri="{FF2B5EF4-FFF2-40B4-BE49-F238E27FC236}">
                <a16:creationId xmlns:a16="http://schemas.microsoft.com/office/drawing/2014/main" id="{5C91EBE0-CD4A-9078-75E0-9628D667738C}"/>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3" name="Slide Number Placeholder 2">
            <a:extLst>
              <a:ext uri="{FF2B5EF4-FFF2-40B4-BE49-F238E27FC236}">
                <a16:creationId xmlns:a16="http://schemas.microsoft.com/office/drawing/2014/main" id="{59F88B2F-BF02-9EC7-EA0E-08CCCFECCF51}"/>
              </a:ext>
            </a:extLst>
          </p:cNvPr>
          <p:cNvSpPr>
            <a:spLocks noGrp="1"/>
          </p:cNvSpPr>
          <p:nvPr>
            <p:ph type="sldNum" sz="quarter" idx="10"/>
            <p:custDataLst>
              <p:tags r:id="rId6"/>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26760091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3B3884-D86A-432E-5D12-DC6B1A4AFE5D}"/>
              </a:ext>
            </a:extLst>
          </p:cNvPr>
          <p:cNvSpPr>
            <a:spLocks noGrp="1"/>
          </p:cNvSpPr>
          <p:nvPr>
            <p:ph idx="1"/>
          </p:nvPr>
        </p:nvSpPr>
        <p:spPr>
          <a:xfrm>
            <a:off x="276225" y="1103905"/>
            <a:ext cx="11649075" cy="4958567"/>
          </a:xfrm>
        </p:spPr>
        <p:txBody>
          <a:bodyPr/>
          <a:lstStyle/>
          <a:p>
            <a:r>
              <a:rPr lang="en-US" dirty="0"/>
              <a:t>An interprofessional team</a:t>
            </a:r>
          </a:p>
          <a:p>
            <a:pPr lvl="1"/>
            <a:r>
              <a:rPr lang="en-US" dirty="0"/>
              <a:t>Physicians, APPs, nurses, social workers, pharmacist, psychologist, and chaplain </a:t>
            </a:r>
          </a:p>
          <a:p>
            <a:r>
              <a:rPr lang="en-US" dirty="0"/>
              <a:t>Comprehensive assessment and treatment of pain, respiratory distress, and other physical symptoms</a:t>
            </a:r>
          </a:p>
          <a:p>
            <a:r>
              <a:rPr lang="en-US" dirty="0"/>
              <a:t>Comprehensive assessment and intervention for psychosocial and spiritual distress</a:t>
            </a:r>
          </a:p>
          <a:p>
            <a:r>
              <a:rPr lang="en-US" dirty="0"/>
              <a:t>Assistance with patient/family communication, goals of care discussions, and decision-making</a:t>
            </a:r>
          </a:p>
          <a:p>
            <a:r>
              <a:rPr lang="en-US" dirty="0"/>
              <a:t>Bereavement follow-up call for patients who die without enrolling in hospice</a:t>
            </a:r>
          </a:p>
          <a:p>
            <a:endParaRPr lang="en-US" dirty="0"/>
          </a:p>
        </p:txBody>
      </p:sp>
      <p:sp>
        <p:nvSpPr>
          <p:cNvPr id="3" name="Title 2">
            <a:extLst>
              <a:ext uri="{FF2B5EF4-FFF2-40B4-BE49-F238E27FC236}">
                <a16:creationId xmlns:a16="http://schemas.microsoft.com/office/drawing/2014/main" id="{5C84DC08-062A-20F4-BA89-3E38BEF21BA2}"/>
              </a:ext>
            </a:extLst>
          </p:cNvPr>
          <p:cNvSpPr>
            <a:spLocks noGrp="1"/>
          </p:cNvSpPr>
          <p:nvPr>
            <p:ph type="title"/>
          </p:nvPr>
        </p:nvSpPr>
        <p:spPr/>
        <p:txBody>
          <a:bodyPr/>
          <a:lstStyle/>
          <a:p>
            <a:r>
              <a:rPr lang="en-US" dirty="0"/>
              <a:t>What is included with a Palliative Medicine Consult?</a:t>
            </a:r>
          </a:p>
        </p:txBody>
      </p:sp>
      <p:sp>
        <p:nvSpPr>
          <p:cNvPr id="5" name="Slide Number Placeholder 4">
            <a:extLst>
              <a:ext uri="{FF2B5EF4-FFF2-40B4-BE49-F238E27FC236}">
                <a16:creationId xmlns:a16="http://schemas.microsoft.com/office/drawing/2014/main" id="{828E11F4-5778-391A-0E8C-79A1F6CE1B9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US" sz="1600" b="0" i="0" u="none" strike="noStrike" kern="1200" cap="none" spc="0" normalizeH="0" baseline="0" noProof="0">
                <a:ln>
                  <a:noFill/>
                </a:ln>
                <a:solidFill>
                  <a:srgbClr val="000064"/>
                </a:solidFill>
                <a:effectLst/>
                <a:uLnTx/>
                <a:uFillTx/>
                <a:latin typeface="Calibri"/>
                <a:ea typeface="+mn-ea"/>
                <a:cs typeface="+mn-cs"/>
              </a:rPr>
              <a:t>   </a:t>
            </a:r>
            <a:endParaRPr kumimoji="0" lang="en-US" sz="1600" b="0" i="0" u="none" strike="noStrike" kern="1200" cap="none" spc="0" normalizeH="0" baseline="0" noProof="0" dirty="0">
              <a:ln>
                <a:noFill/>
              </a:ln>
              <a:solidFill>
                <a:srgbClr val="000064"/>
              </a:solidFill>
              <a:effectLst/>
              <a:uLnTx/>
              <a:uFillTx/>
              <a:latin typeface="Calibri"/>
              <a:ea typeface="+mn-ea"/>
              <a:cs typeface="+mn-cs"/>
            </a:endParaRPr>
          </a:p>
        </p:txBody>
      </p:sp>
      <p:sp>
        <p:nvSpPr>
          <p:cNvPr id="6" name="Footer Placeholder 5">
            <a:extLst>
              <a:ext uri="{FF2B5EF4-FFF2-40B4-BE49-F238E27FC236}">
                <a16:creationId xmlns:a16="http://schemas.microsoft.com/office/drawing/2014/main" id="{961F8468-BDC2-8BA7-3D68-9F5C344927F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1195(pptx)-E2 6-24-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Tree>
    <p:extLst>
      <p:ext uri="{BB962C8B-B14F-4D97-AF65-F5344CB8AC3E}">
        <p14:creationId xmlns:p14="http://schemas.microsoft.com/office/powerpoint/2010/main" val="1126461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44D153-EA85-EABC-E903-5BFE8C61B97D}"/>
              </a:ext>
            </a:extLst>
          </p:cNvPr>
          <p:cNvSpPr>
            <a:spLocks noGrp="1"/>
          </p:cNvSpPr>
          <p:nvPr>
            <p:ph type="title"/>
          </p:nvPr>
        </p:nvSpPr>
        <p:spPr/>
        <p:txBody>
          <a:bodyPr/>
          <a:lstStyle/>
          <a:p>
            <a:r>
              <a:rPr lang="en-US" dirty="0"/>
              <a:t>How to explain the palliative care consult?</a:t>
            </a:r>
          </a:p>
        </p:txBody>
      </p:sp>
      <p:sp>
        <p:nvSpPr>
          <p:cNvPr id="4" name="Text Placeholder 3">
            <a:extLst>
              <a:ext uri="{FF2B5EF4-FFF2-40B4-BE49-F238E27FC236}">
                <a16:creationId xmlns:a16="http://schemas.microsoft.com/office/drawing/2014/main" id="{FE3C5511-055E-2915-A10E-E92EB6FCDAEC}"/>
              </a:ext>
            </a:extLst>
          </p:cNvPr>
          <p:cNvSpPr>
            <a:spLocks noGrp="1"/>
          </p:cNvSpPr>
          <p:nvPr>
            <p:ph type="body" sz="quarter" idx="10"/>
          </p:nvPr>
        </p:nvSpPr>
        <p:spPr/>
        <p:txBody>
          <a:bodyPr vert="horz" lIns="91440" tIns="45720" rIns="91440" bIns="45720" rtlCol="0" anchor="t">
            <a:noAutofit/>
          </a:bodyPr>
          <a:lstStyle/>
          <a:p>
            <a:r>
              <a:rPr lang="en-US" dirty="0"/>
              <a:t>Key point: Palliative care can help at any stage of a serious illness and alongside life-extending medical treatments.  Patients/families do not have to be “ready” for comfort-focused care to receive a palliative care consult.</a:t>
            </a:r>
          </a:p>
        </p:txBody>
      </p:sp>
      <p:sp>
        <p:nvSpPr>
          <p:cNvPr id="5" name="Slide Number Placeholder 4">
            <a:extLst>
              <a:ext uri="{FF2B5EF4-FFF2-40B4-BE49-F238E27FC236}">
                <a16:creationId xmlns:a16="http://schemas.microsoft.com/office/drawing/2014/main" id="{5903E8F2-4771-9594-D6D8-ABA753C960E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US" sz="1600" b="0" i="0" u="none" strike="noStrike" kern="1200" cap="none" spc="0" normalizeH="0" baseline="0" noProof="0">
                <a:ln>
                  <a:noFill/>
                </a:ln>
                <a:solidFill>
                  <a:srgbClr val="000064"/>
                </a:solidFill>
                <a:effectLst/>
                <a:uLnTx/>
                <a:uFillTx/>
                <a:latin typeface="Calibri"/>
                <a:ea typeface="+mn-ea"/>
                <a:cs typeface="+mn-cs"/>
              </a:rPr>
              <a:t>   </a:t>
            </a:r>
            <a:endParaRPr kumimoji="0" lang="en-US" sz="1600" b="0" i="0" u="none" strike="noStrike" kern="1200" cap="none" spc="0" normalizeH="0" baseline="0" noProof="0" dirty="0">
              <a:ln>
                <a:noFill/>
              </a:ln>
              <a:solidFill>
                <a:srgbClr val="000064"/>
              </a:solidFill>
              <a:effectLst/>
              <a:uLnTx/>
              <a:uFillTx/>
              <a:latin typeface="Calibri"/>
              <a:ea typeface="+mn-ea"/>
              <a:cs typeface="+mn-cs"/>
            </a:endParaRPr>
          </a:p>
        </p:txBody>
      </p:sp>
      <p:sp>
        <p:nvSpPr>
          <p:cNvPr id="6" name="Footer Placeholder 5">
            <a:extLst>
              <a:ext uri="{FF2B5EF4-FFF2-40B4-BE49-F238E27FC236}">
                <a16:creationId xmlns:a16="http://schemas.microsoft.com/office/drawing/2014/main" id="{3140BFD6-5BB0-7AD7-636B-172AB823A4C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81195(pptx)-E2 6-24-24</a:t>
            </a:r>
            <a:endPar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
        <p:nvSpPr>
          <p:cNvPr id="7" name="Content Placeholder 4">
            <a:extLst>
              <a:ext uri="{FF2B5EF4-FFF2-40B4-BE49-F238E27FC236}">
                <a16:creationId xmlns:a16="http://schemas.microsoft.com/office/drawing/2014/main" id="{7191F8C1-8D86-20EC-81FD-35B6BA4668B5}"/>
              </a:ext>
            </a:extLst>
          </p:cNvPr>
          <p:cNvSpPr>
            <a:spLocks noGrp="1"/>
          </p:cNvSpPr>
          <p:nvPr>
            <p:ph idx="1"/>
          </p:nvPr>
        </p:nvSpPr>
        <p:spPr>
          <a:xfrm>
            <a:off x="266700" y="1951038"/>
            <a:ext cx="6835436" cy="4111625"/>
          </a:xfrm>
        </p:spPr>
        <p:txBody>
          <a:bodyPr vert="horz" lIns="91440" tIns="45720" rIns="91440" bIns="45720" rtlCol="0" anchor="t">
            <a:normAutofit/>
          </a:bodyPr>
          <a:lstStyle/>
          <a:p>
            <a:endParaRPr lang="en-US" sz="2000" dirty="0">
              <a:solidFill>
                <a:schemeClr val="tx1"/>
              </a:solidFill>
              <a:ea typeface="+mn-lt"/>
              <a:cs typeface="+mn-lt"/>
            </a:endParaRPr>
          </a:p>
          <a:p>
            <a:pPr marL="0" indent="0">
              <a:buNone/>
            </a:pPr>
            <a:r>
              <a:rPr lang="en-US" sz="2800" dirty="0"/>
              <a:t>“The palliative care team provides </a:t>
            </a:r>
            <a:r>
              <a:rPr lang="en-US" sz="2800" b="1" dirty="0"/>
              <a:t>an extra layer of support </a:t>
            </a:r>
            <a:r>
              <a:rPr lang="en-US" sz="2800" dirty="0"/>
              <a:t>for people with serious illness and their families.  They work in partnership with your medical team to help make sure you’re getting the information you need about your loved one's medical care and help support you all in making decisions.”</a:t>
            </a:r>
            <a:endParaRPr lang="en-US" sz="2800" dirty="0">
              <a:cs typeface="Calibri"/>
            </a:endParaRPr>
          </a:p>
          <a:p>
            <a:pPr marL="0" indent="0">
              <a:buNone/>
            </a:pPr>
            <a:endParaRPr lang="en-US" sz="2000" dirty="0">
              <a:ea typeface="+mn-lt"/>
              <a:cs typeface="+mn-lt"/>
            </a:endParaRPr>
          </a:p>
          <a:p>
            <a:pPr marL="0" indent="0">
              <a:buNone/>
            </a:pPr>
            <a:endParaRPr lang="en-US" sz="2000" dirty="0">
              <a:cs typeface="Calibri"/>
            </a:endParaRPr>
          </a:p>
        </p:txBody>
      </p:sp>
      <p:pic>
        <p:nvPicPr>
          <p:cNvPr id="8" name="Picture 7">
            <a:extLst>
              <a:ext uri="{FF2B5EF4-FFF2-40B4-BE49-F238E27FC236}">
                <a16:creationId xmlns:a16="http://schemas.microsoft.com/office/drawing/2014/main" id="{8D692211-7C4B-6F24-F084-785A03D38E5C}"/>
              </a:ext>
            </a:extLst>
          </p:cNvPr>
          <p:cNvPicPr>
            <a:picLocks noChangeAspect="1"/>
          </p:cNvPicPr>
          <p:nvPr/>
        </p:nvPicPr>
        <p:blipFill>
          <a:blip r:embed="rId2"/>
          <a:stretch>
            <a:fillRect/>
          </a:stretch>
        </p:blipFill>
        <p:spPr>
          <a:xfrm>
            <a:off x="7643674" y="2085397"/>
            <a:ext cx="4092606" cy="3702834"/>
          </a:xfrm>
          <a:prstGeom prst="rect">
            <a:avLst/>
          </a:prstGeom>
        </p:spPr>
      </p:pic>
    </p:spTree>
    <p:extLst>
      <p:ext uri="{BB962C8B-B14F-4D97-AF65-F5344CB8AC3E}">
        <p14:creationId xmlns:p14="http://schemas.microsoft.com/office/powerpoint/2010/main" val="996261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1" name="think-cell data - do not delete" hidden="1">
            <a:extLst>
              <a:ext uri="{FF2B5EF4-FFF2-40B4-BE49-F238E27FC236}">
                <a16:creationId xmlns:a16="http://schemas.microsoft.com/office/drawing/2014/main" id="{F5F0A726-7D21-6872-594A-AC88A3291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2091" name="think-cell data - do not delete" hidden="1">
                        <a:extLst>
                          <a:ext uri="{FF2B5EF4-FFF2-40B4-BE49-F238E27FC236}">
                            <a16:creationId xmlns:a16="http://schemas.microsoft.com/office/drawing/2014/main" id="{F5F0A726-7D21-6872-594A-AC88A32918B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A008DF2-5116-A4EC-4746-79131351FF15}"/>
              </a:ext>
            </a:extLst>
          </p:cNvPr>
          <p:cNvSpPr/>
          <p:nvPr>
            <p:custDataLst>
              <p:tags r:id="rId3"/>
            </p:custDataLst>
          </p:nvPr>
        </p:nvSpPr>
        <p:spPr bwMode="auto">
          <a:xfrm>
            <a:off x="266700" y="1923936"/>
            <a:ext cx="11657075" cy="413582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2" name="Title 1">
            <a:extLst>
              <a:ext uri="{FF2B5EF4-FFF2-40B4-BE49-F238E27FC236}">
                <a16:creationId xmlns:a16="http://schemas.microsoft.com/office/drawing/2014/main" id="{F3A8B495-E710-46DB-AFE6-356FB6AD9407}"/>
              </a:ext>
            </a:extLst>
          </p:cNvPr>
          <p:cNvSpPr>
            <a:spLocks noGrp="1"/>
          </p:cNvSpPr>
          <p:nvPr>
            <p:ph type="title"/>
            <p:custDataLst>
              <p:tags r:id="rId4"/>
            </p:custDataLst>
          </p:nvPr>
        </p:nvSpPr>
        <p:spPr>
          <a:xfrm>
            <a:off x="266700" y="235313"/>
            <a:ext cx="11658600" cy="877824"/>
          </a:xfrm>
        </p:spPr>
        <p:txBody>
          <a:bodyPr vert="horz"/>
          <a:lstStyle/>
          <a:p>
            <a:r>
              <a:rPr lang="en-US" dirty="0"/>
              <a:t>When to Place a Hospice Referral</a:t>
            </a:r>
          </a:p>
        </p:txBody>
      </p:sp>
      <p:sp>
        <p:nvSpPr>
          <p:cNvPr id="10" name="Text Placeholder 9">
            <a:extLst>
              <a:ext uri="{FF2B5EF4-FFF2-40B4-BE49-F238E27FC236}">
                <a16:creationId xmlns:a16="http://schemas.microsoft.com/office/drawing/2014/main" id="{F02DB4BC-AB15-4879-05DC-BDC469DE6D3A}"/>
              </a:ext>
            </a:extLst>
          </p:cNvPr>
          <p:cNvSpPr>
            <a:spLocks noGrp="1"/>
          </p:cNvSpPr>
          <p:nvPr>
            <p:ph type="body" sz="quarter" idx="10"/>
            <p:custDataLst>
              <p:tags r:id="rId5"/>
            </p:custDataLst>
          </p:nvPr>
        </p:nvSpPr>
        <p:spPr>
          <a:xfrm>
            <a:off x="266700" y="1188720"/>
            <a:ext cx="11658600" cy="627743"/>
          </a:xfrm>
        </p:spPr>
        <p:txBody>
          <a:bodyPr/>
          <a:lstStyle/>
          <a:p>
            <a:r>
              <a:rPr lang="en-US" dirty="0"/>
              <a:t>The patient has an expected prognosis of less than 6 months and goals align with comfort-focused care.</a:t>
            </a:r>
          </a:p>
        </p:txBody>
      </p:sp>
      <p:sp>
        <p:nvSpPr>
          <p:cNvPr id="3" name="Footer Placeholder 2">
            <a:extLst>
              <a:ext uri="{FF2B5EF4-FFF2-40B4-BE49-F238E27FC236}">
                <a16:creationId xmlns:a16="http://schemas.microsoft.com/office/drawing/2014/main" id="{588CE51F-06F4-1AA4-C978-3E109EB8908A}"/>
              </a:ext>
            </a:extLst>
          </p:cNvPr>
          <p:cNvSpPr>
            <a:spLocks noGrp="1"/>
          </p:cNvSpPr>
          <p:nvPr>
            <p:ph type="ftr" sz="quarter" idx="3"/>
            <p:custDataLst>
              <p:tags r:id="rId6"/>
            </p:custDataLst>
          </p:nvPr>
        </p:nvSpPr>
        <p:spPr>
          <a:xfrm>
            <a:off x="274320" y="6633927"/>
            <a:ext cx="2895600" cy="22407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6" name="Slide Number Placeholder 5">
            <a:extLst>
              <a:ext uri="{FF2B5EF4-FFF2-40B4-BE49-F238E27FC236}">
                <a16:creationId xmlns:a16="http://schemas.microsoft.com/office/drawing/2014/main" id="{4E57CE16-5AFB-8DBE-BB39-6045A24A0AA0}"/>
              </a:ext>
            </a:extLst>
          </p:cNvPr>
          <p:cNvSpPr>
            <a:spLocks noGrp="1"/>
          </p:cNvSpPr>
          <p:nvPr>
            <p:ph type="sldNum" sz="quarter" idx="4"/>
            <p:custDataLst>
              <p:tags r:id="rId7"/>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
        <p:nvSpPr>
          <p:cNvPr id="8" name="TextBox 7">
            <a:extLst>
              <a:ext uri="{FF2B5EF4-FFF2-40B4-BE49-F238E27FC236}">
                <a16:creationId xmlns:a16="http://schemas.microsoft.com/office/drawing/2014/main" id="{6EF0DA0C-98B4-7D4B-54A7-50C2D886D947}"/>
              </a:ext>
            </a:extLst>
          </p:cNvPr>
          <p:cNvSpPr txBox="1"/>
          <p:nvPr/>
        </p:nvSpPr>
        <p:spPr>
          <a:xfrm>
            <a:off x="274320" y="1923936"/>
            <a:ext cx="11649455" cy="4031873"/>
          </a:xfrm>
          <a:prstGeom prst="rect">
            <a:avLst/>
          </a:prstGeom>
          <a:noFill/>
        </p:spPr>
        <p:txBody>
          <a:bodyPr wrap="square" rtlCol="0">
            <a:spAutoFit/>
          </a:bodyPr>
          <a:lstStyle/>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atients with uncontrolled symptoms requiring intense monitoring and IV medications (e.g. pain, agitation, respiratory distress) may be eligible for short-term hospice care in the hospital (called General Inpatient or “GIP” care)</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prstClr val="black"/>
                </a:solidFill>
                <a:latin typeface="Calibri"/>
              </a:rPr>
              <a:t>Hospice consultation can be ordered prior to withdrawal of life sustaining treatments for informational visit for patients who are expected to live longer than minutes to hours after life support is withdrawn</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atients will not be enrolled in hospice care </a:t>
            </a:r>
            <a:r>
              <a:rPr lang="en-US" sz="1600" dirty="0">
                <a:solidFill>
                  <a:prstClr val="black"/>
                </a:solidFill>
                <a:latin typeface="Calibri"/>
              </a:rPr>
              <a:t>until after life-sustaining treatments are withdrawn (mechanical ventilation, heated-high flow oxygen, vasopressors, SLED)</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prstClr val="black"/>
                </a:solidFill>
                <a:latin typeface="Calibri"/>
              </a:rPr>
              <a:t>Hospice can enroll patients on non-heated high flow oxygen</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prstClr val="black"/>
                </a:solidFill>
                <a:latin typeface="Calibri"/>
              </a:rPr>
              <a:t>ICU team (with support of the palliative medicine team if needed) should communicate a realistic prognosis to the family and expectations for how long the patient will survive after life support is withdrawn prior to hospice consult</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prstClr val="black"/>
                </a:solidFill>
                <a:latin typeface="Calibri"/>
              </a:rPr>
              <a:t>Patients without uncontrolled symptoms are not eligible for hospice admission in the hospital.  Hospice team will work on transfer home or to facility with hospice.</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prstClr val="black"/>
                </a:solidFill>
                <a:latin typeface="Calibri"/>
              </a:rPr>
              <a:t>Patients who are not eligible for hospice admission in the hospital may be transferred to the GPU with comfort measures while awaiting hospice disposition</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endParaRPr lang="en-US" dirty="0"/>
          </a:p>
        </p:txBody>
      </p:sp>
    </p:spTree>
    <p:custDataLst>
      <p:tags r:id="rId1"/>
    </p:custDataLst>
    <p:extLst>
      <p:ext uri="{BB962C8B-B14F-4D97-AF65-F5344CB8AC3E}">
        <p14:creationId xmlns:p14="http://schemas.microsoft.com/office/powerpoint/2010/main" val="22260634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B98A3FF-B355-449B-8122-36B9B37CDB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0" name="think-cell data - do not delete" hidden="1">
                        <a:extLst>
                          <a:ext uri="{FF2B5EF4-FFF2-40B4-BE49-F238E27FC236}">
                            <a16:creationId xmlns:a16="http://schemas.microsoft.com/office/drawing/2014/main" id="{5B98A3FF-B355-449B-8122-36B9B37CDB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2206732C-736E-1CF5-0C1C-B55C949D840E}"/>
              </a:ext>
            </a:extLst>
          </p:cNvPr>
          <p:cNvSpPr txBox="1"/>
          <p:nvPr>
            <p:custDataLst>
              <p:tags r:id="rId3"/>
            </p:custDataLst>
          </p:nvPr>
        </p:nvSpPr>
        <p:spPr>
          <a:xfrm>
            <a:off x="-1152144" y="1858429"/>
            <a:ext cx="1097280" cy="1205281"/>
          </a:xfrm>
          <a:prstGeom prst="rect">
            <a:avLst/>
          </a:prstGeom>
          <a:noFill/>
        </p:spPr>
        <p:txBody>
          <a:bodyPr wrap="square" lIns="18288" rIns="1828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DPC 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6-24-24, Source = 678130(docx)</a:t>
            </a:r>
          </a:p>
        </p:txBody>
      </p:sp>
      <p:sp>
        <p:nvSpPr>
          <p:cNvPr id="3" name="Footer Placeholder 2">
            <a:extLst>
              <a:ext uri="{FF2B5EF4-FFF2-40B4-BE49-F238E27FC236}">
                <a16:creationId xmlns:a16="http://schemas.microsoft.com/office/drawing/2014/main" id="{CEF3194F-703D-7835-1CC0-7A2DF016831D}"/>
              </a:ext>
            </a:extLst>
          </p:cNvPr>
          <p:cNvSpPr>
            <a:spLocks noGrp="1"/>
          </p:cNvSpPr>
          <p:nvPr>
            <p:ph type="ftr" sz="quarter" idx="3"/>
            <p:custDataLst>
              <p:tags r:id="rId4"/>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2" name="Slide Number Placeholder 1">
            <a:extLst>
              <a:ext uri="{FF2B5EF4-FFF2-40B4-BE49-F238E27FC236}">
                <a16:creationId xmlns:a16="http://schemas.microsoft.com/office/drawing/2014/main" id="{236742FB-8A8A-8161-9509-D8BE82A6B5FE}"/>
              </a:ext>
            </a:extLst>
          </p:cNvPr>
          <p:cNvSpPr>
            <a:spLocks noGrp="1"/>
          </p:cNvSpPr>
          <p:nvPr>
            <p:ph type="sldNum" sz="quarter" idx="10"/>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pic>
        <p:nvPicPr>
          <p:cNvPr id="8" name="Picture 7">
            <a:extLst>
              <a:ext uri="{FF2B5EF4-FFF2-40B4-BE49-F238E27FC236}">
                <a16:creationId xmlns:a16="http://schemas.microsoft.com/office/drawing/2014/main" id="{DC9EED92-628B-4565-C966-1F0C7087B045}"/>
              </a:ext>
            </a:extLst>
          </p:cNvPr>
          <p:cNvPicPr>
            <a:picLocks noChangeAspect="1"/>
          </p:cNvPicPr>
          <p:nvPr/>
        </p:nvPicPr>
        <p:blipFill>
          <a:blip r:embed="rId9"/>
          <a:stretch>
            <a:fillRect/>
          </a:stretch>
        </p:blipFill>
        <p:spPr>
          <a:xfrm>
            <a:off x="2987040" y="253374"/>
            <a:ext cx="6217920" cy="562067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6909036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19" name="think-cell data - do not delete" hidden="1">
            <a:extLst>
              <a:ext uri="{FF2B5EF4-FFF2-40B4-BE49-F238E27FC236}">
                <a16:creationId xmlns:a16="http://schemas.microsoft.com/office/drawing/2014/main" id="{C541BC36-8FA7-0849-BEB0-8877AC1FDDE1}"/>
              </a:ext>
            </a:extLst>
          </p:cNvPr>
          <p:cNvGraphicFramePr>
            <a:graphicFrameLocks noChangeAspect="1"/>
          </p:cNvGraphicFramePr>
          <p:nvPr>
            <p:custDataLst>
              <p:tags r:id="rId2"/>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13" imgW="416" imgH="416" progId="TCLayout.ActiveDocument.1">
                  <p:embed/>
                </p:oleObj>
              </mc:Choice>
              <mc:Fallback>
                <p:oleObj name="think-cell Slide" r:id="rId13" imgW="416" imgH="416" progId="TCLayout.ActiveDocument.1">
                  <p:embed/>
                  <p:pic>
                    <p:nvPicPr>
                      <p:cNvPr id="219" name="think-cell data - do not delete" hidden="1">
                        <a:extLst>
                          <a:ext uri="{FF2B5EF4-FFF2-40B4-BE49-F238E27FC236}">
                            <a16:creationId xmlns:a16="http://schemas.microsoft.com/office/drawing/2014/main" id="{C541BC36-8FA7-0849-BEB0-8877AC1FDDE1}"/>
                          </a:ext>
                        </a:extLst>
                      </p:cNvPr>
                      <p:cNvPicPr/>
                      <p:nvPr/>
                    </p:nvPicPr>
                    <p:blipFill>
                      <a:blip r:embed="rId14"/>
                      <a:stretch>
                        <a:fillRect/>
                      </a:stretch>
                    </p:blipFill>
                    <p:spPr>
                      <a:xfrm>
                        <a:off x="3447401" y="1083"/>
                        <a:ext cx="1083" cy="1083"/>
                      </a:xfrm>
                      <a:prstGeom prst="rect">
                        <a:avLst/>
                      </a:prstGeom>
                    </p:spPr>
                  </p:pic>
                </p:oleObj>
              </mc:Fallback>
            </mc:AlternateContent>
          </a:graphicData>
        </a:graphic>
      </p:graphicFrame>
      <p:sp>
        <p:nvSpPr>
          <p:cNvPr id="86" name="Flowchart: Manual Input 85">
            <a:extLst>
              <a:ext uri="{FF2B5EF4-FFF2-40B4-BE49-F238E27FC236}">
                <a16:creationId xmlns:a16="http://schemas.microsoft.com/office/drawing/2014/main" id="{B2768380-E7D6-B88C-D72F-3AF0656D4D3F}"/>
              </a:ext>
            </a:extLst>
          </p:cNvPr>
          <p:cNvSpPr/>
          <p:nvPr>
            <p:custDataLst>
              <p:tags r:id="rId3"/>
            </p:custDataLst>
          </p:nvPr>
        </p:nvSpPr>
        <p:spPr>
          <a:xfrm>
            <a:off x="5602432" y="709779"/>
            <a:ext cx="3143250" cy="997529"/>
          </a:xfrm>
          <a:prstGeom prst="flowChartManualInput">
            <a:avLst/>
          </a:prstGeom>
          <a:solidFill>
            <a:schemeClr val="bg2">
              <a:alpha val="30196"/>
            </a:schemeClr>
          </a:solidFill>
          <a:ln w="4093" cap="flat">
            <a:no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BA021AD6-7225-5739-583D-1F3989A55AA4}"/>
              </a:ext>
            </a:extLst>
          </p:cNvPr>
          <p:cNvSpPr/>
          <p:nvPr>
            <p:custDataLst>
              <p:tags r:id="rId4"/>
            </p:custDataLst>
          </p:nvPr>
        </p:nvSpPr>
        <p:spPr>
          <a:xfrm>
            <a:off x="3446318" y="2"/>
            <a:ext cx="2369127" cy="1707306"/>
          </a:xfrm>
          <a:custGeom>
            <a:avLst/>
            <a:gdLst>
              <a:gd name="connsiteX0" fmla="*/ 0 w 6794446"/>
              <a:gd name="connsiteY0" fmla="*/ 0 h 1248721"/>
              <a:gd name="connsiteX1" fmla="*/ 6794447 w 6794446"/>
              <a:gd name="connsiteY1" fmla="*/ 0 h 1248721"/>
              <a:gd name="connsiteX2" fmla="*/ 6794447 w 6794446"/>
              <a:gd name="connsiteY2" fmla="*/ 1248722 h 1248721"/>
              <a:gd name="connsiteX3" fmla="*/ 0 w 6794446"/>
              <a:gd name="connsiteY3" fmla="*/ 1248722 h 1248721"/>
            </a:gdLst>
            <a:ahLst/>
            <a:cxnLst>
              <a:cxn ang="0">
                <a:pos x="connsiteX0" y="connsiteY0"/>
              </a:cxn>
              <a:cxn ang="0">
                <a:pos x="connsiteX1" y="connsiteY1"/>
              </a:cxn>
              <a:cxn ang="0">
                <a:pos x="connsiteX2" y="connsiteY2"/>
              </a:cxn>
              <a:cxn ang="0">
                <a:pos x="connsiteX3" y="connsiteY3"/>
              </a:cxn>
            </a:cxnLst>
            <a:rect l="l" t="t" r="r" b="b"/>
            <a:pathLst>
              <a:path w="6794446" h="1248721">
                <a:moveTo>
                  <a:pt x="0" y="0"/>
                </a:moveTo>
                <a:lnTo>
                  <a:pt x="6794447" y="0"/>
                </a:lnTo>
                <a:lnTo>
                  <a:pt x="6794447" y="1248722"/>
                </a:lnTo>
                <a:lnTo>
                  <a:pt x="0" y="1248722"/>
                </a:lnTo>
                <a:close/>
              </a:path>
            </a:pathLst>
          </a:custGeom>
          <a:solidFill>
            <a:schemeClr val="accent1"/>
          </a:solidFill>
          <a:ln w="12903" cap="flat">
            <a:no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Rectangle 131">
            <a:extLst>
              <a:ext uri="{FF2B5EF4-FFF2-40B4-BE49-F238E27FC236}">
                <a16:creationId xmlns:a16="http://schemas.microsoft.com/office/drawing/2014/main" id="{3F05E3B9-3806-1AC9-5665-D71349AD614C}"/>
              </a:ext>
            </a:extLst>
          </p:cNvPr>
          <p:cNvSpPr/>
          <p:nvPr>
            <p:custDataLst>
              <p:tags r:id="rId5"/>
            </p:custDataLst>
          </p:nvPr>
        </p:nvSpPr>
        <p:spPr>
          <a:xfrm>
            <a:off x="6299490" y="954767"/>
            <a:ext cx="2409824" cy="680186"/>
          </a:xfrm>
          <a:prstGeom prst="rect">
            <a:avLst/>
          </a:prstGeom>
          <a:noFill/>
        </p:spPr>
        <p:txBody>
          <a:bodyPr wrap="square" lIns="62345" rIns="62345" rtlCol="0">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prstClr val="black"/>
                </a:solidFill>
                <a:effectLst/>
                <a:uLnTx/>
                <a:uFillTx/>
                <a:latin typeface="Calibri"/>
                <a:ea typeface="+mn-ea"/>
                <a:cs typeface="+mn-cs"/>
              </a:rPr>
              <a:t>Purpose: </a:t>
            </a:r>
            <a:r>
              <a:rPr kumimoji="0" lang="en-US" sz="955" b="0" i="0" u="none" strike="noStrike" kern="1200" cap="none" spc="0" normalizeH="0" baseline="0" noProof="0" dirty="0">
                <a:ln>
                  <a:noFill/>
                </a:ln>
                <a:solidFill>
                  <a:prstClr val="black"/>
                </a:solidFill>
                <a:effectLst/>
                <a:uLnTx/>
                <a:uFillTx/>
                <a:latin typeface="Calibri"/>
                <a:ea typeface="+mn-ea"/>
                <a:cs typeface="+mn-cs"/>
              </a:rPr>
              <a:t>To talk to patients about their goals and values, assess their illness understanding, share their prognosis, and discuss a care plan that aligns with their goals.</a:t>
            </a:r>
            <a:r>
              <a:rPr kumimoji="0" lang="en-US" sz="955" b="1" i="0" u="none" strike="noStrike" kern="1200" cap="none" spc="0" normalizeH="0" baseline="0" noProof="0" dirty="0">
                <a:ln>
                  <a:noFill/>
                </a:ln>
                <a:solidFill>
                  <a:prstClr val="black"/>
                </a:solidFill>
                <a:effectLst/>
                <a:uLnTx/>
                <a:uFillTx/>
                <a:latin typeface="Calibri"/>
                <a:ea typeface="+mn-ea"/>
                <a:cs typeface="+mn-cs"/>
              </a:rPr>
              <a:t> </a:t>
            </a:r>
            <a:endParaRPr kumimoji="0" lang="en-US" sz="955" b="0" i="0" u="none" strike="noStrike" kern="1200" cap="none" spc="0" normalizeH="0" baseline="0" noProof="0" dirty="0">
              <a:ln>
                <a:noFill/>
              </a:ln>
              <a:solidFill>
                <a:prstClr val="black"/>
              </a:solidFill>
              <a:effectLst/>
              <a:uLnTx/>
              <a:uFillTx/>
              <a:latin typeface="Calibri"/>
              <a:ea typeface="+mn-ea"/>
              <a:cs typeface="+mn-cs"/>
            </a:endParaRPr>
          </a:p>
        </p:txBody>
      </p:sp>
      <p:sp>
        <p:nvSpPr>
          <p:cNvPr id="222" name="TextBox 221">
            <a:extLst>
              <a:ext uri="{FF2B5EF4-FFF2-40B4-BE49-F238E27FC236}">
                <a16:creationId xmlns:a16="http://schemas.microsoft.com/office/drawing/2014/main" id="{88509352-2CAE-36B0-EE10-16E91441E95B}"/>
              </a:ext>
            </a:extLst>
          </p:cNvPr>
          <p:cNvSpPr txBox="1"/>
          <p:nvPr>
            <p:custDataLst>
              <p:tags r:id="rId6"/>
            </p:custDataLst>
          </p:nvPr>
        </p:nvSpPr>
        <p:spPr>
          <a:xfrm>
            <a:off x="3628159" y="452965"/>
            <a:ext cx="2025269" cy="786626"/>
          </a:xfrm>
          <a:prstGeom prst="rect">
            <a:avLst/>
          </a:prstGeom>
          <a:noFill/>
        </p:spPr>
        <p:txBody>
          <a:bodyPr wrap="square" rtlCol="0">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682" b="1" i="0" u="none" strike="noStrike" kern="1200" cap="none" spc="0" normalizeH="0" baseline="0" noProof="0" dirty="0">
                <a:ln>
                  <a:noFill/>
                </a:ln>
                <a:solidFill>
                  <a:srgbClr val="0091E1"/>
                </a:solidFill>
                <a:effectLst/>
                <a:uLnTx/>
                <a:uFillTx/>
                <a:latin typeface="Verdana"/>
                <a:ea typeface="+mn-ea"/>
                <a:cs typeface="+mn-cs"/>
              </a:rPr>
              <a:t>REMAP</a:t>
            </a:r>
            <a:br>
              <a:rPr kumimoji="0" lang="en-US" sz="4091" b="1" i="0" u="none" strike="noStrike" kern="1200" cap="none" spc="34" normalizeH="0" baseline="0" noProof="0" dirty="0">
                <a:ln w="0"/>
                <a:solidFill>
                  <a:prstClr val="white"/>
                </a:solidFill>
                <a:effectLst>
                  <a:innerShdw blurRad="63500" dist="50800" dir="13500000">
                    <a:srgbClr val="000000">
                      <a:alpha val="50000"/>
                    </a:srgbClr>
                  </a:innerShdw>
                </a:effectLst>
                <a:uLnTx/>
                <a:uFillTx/>
                <a:latin typeface="Calibri"/>
                <a:ea typeface="+mn-ea"/>
                <a:cs typeface="+mn-cs"/>
              </a:rPr>
            </a:br>
            <a:r>
              <a:rPr kumimoji="0" lang="en-US" sz="1909" b="0" i="0" u="none" strike="noStrike" kern="1200" cap="none" spc="0" normalizeH="0" baseline="0" noProof="0" dirty="0">
                <a:ln>
                  <a:noFill/>
                </a:ln>
                <a:solidFill>
                  <a:prstClr val="white"/>
                </a:solidFill>
                <a:effectLst/>
                <a:uLnTx/>
                <a:uFillTx/>
                <a:latin typeface="Calibri"/>
                <a:ea typeface="+mn-ea"/>
                <a:cs typeface="+mn-cs"/>
              </a:rPr>
              <a:t>for Goals of Care</a:t>
            </a:r>
          </a:p>
        </p:txBody>
      </p:sp>
      <p:pic>
        <p:nvPicPr>
          <p:cNvPr id="288" name="Picture 287">
            <a:extLst>
              <a:ext uri="{FF2B5EF4-FFF2-40B4-BE49-F238E27FC236}">
                <a16:creationId xmlns:a16="http://schemas.microsoft.com/office/drawing/2014/main" id="{DCADCE34-33BF-18B4-F2DB-4244BABC1F95}"/>
              </a:ext>
            </a:extLst>
          </p:cNvPr>
          <p:cNvPicPr>
            <a:picLocks noChangeAspect="1"/>
          </p:cNvPicPr>
          <p:nvPr>
            <p:custDataLst>
              <p:tags r:id="rId7"/>
            </p:custDataLst>
          </p:nvPr>
        </p:nvPicPr>
        <p:blipFill>
          <a:blip r:embed="rId15"/>
          <a:stretch>
            <a:fillRect/>
          </a:stretch>
        </p:blipFill>
        <p:spPr>
          <a:xfrm>
            <a:off x="6379772" y="277625"/>
            <a:ext cx="2078159" cy="124691"/>
          </a:xfrm>
          <a:prstGeom prst="rect">
            <a:avLst/>
          </a:prstGeom>
        </p:spPr>
      </p:pic>
      <p:pic>
        <p:nvPicPr>
          <p:cNvPr id="289" name="Picture 288">
            <a:extLst>
              <a:ext uri="{FF2B5EF4-FFF2-40B4-BE49-F238E27FC236}">
                <a16:creationId xmlns:a16="http://schemas.microsoft.com/office/drawing/2014/main" id="{B606989D-48E1-BC3B-E1DD-3FE32EE08055}"/>
              </a:ext>
            </a:extLst>
          </p:cNvPr>
          <p:cNvPicPr>
            <a:picLocks noChangeAspect="1"/>
          </p:cNvPicPr>
          <p:nvPr>
            <p:custDataLst>
              <p:tags r:id="rId8"/>
            </p:custDataLst>
          </p:nvPr>
        </p:nvPicPr>
        <p:blipFill>
          <a:blip r:embed="rId16"/>
          <a:stretch>
            <a:fillRect/>
          </a:stretch>
        </p:blipFill>
        <p:spPr>
          <a:xfrm>
            <a:off x="7401232" y="447608"/>
            <a:ext cx="872836" cy="249916"/>
          </a:xfrm>
          <a:prstGeom prst="rect">
            <a:avLst/>
          </a:prstGeom>
        </p:spPr>
      </p:pic>
      <p:grpSp>
        <p:nvGrpSpPr>
          <p:cNvPr id="108" name="Group 107">
            <a:extLst>
              <a:ext uri="{FF2B5EF4-FFF2-40B4-BE49-F238E27FC236}">
                <a16:creationId xmlns:a16="http://schemas.microsoft.com/office/drawing/2014/main" id="{8E7D61E8-6FC3-4E8C-F8A6-D0032E76C7F3}"/>
              </a:ext>
            </a:extLst>
          </p:cNvPr>
          <p:cNvGrpSpPr/>
          <p:nvPr>
            <p:custDataLst>
              <p:tags r:id="rId9"/>
            </p:custDataLst>
          </p:nvPr>
        </p:nvGrpSpPr>
        <p:grpSpPr>
          <a:xfrm>
            <a:off x="3550228" y="1784038"/>
            <a:ext cx="5091545" cy="4861994"/>
            <a:chOff x="152400" y="2686929"/>
            <a:chExt cx="7467600" cy="7130925"/>
          </a:xfrm>
        </p:grpSpPr>
        <p:grpSp>
          <p:nvGrpSpPr>
            <p:cNvPr id="107" name="Group 106">
              <a:extLst>
                <a:ext uri="{FF2B5EF4-FFF2-40B4-BE49-F238E27FC236}">
                  <a16:creationId xmlns:a16="http://schemas.microsoft.com/office/drawing/2014/main" id="{8F7E8D3C-F229-4C8B-947C-DDD827203A83}"/>
                </a:ext>
              </a:extLst>
            </p:cNvPr>
            <p:cNvGrpSpPr/>
            <p:nvPr/>
          </p:nvGrpSpPr>
          <p:grpSpPr>
            <a:xfrm>
              <a:off x="152400" y="2686929"/>
              <a:ext cx="7467600" cy="1275942"/>
              <a:chOff x="152400" y="2686929"/>
              <a:chExt cx="7467600" cy="1275942"/>
            </a:xfrm>
          </p:grpSpPr>
          <p:sp>
            <p:nvSpPr>
              <p:cNvPr id="94" name="Rectangle: Rounded Corners 93">
                <a:extLst>
                  <a:ext uri="{FF2B5EF4-FFF2-40B4-BE49-F238E27FC236}">
                    <a16:creationId xmlns:a16="http://schemas.microsoft.com/office/drawing/2014/main" id="{24794A45-7680-2381-B74B-91BA62E7CEF1}"/>
                  </a:ext>
                </a:extLst>
              </p:cNvPr>
              <p:cNvSpPr/>
              <p:nvPr/>
            </p:nvSpPr>
            <p:spPr>
              <a:xfrm>
                <a:off x="152400" y="2686929"/>
                <a:ext cx="7467600" cy="1266093"/>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310" name="TextBox 309">
                <a:extLst>
                  <a:ext uri="{FF2B5EF4-FFF2-40B4-BE49-F238E27FC236}">
                    <a16:creationId xmlns:a16="http://schemas.microsoft.com/office/drawing/2014/main" id="{BEF7DA7A-C926-143F-6892-FB8FFF22AD68}"/>
                  </a:ext>
                </a:extLst>
              </p:cNvPr>
              <p:cNvSpPr txBox="1"/>
              <p:nvPr/>
            </p:nvSpPr>
            <p:spPr>
              <a:xfrm>
                <a:off x="533992" y="2827396"/>
                <a:ext cx="2054463" cy="941933"/>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1E1"/>
                    </a:solidFill>
                    <a:effectLst/>
                    <a:uLnTx/>
                    <a:uFillTx/>
                    <a:latin typeface="Verdana"/>
                    <a:ea typeface="+mn-ea"/>
                    <a:cs typeface="+mn-cs"/>
                  </a:rPr>
                  <a:t>R</a:t>
                </a:r>
                <a:r>
                  <a:rPr kumimoji="0" lang="en-US" sz="1636" b="1" i="0" u="none" strike="noStrike" kern="1200" cap="none" spc="0" normalizeH="0" baseline="0" noProof="0" dirty="0">
                    <a:ln>
                      <a:noFill/>
                    </a:ln>
                    <a:solidFill>
                      <a:prstClr val="black"/>
                    </a:solidFill>
                    <a:effectLst/>
                    <a:uLnTx/>
                    <a:uFillTx/>
                    <a:latin typeface="Calibri"/>
                    <a:ea typeface="+mn-ea"/>
                    <a:cs typeface="+mn-cs"/>
                  </a:rPr>
                  <a:t>eframe</a:t>
                </a:r>
                <a:endParaRPr kumimoji="0" lang="en-US" sz="1227"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prstClr val="black"/>
                    </a:solidFill>
                    <a:effectLst/>
                    <a:uLnTx/>
                    <a:uFillTx/>
                    <a:latin typeface="Calibri"/>
                    <a:ea typeface="+mn-ea"/>
                    <a:cs typeface="+mn-cs"/>
                  </a:rPr>
                  <a:t>	…the big picture</a:t>
                </a:r>
              </a:p>
            </p:txBody>
          </p:sp>
          <p:sp>
            <p:nvSpPr>
              <p:cNvPr id="89" name="TextBox 88">
                <a:extLst>
                  <a:ext uri="{FF2B5EF4-FFF2-40B4-BE49-F238E27FC236}">
                    <a16:creationId xmlns:a16="http://schemas.microsoft.com/office/drawing/2014/main" id="{4539D2A7-4ACF-7FB8-9EC1-1A01EE688742}"/>
                  </a:ext>
                </a:extLst>
              </p:cNvPr>
              <p:cNvSpPr txBox="1"/>
              <p:nvPr/>
            </p:nvSpPr>
            <p:spPr>
              <a:xfrm>
                <a:off x="3433111" y="2719812"/>
                <a:ext cx="4114800" cy="1243059"/>
              </a:xfrm>
              <a:prstGeom prst="rect">
                <a:avLst/>
              </a:prstGeom>
              <a:noFill/>
            </p:spPr>
            <p:txBody>
              <a:bodyPr wrap="square" lIns="62345" rtlCol="0">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prstClr val="black"/>
                    </a:solidFill>
                    <a:effectLst/>
                    <a:uLnTx/>
                    <a:uFillTx/>
                    <a:latin typeface="Calibri"/>
                    <a:ea typeface="+mn-ea"/>
                    <a:cs typeface="+mn-cs"/>
                  </a:rPr>
                  <a:t>ASK</a:t>
                </a:r>
                <a:r>
                  <a:rPr kumimoji="0" lang="en-US" sz="818" b="0" i="0" u="none" strike="noStrike" kern="1200" cap="none" spc="0" normalizeH="0" baseline="0" noProof="0" dirty="0">
                    <a:ln>
                      <a:noFill/>
                    </a:ln>
                    <a:solidFill>
                      <a:prstClr val="black"/>
                    </a:solidFill>
                    <a:effectLst/>
                    <a:uLnTx/>
                    <a:uFillTx/>
                    <a:latin typeface="Calibri"/>
                    <a:ea typeface="+mn-ea"/>
                    <a:cs typeface="+mn-cs"/>
                  </a:rPr>
                  <a:t> </a:t>
                </a:r>
                <a:r>
                  <a:rPr kumimoji="0" lang="en-US" sz="818" b="1" i="1" u="none" strike="noStrike" kern="1200" cap="none" spc="0" normalizeH="0" baseline="0" noProof="0" dirty="0">
                    <a:ln>
                      <a:noFill/>
                    </a:ln>
                    <a:solidFill>
                      <a:prstClr val="black"/>
                    </a:solidFill>
                    <a:effectLst/>
                    <a:uLnTx/>
                    <a:uFillTx/>
                    <a:latin typeface="Calibri"/>
                    <a:ea typeface="+mn-ea"/>
                    <a:cs typeface="+mn-cs"/>
                  </a:rPr>
                  <a:t>“What do you understand so far about your [your dad’s] illness?”</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prstClr val="black"/>
                    </a:solidFill>
                    <a:effectLst/>
                    <a:uLnTx/>
                    <a:uFillTx/>
                    <a:latin typeface="Calibri"/>
                    <a:ea typeface="+mn-ea"/>
                    <a:cs typeface="+mn-cs"/>
                  </a:rPr>
                  <a:t>TELL</a:t>
                </a:r>
                <a:r>
                  <a:rPr kumimoji="0" lang="en-US" sz="818" b="0" i="0" u="none" strike="noStrike" kern="1200" cap="none" spc="0" normalizeH="0" baseline="0" noProof="0" dirty="0">
                    <a:ln>
                      <a:noFill/>
                    </a:ln>
                    <a:solidFill>
                      <a:prstClr val="black"/>
                    </a:solidFill>
                    <a:effectLst/>
                    <a:uLnTx/>
                    <a:uFillTx/>
                    <a:latin typeface="Calibri"/>
                    <a:ea typeface="+mn-ea"/>
                    <a:cs typeface="+mn-cs"/>
                  </a:rPr>
                  <a:t> (warning statement): </a:t>
                </a:r>
                <a:r>
                  <a:rPr kumimoji="0" lang="en-US" sz="818" b="1" i="1" u="none" strike="noStrike" kern="1200" cap="none" spc="0" normalizeH="0" baseline="0" noProof="0" dirty="0">
                    <a:ln>
                      <a:noFill/>
                    </a:ln>
                    <a:solidFill>
                      <a:prstClr val="black"/>
                    </a:solidFill>
                    <a:effectLst/>
                    <a:uLnTx/>
                    <a:uFillTx/>
                    <a:latin typeface="Calibri"/>
                    <a:ea typeface="+mn-ea"/>
                    <a:cs typeface="+mn-cs"/>
                  </a:rPr>
                  <a:t>“We’re in a different place…”</a:t>
                </a:r>
              </a:p>
              <a:p>
                <a:pPr marL="311719" marR="0" lvl="1" indent="0" algn="l" defTabSz="311719" rtl="0" eaLnBrk="1" fontAlgn="auto" latinLnBrk="0" hangingPunct="1">
                  <a:lnSpc>
                    <a:spcPct val="100000"/>
                  </a:lnSpc>
                  <a:spcBef>
                    <a:spcPts val="0"/>
                  </a:spcBef>
                  <a:spcAft>
                    <a:spcPts val="0"/>
                  </a:spcAft>
                  <a:buClrTx/>
                  <a:buSzTx/>
                  <a:buFontTx/>
                  <a:buNone/>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big picture headline</a:t>
                </a:r>
              </a:p>
              <a:p>
                <a:pPr marL="311719" marR="0" lvl="1" indent="0" algn="l" defTabSz="311719" rtl="0" eaLnBrk="1" fontAlgn="auto" latinLnBrk="0" hangingPunct="1">
                  <a:lnSpc>
                    <a:spcPct val="100000"/>
                  </a:lnSpc>
                  <a:spcBef>
                    <a:spcPts val="0"/>
                  </a:spcBef>
                  <a:spcAft>
                    <a:spcPts val="0"/>
                  </a:spcAft>
                  <a:buClrTx/>
                  <a:buSzTx/>
                  <a:buFontTx/>
                  <a:buNone/>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then PAUS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prstClr val="black"/>
                    </a:solidFill>
                    <a:effectLst/>
                    <a:uLnTx/>
                    <a:uFillTx/>
                    <a:latin typeface="Calibri"/>
                    <a:ea typeface="+mn-ea"/>
                    <a:cs typeface="+mn-cs"/>
                  </a:rPr>
                  <a:t>ASK</a:t>
                </a:r>
                <a:r>
                  <a:rPr kumimoji="0" lang="en-US" sz="818" b="0" i="0" u="none" strike="noStrike" kern="1200" cap="none" spc="0" normalizeH="0" baseline="0" noProof="0" dirty="0">
                    <a:ln>
                      <a:noFill/>
                    </a:ln>
                    <a:solidFill>
                      <a:prstClr val="black"/>
                    </a:solidFill>
                    <a:effectLst/>
                    <a:uLnTx/>
                    <a:uFillTx/>
                    <a:latin typeface="Calibri"/>
                    <a:ea typeface="+mn-ea"/>
                    <a:cs typeface="+mn-cs"/>
                  </a:rPr>
                  <a:t> </a:t>
                </a:r>
                <a:r>
                  <a:rPr kumimoji="0" lang="en-US" sz="818" b="1" i="1" u="none" strike="noStrike" kern="1200" cap="none" spc="0" normalizeH="0" baseline="0" noProof="0" dirty="0">
                    <a:ln>
                      <a:noFill/>
                    </a:ln>
                    <a:solidFill>
                      <a:prstClr val="black"/>
                    </a:solidFill>
                    <a:effectLst/>
                    <a:uLnTx/>
                    <a:uFillTx/>
                    <a:latin typeface="Calibri"/>
                    <a:ea typeface="+mn-ea"/>
                    <a:cs typeface="+mn-cs"/>
                  </a:rPr>
                  <a:t>“What concerns do you have so far?”</a:t>
                </a:r>
              </a:p>
            </p:txBody>
          </p:sp>
        </p:grpSp>
        <p:grpSp>
          <p:nvGrpSpPr>
            <p:cNvPr id="104" name="Group 103">
              <a:extLst>
                <a:ext uri="{FF2B5EF4-FFF2-40B4-BE49-F238E27FC236}">
                  <a16:creationId xmlns:a16="http://schemas.microsoft.com/office/drawing/2014/main" id="{022AB224-1166-0ACE-52EA-E4B3347FE00F}"/>
                </a:ext>
              </a:extLst>
            </p:cNvPr>
            <p:cNvGrpSpPr/>
            <p:nvPr/>
          </p:nvGrpSpPr>
          <p:grpSpPr>
            <a:xfrm>
              <a:off x="152400" y="5923559"/>
              <a:ext cx="7467600" cy="1275942"/>
              <a:chOff x="152400" y="5931917"/>
              <a:chExt cx="7467600" cy="1275942"/>
            </a:xfrm>
          </p:grpSpPr>
          <p:sp>
            <p:nvSpPr>
              <p:cNvPr id="99" name="Rectangle: Rounded Corners 98">
                <a:extLst>
                  <a:ext uri="{FF2B5EF4-FFF2-40B4-BE49-F238E27FC236}">
                    <a16:creationId xmlns:a16="http://schemas.microsoft.com/office/drawing/2014/main" id="{E458F7A9-BA72-C4C6-B6F5-F382BC8B18A3}"/>
                  </a:ext>
                </a:extLst>
              </p:cNvPr>
              <p:cNvSpPr/>
              <p:nvPr/>
            </p:nvSpPr>
            <p:spPr>
              <a:xfrm>
                <a:off x="152400" y="5931917"/>
                <a:ext cx="7467600" cy="1266093"/>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TextBox 269">
                <a:extLst>
                  <a:ext uri="{FF2B5EF4-FFF2-40B4-BE49-F238E27FC236}">
                    <a16:creationId xmlns:a16="http://schemas.microsoft.com/office/drawing/2014/main" id="{BF2CBFB1-620A-1BBA-07C5-5192097FD6C8}"/>
                  </a:ext>
                </a:extLst>
              </p:cNvPr>
              <p:cNvSpPr txBox="1"/>
              <p:nvPr/>
            </p:nvSpPr>
            <p:spPr>
              <a:xfrm>
                <a:off x="533992" y="6072384"/>
                <a:ext cx="2279554" cy="941933"/>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1E1"/>
                    </a:solidFill>
                    <a:effectLst/>
                    <a:uLnTx/>
                    <a:uFillTx/>
                    <a:latin typeface="Verdana"/>
                    <a:ea typeface="+mn-ea"/>
                    <a:cs typeface="+mn-cs"/>
                  </a:rPr>
                  <a:t>M</a:t>
                </a:r>
                <a:r>
                  <a:rPr kumimoji="0" lang="en-US" sz="1636" b="1" i="0" u="none" strike="noStrike" kern="1200" cap="none" spc="0" normalizeH="0" baseline="0" noProof="0" dirty="0">
                    <a:ln>
                      <a:noFill/>
                    </a:ln>
                    <a:solidFill>
                      <a:prstClr val="black"/>
                    </a:solidFill>
                    <a:effectLst/>
                    <a:uLnTx/>
                    <a:uFillTx/>
                    <a:latin typeface="Calibri"/>
                    <a:ea typeface="+mn-ea"/>
                    <a:cs typeface="+mn-cs"/>
                  </a:rPr>
                  <a:t>ap</a:t>
                </a:r>
                <a:endParaRPr kumimoji="0" lang="en-US" sz="1227"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prstClr val="black"/>
                    </a:solidFill>
                    <a:effectLst/>
                    <a:uLnTx/>
                    <a:uFillTx/>
                    <a:latin typeface="Calibri"/>
                    <a:ea typeface="+mn-ea"/>
                    <a:cs typeface="+mn-cs"/>
                  </a:rPr>
                  <a:t>…what’s important</a:t>
                </a:r>
              </a:p>
            </p:txBody>
          </p:sp>
          <p:sp>
            <p:nvSpPr>
              <p:cNvPr id="91" name="TextBox 90">
                <a:extLst>
                  <a:ext uri="{FF2B5EF4-FFF2-40B4-BE49-F238E27FC236}">
                    <a16:creationId xmlns:a16="http://schemas.microsoft.com/office/drawing/2014/main" id="{6DACC742-DB3F-4990-ECFA-EB9613D0E63C}"/>
                  </a:ext>
                </a:extLst>
              </p:cNvPr>
              <p:cNvSpPr txBox="1"/>
              <p:nvPr/>
            </p:nvSpPr>
            <p:spPr>
              <a:xfrm>
                <a:off x="3433111" y="5964800"/>
                <a:ext cx="4114800" cy="1243059"/>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Would it be okay to talk about you [your dad] as a person before we talk about treatments?”</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What’s important…?</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What worries…?</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What to avoid…?</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0" i="0" u="none" strike="noStrike" kern="1200" cap="none" spc="0" normalizeH="0" baseline="0" noProof="0" dirty="0">
                    <a:ln>
                      <a:noFill/>
                    </a:ln>
                    <a:solidFill>
                      <a:prstClr val="black"/>
                    </a:solidFill>
                    <a:effectLst/>
                    <a:uLnTx/>
                    <a:uFillTx/>
                    <a:latin typeface="Calibri"/>
                    <a:ea typeface="+mn-ea"/>
                    <a:cs typeface="+mn-cs"/>
                  </a:rPr>
                  <a:t>What else?</a:t>
                </a:r>
              </a:p>
            </p:txBody>
          </p:sp>
        </p:grpSp>
        <p:grpSp>
          <p:nvGrpSpPr>
            <p:cNvPr id="103" name="Group 102">
              <a:extLst>
                <a:ext uri="{FF2B5EF4-FFF2-40B4-BE49-F238E27FC236}">
                  <a16:creationId xmlns:a16="http://schemas.microsoft.com/office/drawing/2014/main" id="{38B4D161-E177-1B8A-947E-FE498015D06C}"/>
                </a:ext>
              </a:extLst>
            </p:cNvPr>
            <p:cNvGrpSpPr/>
            <p:nvPr/>
          </p:nvGrpSpPr>
          <p:grpSpPr>
            <a:xfrm>
              <a:off x="152400" y="7260521"/>
              <a:ext cx="7467600" cy="1266093"/>
              <a:chOff x="152400" y="7258930"/>
              <a:chExt cx="7467600" cy="1266093"/>
            </a:xfrm>
          </p:grpSpPr>
          <p:sp>
            <p:nvSpPr>
              <p:cNvPr id="100" name="Rectangle: Rounded Corners 99">
                <a:extLst>
                  <a:ext uri="{FF2B5EF4-FFF2-40B4-BE49-F238E27FC236}">
                    <a16:creationId xmlns:a16="http://schemas.microsoft.com/office/drawing/2014/main" id="{88095ADB-BBC7-6ABD-2120-CE88F6B16029}"/>
                  </a:ext>
                </a:extLst>
              </p:cNvPr>
              <p:cNvSpPr/>
              <p:nvPr/>
            </p:nvSpPr>
            <p:spPr>
              <a:xfrm>
                <a:off x="152400" y="7258930"/>
                <a:ext cx="7467600" cy="1266093"/>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278" name="TextBox 277">
                <a:extLst>
                  <a:ext uri="{FF2B5EF4-FFF2-40B4-BE49-F238E27FC236}">
                    <a16:creationId xmlns:a16="http://schemas.microsoft.com/office/drawing/2014/main" id="{8DAC1E06-31BB-B319-2FE1-6AD49B9A3988}"/>
                  </a:ext>
                </a:extLst>
              </p:cNvPr>
              <p:cNvSpPr txBox="1"/>
              <p:nvPr/>
            </p:nvSpPr>
            <p:spPr>
              <a:xfrm>
                <a:off x="533992" y="7399397"/>
                <a:ext cx="2546839" cy="941933"/>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1E1"/>
                    </a:solidFill>
                    <a:effectLst/>
                    <a:uLnTx/>
                    <a:uFillTx/>
                    <a:latin typeface="Verdana"/>
                    <a:ea typeface="+mn-ea"/>
                    <a:cs typeface="+mn-cs"/>
                  </a:rPr>
                  <a:t>A</a:t>
                </a:r>
                <a:r>
                  <a:rPr kumimoji="0" lang="en-US" sz="1636" b="1" i="0" u="none" strike="noStrike" kern="1200" cap="none" spc="0" normalizeH="0" baseline="0" noProof="0" dirty="0">
                    <a:ln>
                      <a:noFill/>
                    </a:ln>
                    <a:solidFill>
                      <a:prstClr val="black"/>
                    </a:solidFill>
                    <a:effectLst/>
                    <a:uLnTx/>
                    <a:uFillTx/>
                    <a:latin typeface="Calibri"/>
                    <a:ea typeface="+mn-ea"/>
                    <a:cs typeface="+mn-cs"/>
                  </a:rPr>
                  <a:t>lign</a:t>
                </a:r>
                <a:endParaRPr kumimoji="0" lang="en-US" sz="1227"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prstClr val="black"/>
                    </a:solidFill>
                    <a:effectLst/>
                    <a:uLnTx/>
                    <a:uFillTx/>
                    <a:latin typeface="Calibri"/>
                    <a:ea typeface="+mn-ea"/>
                    <a:cs typeface="+mn-cs"/>
                  </a:rPr>
                  <a:t>…with the patient’s values</a:t>
                </a:r>
              </a:p>
            </p:txBody>
          </p:sp>
          <p:sp>
            <p:nvSpPr>
              <p:cNvPr id="92" name="TextBox 91">
                <a:extLst>
                  <a:ext uri="{FF2B5EF4-FFF2-40B4-BE49-F238E27FC236}">
                    <a16:creationId xmlns:a16="http://schemas.microsoft.com/office/drawing/2014/main" id="{90F6DA43-FBC6-419F-896D-0ED3D5BE675D}"/>
                  </a:ext>
                </a:extLst>
              </p:cNvPr>
              <p:cNvSpPr txBox="1"/>
              <p:nvPr/>
            </p:nvSpPr>
            <p:spPr>
              <a:xfrm>
                <a:off x="3433111" y="7530340"/>
                <a:ext cx="4114800" cy="764475"/>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409"/>
                  </a:spcBef>
                  <a:spcAft>
                    <a:spcPts val="0"/>
                  </a:spcAft>
                  <a:buClrTx/>
                  <a:buSzTx/>
                  <a:buFontTx/>
                  <a:buNone/>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As I listen to you, it sounds like the most important things to you [your dad] are…”</a:t>
                </a:r>
              </a:p>
              <a:p>
                <a:pPr marL="0" marR="0" lvl="0" indent="0" algn="l" defTabSz="311719" rtl="0" eaLnBrk="1" fontAlgn="auto" latinLnBrk="0" hangingPunct="1">
                  <a:lnSpc>
                    <a:spcPct val="100000"/>
                  </a:lnSpc>
                  <a:spcBef>
                    <a:spcPts val="409"/>
                  </a:spcBef>
                  <a:spcAft>
                    <a:spcPts val="0"/>
                  </a:spcAft>
                  <a:buClrTx/>
                  <a:buSzTx/>
                  <a:buFontTx/>
                  <a:buNone/>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I wonder if perhaps you [your dad] would want to avoid…?”</a:t>
                </a:r>
              </a:p>
            </p:txBody>
          </p:sp>
        </p:grpSp>
        <p:grpSp>
          <p:nvGrpSpPr>
            <p:cNvPr id="102" name="Group 101">
              <a:extLst>
                <a:ext uri="{FF2B5EF4-FFF2-40B4-BE49-F238E27FC236}">
                  <a16:creationId xmlns:a16="http://schemas.microsoft.com/office/drawing/2014/main" id="{4AA92195-0E6E-8361-BD19-94FE2F6B20C6}"/>
                </a:ext>
              </a:extLst>
            </p:cNvPr>
            <p:cNvGrpSpPr/>
            <p:nvPr/>
          </p:nvGrpSpPr>
          <p:grpSpPr>
            <a:xfrm>
              <a:off x="152400" y="8597482"/>
              <a:ext cx="7467600" cy="1220372"/>
              <a:chOff x="152400" y="8597482"/>
              <a:chExt cx="7467600" cy="1220372"/>
            </a:xfrm>
          </p:grpSpPr>
          <p:sp>
            <p:nvSpPr>
              <p:cNvPr id="101" name="Rectangle: Rounded Corners 100">
                <a:extLst>
                  <a:ext uri="{FF2B5EF4-FFF2-40B4-BE49-F238E27FC236}">
                    <a16:creationId xmlns:a16="http://schemas.microsoft.com/office/drawing/2014/main" id="{9A71654B-41BA-F2D4-D50B-B5359C668418}"/>
                  </a:ext>
                </a:extLst>
              </p:cNvPr>
              <p:cNvSpPr/>
              <p:nvPr/>
            </p:nvSpPr>
            <p:spPr>
              <a:xfrm>
                <a:off x="152400" y="8597482"/>
                <a:ext cx="7467600" cy="1220372"/>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1AFAA706-5E3F-5D90-FAD5-97960CA11D4F}"/>
                  </a:ext>
                </a:extLst>
              </p:cNvPr>
              <p:cNvSpPr txBox="1"/>
              <p:nvPr/>
            </p:nvSpPr>
            <p:spPr>
              <a:xfrm>
                <a:off x="3433111" y="8699838"/>
                <a:ext cx="4114800" cy="1058452"/>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Would it be okay to talk about a plan that can best meet your [your dad’s] priorities?”</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We can…”</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We can avoid…”</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18" b="1" i="1" u="none" strike="noStrike" kern="1200" cap="none" spc="0" normalizeH="0" baseline="0" noProof="0" dirty="0">
                    <a:ln>
                      <a:noFill/>
                    </a:ln>
                    <a:solidFill>
                      <a:prstClr val="black"/>
                    </a:solidFill>
                    <a:effectLst/>
                    <a:uLnTx/>
                    <a:uFillTx/>
                    <a:latin typeface="Calibri"/>
                    <a:ea typeface="+mn-ea"/>
                    <a:cs typeface="+mn-cs"/>
                  </a:rPr>
                  <a:t>“We can stop…”</a:t>
                </a:r>
              </a:p>
            </p:txBody>
          </p:sp>
          <p:sp>
            <p:nvSpPr>
              <p:cNvPr id="284" name="TextBox 283">
                <a:extLst>
                  <a:ext uri="{FF2B5EF4-FFF2-40B4-BE49-F238E27FC236}">
                    <a16:creationId xmlns:a16="http://schemas.microsoft.com/office/drawing/2014/main" id="{99F29BDA-D949-8F65-75FF-50846A4D854D}"/>
                  </a:ext>
                </a:extLst>
              </p:cNvPr>
              <p:cNvSpPr txBox="1"/>
              <p:nvPr/>
            </p:nvSpPr>
            <p:spPr>
              <a:xfrm>
                <a:off x="533992" y="8715090"/>
                <a:ext cx="2589042" cy="941933"/>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1E1"/>
                    </a:solidFill>
                    <a:effectLst/>
                    <a:uLnTx/>
                    <a:uFillTx/>
                    <a:latin typeface="Verdana"/>
                    <a:ea typeface="+mn-ea"/>
                    <a:cs typeface="+mn-cs"/>
                  </a:rPr>
                  <a:t>P</a:t>
                </a:r>
                <a:r>
                  <a:rPr kumimoji="0" lang="en-US" sz="1636" b="1" i="0" u="none" strike="noStrike" kern="1200" cap="none" spc="0" normalizeH="0" baseline="0" noProof="0" dirty="0">
                    <a:ln>
                      <a:noFill/>
                    </a:ln>
                    <a:solidFill>
                      <a:prstClr val="black"/>
                    </a:solidFill>
                    <a:effectLst/>
                    <a:uLnTx/>
                    <a:uFillTx/>
                    <a:latin typeface="Calibri"/>
                    <a:ea typeface="+mn-ea"/>
                    <a:cs typeface="+mn-cs"/>
                  </a:rPr>
                  <a:t>lan</a:t>
                </a:r>
                <a:endParaRPr kumimoji="0" lang="en-US" sz="1227"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prstClr val="black"/>
                    </a:solidFill>
                    <a:effectLst/>
                    <a:uLnTx/>
                    <a:uFillTx/>
                    <a:latin typeface="Calibri"/>
                    <a:ea typeface="+mn-ea"/>
                    <a:cs typeface="+mn-cs"/>
                  </a:rPr>
                  <a:t>…treatments to match values</a:t>
                </a:r>
              </a:p>
            </p:txBody>
          </p:sp>
        </p:grpSp>
        <p:grpSp>
          <p:nvGrpSpPr>
            <p:cNvPr id="106" name="Group 105">
              <a:extLst>
                <a:ext uri="{FF2B5EF4-FFF2-40B4-BE49-F238E27FC236}">
                  <a16:creationId xmlns:a16="http://schemas.microsoft.com/office/drawing/2014/main" id="{5EF59F54-3CC8-05C3-E095-625BD978582A}"/>
                </a:ext>
              </a:extLst>
            </p:cNvPr>
            <p:cNvGrpSpPr/>
            <p:nvPr/>
          </p:nvGrpSpPr>
          <p:grpSpPr>
            <a:xfrm>
              <a:off x="152400" y="4023891"/>
              <a:ext cx="7467600" cy="1835148"/>
              <a:chOff x="152400" y="4023359"/>
              <a:chExt cx="7467600" cy="1835148"/>
            </a:xfrm>
          </p:grpSpPr>
          <p:grpSp>
            <p:nvGrpSpPr>
              <p:cNvPr id="105" name="Group 104">
                <a:extLst>
                  <a:ext uri="{FF2B5EF4-FFF2-40B4-BE49-F238E27FC236}">
                    <a16:creationId xmlns:a16="http://schemas.microsoft.com/office/drawing/2014/main" id="{F86C40C8-2DCF-D353-1C35-7D4B44F92F65}"/>
                  </a:ext>
                </a:extLst>
              </p:cNvPr>
              <p:cNvGrpSpPr/>
              <p:nvPr/>
            </p:nvGrpSpPr>
            <p:grpSpPr>
              <a:xfrm>
                <a:off x="152400" y="4023359"/>
                <a:ext cx="7467600" cy="1835148"/>
                <a:chOff x="152400" y="4023359"/>
                <a:chExt cx="7467600" cy="1835148"/>
              </a:xfrm>
            </p:grpSpPr>
            <p:sp>
              <p:nvSpPr>
                <p:cNvPr id="98" name="Rectangle: Rounded Corners 97">
                  <a:extLst>
                    <a:ext uri="{FF2B5EF4-FFF2-40B4-BE49-F238E27FC236}">
                      <a16:creationId xmlns:a16="http://schemas.microsoft.com/office/drawing/2014/main" id="{6F86DAB5-FA29-9411-59D8-24A99E568D3E}"/>
                    </a:ext>
                  </a:extLst>
                </p:cNvPr>
                <p:cNvSpPr/>
                <p:nvPr/>
              </p:nvSpPr>
              <p:spPr>
                <a:xfrm>
                  <a:off x="152400" y="4023359"/>
                  <a:ext cx="7467600" cy="1828800"/>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E0AE7C8-4A5B-9A03-E7CB-77ED585A7A72}"/>
                    </a:ext>
                  </a:extLst>
                </p:cNvPr>
                <p:cNvSpPr txBox="1"/>
                <p:nvPr/>
              </p:nvSpPr>
              <p:spPr>
                <a:xfrm>
                  <a:off x="3433111" y="4060596"/>
                  <a:ext cx="4114800" cy="1797911"/>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N</a:t>
                  </a:r>
                  <a:r>
                    <a:rPr kumimoji="0" lang="en-US" sz="818" b="0" i="0" u="none" strike="noStrike" kern="1200" cap="none" spc="0" normalizeH="0" baseline="0" noProof="0" dirty="0">
                      <a:ln>
                        <a:noFill/>
                      </a:ln>
                      <a:solidFill>
                        <a:prstClr val="black"/>
                      </a:solidFill>
                      <a:effectLst/>
                      <a:uLnTx/>
                      <a:uFillTx/>
                      <a:latin typeface="Calibri"/>
                      <a:ea typeface="+mn-ea"/>
                      <a:cs typeface="+mn-cs"/>
                    </a:rPr>
                    <a:t>ame: </a:t>
                  </a:r>
                  <a:r>
                    <a:rPr kumimoji="0" lang="en-US" sz="818" b="1" i="1" u="none" strike="noStrike" kern="1200" cap="none" spc="0" normalizeH="0" baseline="0" noProof="0" dirty="0">
                      <a:ln>
                        <a:noFill/>
                      </a:ln>
                      <a:solidFill>
                        <a:prstClr val="black"/>
                      </a:solidFill>
                      <a:effectLst/>
                      <a:uLnTx/>
                      <a:uFillTx/>
                      <a:latin typeface="Calibri"/>
                      <a:ea typeface="+mn-ea"/>
                      <a:cs typeface="+mn-cs"/>
                    </a:rPr>
                    <a:t>“It sounds like this might b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U</a:t>
                  </a:r>
                  <a:r>
                    <a:rPr kumimoji="0" lang="en-US" sz="818" b="0" i="0" u="none" strike="noStrike" kern="1200" cap="none" spc="0" normalizeH="0" baseline="0" noProof="0" dirty="0">
                      <a:ln>
                        <a:noFill/>
                      </a:ln>
                      <a:solidFill>
                        <a:prstClr val="black"/>
                      </a:solidFill>
                      <a:effectLst/>
                      <a:uLnTx/>
                      <a:uFillTx/>
                      <a:latin typeface="Calibri"/>
                      <a:ea typeface="+mn-ea"/>
                      <a:cs typeface="+mn-cs"/>
                    </a:rPr>
                    <a:t>nderstand: </a:t>
                  </a:r>
                  <a:r>
                    <a:rPr kumimoji="0" lang="en-US" sz="818" b="1" i="1" u="none" strike="noStrike" kern="1200" cap="none" spc="0" normalizeH="0" baseline="0" noProof="0" dirty="0">
                      <a:ln>
                        <a:noFill/>
                      </a:ln>
                      <a:solidFill>
                        <a:prstClr val="black"/>
                      </a:solidFill>
                      <a:effectLst/>
                      <a:uLnTx/>
                      <a:uFillTx/>
                      <a:latin typeface="Calibri"/>
                      <a:ea typeface="+mn-ea"/>
                      <a:cs typeface="+mn-cs"/>
                    </a:rPr>
                    <a:t>“I can only imagin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R</a:t>
                  </a:r>
                  <a:r>
                    <a:rPr kumimoji="0" lang="en-US" sz="818" b="0" i="0" u="none" strike="noStrike" kern="1200" cap="none" spc="0" normalizeH="0" baseline="0" noProof="0" dirty="0">
                      <a:ln>
                        <a:noFill/>
                      </a:ln>
                      <a:solidFill>
                        <a:prstClr val="black"/>
                      </a:solidFill>
                      <a:effectLst/>
                      <a:uLnTx/>
                      <a:uFillTx/>
                      <a:latin typeface="Calibri"/>
                      <a:ea typeface="+mn-ea"/>
                      <a:cs typeface="+mn-cs"/>
                    </a:rPr>
                    <a:t>espect: </a:t>
                  </a:r>
                  <a:r>
                    <a:rPr kumimoji="0" lang="en-US" sz="818" b="1" i="1" u="none" strike="noStrike" kern="1200" cap="none" spc="0" normalizeH="0" baseline="0" noProof="0" dirty="0">
                      <a:ln>
                        <a:noFill/>
                      </a:ln>
                      <a:solidFill>
                        <a:prstClr val="black"/>
                      </a:solidFill>
                      <a:effectLst/>
                      <a:uLnTx/>
                      <a:uFillTx/>
                      <a:latin typeface="Calibri"/>
                      <a:ea typeface="+mn-ea"/>
                      <a:cs typeface="+mn-cs"/>
                    </a:rPr>
                    <a:t>“I’m impressed that…”</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S</a:t>
                  </a:r>
                  <a:r>
                    <a:rPr kumimoji="0" lang="en-US" sz="818" b="0" i="0" u="none" strike="noStrike" kern="1200" cap="none" spc="0" normalizeH="0" baseline="0" noProof="0" dirty="0">
                      <a:ln>
                        <a:noFill/>
                      </a:ln>
                      <a:solidFill>
                        <a:prstClr val="black"/>
                      </a:solidFill>
                      <a:effectLst/>
                      <a:uLnTx/>
                      <a:uFillTx/>
                      <a:latin typeface="Calibri"/>
                      <a:ea typeface="+mn-ea"/>
                      <a:cs typeface="+mn-cs"/>
                    </a:rPr>
                    <a:t>upport: </a:t>
                  </a:r>
                  <a:r>
                    <a:rPr kumimoji="0" lang="en-US" sz="818" b="1" i="1" u="none" strike="noStrike" kern="1200" cap="none" spc="0" normalizeH="0" baseline="0" noProof="0" dirty="0">
                      <a:ln>
                        <a:noFill/>
                      </a:ln>
                      <a:solidFill>
                        <a:prstClr val="black"/>
                      </a:solidFill>
                      <a:effectLst/>
                      <a:uLnTx/>
                      <a:uFillTx/>
                      <a:latin typeface="Calibri"/>
                      <a:ea typeface="+mn-ea"/>
                      <a:cs typeface="+mn-cs"/>
                    </a:rPr>
                    <a:t>“I will be available for you…”</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E</a:t>
                  </a:r>
                  <a:r>
                    <a:rPr kumimoji="0" lang="en-US" sz="818" b="0" i="0" u="none" strike="noStrike" kern="1200" cap="none" spc="0" normalizeH="0" baseline="0" noProof="0" dirty="0">
                      <a:ln>
                        <a:noFill/>
                      </a:ln>
                      <a:solidFill>
                        <a:prstClr val="black"/>
                      </a:solidFill>
                      <a:effectLst/>
                      <a:uLnTx/>
                      <a:uFillTx/>
                      <a:latin typeface="Calibri"/>
                      <a:ea typeface="+mn-ea"/>
                      <a:cs typeface="+mn-cs"/>
                    </a:rPr>
                    <a:t>xplore:* </a:t>
                  </a:r>
                  <a:r>
                    <a:rPr kumimoji="0" lang="en-US" sz="818" b="1" i="1" u="none" strike="noStrike" kern="1200" cap="none" spc="0" normalizeH="0" baseline="0" noProof="0" dirty="0">
                      <a:ln>
                        <a:noFill/>
                      </a:ln>
                      <a:solidFill>
                        <a:prstClr val="black"/>
                      </a:solidFill>
                      <a:effectLst/>
                      <a:uLnTx/>
                      <a:uFillTx/>
                      <a:latin typeface="Calibri"/>
                      <a:ea typeface="+mn-ea"/>
                      <a:cs typeface="+mn-cs"/>
                    </a:rPr>
                    <a:t>“It would help me to know what you might be wondering when you say that…”</a:t>
                  </a:r>
                </a:p>
                <a:p>
                  <a:pPr marL="118453" marR="0" lvl="0" indent="-118453" algn="l" defTabSz="311719" rtl="0" eaLnBrk="1" fontAlgn="auto" latinLnBrk="0" hangingPunct="1">
                    <a:lnSpc>
                      <a:spcPct val="100000"/>
                    </a:lnSpc>
                    <a:spcBef>
                      <a:spcPts val="0"/>
                    </a:spcBef>
                    <a:spcAft>
                      <a:spcPts val="0"/>
                    </a:spcAft>
                    <a:buClrTx/>
                    <a:buSzTx/>
                    <a:buFontTx/>
                    <a:buNone/>
                    <a:tabLst/>
                    <a:defRPr/>
                  </a:pPr>
                  <a:r>
                    <a:rPr kumimoji="0" lang="en-US" sz="818" b="0" i="1" u="none" strike="noStrike" kern="1200" cap="none" spc="0" normalizeH="0" baseline="0" noProof="0" dirty="0">
                      <a:ln>
                        <a:noFill/>
                      </a:ln>
                      <a:solidFill>
                        <a:prstClr val="black"/>
                      </a:solidFill>
                      <a:effectLst/>
                      <a:uLnTx/>
                      <a:uFillTx/>
                      <a:latin typeface="Calibri"/>
                      <a:ea typeface="+mn-ea"/>
                      <a:cs typeface="+mn-cs"/>
                    </a:rPr>
                    <a:t>	</a:t>
                  </a:r>
                  <a:r>
                    <a:rPr kumimoji="0" lang="en-US" sz="750" b="0" i="1" u="none" strike="noStrike" kern="1200" cap="none" spc="0" normalizeH="0" baseline="0" noProof="0" dirty="0">
                      <a:ln>
                        <a:noFill/>
                      </a:ln>
                      <a:solidFill>
                        <a:prstClr val="black"/>
                      </a:solidFill>
                      <a:effectLst/>
                      <a:uLnTx/>
                      <a:uFillTx/>
                      <a:latin typeface="Calibri"/>
                      <a:ea typeface="+mn-ea"/>
                      <a:cs typeface="+mn-cs"/>
                    </a:rPr>
                    <a:t>*uncertain emotional cues</a:t>
                  </a:r>
                  <a:endParaRPr kumimoji="0" lang="en-US" sz="818"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91E1"/>
                      </a:solidFill>
                      <a:effectLst/>
                      <a:uLnTx/>
                      <a:uFillTx/>
                      <a:latin typeface="Verdana"/>
                      <a:ea typeface="+mn-ea"/>
                      <a:cs typeface="+mn-cs"/>
                    </a:rPr>
                    <a:t>I</a:t>
                  </a:r>
                  <a:r>
                    <a:rPr kumimoji="0" lang="en-US" sz="818" b="0" i="0" u="none" strike="noStrike" kern="1200" cap="none" spc="0" normalizeH="0" baseline="0" noProof="0" dirty="0">
                      <a:ln>
                        <a:noFill/>
                      </a:ln>
                      <a:solidFill>
                        <a:prstClr val="black"/>
                      </a:solidFill>
                      <a:effectLst/>
                      <a:uLnTx/>
                      <a:uFillTx/>
                      <a:latin typeface="Calibri"/>
                      <a:ea typeface="+mn-ea"/>
                      <a:cs typeface="+mn-cs"/>
                    </a:rPr>
                    <a:t> Wish: </a:t>
                  </a:r>
                  <a:r>
                    <a:rPr kumimoji="0" lang="en-US" sz="818" b="1" i="1" u="none" strike="noStrike" kern="1200" cap="none" spc="0" normalizeH="0" baseline="0" noProof="0" dirty="0">
                      <a:ln>
                        <a:noFill/>
                      </a:ln>
                      <a:solidFill>
                        <a:prstClr val="black"/>
                      </a:solidFill>
                      <a:effectLst/>
                      <a:uLnTx/>
                      <a:uFillTx/>
                      <a:latin typeface="Calibri"/>
                      <a:ea typeface="+mn-ea"/>
                      <a:cs typeface="+mn-cs"/>
                    </a:rPr>
                    <a:t>“I wish there were a safe treatment…”</a:t>
                  </a:r>
                </a:p>
              </p:txBody>
            </p:sp>
            <p:sp>
              <p:nvSpPr>
                <p:cNvPr id="260" name="TextBox 259">
                  <a:extLst>
                    <a:ext uri="{FF2B5EF4-FFF2-40B4-BE49-F238E27FC236}">
                      <a16:creationId xmlns:a16="http://schemas.microsoft.com/office/drawing/2014/main" id="{F3D36AD2-C25A-6C26-083F-507C1B2F85A6}"/>
                    </a:ext>
                  </a:extLst>
                </p:cNvPr>
                <p:cNvSpPr txBox="1"/>
                <p:nvPr/>
              </p:nvSpPr>
              <p:spPr>
                <a:xfrm>
                  <a:off x="533992" y="4445180"/>
                  <a:ext cx="2546839" cy="941933"/>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1E1"/>
                      </a:solidFill>
                      <a:effectLst/>
                      <a:uLnTx/>
                      <a:uFillTx/>
                      <a:latin typeface="Verdana"/>
                      <a:ea typeface="+mn-ea"/>
                      <a:cs typeface="+mn-cs"/>
                    </a:rPr>
                    <a:t>E</a:t>
                  </a:r>
                  <a:r>
                    <a:rPr kumimoji="0" lang="en-US" sz="1636" b="1" i="0" u="none" strike="noStrike" kern="1200" cap="none" spc="0" normalizeH="0" baseline="0" noProof="0" dirty="0">
                      <a:ln>
                        <a:noFill/>
                      </a:ln>
                      <a:solidFill>
                        <a:prstClr val="black"/>
                      </a:solidFill>
                      <a:effectLst/>
                      <a:uLnTx/>
                      <a:uFillTx/>
                      <a:latin typeface="Calibri"/>
                      <a:ea typeface="+mn-ea"/>
                      <a:cs typeface="+mn-cs"/>
                    </a:rPr>
                    <a:t>xpect emotion</a:t>
                  </a:r>
                  <a:endParaRPr kumimoji="0" lang="en-US" sz="1227"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955" b="0" i="0" u="none" strike="noStrike" kern="1200" cap="none" spc="0" normalizeH="0" baseline="0" noProof="0" dirty="0">
                      <a:ln>
                        <a:noFill/>
                      </a:ln>
                      <a:solidFill>
                        <a:prstClr val="black"/>
                      </a:solidFill>
                      <a:effectLst/>
                      <a:uLnTx/>
                      <a:uFillTx/>
                      <a:latin typeface="Calibri"/>
                      <a:ea typeface="+mn-ea"/>
                      <a:cs typeface="+mn-cs"/>
                    </a:rPr>
                    <a:t>…and respond with empathy</a:t>
                  </a:r>
                </a:p>
              </p:txBody>
            </p:sp>
          </p:grpSp>
          <p:sp>
            <p:nvSpPr>
              <p:cNvPr id="251" name="TextBox 250">
                <a:extLst>
                  <a:ext uri="{FF2B5EF4-FFF2-40B4-BE49-F238E27FC236}">
                    <a16:creationId xmlns:a16="http://schemas.microsoft.com/office/drawing/2014/main" id="{92304173-5F87-52D2-B6F3-9CDD1B1F3A38}"/>
                  </a:ext>
                </a:extLst>
              </p:cNvPr>
              <p:cNvSpPr txBox="1"/>
              <p:nvPr/>
            </p:nvSpPr>
            <p:spPr>
              <a:xfrm>
                <a:off x="371451" y="5479709"/>
                <a:ext cx="2989570" cy="289370"/>
              </a:xfrm>
              <a:prstGeom prst="rect">
                <a:avLst/>
              </a:prstGeom>
              <a:noFill/>
            </p:spPr>
            <p:txBody>
              <a:bodyPr wrap="square">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682"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Throughout REMAP with </a:t>
                </a:r>
                <a:r>
                  <a:rPr kumimoji="0" lang="en-US" sz="682"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NURSE</a:t>
                </a:r>
                <a:r>
                  <a:rPr kumimoji="0" lang="en-US" sz="682"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or</a:t>
                </a:r>
                <a:r>
                  <a:rPr kumimoji="0" lang="en-US" sz="682"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I </a:t>
                </a:r>
                <a:r>
                  <a:rPr kumimoji="0" lang="en-US" sz="682"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Wish</a:t>
                </a:r>
                <a:r>
                  <a:rPr kumimoji="0" lang="en-US" sz="682"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a:t>
                </a:r>
                <a:r>
                  <a:rPr kumimoji="0" lang="en-US" sz="682"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amp; PAUSE</a:t>
                </a:r>
                <a:endParaRPr kumimoji="0" lang="en-US" sz="682" b="0" i="0" u="none" strike="noStrike" kern="1200" cap="none" spc="0" normalizeH="0" baseline="0" noProof="0" dirty="0">
                  <a:ln>
                    <a:noFill/>
                  </a:ln>
                  <a:solidFill>
                    <a:srgbClr val="0091E1"/>
                  </a:solidFill>
                  <a:effectLst/>
                  <a:uLnTx/>
                  <a:uFillTx/>
                  <a:latin typeface="Calibri"/>
                  <a:ea typeface="+mn-ea"/>
                  <a:cs typeface="+mn-cs"/>
                </a:endParaRPr>
              </a:p>
            </p:txBody>
          </p:sp>
        </p:grpSp>
      </p:grpSp>
      <p:pic>
        <p:nvPicPr>
          <p:cNvPr id="3" name="Graphic 2">
            <a:extLst>
              <a:ext uri="{FF2B5EF4-FFF2-40B4-BE49-F238E27FC236}">
                <a16:creationId xmlns:a16="http://schemas.microsoft.com/office/drawing/2014/main" id="{13AB1BEE-DD55-2513-8AC8-F6B8A35B1C2F}"/>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7">
            <a:extLst>
              <a:ext uri="{96DAC541-7B7A-43D3-8B79-37D633B846F1}">
                <asvg:svgBlip xmlns:asvg="http://schemas.microsoft.com/office/drawing/2016/SVG/main" r:embed="rId18"/>
              </a:ext>
            </a:extLst>
          </a:blip>
          <a:stretch>
            <a:fillRect/>
          </a:stretch>
        </p:blipFill>
        <p:spPr>
          <a:xfrm>
            <a:off x="8901949" y="6458030"/>
            <a:ext cx="2926080" cy="188002"/>
          </a:xfrm>
          <a:prstGeom prst="rect">
            <a:avLst/>
          </a:prstGeom>
        </p:spPr>
      </p:pic>
      <p:sp>
        <p:nvSpPr>
          <p:cNvPr id="4" name="Footer Placeholder 2">
            <a:extLst>
              <a:ext uri="{FF2B5EF4-FFF2-40B4-BE49-F238E27FC236}">
                <a16:creationId xmlns:a16="http://schemas.microsoft.com/office/drawing/2014/main" id="{E12D691B-21A8-4052-80F3-BE69673E2367}"/>
              </a:ext>
            </a:extLst>
          </p:cNvPr>
          <p:cNvSpPr txBox="1">
            <a:spLocks/>
          </p:cNvSpPr>
          <p:nvPr>
            <p:custDataLst>
              <p:tags r:id="rId11"/>
            </p:custDataLst>
          </p:nvPr>
        </p:nvSpPr>
        <p:spPr>
          <a:xfrm>
            <a:off x="89385" y="6614831"/>
            <a:ext cx="2895600" cy="22407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8D8D8"/>
                </a:solidFill>
                <a:effectLst/>
                <a:uLnTx/>
                <a:uFillTx/>
                <a:latin typeface="Calibri"/>
                <a:ea typeface="+mn-ea"/>
                <a:cs typeface="+mn-cs"/>
              </a:rPr>
              <a:t>1190.004\681195(pptx)-E2 6-24-24</a:t>
            </a:r>
          </a:p>
        </p:txBody>
      </p:sp>
      <p:sp>
        <p:nvSpPr>
          <p:cNvPr id="2" name="TextBox 1">
            <a:extLst>
              <a:ext uri="{FF2B5EF4-FFF2-40B4-BE49-F238E27FC236}">
                <a16:creationId xmlns:a16="http://schemas.microsoft.com/office/drawing/2014/main" id="{21091FFC-1219-AB24-5C83-988E1E015A6B}"/>
              </a:ext>
            </a:extLst>
          </p:cNvPr>
          <p:cNvSpPr txBox="1"/>
          <p:nvPr/>
        </p:nvSpPr>
        <p:spPr>
          <a:xfrm>
            <a:off x="3675840" y="2481180"/>
            <a:ext cx="1688806" cy="196977"/>
          </a:xfrm>
          <a:prstGeom prst="rect">
            <a:avLst/>
          </a:prstGeom>
          <a:noFill/>
        </p:spPr>
        <p:txBody>
          <a:bodyPr wrap="square">
            <a:spAutoFit/>
          </a:bodyPr>
          <a:lstStyle/>
          <a:p>
            <a:pPr defTabSz="311719"/>
            <a:r>
              <a:rPr lang="en-US" sz="680" dirty="0">
                <a:solidFill>
                  <a:srgbClr val="0091E1"/>
                </a:solidFill>
                <a:latin typeface="Calibri" panose="020F0502020204030204" pitchFamily="34" charset="0"/>
              </a:rPr>
              <a:t>If uncertainty – </a:t>
            </a:r>
            <a:r>
              <a:rPr lang="en-US" sz="680" b="1" dirty="0">
                <a:solidFill>
                  <a:srgbClr val="0091E1"/>
                </a:solidFill>
                <a:latin typeface="Calibri" panose="020F0502020204030204" pitchFamily="34" charset="0"/>
              </a:rPr>
              <a:t>I hope</a:t>
            </a:r>
            <a:r>
              <a:rPr lang="en-US" sz="680" dirty="0">
                <a:solidFill>
                  <a:srgbClr val="0091E1"/>
                </a:solidFill>
                <a:latin typeface="Calibri" panose="020F0502020204030204" pitchFamily="34" charset="0"/>
              </a:rPr>
              <a:t>… AND </a:t>
            </a:r>
            <a:r>
              <a:rPr lang="en-US" sz="680" b="1" dirty="0">
                <a:solidFill>
                  <a:srgbClr val="0091E1"/>
                </a:solidFill>
                <a:latin typeface="Calibri" panose="020F0502020204030204" pitchFamily="34" charset="0"/>
              </a:rPr>
              <a:t>I worry</a:t>
            </a:r>
            <a:r>
              <a:rPr lang="en-US" sz="680" dirty="0">
                <a:solidFill>
                  <a:srgbClr val="0091E1"/>
                </a:solidFill>
                <a:latin typeface="Calibri" panose="020F0502020204030204" pitchFamily="34" charset="0"/>
              </a:rPr>
              <a:t>…</a:t>
            </a:r>
            <a:endParaRPr lang="en-US" sz="680" dirty="0">
              <a:solidFill>
                <a:srgbClr val="0091E1"/>
              </a:solidFill>
              <a:latin typeface="Calibri"/>
            </a:endParaRPr>
          </a:p>
        </p:txBody>
      </p:sp>
    </p:spTree>
    <p:custDataLst>
      <p:tags r:id="rId1"/>
    </p:custDataLst>
    <p:extLst>
      <p:ext uri="{BB962C8B-B14F-4D97-AF65-F5344CB8AC3E}">
        <p14:creationId xmlns:p14="http://schemas.microsoft.com/office/powerpoint/2010/main" val="1130720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8BE50407-EC38-26BF-3530-19FD358047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38" imgH="338" progId="TCLayout.ActiveDocument.1">
                  <p:embed/>
                </p:oleObj>
              </mc:Choice>
              <mc:Fallback>
                <p:oleObj name="think-cell Slide" r:id="rId12" imgW="338" imgH="338" progId="TCLayout.ActiveDocument.1">
                  <p:embed/>
                  <p:pic>
                    <p:nvPicPr>
                      <p:cNvPr id="40" name="Object 39" hidden="1">
                        <a:extLst>
                          <a:ext uri="{FF2B5EF4-FFF2-40B4-BE49-F238E27FC236}">
                            <a16:creationId xmlns:a16="http://schemas.microsoft.com/office/drawing/2014/main" id="{8BE50407-EC38-26BF-3530-19FD358047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A06C9B2D-ACE6-57D8-1127-5160738C0A3A}"/>
              </a:ext>
            </a:extLst>
          </p:cNvPr>
          <p:cNvSpPr>
            <a:spLocks noGrp="1"/>
          </p:cNvSpPr>
          <p:nvPr>
            <p:ph type="sldNum" sz="quarter" idx="10"/>
            <p:custDataLst>
              <p:tags r:id="rId3"/>
            </p:custDataLst>
          </p:nvPr>
        </p:nvSpPr>
        <p:spPr>
          <a:xfrm>
            <a:off x="11441161" y="6192967"/>
            <a:ext cx="598439" cy="436433"/>
          </a:xfrm>
        </p:spPr>
        <p:txBody>
          <a:bodyPr/>
          <a:lstStyle/>
          <a:p>
            <a:pPr lvl="0"/>
            <a:r>
              <a:rPr lang="en-US" noProof="0" dirty="0"/>
              <a:t>|  </a:t>
            </a:r>
            <a:fld id="{020DA90B-5D47-4F77-AA3C-54E76B4D78A2}" type="slidenum">
              <a:rPr lang="en-US" noProof="0" smtClean="0"/>
              <a:pPr lvl="0"/>
              <a:t>3</a:t>
            </a:fld>
            <a:r>
              <a:rPr lang="en-US" noProof="0" dirty="0"/>
              <a:t>   </a:t>
            </a:r>
          </a:p>
        </p:txBody>
      </p:sp>
      <p:sp>
        <p:nvSpPr>
          <p:cNvPr id="2" name="Title 1"/>
          <p:cNvSpPr>
            <a:spLocks noGrp="1"/>
          </p:cNvSpPr>
          <p:nvPr>
            <p:ph type="title"/>
            <p:custDataLst>
              <p:tags r:id="rId4"/>
            </p:custDataLst>
          </p:nvPr>
        </p:nvSpPr>
        <p:spPr>
          <a:xfrm>
            <a:off x="266700" y="235313"/>
            <a:ext cx="11658600" cy="877824"/>
          </a:xfrm>
        </p:spPr>
        <p:txBody>
          <a:bodyPr vert="horz"/>
          <a:lstStyle/>
          <a:p>
            <a:r>
              <a:rPr lang="en-US" dirty="0"/>
              <a:t>ACP </a:t>
            </a:r>
            <a:r>
              <a:rPr lang="en-IN" dirty="0"/>
              <a:t>Process</a:t>
            </a:r>
          </a:p>
        </p:txBody>
      </p:sp>
      <p:sp>
        <p:nvSpPr>
          <p:cNvPr id="4904" name="Text Placeholder 24">
            <a:extLst>
              <a:ext uri="{FF2B5EF4-FFF2-40B4-BE49-F238E27FC236}">
                <a16:creationId xmlns:a16="http://schemas.microsoft.com/office/drawing/2014/main" id="{A011A231-9465-E1AF-C609-E84C40709AF5}"/>
              </a:ext>
            </a:extLst>
          </p:cNvPr>
          <p:cNvSpPr>
            <a:spLocks noGrp="1"/>
          </p:cNvSpPr>
          <p:nvPr>
            <p:ph type="body" sz="quarter" idx="11"/>
            <p:custDataLst>
              <p:tags r:id="rId5"/>
            </p:custDataLst>
          </p:nvPr>
        </p:nvSpPr>
        <p:spPr>
          <a:xfrm>
            <a:off x="75040" y="990245"/>
            <a:ext cx="11658600" cy="627743"/>
          </a:xfrm>
        </p:spPr>
        <p:txBody>
          <a:bodyPr/>
          <a:lstStyle/>
          <a:p>
            <a:r>
              <a:rPr lang="en-US" dirty="0"/>
              <a:t>Goal: </a:t>
            </a:r>
            <a:r>
              <a:rPr lang="en-US" dirty="0">
                <a:solidFill>
                  <a:srgbClr val="7030A0"/>
                </a:solidFill>
                <a:latin typeface="Calibri"/>
              </a:rPr>
              <a:t>Conduct</a:t>
            </a:r>
            <a:r>
              <a:rPr kumimoji="0" lang="en-US" i="0" u="none" strike="noStrike" kern="1200" cap="none" spc="0" normalizeH="0" baseline="0" noProof="0" dirty="0">
                <a:ln>
                  <a:noFill/>
                </a:ln>
                <a:solidFill>
                  <a:srgbClr val="7030A0"/>
                </a:solidFill>
                <a:effectLst/>
                <a:uLnTx/>
                <a:uFillTx/>
                <a:latin typeface="Calibri"/>
                <a:ea typeface="+mn-ea"/>
                <a:cs typeface="+mn-cs"/>
              </a:rPr>
              <a:t> and consistently document earlier serious illness conversations. </a:t>
            </a:r>
          </a:p>
        </p:txBody>
      </p:sp>
      <p:sp>
        <p:nvSpPr>
          <p:cNvPr id="12" name="Footer Placeholder 11">
            <a:extLst>
              <a:ext uri="{FF2B5EF4-FFF2-40B4-BE49-F238E27FC236}">
                <a16:creationId xmlns:a16="http://schemas.microsoft.com/office/drawing/2014/main" id="{BD242572-78BB-7A5D-048B-AB283869B7AE}"/>
              </a:ext>
            </a:extLst>
          </p:cNvPr>
          <p:cNvSpPr>
            <a:spLocks noGrp="1"/>
          </p:cNvSpPr>
          <p:nvPr>
            <p:ph type="ftr" sz="quarter" idx="3"/>
            <p:custDataLst>
              <p:tags r:id="rId6"/>
            </p:custDataLst>
          </p:nvPr>
        </p:nvSpPr>
        <p:spPr>
          <a:xfrm>
            <a:off x="274320" y="6633927"/>
            <a:ext cx="2895600" cy="224073"/>
          </a:xfrm>
        </p:spPr>
        <p:txBody>
          <a:bodyPr/>
          <a:lstStyle/>
          <a:p>
            <a:pPr lvl="0"/>
            <a:r>
              <a:rPr lang="en-US" noProof="0" dirty="0"/>
              <a:t>1190.004\684459(pptx)-E2 8-16-24</a:t>
            </a:r>
          </a:p>
        </p:txBody>
      </p:sp>
      <p:grpSp>
        <p:nvGrpSpPr>
          <p:cNvPr id="4531" name="Group 4530">
            <a:extLst>
              <a:ext uri="{FF2B5EF4-FFF2-40B4-BE49-F238E27FC236}">
                <a16:creationId xmlns:a16="http://schemas.microsoft.com/office/drawing/2014/main" id="{67B0ECF0-B45E-F09A-0778-4BBCA44550C7}"/>
              </a:ext>
            </a:extLst>
          </p:cNvPr>
          <p:cNvGrpSpPr/>
          <p:nvPr>
            <p:custDataLst>
              <p:tags r:id="rId7"/>
            </p:custDataLst>
          </p:nvPr>
        </p:nvGrpSpPr>
        <p:grpSpPr>
          <a:xfrm>
            <a:off x="223879" y="1872739"/>
            <a:ext cx="4954685" cy="4181519"/>
            <a:chOff x="223879" y="1872739"/>
            <a:chExt cx="4954685" cy="4181519"/>
          </a:xfrm>
        </p:grpSpPr>
        <p:sp>
          <p:nvSpPr>
            <p:cNvPr id="57" name="Rectangle 56">
              <a:extLst>
                <a:ext uri="{FF2B5EF4-FFF2-40B4-BE49-F238E27FC236}">
                  <a16:creationId xmlns:a16="http://schemas.microsoft.com/office/drawing/2014/main" id="{87C63897-551D-C418-5DC1-BB2BD8F28592}"/>
                </a:ext>
              </a:extLst>
            </p:cNvPr>
            <p:cNvSpPr/>
            <p:nvPr/>
          </p:nvSpPr>
          <p:spPr>
            <a:xfrm flipH="1">
              <a:off x="273190" y="1872739"/>
              <a:ext cx="4850460" cy="4181519"/>
            </a:xfrm>
            <a:prstGeom prst="rect">
              <a:avLst/>
            </a:prstGeom>
            <a:solidFill>
              <a:srgbClr val="7AB6E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9" name="Rectangle: Rounded Corners 6158">
              <a:extLst>
                <a:ext uri="{FF2B5EF4-FFF2-40B4-BE49-F238E27FC236}">
                  <a16:creationId xmlns:a16="http://schemas.microsoft.com/office/drawing/2014/main" id="{73D1C972-1D56-D624-122A-FF22F9895DBA}"/>
                </a:ext>
              </a:extLst>
            </p:cNvPr>
            <p:cNvSpPr/>
            <p:nvPr/>
          </p:nvSpPr>
          <p:spPr>
            <a:xfrm>
              <a:off x="1381940" y="3346418"/>
              <a:ext cx="25323" cy="236349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36" name="Rectangle 6135">
              <a:extLst>
                <a:ext uri="{FF2B5EF4-FFF2-40B4-BE49-F238E27FC236}">
                  <a16:creationId xmlns:a16="http://schemas.microsoft.com/office/drawing/2014/main" id="{75E1B410-9615-9B5B-F42B-F31DF24064DF}"/>
                </a:ext>
              </a:extLst>
            </p:cNvPr>
            <p:cNvSpPr/>
            <p:nvPr/>
          </p:nvSpPr>
          <p:spPr>
            <a:xfrm>
              <a:off x="4298672"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37" name="Rectangle 6136">
              <a:extLst>
                <a:ext uri="{FF2B5EF4-FFF2-40B4-BE49-F238E27FC236}">
                  <a16:creationId xmlns:a16="http://schemas.microsoft.com/office/drawing/2014/main" id="{9343B5AB-313F-E631-F821-4513B995DE20}"/>
                </a:ext>
              </a:extLst>
            </p:cNvPr>
            <p:cNvSpPr/>
            <p:nvPr/>
          </p:nvSpPr>
          <p:spPr>
            <a:xfrm>
              <a:off x="4516166"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38" name="Rectangle 6137">
              <a:extLst>
                <a:ext uri="{FF2B5EF4-FFF2-40B4-BE49-F238E27FC236}">
                  <a16:creationId xmlns:a16="http://schemas.microsoft.com/office/drawing/2014/main" id="{C243F538-9EC4-EDC0-DEF8-4385B2276AE1}"/>
                </a:ext>
              </a:extLst>
            </p:cNvPr>
            <p:cNvSpPr/>
            <p:nvPr/>
          </p:nvSpPr>
          <p:spPr>
            <a:xfrm>
              <a:off x="4733661"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35" name="Rectangle 6134">
              <a:extLst>
                <a:ext uri="{FF2B5EF4-FFF2-40B4-BE49-F238E27FC236}">
                  <a16:creationId xmlns:a16="http://schemas.microsoft.com/office/drawing/2014/main" id="{88F7A5AD-AB5F-9672-56B3-DC4CBD3F0D2A}"/>
                </a:ext>
              </a:extLst>
            </p:cNvPr>
            <p:cNvSpPr/>
            <p:nvPr/>
          </p:nvSpPr>
          <p:spPr>
            <a:xfrm>
              <a:off x="4081177" y="1872740"/>
              <a:ext cx="194114" cy="3889886"/>
            </a:xfrm>
            <a:prstGeom prst="rect">
              <a:avLst/>
            </a:prstGeom>
            <a:solidFill>
              <a:srgbClr val="9ED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86" name="Rectangle 5385">
              <a:extLst>
                <a:ext uri="{FF2B5EF4-FFF2-40B4-BE49-F238E27FC236}">
                  <a16:creationId xmlns:a16="http://schemas.microsoft.com/office/drawing/2014/main" id="{5E7692A2-A0EB-600C-FBAE-381680BDF949}"/>
                </a:ext>
              </a:extLst>
            </p:cNvPr>
            <p:cNvSpPr/>
            <p:nvPr/>
          </p:nvSpPr>
          <p:spPr>
            <a:xfrm>
              <a:off x="1685914" y="4734527"/>
              <a:ext cx="514358" cy="194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71" name="Rectangle: Rounded Corners 5370">
              <a:extLst>
                <a:ext uri="{FF2B5EF4-FFF2-40B4-BE49-F238E27FC236}">
                  <a16:creationId xmlns:a16="http://schemas.microsoft.com/office/drawing/2014/main" id="{0E564398-787F-7A62-DFF1-39680280825B}"/>
                </a:ext>
              </a:extLst>
            </p:cNvPr>
            <p:cNvSpPr/>
            <p:nvPr/>
          </p:nvSpPr>
          <p:spPr>
            <a:xfrm>
              <a:off x="223879" y="2051575"/>
              <a:ext cx="4954685" cy="14337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63" name="Rectangle: Rounded Corners 5362">
              <a:extLst>
                <a:ext uri="{FF2B5EF4-FFF2-40B4-BE49-F238E27FC236}">
                  <a16:creationId xmlns:a16="http://schemas.microsoft.com/office/drawing/2014/main" id="{38D730E9-7AB9-8AA7-E0FD-3EBCFD1BB1DE}"/>
                </a:ext>
              </a:extLst>
            </p:cNvPr>
            <p:cNvSpPr/>
            <p:nvPr/>
          </p:nvSpPr>
          <p:spPr>
            <a:xfrm flipH="1">
              <a:off x="4020284" y="5057124"/>
              <a:ext cx="759695"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2" name="Rectangle: Rounded Corners 5361">
              <a:extLst>
                <a:ext uri="{FF2B5EF4-FFF2-40B4-BE49-F238E27FC236}">
                  <a16:creationId xmlns:a16="http://schemas.microsoft.com/office/drawing/2014/main" id="{27346E58-470A-87FB-FB9F-2FBA9498908C}"/>
                </a:ext>
              </a:extLst>
            </p:cNvPr>
            <p:cNvSpPr/>
            <p:nvPr/>
          </p:nvSpPr>
          <p:spPr>
            <a:xfrm flipH="1">
              <a:off x="3691755" y="5121377"/>
              <a:ext cx="930136" cy="162876"/>
            </a:xfrm>
            <a:prstGeom prst="roundRect">
              <a:avLst/>
            </a:pr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1" name="Freeform: Shape 5360">
              <a:extLst>
                <a:ext uri="{FF2B5EF4-FFF2-40B4-BE49-F238E27FC236}">
                  <a16:creationId xmlns:a16="http://schemas.microsoft.com/office/drawing/2014/main" id="{E80550C5-5561-ECF1-6B55-8C0CF573282C}"/>
                </a:ext>
              </a:extLst>
            </p:cNvPr>
            <p:cNvSpPr/>
            <p:nvPr/>
          </p:nvSpPr>
          <p:spPr>
            <a:xfrm flipH="1">
              <a:off x="2187974" y="5250740"/>
              <a:ext cx="2016265" cy="183155"/>
            </a:xfrm>
            <a:custGeom>
              <a:avLst/>
              <a:gdLst>
                <a:gd name="connsiteX0" fmla="*/ 333834 w 2009378"/>
                <a:gd name="connsiteY0" fmla="*/ 0 h 182530"/>
                <a:gd name="connsiteX1" fmla="*/ 2009378 w 2009378"/>
                <a:gd name="connsiteY1" fmla="*/ 0 h 182530"/>
                <a:gd name="connsiteX2" fmla="*/ 2009378 w 2009378"/>
                <a:gd name="connsiteY2" fmla="*/ 182530 h 182530"/>
                <a:gd name="connsiteX3" fmla="*/ 0 w 2009378"/>
                <a:gd name="connsiteY3" fmla="*/ 182530 h 182530"/>
                <a:gd name="connsiteX4" fmla="*/ 0 w 2009378"/>
                <a:gd name="connsiteY4" fmla="*/ 103442 h 182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378" h="182530">
                  <a:moveTo>
                    <a:pt x="333834" y="0"/>
                  </a:moveTo>
                  <a:lnTo>
                    <a:pt x="2009378" y="0"/>
                  </a:lnTo>
                  <a:lnTo>
                    <a:pt x="2009378" y="182530"/>
                  </a:lnTo>
                  <a:lnTo>
                    <a:pt x="0" y="182530"/>
                  </a:lnTo>
                  <a:lnTo>
                    <a:pt x="0" y="103442"/>
                  </a:lnTo>
                  <a:close/>
                </a:path>
              </a:pathLst>
            </a:custGeom>
            <a:solidFill>
              <a:srgbClr val="5070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6" name="Freeform: Shape 5355">
              <a:extLst>
                <a:ext uri="{FF2B5EF4-FFF2-40B4-BE49-F238E27FC236}">
                  <a16:creationId xmlns:a16="http://schemas.microsoft.com/office/drawing/2014/main" id="{AA3EA468-0DF9-37DA-D030-25D8902CE5FE}"/>
                </a:ext>
              </a:extLst>
            </p:cNvPr>
            <p:cNvSpPr/>
            <p:nvPr/>
          </p:nvSpPr>
          <p:spPr>
            <a:xfrm flipH="1">
              <a:off x="1774611" y="4295222"/>
              <a:ext cx="3002839" cy="439305"/>
            </a:xfrm>
            <a:custGeom>
              <a:avLst/>
              <a:gdLst>
                <a:gd name="connsiteX0" fmla="*/ 1756756 w 2992582"/>
                <a:gd name="connsiteY0" fmla="*/ 0 h 437804"/>
                <a:gd name="connsiteX1" fmla="*/ 11084 w 2992582"/>
                <a:gd name="connsiteY1" fmla="*/ 22168 h 437804"/>
                <a:gd name="connsiteX2" fmla="*/ 0 w 2992582"/>
                <a:gd name="connsiteY2" fmla="*/ 437804 h 437804"/>
                <a:gd name="connsiteX3" fmla="*/ 2992582 w 2992582"/>
                <a:gd name="connsiteY3" fmla="*/ 410095 h 437804"/>
                <a:gd name="connsiteX4" fmla="*/ 1756756 w 2992582"/>
                <a:gd name="connsiteY4" fmla="*/ 0 h 437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2582" h="437804">
                  <a:moveTo>
                    <a:pt x="1756756" y="0"/>
                  </a:moveTo>
                  <a:lnTo>
                    <a:pt x="11084" y="22168"/>
                  </a:lnTo>
                  <a:lnTo>
                    <a:pt x="0" y="437804"/>
                  </a:lnTo>
                  <a:lnTo>
                    <a:pt x="2992582" y="410095"/>
                  </a:lnTo>
                  <a:lnTo>
                    <a:pt x="175675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140" name="Rectangle 5139">
              <a:extLst>
                <a:ext uri="{FF2B5EF4-FFF2-40B4-BE49-F238E27FC236}">
                  <a16:creationId xmlns:a16="http://schemas.microsoft.com/office/drawing/2014/main" id="{ACA4C040-182E-A452-09DE-9979A937F137}"/>
                </a:ext>
              </a:extLst>
            </p:cNvPr>
            <p:cNvSpPr/>
            <p:nvPr/>
          </p:nvSpPr>
          <p:spPr>
            <a:xfrm flipH="1">
              <a:off x="2084893" y="4246681"/>
              <a:ext cx="2885013" cy="739823"/>
            </a:xfrm>
            <a:prstGeom prst="rect">
              <a:avLst/>
            </a:pr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5775E00E-4E97-6669-C95E-4ED8D1C525BE}"/>
                </a:ext>
              </a:extLst>
            </p:cNvPr>
            <p:cNvSpPr/>
            <p:nvPr/>
          </p:nvSpPr>
          <p:spPr>
            <a:xfrm flipH="1">
              <a:off x="1338153" y="3793501"/>
              <a:ext cx="483614" cy="570488"/>
            </a:xfrm>
            <a:custGeom>
              <a:avLst/>
              <a:gdLst>
                <a:gd name="connsiteX0" fmla="*/ 267375 w 405447"/>
                <a:gd name="connsiteY0" fmla="*/ 17130 h 478280"/>
                <a:gd name="connsiteX1" fmla="*/ 329476 w 405447"/>
                <a:gd name="connsiteY1" fmla="*/ 308 h 478280"/>
                <a:gd name="connsiteX2" fmla="*/ 376007 w 405447"/>
                <a:gd name="connsiteY2" fmla="*/ 8406 h 478280"/>
                <a:gd name="connsiteX3" fmla="*/ 402002 w 405447"/>
                <a:gd name="connsiteY3" fmla="*/ 50552 h 478280"/>
                <a:gd name="connsiteX4" fmla="*/ 404776 w 405447"/>
                <a:gd name="connsiteY4" fmla="*/ 63080 h 478280"/>
                <a:gd name="connsiteX5" fmla="*/ 405447 w 405447"/>
                <a:gd name="connsiteY5" fmla="*/ 66167 h 478280"/>
                <a:gd name="connsiteX6" fmla="*/ 320796 w 405447"/>
                <a:gd name="connsiteY6" fmla="*/ 190503 h 478280"/>
                <a:gd name="connsiteX7" fmla="*/ 65636 w 405447"/>
                <a:gd name="connsiteY7" fmla="*/ 467677 h 478280"/>
                <a:gd name="connsiteX8" fmla="*/ 47157 w 405447"/>
                <a:gd name="connsiteY8" fmla="*/ 478281 h 478280"/>
                <a:gd name="connsiteX9" fmla="*/ 34585 w 405447"/>
                <a:gd name="connsiteY9" fmla="*/ 475507 h 478280"/>
                <a:gd name="connsiteX10" fmla="*/ 0 w 405447"/>
                <a:gd name="connsiteY10" fmla="*/ 384950 h 478280"/>
                <a:gd name="connsiteX11" fmla="*/ 626 w 405447"/>
                <a:gd name="connsiteY11" fmla="*/ 378552 h 478280"/>
                <a:gd name="connsiteX12" fmla="*/ 27605 w 405447"/>
                <a:gd name="connsiteY12" fmla="*/ 367053 h 478280"/>
                <a:gd name="connsiteX13" fmla="*/ 34406 w 405447"/>
                <a:gd name="connsiteY13" fmla="*/ 333721 h 478280"/>
                <a:gd name="connsiteX14" fmla="*/ 71944 w 405447"/>
                <a:gd name="connsiteY14" fmla="*/ 331618 h 478280"/>
                <a:gd name="connsiteX15" fmla="*/ 120578 w 405447"/>
                <a:gd name="connsiteY15" fmla="*/ 262001 h 478280"/>
                <a:gd name="connsiteX16" fmla="*/ 162680 w 405447"/>
                <a:gd name="connsiteY16" fmla="*/ 216275 h 478280"/>
                <a:gd name="connsiteX17" fmla="*/ 158609 w 405447"/>
                <a:gd name="connsiteY17" fmla="*/ 197081 h 478280"/>
                <a:gd name="connsiteX18" fmla="*/ 177624 w 405447"/>
                <a:gd name="connsiteY18" fmla="*/ 154039 h 478280"/>
                <a:gd name="connsiteX19" fmla="*/ 161785 w 405447"/>
                <a:gd name="connsiteY19" fmla="*/ 132832 h 478280"/>
                <a:gd name="connsiteX20" fmla="*/ 156908 w 405447"/>
                <a:gd name="connsiteY20" fmla="*/ 102721 h 478280"/>
                <a:gd name="connsiteX21" fmla="*/ 148452 w 405447"/>
                <a:gd name="connsiteY21" fmla="*/ 85988 h 478280"/>
                <a:gd name="connsiteX22" fmla="*/ 267375 w 405447"/>
                <a:gd name="connsiteY22" fmla="*/ 17130 h 47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5447" h="478280">
                  <a:moveTo>
                    <a:pt x="267375" y="17130"/>
                  </a:moveTo>
                  <a:cubicBezTo>
                    <a:pt x="287374" y="9345"/>
                    <a:pt x="308313" y="3976"/>
                    <a:pt x="329476" y="308"/>
                  </a:cubicBezTo>
                  <a:cubicBezTo>
                    <a:pt x="345136" y="-319"/>
                    <a:pt x="362451" y="-900"/>
                    <a:pt x="376007" y="8406"/>
                  </a:cubicBezTo>
                  <a:cubicBezTo>
                    <a:pt x="389877" y="18338"/>
                    <a:pt x="397259" y="34624"/>
                    <a:pt x="402002" y="50552"/>
                  </a:cubicBezTo>
                  <a:cubicBezTo>
                    <a:pt x="402673" y="53684"/>
                    <a:pt x="404060" y="59948"/>
                    <a:pt x="404776" y="63080"/>
                  </a:cubicBezTo>
                  <a:lnTo>
                    <a:pt x="405447" y="66167"/>
                  </a:lnTo>
                  <a:cubicBezTo>
                    <a:pt x="393725" y="116993"/>
                    <a:pt x="354486" y="153368"/>
                    <a:pt x="320796" y="190503"/>
                  </a:cubicBezTo>
                  <a:cubicBezTo>
                    <a:pt x="236593" y="283655"/>
                    <a:pt x="151942" y="376449"/>
                    <a:pt x="65636" y="467677"/>
                  </a:cubicBezTo>
                  <a:cubicBezTo>
                    <a:pt x="60669" y="473046"/>
                    <a:pt x="54450" y="477162"/>
                    <a:pt x="47157" y="478281"/>
                  </a:cubicBezTo>
                  <a:cubicBezTo>
                    <a:pt x="43981" y="477610"/>
                    <a:pt x="37717" y="476223"/>
                    <a:pt x="34585" y="475507"/>
                  </a:cubicBezTo>
                  <a:cubicBezTo>
                    <a:pt x="39686" y="441503"/>
                    <a:pt x="22416" y="409200"/>
                    <a:pt x="0" y="384950"/>
                  </a:cubicBezTo>
                  <a:cubicBezTo>
                    <a:pt x="179" y="383339"/>
                    <a:pt x="492" y="380163"/>
                    <a:pt x="626" y="378552"/>
                  </a:cubicBezTo>
                  <a:cubicBezTo>
                    <a:pt x="9798" y="375644"/>
                    <a:pt x="20805" y="374525"/>
                    <a:pt x="27605" y="367053"/>
                  </a:cubicBezTo>
                  <a:cubicBezTo>
                    <a:pt x="32885" y="356808"/>
                    <a:pt x="32572" y="344817"/>
                    <a:pt x="34406" y="333721"/>
                  </a:cubicBezTo>
                  <a:cubicBezTo>
                    <a:pt x="46755" y="335242"/>
                    <a:pt x="61564" y="341730"/>
                    <a:pt x="71944" y="331618"/>
                  </a:cubicBezTo>
                  <a:cubicBezTo>
                    <a:pt x="92883" y="312469"/>
                    <a:pt x="116283" y="291709"/>
                    <a:pt x="120578" y="262001"/>
                  </a:cubicBezTo>
                  <a:cubicBezTo>
                    <a:pt x="139191" y="252113"/>
                    <a:pt x="156282" y="236990"/>
                    <a:pt x="162680" y="216275"/>
                  </a:cubicBezTo>
                  <a:cubicBezTo>
                    <a:pt x="161919" y="209743"/>
                    <a:pt x="160085" y="203389"/>
                    <a:pt x="158609" y="197081"/>
                  </a:cubicBezTo>
                  <a:cubicBezTo>
                    <a:pt x="165857" y="183390"/>
                    <a:pt x="179324" y="170594"/>
                    <a:pt x="177624" y="154039"/>
                  </a:cubicBezTo>
                  <a:cubicBezTo>
                    <a:pt x="172747" y="146612"/>
                    <a:pt x="166259" y="140438"/>
                    <a:pt x="161785" y="132832"/>
                  </a:cubicBezTo>
                  <a:cubicBezTo>
                    <a:pt x="158877" y="123034"/>
                    <a:pt x="158564" y="112698"/>
                    <a:pt x="156908" y="102721"/>
                  </a:cubicBezTo>
                  <a:cubicBezTo>
                    <a:pt x="155790" y="96412"/>
                    <a:pt x="151629" y="91222"/>
                    <a:pt x="148452" y="85988"/>
                  </a:cubicBezTo>
                  <a:cubicBezTo>
                    <a:pt x="184782" y="57756"/>
                    <a:pt x="224334" y="33640"/>
                    <a:pt x="267375" y="1713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2B8766E0-2026-56C9-B035-1B3E97AB547B}"/>
                </a:ext>
              </a:extLst>
            </p:cNvPr>
            <p:cNvSpPr/>
            <p:nvPr/>
          </p:nvSpPr>
          <p:spPr>
            <a:xfrm flipH="1">
              <a:off x="1323904" y="3967779"/>
              <a:ext cx="397479" cy="487789"/>
            </a:xfrm>
            <a:custGeom>
              <a:avLst/>
              <a:gdLst>
                <a:gd name="connsiteX0" fmla="*/ 306524 w 333234"/>
                <a:gd name="connsiteY0" fmla="*/ 11241 h 408947"/>
                <a:gd name="connsiteX1" fmla="*/ 333234 w 333234"/>
                <a:gd name="connsiteY1" fmla="*/ 11 h 408947"/>
                <a:gd name="connsiteX2" fmla="*/ 330729 w 333234"/>
                <a:gd name="connsiteY2" fmla="*/ 160767 h 408947"/>
                <a:gd name="connsiteX3" fmla="*/ 271760 w 333234"/>
                <a:gd name="connsiteY3" fmla="*/ 178127 h 408947"/>
                <a:gd name="connsiteX4" fmla="*/ 57045 w 333234"/>
                <a:gd name="connsiteY4" fmla="*/ 408948 h 408947"/>
                <a:gd name="connsiteX5" fmla="*/ 37896 w 333234"/>
                <a:gd name="connsiteY5" fmla="*/ 379195 h 408947"/>
                <a:gd name="connsiteX6" fmla="*/ 0 w 333234"/>
                <a:gd name="connsiteY6" fmla="*/ 346757 h 408947"/>
                <a:gd name="connsiteX7" fmla="*/ 51453 w 333234"/>
                <a:gd name="connsiteY7" fmla="*/ 289041 h 408947"/>
                <a:gd name="connsiteX8" fmla="*/ 306524 w 333234"/>
                <a:gd name="connsiteY8" fmla="*/ 11241 h 40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234" h="408947">
                  <a:moveTo>
                    <a:pt x="306524" y="11241"/>
                  </a:moveTo>
                  <a:cubicBezTo>
                    <a:pt x="313056" y="3008"/>
                    <a:pt x="322989" y="-213"/>
                    <a:pt x="333234" y="11"/>
                  </a:cubicBezTo>
                  <a:cubicBezTo>
                    <a:pt x="331668" y="53567"/>
                    <a:pt x="334264" y="107256"/>
                    <a:pt x="330729" y="160767"/>
                  </a:cubicBezTo>
                  <a:cubicBezTo>
                    <a:pt x="309477" y="154458"/>
                    <a:pt x="286256" y="161572"/>
                    <a:pt x="271760" y="178127"/>
                  </a:cubicBezTo>
                  <a:cubicBezTo>
                    <a:pt x="200665" y="255484"/>
                    <a:pt x="127916" y="331411"/>
                    <a:pt x="57045" y="408948"/>
                  </a:cubicBezTo>
                  <a:cubicBezTo>
                    <a:pt x="51945" y="398255"/>
                    <a:pt x="45368" y="388322"/>
                    <a:pt x="37896" y="379195"/>
                  </a:cubicBezTo>
                  <a:cubicBezTo>
                    <a:pt x="27248" y="366264"/>
                    <a:pt x="14094" y="355661"/>
                    <a:pt x="0" y="346757"/>
                  </a:cubicBezTo>
                  <a:cubicBezTo>
                    <a:pt x="15838" y="326400"/>
                    <a:pt x="34406" y="308369"/>
                    <a:pt x="51453" y="289041"/>
                  </a:cubicBezTo>
                  <a:cubicBezTo>
                    <a:pt x="137043" y="196963"/>
                    <a:pt x="221112" y="103498"/>
                    <a:pt x="306524" y="1124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E1466192-E8C0-A2F9-00DE-36F313CB9AA4}"/>
                </a:ext>
              </a:extLst>
            </p:cNvPr>
            <p:cNvSpPr/>
            <p:nvPr/>
          </p:nvSpPr>
          <p:spPr>
            <a:xfrm flipH="1">
              <a:off x="2289771" y="4402575"/>
              <a:ext cx="645396" cy="230813"/>
            </a:xfrm>
            <a:custGeom>
              <a:avLst/>
              <a:gdLst>
                <a:gd name="connsiteX0" fmla="*/ 16420 w 541080"/>
                <a:gd name="connsiteY0" fmla="*/ 19731 h 193506"/>
                <a:gd name="connsiteX1" fmla="*/ 80714 w 541080"/>
                <a:gd name="connsiteY1" fmla="*/ 313 h 193506"/>
                <a:gd name="connsiteX2" fmla="*/ 448802 w 541080"/>
                <a:gd name="connsiteY2" fmla="*/ 0 h 193506"/>
                <a:gd name="connsiteX3" fmla="*/ 443969 w 541080"/>
                <a:gd name="connsiteY3" fmla="*/ 55077 h 193506"/>
                <a:gd name="connsiteX4" fmla="*/ 396320 w 541080"/>
                <a:gd name="connsiteY4" fmla="*/ 66128 h 193506"/>
                <a:gd name="connsiteX5" fmla="*/ 398870 w 541080"/>
                <a:gd name="connsiteY5" fmla="*/ 90243 h 193506"/>
                <a:gd name="connsiteX6" fmla="*/ 474304 w 541080"/>
                <a:gd name="connsiteY6" fmla="*/ 103800 h 193506"/>
                <a:gd name="connsiteX7" fmla="*/ 540029 w 541080"/>
                <a:gd name="connsiteY7" fmla="*/ 103621 h 193506"/>
                <a:gd name="connsiteX8" fmla="*/ 540924 w 541080"/>
                <a:gd name="connsiteY8" fmla="*/ 193507 h 193506"/>
                <a:gd name="connsiteX9" fmla="*/ 86038 w 541080"/>
                <a:gd name="connsiteY9" fmla="*/ 192701 h 193506"/>
                <a:gd name="connsiteX10" fmla="*/ 0 w 541080"/>
                <a:gd name="connsiteY10" fmla="*/ 34988 h 193506"/>
                <a:gd name="connsiteX11" fmla="*/ 16420 w 541080"/>
                <a:gd name="connsiteY11" fmla="*/ 19731 h 19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080" h="193506">
                  <a:moveTo>
                    <a:pt x="16420" y="19731"/>
                  </a:moveTo>
                  <a:cubicBezTo>
                    <a:pt x="34898" y="6040"/>
                    <a:pt x="57851" y="-45"/>
                    <a:pt x="80714" y="313"/>
                  </a:cubicBezTo>
                  <a:cubicBezTo>
                    <a:pt x="203395" y="-179"/>
                    <a:pt x="326121" y="268"/>
                    <a:pt x="448802" y="0"/>
                  </a:cubicBezTo>
                  <a:cubicBezTo>
                    <a:pt x="448533" y="18299"/>
                    <a:pt x="451262" y="37717"/>
                    <a:pt x="443969" y="55077"/>
                  </a:cubicBezTo>
                  <a:cubicBezTo>
                    <a:pt x="429384" y="63175"/>
                    <a:pt x="411845" y="61027"/>
                    <a:pt x="396320" y="66128"/>
                  </a:cubicBezTo>
                  <a:cubicBezTo>
                    <a:pt x="388445" y="72213"/>
                    <a:pt x="391711" y="84830"/>
                    <a:pt x="398870" y="90243"/>
                  </a:cubicBezTo>
                  <a:cubicBezTo>
                    <a:pt x="419093" y="108766"/>
                    <a:pt x="448891" y="108587"/>
                    <a:pt x="474304" y="103800"/>
                  </a:cubicBezTo>
                  <a:cubicBezTo>
                    <a:pt x="496004" y="99192"/>
                    <a:pt x="518196" y="100937"/>
                    <a:pt x="540029" y="103621"/>
                  </a:cubicBezTo>
                  <a:cubicBezTo>
                    <a:pt x="541148" y="133553"/>
                    <a:pt x="541238" y="163530"/>
                    <a:pt x="540924" y="193507"/>
                  </a:cubicBezTo>
                  <a:cubicBezTo>
                    <a:pt x="389340" y="191270"/>
                    <a:pt x="237667" y="192701"/>
                    <a:pt x="86038" y="192701"/>
                  </a:cubicBezTo>
                  <a:cubicBezTo>
                    <a:pt x="55301" y="141249"/>
                    <a:pt x="28232" y="87783"/>
                    <a:pt x="0" y="34988"/>
                  </a:cubicBezTo>
                  <a:cubicBezTo>
                    <a:pt x="5190" y="29574"/>
                    <a:pt x="10693" y="24518"/>
                    <a:pt x="16420" y="1973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E24BD7B8-CE9D-6C65-E61F-6A87E00FB218}"/>
                </a:ext>
              </a:extLst>
            </p:cNvPr>
            <p:cNvSpPr/>
            <p:nvPr/>
          </p:nvSpPr>
          <p:spPr>
            <a:xfrm flipH="1">
              <a:off x="1955240" y="4402015"/>
              <a:ext cx="294426" cy="102759"/>
            </a:xfrm>
            <a:custGeom>
              <a:avLst/>
              <a:gdLst>
                <a:gd name="connsiteX0" fmla="*/ 0 w 246838"/>
                <a:gd name="connsiteY0" fmla="*/ 426 h 86150"/>
                <a:gd name="connsiteX1" fmla="*/ 134582 w 246838"/>
                <a:gd name="connsiteY1" fmla="*/ 246 h 86150"/>
                <a:gd name="connsiteX2" fmla="*/ 171897 w 246838"/>
                <a:gd name="connsiteY2" fmla="*/ 64987 h 86150"/>
                <a:gd name="connsiteX3" fmla="*/ 215072 w 246838"/>
                <a:gd name="connsiteY3" fmla="*/ 45569 h 86150"/>
                <a:gd name="connsiteX4" fmla="*/ 223976 w 246838"/>
                <a:gd name="connsiteY4" fmla="*/ 69417 h 86150"/>
                <a:gd name="connsiteX5" fmla="*/ 242901 w 246838"/>
                <a:gd name="connsiteY5" fmla="*/ 79618 h 86150"/>
                <a:gd name="connsiteX6" fmla="*/ 246839 w 246838"/>
                <a:gd name="connsiteY6" fmla="*/ 86150 h 86150"/>
                <a:gd name="connsiteX7" fmla="*/ 128318 w 246838"/>
                <a:gd name="connsiteY7" fmla="*/ 67717 h 86150"/>
                <a:gd name="connsiteX8" fmla="*/ 1119 w 246838"/>
                <a:gd name="connsiteY8" fmla="*/ 41587 h 86150"/>
                <a:gd name="connsiteX9" fmla="*/ 0 w 246838"/>
                <a:gd name="connsiteY9" fmla="*/ 426 h 8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838" h="86150">
                  <a:moveTo>
                    <a:pt x="0" y="426"/>
                  </a:moveTo>
                  <a:cubicBezTo>
                    <a:pt x="44831" y="-604"/>
                    <a:pt x="89707" y="604"/>
                    <a:pt x="134582" y="246"/>
                  </a:cubicBezTo>
                  <a:cubicBezTo>
                    <a:pt x="143710" y="23512"/>
                    <a:pt x="155208" y="46151"/>
                    <a:pt x="171897" y="64987"/>
                  </a:cubicBezTo>
                  <a:cubicBezTo>
                    <a:pt x="188183" y="63690"/>
                    <a:pt x="201515" y="53668"/>
                    <a:pt x="215072" y="45569"/>
                  </a:cubicBezTo>
                  <a:cubicBezTo>
                    <a:pt x="216817" y="53847"/>
                    <a:pt x="217309" y="63242"/>
                    <a:pt x="223976" y="69417"/>
                  </a:cubicBezTo>
                  <a:cubicBezTo>
                    <a:pt x="230150" y="72862"/>
                    <a:pt x="236638" y="76128"/>
                    <a:pt x="242901" y="79618"/>
                  </a:cubicBezTo>
                  <a:cubicBezTo>
                    <a:pt x="243886" y="81229"/>
                    <a:pt x="245854" y="84539"/>
                    <a:pt x="246839" y="86150"/>
                  </a:cubicBezTo>
                  <a:cubicBezTo>
                    <a:pt x="206706" y="84673"/>
                    <a:pt x="167870" y="73399"/>
                    <a:pt x="128318" y="67717"/>
                  </a:cubicBezTo>
                  <a:cubicBezTo>
                    <a:pt x="85367" y="61587"/>
                    <a:pt x="42862" y="53489"/>
                    <a:pt x="1119" y="41587"/>
                  </a:cubicBezTo>
                  <a:cubicBezTo>
                    <a:pt x="1119" y="27852"/>
                    <a:pt x="582" y="14116"/>
                    <a:pt x="0" y="42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08" name="Freeform: Shape 4507">
              <a:extLst>
                <a:ext uri="{FF2B5EF4-FFF2-40B4-BE49-F238E27FC236}">
                  <a16:creationId xmlns:a16="http://schemas.microsoft.com/office/drawing/2014/main" id="{5D6903B9-53FB-B6E1-116A-8007C8052704}"/>
                </a:ext>
              </a:extLst>
            </p:cNvPr>
            <p:cNvSpPr/>
            <p:nvPr/>
          </p:nvSpPr>
          <p:spPr>
            <a:xfrm flipH="1">
              <a:off x="4101937"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1" name="Freeform: Shape 4510">
              <a:extLst>
                <a:ext uri="{FF2B5EF4-FFF2-40B4-BE49-F238E27FC236}">
                  <a16:creationId xmlns:a16="http://schemas.microsoft.com/office/drawing/2014/main" id="{CBF0202F-032A-8031-0F32-4950108879FD}"/>
                </a:ext>
              </a:extLst>
            </p:cNvPr>
            <p:cNvSpPr/>
            <p:nvPr/>
          </p:nvSpPr>
          <p:spPr>
            <a:xfrm flipH="1">
              <a:off x="2941145" y="3022179"/>
              <a:ext cx="54007" cy="102785"/>
            </a:xfrm>
            <a:custGeom>
              <a:avLst/>
              <a:gdLst>
                <a:gd name="connsiteX0" fmla="*/ 0 w 45278"/>
                <a:gd name="connsiteY0" fmla="*/ 2864 h 86172"/>
                <a:gd name="connsiteX1" fmla="*/ 10246 w 45278"/>
                <a:gd name="connsiteY1" fmla="*/ 0 h 86172"/>
                <a:gd name="connsiteX2" fmla="*/ 12751 w 45278"/>
                <a:gd name="connsiteY2" fmla="*/ 77850 h 86172"/>
                <a:gd name="connsiteX3" fmla="*/ 30469 w 45278"/>
                <a:gd name="connsiteY3" fmla="*/ 77850 h 86172"/>
                <a:gd name="connsiteX4" fmla="*/ 45278 w 45278"/>
                <a:gd name="connsiteY4" fmla="*/ 55614 h 86172"/>
                <a:gd name="connsiteX5" fmla="*/ 36017 w 45278"/>
                <a:gd name="connsiteY5" fmla="*/ 82503 h 86172"/>
                <a:gd name="connsiteX6" fmla="*/ 6622 w 45278"/>
                <a:gd name="connsiteY6" fmla="*/ 86172 h 86172"/>
                <a:gd name="connsiteX7" fmla="*/ 5369 w 45278"/>
                <a:gd name="connsiteY7" fmla="*/ 81519 h 86172"/>
                <a:gd name="connsiteX8" fmla="*/ 0 w 45278"/>
                <a:gd name="connsiteY8" fmla="*/ 2864 h 8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78" h="86172">
                  <a:moveTo>
                    <a:pt x="0" y="2864"/>
                  </a:moveTo>
                  <a:cubicBezTo>
                    <a:pt x="2550" y="2148"/>
                    <a:pt x="7696" y="716"/>
                    <a:pt x="10246" y="0"/>
                  </a:cubicBezTo>
                  <a:cubicBezTo>
                    <a:pt x="11856" y="25905"/>
                    <a:pt x="11767" y="51900"/>
                    <a:pt x="12751" y="77850"/>
                  </a:cubicBezTo>
                  <a:lnTo>
                    <a:pt x="30469" y="77850"/>
                  </a:lnTo>
                  <a:cubicBezTo>
                    <a:pt x="35570" y="70513"/>
                    <a:pt x="40581" y="63175"/>
                    <a:pt x="45278" y="55614"/>
                  </a:cubicBezTo>
                  <a:cubicBezTo>
                    <a:pt x="43623" y="64875"/>
                    <a:pt x="43220" y="75524"/>
                    <a:pt x="36017" y="82503"/>
                  </a:cubicBezTo>
                  <a:cubicBezTo>
                    <a:pt x="26890" y="86888"/>
                    <a:pt x="16420" y="85456"/>
                    <a:pt x="6622" y="86172"/>
                  </a:cubicBezTo>
                  <a:lnTo>
                    <a:pt x="5369" y="81519"/>
                  </a:lnTo>
                  <a:cubicBezTo>
                    <a:pt x="1208" y="55524"/>
                    <a:pt x="2595" y="29037"/>
                    <a:pt x="0" y="2864"/>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3" name="Freeform: Shape 4512">
              <a:extLst>
                <a:ext uri="{FF2B5EF4-FFF2-40B4-BE49-F238E27FC236}">
                  <a16:creationId xmlns:a16="http://schemas.microsoft.com/office/drawing/2014/main" id="{7A916710-A6F4-C3F9-12C1-89FD8391D9F1}"/>
                </a:ext>
              </a:extLst>
            </p:cNvPr>
            <p:cNvSpPr/>
            <p:nvPr/>
          </p:nvSpPr>
          <p:spPr>
            <a:xfrm flipH="1">
              <a:off x="4297367"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8" name="Freeform: Shape 4517">
              <a:extLst>
                <a:ext uri="{FF2B5EF4-FFF2-40B4-BE49-F238E27FC236}">
                  <a16:creationId xmlns:a16="http://schemas.microsoft.com/office/drawing/2014/main" id="{84A1D788-CFC3-5061-89F7-851CA6CFB221}"/>
                </a:ext>
              </a:extLst>
            </p:cNvPr>
            <p:cNvSpPr/>
            <p:nvPr/>
          </p:nvSpPr>
          <p:spPr>
            <a:xfrm flipH="1">
              <a:off x="2772236" y="2209609"/>
              <a:ext cx="85814" cy="214524"/>
            </a:xfrm>
            <a:custGeom>
              <a:avLst/>
              <a:gdLst>
                <a:gd name="connsiteX0" fmla="*/ 7517 w 71944"/>
                <a:gd name="connsiteY0" fmla="*/ 1163 h 179850"/>
                <a:gd name="connsiteX1" fmla="*/ 71363 w 71944"/>
                <a:gd name="connsiteY1" fmla="*/ 0 h 179850"/>
                <a:gd name="connsiteX2" fmla="*/ 71944 w 71944"/>
                <a:gd name="connsiteY2" fmla="*/ 95970 h 179850"/>
                <a:gd name="connsiteX3" fmla="*/ 47605 w 71944"/>
                <a:gd name="connsiteY3" fmla="*/ 98207 h 179850"/>
                <a:gd name="connsiteX4" fmla="*/ 48097 w 71944"/>
                <a:gd name="connsiteY4" fmla="*/ 116999 h 179850"/>
                <a:gd name="connsiteX5" fmla="*/ 65412 w 71944"/>
                <a:gd name="connsiteY5" fmla="*/ 119102 h 179850"/>
                <a:gd name="connsiteX6" fmla="*/ 66217 w 71944"/>
                <a:gd name="connsiteY6" fmla="*/ 178026 h 179850"/>
                <a:gd name="connsiteX7" fmla="*/ 0 w 71944"/>
                <a:gd name="connsiteY7" fmla="*/ 178116 h 179850"/>
                <a:gd name="connsiteX8" fmla="*/ 47918 w 71944"/>
                <a:gd name="connsiteY8" fmla="*/ 176147 h 179850"/>
                <a:gd name="connsiteX9" fmla="*/ 48544 w 71944"/>
                <a:gd name="connsiteY9" fmla="*/ 122413 h 179850"/>
                <a:gd name="connsiteX10" fmla="*/ 8680 w 71944"/>
                <a:gd name="connsiteY10" fmla="*/ 116954 h 179850"/>
                <a:gd name="connsiteX11" fmla="*/ 7517 w 71944"/>
                <a:gd name="connsiteY11" fmla="*/ 1163 h 17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44" h="179850">
                  <a:moveTo>
                    <a:pt x="7517" y="1163"/>
                  </a:moveTo>
                  <a:cubicBezTo>
                    <a:pt x="28769" y="358"/>
                    <a:pt x="50066" y="0"/>
                    <a:pt x="71363" y="0"/>
                  </a:cubicBezTo>
                  <a:cubicBezTo>
                    <a:pt x="72168" y="31990"/>
                    <a:pt x="71855" y="63980"/>
                    <a:pt x="71944" y="95970"/>
                  </a:cubicBezTo>
                  <a:cubicBezTo>
                    <a:pt x="63801" y="96731"/>
                    <a:pt x="55703" y="97447"/>
                    <a:pt x="47605" y="98207"/>
                  </a:cubicBezTo>
                  <a:cubicBezTo>
                    <a:pt x="47784" y="104471"/>
                    <a:pt x="47918" y="110690"/>
                    <a:pt x="48097" y="116999"/>
                  </a:cubicBezTo>
                  <a:cubicBezTo>
                    <a:pt x="53824" y="117670"/>
                    <a:pt x="59596" y="118386"/>
                    <a:pt x="65412" y="119102"/>
                  </a:cubicBezTo>
                  <a:cubicBezTo>
                    <a:pt x="66486" y="138743"/>
                    <a:pt x="66754" y="158385"/>
                    <a:pt x="66217" y="178026"/>
                  </a:cubicBezTo>
                  <a:cubicBezTo>
                    <a:pt x="44160" y="179190"/>
                    <a:pt x="21968" y="181427"/>
                    <a:pt x="0" y="178116"/>
                  </a:cubicBezTo>
                  <a:cubicBezTo>
                    <a:pt x="15928" y="176997"/>
                    <a:pt x="31901" y="176594"/>
                    <a:pt x="47918" y="176147"/>
                  </a:cubicBezTo>
                  <a:cubicBezTo>
                    <a:pt x="48321" y="158206"/>
                    <a:pt x="48544" y="140309"/>
                    <a:pt x="48544" y="122413"/>
                  </a:cubicBezTo>
                  <a:cubicBezTo>
                    <a:pt x="35167" y="121294"/>
                    <a:pt x="21834" y="119639"/>
                    <a:pt x="8680" y="116954"/>
                  </a:cubicBezTo>
                  <a:cubicBezTo>
                    <a:pt x="7964" y="78387"/>
                    <a:pt x="8993" y="39775"/>
                    <a:pt x="7517" y="1163"/>
                  </a:cubicBezTo>
                  <a:close/>
                </a:path>
              </a:pathLst>
            </a:custGeom>
            <a:solidFill>
              <a:srgbClr val="A9C3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9" name="Freeform: Shape 4518">
              <a:extLst>
                <a:ext uri="{FF2B5EF4-FFF2-40B4-BE49-F238E27FC236}">
                  <a16:creationId xmlns:a16="http://schemas.microsoft.com/office/drawing/2014/main" id="{84A0790F-551F-4A06-3C5E-90EB23906019}"/>
                </a:ext>
              </a:extLst>
            </p:cNvPr>
            <p:cNvSpPr/>
            <p:nvPr/>
          </p:nvSpPr>
          <p:spPr>
            <a:xfrm flipH="1">
              <a:off x="2648373" y="2209379"/>
              <a:ext cx="176004" cy="333294"/>
            </a:xfrm>
            <a:custGeom>
              <a:avLst/>
              <a:gdLst>
                <a:gd name="connsiteX0" fmla="*/ 43131 w 147557"/>
                <a:gd name="connsiteY0" fmla="*/ 193 h 279424"/>
                <a:gd name="connsiteX1" fmla="*/ 104248 w 147557"/>
                <a:gd name="connsiteY1" fmla="*/ 2609 h 279424"/>
                <a:gd name="connsiteX2" fmla="*/ 102726 w 147557"/>
                <a:gd name="connsiteY2" fmla="*/ 115312 h 279424"/>
                <a:gd name="connsiteX3" fmla="*/ 52303 w 147557"/>
                <a:gd name="connsiteY3" fmla="*/ 119787 h 279424"/>
                <a:gd name="connsiteX4" fmla="*/ 52079 w 147557"/>
                <a:gd name="connsiteY4" fmla="*/ 177100 h 279424"/>
                <a:gd name="connsiteX5" fmla="*/ 138072 w 147557"/>
                <a:gd name="connsiteY5" fmla="*/ 181709 h 279424"/>
                <a:gd name="connsiteX6" fmla="*/ 147557 w 147557"/>
                <a:gd name="connsiteY6" fmla="*/ 193923 h 279424"/>
                <a:gd name="connsiteX7" fmla="*/ 126618 w 147557"/>
                <a:gd name="connsiteY7" fmla="*/ 210835 h 279424"/>
                <a:gd name="connsiteX8" fmla="*/ 117402 w 147557"/>
                <a:gd name="connsiteY8" fmla="*/ 200679 h 279424"/>
                <a:gd name="connsiteX9" fmla="*/ 51497 w 147557"/>
                <a:gd name="connsiteY9" fmla="*/ 200008 h 279424"/>
                <a:gd name="connsiteX10" fmla="*/ 51900 w 147557"/>
                <a:gd name="connsiteY10" fmla="*/ 255264 h 279424"/>
                <a:gd name="connsiteX11" fmla="*/ 106798 w 147557"/>
                <a:gd name="connsiteY11" fmla="*/ 254458 h 279424"/>
                <a:gd name="connsiteX12" fmla="*/ 110511 w 147557"/>
                <a:gd name="connsiteY12" fmla="*/ 255845 h 279424"/>
                <a:gd name="connsiteX13" fmla="*/ 109661 w 147557"/>
                <a:gd name="connsiteY13" fmla="*/ 279424 h 279424"/>
                <a:gd name="connsiteX14" fmla="*/ 2550 w 147557"/>
                <a:gd name="connsiteY14" fmla="*/ 277053 h 279424"/>
                <a:gd name="connsiteX15" fmla="*/ 0 w 147557"/>
                <a:gd name="connsiteY15" fmla="*/ 256830 h 279424"/>
                <a:gd name="connsiteX16" fmla="*/ 37538 w 147557"/>
                <a:gd name="connsiteY16" fmla="*/ 254593 h 279424"/>
                <a:gd name="connsiteX17" fmla="*/ 37672 w 147557"/>
                <a:gd name="connsiteY17" fmla="*/ 199292 h 279424"/>
                <a:gd name="connsiteX18" fmla="*/ 37985 w 147557"/>
                <a:gd name="connsiteY18" fmla="*/ 178219 h 279424"/>
                <a:gd name="connsiteX19" fmla="*/ 37180 w 147557"/>
                <a:gd name="connsiteY19" fmla="*/ 119294 h 279424"/>
                <a:gd name="connsiteX20" fmla="*/ 19865 w 147557"/>
                <a:gd name="connsiteY20" fmla="*/ 117192 h 279424"/>
                <a:gd name="connsiteX21" fmla="*/ 19373 w 147557"/>
                <a:gd name="connsiteY21" fmla="*/ 98400 h 279424"/>
                <a:gd name="connsiteX22" fmla="*/ 43712 w 147557"/>
                <a:gd name="connsiteY22" fmla="*/ 96163 h 279424"/>
                <a:gd name="connsiteX23" fmla="*/ 43131 w 147557"/>
                <a:gd name="connsiteY23" fmla="*/ 193 h 2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557" h="279424">
                  <a:moveTo>
                    <a:pt x="43131" y="193"/>
                  </a:moveTo>
                  <a:cubicBezTo>
                    <a:pt x="63533" y="-389"/>
                    <a:pt x="83935" y="327"/>
                    <a:pt x="104248" y="2609"/>
                  </a:cubicBezTo>
                  <a:cubicBezTo>
                    <a:pt x="102010" y="40147"/>
                    <a:pt x="105142" y="77774"/>
                    <a:pt x="102726" y="115312"/>
                  </a:cubicBezTo>
                  <a:cubicBezTo>
                    <a:pt x="85993" y="117728"/>
                    <a:pt x="69170" y="119205"/>
                    <a:pt x="52303" y="119787"/>
                  </a:cubicBezTo>
                  <a:cubicBezTo>
                    <a:pt x="51811" y="138891"/>
                    <a:pt x="51721" y="157996"/>
                    <a:pt x="52079" y="177100"/>
                  </a:cubicBezTo>
                  <a:cubicBezTo>
                    <a:pt x="80893" y="176653"/>
                    <a:pt x="109259" y="184930"/>
                    <a:pt x="138072" y="181709"/>
                  </a:cubicBezTo>
                  <a:cubicBezTo>
                    <a:pt x="141159" y="185825"/>
                    <a:pt x="144291" y="189807"/>
                    <a:pt x="147557" y="193923"/>
                  </a:cubicBezTo>
                  <a:cubicBezTo>
                    <a:pt x="141428" y="200545"/>
                    <a:pt x="134001" y="205735"/>
                    <a:pt x="126618" y="210835"/>
                  </a:cubicBezTo>
                  <a:cubicBezTo>
                    <a:pt x="124292" y="208285"/>
                    <a:pt x="119683" y="203185"/>
                    <a:pt x="117402" y="200679"/>
                  </a:cubicBezTo>
                  <a:cubicBezTo>
                    <a:pt x="95434" y="200321"/>
                    <a:pt x="73465" y="199695"/>
                    <a:pt x="51497" y="200008"/>
                  </a:cubicBezTo>
                  <a:cubicBezTo>
                    <a:pt x="51990" y="218397"/>
                    <a:pt x="52168" y="236830"/>
                    <a:pt x="51900" y="255264"/>
                  </a:cubicBezTo>
                  <a:cubicBezTo>
                    <a:pt x="70155" y="254950"/>
                    <a:pt x="88454" y="254414"/>
                    <a:pt x="106798" y="254458"/>
                  </a:cubicBezTo>
                  <a:lnTo>
                    <a:pt x="110511" y="255845"/>
                  </a:lnTo>
                  <a:cubicBezTo>
                    <a:pt x="110153" y="263720"/>
                    <a:pt x="109840" y="271550"/>
                    <a:pt x="109661" y="279424"/>
                  </a:cubicBezTo>
                  <a:cubicBezTo>
                    <a:pt x="73913" y="279021"/>
                    <a:pt x="38209" y="278305"/>
                    <a:pt x="2550" y="277053"/>
                  </a:cubicBezTo>
                  <a:cubicBezTo>
                    <a:pt x="1655" y="270297"/>
                    <a:pt x="850" y="263541"/>
                    <a:pt x="0" y="256830"/>
                  </a:cubicBezTo>
                  <a:cubicBezTo>
                    <a:pt x="12483" y="255666"/>
                    <a:pt x="25011" y="254861"/>
                    <a:pt x="37538" y="254593"/>
                  </a:cubicBezTo>
                  <a:cubicBezTo>
                    <a:pt x="37717" y="236159"/>
                    <a:pt x="37583" y="217726"/>
                    <a:pt x="37672" y="199292"/>
                  </a:cubicBezTo>
                  <a:cubicBezTo>
                    <a:pt x="37717" y="192268"/>
                    <a:pt x="37807" y="185199"/>
                    <a:pt x="37985" y="178219"/>
                  </a:cubicBezTo>
                  <a:cubicBezTo>
                    <a:pt x="38522" y="158577"/>
                    <a:pt x="38254" y="138936"/>
                    <a:pt x="37180" y="119294"/>
                  </a:cubicBezTo>
                  <a:cubicBezTo>
                    <a:pt x="31364" y="118579"/>
                    <a:pt x="25592" y="117863"/>
                    <a:pt x="19865" y="117192"/>
                  </a:cubicBezTo>
                  <a:cubicBezTo>
                    <a:pt x="19686" y="110883"/>
                    <a:pt x="19552" y="104664"/>
                    <a:pt x="19373" y="98400"/>
                  </a:cubicBezTo>
                  <a:cubicBezTo>
                    <a:pt x="27471" y="97640"/>
                    <a:pt x="35570" y="96924"/>
                    <a:pt x="43712" y="96163"/>
                  </a:cubicBezTo>
                  <a:cubicBezTo>
                    <a:pt x="43623" y="64173"/>
                    <a:pt x="43936" y="32183"/>
                    <a:pt x="43131" y="193"/>
                  </a:cubicBezTo>
                  <a:close/>
                </a:path>
              </a:pathLst>
            </a:custGeom>
            <a:solidFill>
              <a:srgbClr val="F3F7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3" name="Freeform: Shape 4522">
              <a:extLst>
                <a:ext uri="{FF2B5EF4-FFF2-40B4-BE49-F238E27FC236}">
                  <a16:creationId xmlns:a16="http://schemas.microsoft.com/office/drawing/2014/main" id="{4166C47D-21BE-DFDD-7EEA-48E7054E22BF}"/>
                </a:ext>
              </a:extLst>
            </p:cNvPr>
            <p:cNvSpPr/>
            <p:nvPr/>
          </p:nvSpPr>
          <p:spPr>
            <a:xfrm flipH="1">
              <a:off x="4285679" y="2233411"/>
              <a:ext cx="131230" cy="113991"/>
            </a:xfrm>
            <a:custGeom>
              <a:avLst/>
              <a:gdLst>
                <a:gd name="connsiteX0" fmla="*/ 47381 w 110019"/>
                <a:gd name="connsiteY0" fmla="*/ 0 h 95567"/>
                <a:gd name="connsiteX1" fmla="*/ 60446 w 110019"/>
                <a:gd name="connsiteY1" fmla="*/ 3848 h 95567"/>
                <a:gd name="connsiteX2" fmla="*/ 61117 w 110019"/>
                <a:gd name="connsiteY2" fmla="*/ 39014 h 95567"/>
                <a:gd name="connsiteX3" fmla="*/ 64293 w 110019"/>
                <a:gd name="connsiteY3" fmla="*/ 39193 h 95567"/>
                <a:gd name="connsiteX4" fmla="*/ 110019 w 110019"/>
                <a:gd name="connsiteY4" fmla="*/ 41967 h 95567"/>
                <a:gd name="connsiteX5" fmla="*/ 106798 w 110019"/>
                <a:gd name="connsiteY5" fmla="*/ 47739 h 95567"/>
                <a:gd name="connsiteX6" fmla="*/ 60983 w 110019"/>
                <a:gd name="connsiteY6" fmla="*/ 49618 h 95567"/>
                <a:gd name="connsiteX7" fmla="*/ 58522 w 110019"/>
                <a:gd name="connsiteY7" fmla="*/ 49797 h 95567"/>
                <a:gd name="connsiteX8" fmla="*/ 56151 w 110019"/>
                <a:gd name="connsiteY8" fmla="*/ 95568 h 95567"/>
                <a:gd name="connsiteX9" fmla="*/ 45815 w 110019"/>
                <a:gd name="connsiteY9" fmla="*/ 95076 h 95567"/>
                <a:gd name="connsiteX10" fmla="*/ 45726 w 110019"/>
                <a:gd name="connsiteY10" fmla="*/ 48992 h 95567"/>
                <a:gd name="connsiteX11" fmla="*/ 2640 w 110019"/>
                <a:gd name="connsiteY11" fmla="*/ 46755 h 95567"/>
                <a:gd name="connsiteX12" fmla="*/ 0 w 110019"/>
                <a:gd name="connsiteY12" fmla="*/ 42683 h 95567"/>
                <a:gd name="connsiteX13" fmla="*/ 45457 w 110019"/>
                <a:gd name="connsiteY13" fmla="*/ 39730 h 95567"/>
                <a:gd name="connsiteX14" fmla="*/ 47381 w 110019"/>
                <a:gd name="connsiteY14" fmla="*/ 0 h 9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0019" h="95567">
                  <a:moveTo>
                    <a:pt x="47381" y="0"/>
                  </a:moveTo>
                  <a:cubicBezTo>
                    <a:pt x="50647" y="940"/>
                    <a:pt x="57180" y="2908"/>
                    <a:pt x="60446" y="3848"/>
                  </a:cubicBezTo>
                  <a:cubicBezTo>
                    <a:pt x="61788" y="15525"/>
                    <a:pt x="60938" y="27292"/>
                    <a:pt x="61117" y="39014"/>
                  </a:cubicBezTo>
                  <a:lnTo>
                    <a:pt x="64293" y="39193"/>
                  </a:lnTo>
                  <a:cubicBezTo>
                    <a:pt x="79550" y="39954"/>
                    <a:pt x="94986" y="38925"/>
                    <a:pt x="110019" y="41967"/>
                  </a:cubicBezTo>
                  <a:lnTo>
                    <a:pt x="106798" y="47739"/>
                  </a:lnTo>
                  <a:cubicBezTo>
                    <a:pt x="91630" y="49931"/>
                    <a:pt x="76239" y="48768"/>
                    <a:pt x="60983" y="49618"/>
                  </a:cubicBezTo>
                  <a:lnTo>
                    <a:pt x="58522" y="49797"/>
                  </a:lnTo>
                  <a:cubicBezTo>
                    <a:pt x="57314" y="65009"/>
                    <a:pt x="56956" y="80311"/>
                    <a:pt x="56151" y="95568"/>
                  </a:cubicBezTo>
                  <a:cubicBezTo>
                    <a:pt x="53556" y="95433"/>
                    <a:pt x="48366" y="95210"/>
                    <a:pt x="45815" y="95076"/>
                  </a:cubicBezTo>
                  <a:cubicBezTo>
                    <a:pt x="45592" y="79729"/>
                    <a:pt x="45592" y="64338"/>
                    <a:pt x="45726" y="48992"/>
                  </a:cubicBezTo>
                  <a:cubicBezTo>
                    <a:pt x="31364" y="48634"/>
                    <a:pt x="16868" y="49126"/>
                    <a:pt x="2640" y="46755"/>
                  </a:cubicBezTo>
                  <a:lnTo>
                    <a:pt x="0" y="42683"/>
                  </a:lnTo>
                  <a:cubicBezTo>
                    <a:pt x="12528" y="33735"/>
                    <a:pt x="30737" y="40804"/>
                    <a:pt x="45457" y="39730"/>
                  </a:cubicBezTo>
                  <a:cubicBezTo>
                    <a:pt x="46084" y="26487"/>
                    <a:pt x="46665" y="13199"/>
                    <a:pt x="47381" y="0"/>
                  </a:cubicBezTo>
                  <a:close/>
                </a:path>
              </a:pathLst>
            </a:custGeom>
            <a:solidFill>
              <a:srgbClr val="F8FC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7" name="Rectangle: Rounded Corners 4526">
              <a:extLst>
                <a:ext uri="{FF2B5EF4-FFF2-40B4-BE49-F238E27FC236}">
                  <a16:creationId xmlns:a16="http://schemas.microsoft.com/office/drawing/2014/main" id="{B7BA387E-4188-8DDF-CA9F-A6AA16C45096}"/>
                </a:ext>
              </a:extLst>
            </p:cNvPr>
            <p:cNvSpPr/>
            <p:nvPr/>
          </p:nvSpPr>
          <p:spPr>
            <a:xfrm flipH="1">
              <a:off x="4286689" y="2292595"/>
              <a:ext cx="127979" cy="223398"/>
            </a:xfrm>
            <a:prstGeom prst="roundRect">
              <a:avLst/>
            </a:prstGeom>
            <a:solidFill>
              <a:srgbClr val="E6E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4" name="Freeform: Shape 4533">
              <a:extLst>
                <a:ext uri="{FF2B5EF4-FFF2-40B4-BE49-F238E27FC236}">
                  <a16:creationId xmlns:a16="http://schemas.microsoft.com/office/drawing/2014/main" id="{E24D30C7-0A66-D9B9-0907-78C4F036DC35}"/>
                </a:ext>
              </a:extLst>
            </p:cNvPr>
            <p:cNvSpPr/>
            <p:nvPr/>
          </p:nvSpPr>
          <p:spPr>
            <a:xfrm flipH="1">
              <a:off x="2311678" y="3178705"/>
              <a:ext cx="86080" cy="18359"/>
            </a:xfrm>
            <a:custGeom>
              <a:avLst/>
              <a:gdLst>
                <a:gd name="connsiteX0" fmla="*/ 0 w 72167"/>
                <a:gd name="connsiteY0" fmla="*/ 224 h 15391"/>
                <a:gd name="connsiteX1" fmla="*/ 55837 w 72167"/>
                <a:gd name="connsiteY1" fmla="*/ 4071 h 15391"/>
                <a:gd name="connsiteX2" fmla="*/ 70736 w 72167"/>
                <a:gd name="connsiteY2" fmla="*/ 0 h 15391"/>
                <a:gd name="connsiteX3" fmla="*/ 72168 w 72167"/>
                <a:gd name="connsiteY3" fmla="*/ 15391 h 15391"/>
                <a:gd name="connsiteX4" fmla="*/ 52079 w 72167"/>
                <a:gd name="connsiteY4" fmla="*/ 11946 h 15391"/>
                <a:gd name="connsiteX5" fmla="*/ 0 w 72167"/>
                <a:gd name="connsiteY5" fmla="*/ 224 h 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67" h="15391">
                  <a:moveTo>
                    <a:pt x="0" y="224"/>
                  </a:moveTo>
                  <a:cubicBezTo>
                    <a:pt x="18612" y="313"/>
                    <a:pt x="37717" y="-1477"/>
                    <a:pt x="55837" y="4071"/>
                  </a:cubicBezTo>
                  <a:cubicBezTo>
                    <a:pt x="59551" y="3042"/>
                    <a:pt x="67023" y="1029"/>
                    <a:pt x="70736" y="0"/>
                  </a:cubicBezTo>
                  <a:cubicBezTo>
                    <a:pt x="71184" y="5100"/>
                    <a:pt x="71631" y="10246"/>
                    <a:pt x="72168" y="15391"/>
                  </a:cubicBezTo>
                  <a:cubicBezTo>
                    <a:pt x="65412" y="14407"/>
                    <a:pt x="58656" y="13601"/>
                    <a:pt x="52079" y="11946"/>
                  </a:cubicBezTo>
                  <a:cubicBezTo>
                    <a:pt x="34988" y="6935"/>
                    <a:pt x="17628" y="2819"/>
                    <a:pt x="0" y="224"/>
                  </a:cubicBezTo>
                  <a:close/>
                </a:path>
              </a:pathLst>
            </a:custGeom>
            <a:solidFill>
              <a:srgbClr val="7FB7E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5" name="Freeform: Shape 4534">
              <a:extLst>
                <a:ext uri="{FF2B5EF4-FFF2-40B4-BE49-F238E27FC236}">
                  <a16:creationId xmlns:a16="http://schemas.microsoft.com/office/drawing/2014/main" id="{A96C62C3-8908-E91C-80BE-9D7CA27DC3F9}"/>
                </a:ext>
              </a:extLst>
            </p:cNvPr>
            <p:cNvSpPr/>
            <p:nvPr/>
          </p:nvSpPr>
          <p:spPr>
            <a:xfrm flipH="1">
              <a:off x="2863569" y="2413607"/>
              <a:ext cx="31937" cy="34567"/>
            </a:xfrm>
            <a:custGeom>
              <a:avLst/>
              <a:gdLst>
                <a:gd name="connsiteX0" fmla="*/ 1604 w 26775"/>
                <a:gd name="connsiteY0" fmla="*/ 7179 h 28980"/>
                <a:gd name="connsiteX1" fmla="*/ 24914 w 26775"/>
                <a:gd name="connsiteY1" fmla="*/ 468 h 28980"/>
                <a:gd name="connsiteX2" fmla="*/ 17487 w 26775"/>
                <a:gd name="connsiteY2" fmla="*/ 28208 h 28980"/>
                <a:gd name="connsiteX3" fmla="*/ 1604 w 26775"/>
                <a:gd name="connsiteY3" fmla="*/ 7179 h 28980"/>
              </a:gdLst>
              <a:ahLst/>
              <a:cxnLst>
                <a:cxn ang="0">
                  <a:pos x="connsiteX0" y="connsiteY0"/>
                </a:cxn>
                <a:cxn ang="0">
                  <a:pos x="connsiteX1" y="connsiteY1"/>
                </a:cxn>
                <a:cxn ang="0">
                  <a:pos x="connsiteX2" y="connsiteY2"/>
                </a:cxn>
                <a:cxn ang="0">
                  <a:pos x="connsiteX3" y="connsiteY3"/>
                </a:cxn>
              </a:cxnLst>
              <a:rect l="l" t="t" r="r" b="b"/>
              <a:pathLst>
                <a:path w="26775" h="28980">
                  <a:moveTo>
                    <a:pt x="1604" y="7179"/>
                  </a:moveTo>
                  <a:cubicBezTo>
                    <a:pt x="3886" y="-3693"/>
                    <a:pt x="17129" y="1229"/>
                    <a:pt x="24914" y="468"/>
                  </a:cubicBezTo>
                  <a:cubicBezTo>
                    <a:pt x="27733" y="9953"/>
                    <a:pt x="28762" y="23868"/>
                    <a:pt x="17487" y="28208"/>
                  </a:cubicBezTo>
                  <a:cubicBezTo>
                    <a:pt x="5765" y="32592"/>
                    <a:pt x="-3944" y="17336"/>
                    <a:pt x="1604" y="7179"/>
                  </a:cubicBezTo>
                  <a:close/>
                </a:path>
              </a:pathLst>
            </a:custGeom>
            <a:solidFill>
              <a:srgbClr val="BDD5E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6" name="Freeform: Shape 4535">
              <a:extLst>
                <a:ext uri="{FF2B5EF4-FFF2-40B4-BE49-F238E27FC236}">
                  <a16:creationId xmlns:a16="http://schemas.microsoft.com/office/drawing/2014/main" id="{485D4081-4421-3477-697B-371866D7E7B9}"/>
                </a:ext>
              </a:extLst>
            </p:cNvPr>
            <p:cNvSpPr/>
            <p:nvPr/>
          </p:nvSpPr>
          <p:spPr>
            <a:xfrm flipH="1">
              <a:off x="2779068" y="2421957"/>
              <a:ext cx="80905" cy="26861"/>
            </a:xfrm>
            <a:custGeom>
              <a:avLst/>
              <a:gdLst>
                <a:gd name="connsiteX0" fmla="*/ 1611 w 67828"/>
                <a:gd name="connsiteY0" fmla="*/ 90 h 22519"/>
                <a:gd name="connsiteX1" fmla="*/ 67828 w 67828"/>
                <a:gd name="connsiteY1" fmla="*/ 0 h 22519"/>
                <a:gd name="connsiteX2" fmla="*/ 67515 w 67828"/>
                <a:gd name="connsiteY2" fmla="*/ 21073 h 22519"/>
                <a:gd name="connsiteX3" fmla="*/ 59551 w 67828"/>
                <a:gd name="connsiteY3" fmla="*/ 21744 h 22519"/>
                <a:gd name="connsiteX4" fmla="*/ 0 w 67828"/>
                <a:gd name="connsiteY4" fmla="*/ 21834 h 22519"/>
                <a:gd name="connsiteX5" fmla="*/ 1611 w 67828"/>
                <a:gd name="connsiteY5" fmla="*/ 90 h 2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828" h="22519">
                  <a:moveTo>
                    <a:pt x="1611" y="90"/>
                  </a:moveTo>
                  <a:cubicBezTo>
                    <a:pt x="23579" y="3400"/>
                    <a:pt x="45771" y="1163"/>
                    <a:pt x="67828" y="0"/>
                  </a:cubicBezTo>
                  <a:cubicBezTo>
                    <a:pt x="67649" y="6980"/>
                    <a:pt x="67560" y="14049"/>
                    <a:pt x="67515" y="21073"/>
                  </a:cubicBezTo>
                  <a:cubicBezTo>
                    <a:pt x="65546" y="21252"/>
                    <a:pt x="61520" y="21565"/>
                    <a:pt x="59551" y="21744"/>
                  </a:cubicBezTo>
                  <a:cubicBezTo>
                    <a:pt x="39730" y="23310"/>
                    <a:pt x="19865" y="22058"/>
                    <a:pt x="0" y="21834"/>
                  </a:cubicBezTo>
                  <a:cubicBezTo>
                    <a:pt x="805" y="14586"/>
                    <a:pt x="1387" y="7338"/>
                    <a:pt x="1611" y="90"/>
                  </a:cubicBezTo>
                  <a:close/>
                </a:path>
              </a:pathLst>
            </a:custGeom>
            <a:solidFill>
              <a:srgbClr val="BFD5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41" name="Freeform: Shape 4540">
              <a:extLst>
                <a:ext uri="{FF2B5EF4-FFF2-40B4-BE49-F238E27FC236}">
                  <a16:creationId xmlns:a16="http://schemas.microsoft.com/office/drawing/2014/main" id="{940EA97E-440E-BF3D-E8A1-F637798A7A78}"/>
                </a:ext>
              </a:extLst>
            </p:cNvPr>
            <p:cNvSpPr/>
            <p:nvPr/>
          </p:nvSpPr>
          <p:spPr>
            <a:xfrm flipH="1">
              <a:off x="2691109" y="2514549"/>
              <a:ext cx="181305" cy="115219"/>
            </a:xfrm>
            <a:custGeom>
              <a:avLst/>
              <a:gdLst>
                <a:gd name="connsiteX0" fmla="*/ 2243 w 152001"/>
                <a:gd name="connsiteY0" fmla="*/ 1208 h 96596"/>
                <a:gd name="connsiteX1" fmla="*/ 40273 w 152001"/>
                <a:gd name="connsiteY1" fmla="*/ 984 h 96596"/>
                <a:gd name="connsiteX2" fmla="*/ 42824 w 152001"/>
                <a:gd name="connsiteY2" fmla="*/ 21207 h 96596"/>
                <a:gd name="connsiteX3" fmla="*/ 149935 w 152001"/>
                <a:gd name="connsiteY3" fmla="*/ 23579 h 96596"/>
                <a:gd name="connsiteX4" fmla="*/ 150785 w 152001"/>
                <a:gd name="connsiteY4" fmla="*/ 0 h 96596"/>
                <a:gd name="connsiteX5" fmla="*/ 149666 w 152001"/>
                <a:gd name="connsiteY5" fmla="*/ 36196 h 96596"/>
                <a:gd name="connsiteX6" fmla="*/ 144566 w 152001"/>
                <a:gd name="connsiteY6" fmla="*/ 94494 h 96596"/>
                <a:gd name="connsiteX7" fmla="*/ 11102 w 152001"/>
                <a:gd name="connsiteY7" fmla="*/ 96597 h 96596"/>
                <a:gd name="connsiteX8" fmla="*/ 10162 w 152001"/>
                <a:gd name="connsiteY8" fmla="*/ 94986 h 96596"/>
                <a:gd name="connsiteX9" fmla="*/ 319 w 152001"/>
                <a:gd name="connsiteY9" fmla="*/ 63936 h 96596"/>
                <a:gd name="connsiteX10" fmla="*/ 2243 w 152001"/>
                <a:gd name="connsiteY10" fmla="*/ 1208 h 9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001" h="96596">
                  <a:moveTo>
                    <a:pt x="2243" y="1208"/>
                  </a:moveTo>
                  <a:cubicBezTo>
                    <a:pt x="14905" y="1521"/>
                    <a:pt x="27612" y="1879"/>
                    <a:pt x="40273" y="984"/>
                  </a:cubicBezTo>
                  <a:cubicBezTo>
                    <a:pt x="41124" y="7696"/>
                    <a:pt x="41929" y="14452"/>
                    <a:pt x="42824" y="21207"/>
                  </a:cubicBezTo>
                  <a:cubicBezTo>
                    <a:pt x="78483" y="22460"/>
                    <a:pt x="114186" y="23176"/>
                    <a:pt x="149935" y="23579"/>
                  </a:cubicBezTo>
                  <a:cubicBezTo>
                    <a:pt x="150114" y="15704"/>
                    <a:pt x="150427" y="7875"/>
                    <a:pt x="150785" y="0"/>
                  </a:cubicBezTo>
                  <a:cubicBezTo>
                    <a:pt x="152843" y="12035"/>
                    <a:pt x="152172" y="24295"/>
                    <a:pt x="149666" y="36196"/>
                  </a:cubicBezTo>
                  <a:cubicBezTo>
                    <a:pt x="145684" y="55390"/>
                    <a:pt x="145192" y="74987"/>
                    <a:pt x="144566" y="94494"/>
                  </a:cubicBezTo>
                  <a:cubicBezTo>
                    <a:pt x="100093" y="97357"/>
                    <a:pt x="55530" y="94494"/>
                    <a:pt x="11102" y="96597"/>
                  </a:cubicBezTo>
                  <a:lnTo>
                    <a:pt x="10162" y="94986"/>
                  </a:lnTo>
                  <a:cubicBezTo>
                    <a:pt x="5241" y="85232"/>
                    <a:pt x="1975" y="74718"/>
                    <a:pt x="319" y="63936"/>
                  </a:cubicBezTo>
                  <a:cubicBezTo>
                    <a:pt x="-441" y="42996"/>
                    <a:pt x="140" y="22058"/>
                    <a:pt x="2243" y="1208"/>
                  </a:cubicBezTo>
                  <a:close/>
                </a:path>
              </a:pathLst>
            </a:custGeom>
            <a:solidFill>
              <a:srgbClr val="C6D0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44" name="Freeform: Shape 4543">
              <a:extLst>
                <a:ext uri="{FF2B5EF4-FFF2-40B4-BE49-F238E27FC236}">
                  <a16:creationId xmlns:a16="http://schemas.microsoft.com/office/drawing/2014/main" id="{8AB9BF6C-81A4-AE90-7CF4-0A330E401109}"/>
                </a:ext>
              </a:extLst>
            </p:cNvPr>
            <p:cNvSpPr/>
            <p:nvPr/>
          </p:nvSpPr>
          <p:spPr>
            <a:xfrm flipH="1">
              <a:off x="4322290" y="2535363"/>
              <a:ext cx="46471" cy="214748"/>
            </a:xfrm>
            <a:custGeom>
              <a:avLst/>
              <a:gdLst>
                <a:gd name="connsiteX0" fmla="*/ 5047 w 38960"/>
                <a:gd name="connsiteY0" fmla="*/ 20805 h 180039"/>
                <a:gd name="connsiteX1" fmla="*/ 12116 w 38960"/>
                <a:gd name="connsiteY1" fmla="*/ 0 h 180039"/>
                <a:gd name="connsiteX2" fmla="*/ 17754 w 38960"/>
                <a:gd name="connsiteY2" fmla="*/ 19642 h 180039"/>
                <a:gd name="connsiteX3" fmla="*/ 38961 w 38960"/>
                <a:gd name="connsiteY3" fmla="*/ 19418 h 180039"/>
                <a:gd name="connsiteX4" fmla="*/ 38961 w 38960"/>
                <a:gd name="connsiteY4" fmla="*/ 22326 h 180039"/>
                <a:gd name="connsiteX5" fmla="*/ 13011 w 38960"/>
                <a:gd name="connsiteY5" fmla="*/ 22729 h 180039"/>
                <a:gd name="connsiteX6" fmla="*/ 13056 w 38960"/>
                <a:gd name="connsiteY6" fmla="*/ 176729 h 180039"/>
                <a:gd name="connsiteX7" fmla="*/ 13190 w 38960"/>
                <a:gd name="connsiteY7" fmla="*/ 178295 h 180039"/>
                <a:gd name="connsiteX8" fmla="*/ 931 w 38960"/>
                <a:gd name="connsiteY8" fmla="*/ 180040 h 180039"/>
                <a:gd name="connsiteX9" fmla="*/ 439 w 38960"/>
                <a:gd name="connsiteY9" fmla="*/ 112972 h 180039"/>
                <a:gd name="connsiteX10" fmla="*/ 528 w 38960"/>
                <a:gd name="connsiteY10" fmla="*/ 22326 h 180039"/>
                <a:gd name="connsiteX11" fmla="*/ 618 w 38960"/>
                <a:gd name="connsiteY11" fmla="*/ 18076 h 180039"/>
                <a:gd name="connsiteX12" fmla="*/ 5047 w 38960"/>
                <a:gd name="connsiteY12" fmla="*/ 20805 h 1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0" h="180039">
                  <a:moveTo>
                    <a:pt x="5047" y="20805"/>
                  </a:moveTo>
                  <a:cubicBezTo>
                    <a:pt x="7373" y="13870"/>
                    <a:pt x="9745" y="6890"/>
                    <a:pt x="12116" y="0"/>
                  </a:cubicBezTo>
                  <a:cubicBezTo>
                    <a:pt x="13995" y="6532"/>
                    <a:pt x="15874" y="13065"/>
                    <a:pt x="17754" y="19642"/>
                  </a:cubicBezTo>
                  <a:cubicBezTo>
                    <a:pt x="24778" y="19507"/>
                    <a:pt x="31847" y="19373"/>
                    <a:pt x="38961" y="19418"/>
                  </a:cubicBezTo>
                  <a:lnTo>
                    <a:pt x="38961" y="22326"/>
                  </a:lnTo>
                  <a:cubicBezTo>
                    <a:pt x="30281" y="22326"/>
                    <a:pt x="21646" y="22550"/>
                    <a:pt x="13011" y="22729"/>
                  </a:cubicBezTo>
                  <a:cubicBezTo>
                    <a:pt x="13816" y="74047"/>
                    <a:pt x="6434" y="125679"/>
                    <a:pt x="13056" y="176729"/>
                  </a:cubicBezTo>
                  <a:lnTo>
                    <a:pt x="13190" y="178295"/>
                  </a:lnTo>
                  <a:cubicBezTo>
                    <a:pt x="10148" y="178742"/>
                    <a:pt x="3973" y="179592"/>
                    <a:pt x="931" y="180040"/>
                  </a:cubicBezTo>
                  <a:cubicBezTo>
                    <a:pt x="1333" y="157669"/>
                    <a:pt x="841" y="135298"/>
                    <a:pt x="439" y="112972"/>
                  </a:cubicBezTo>
                  <a:cubicBezTo>
                    <a:pt x="260" y="82772"/>
                    <a:pt x="-501" y="52527"/>
                    <a:pt x="528" y="22326"/>
                  </a:cubicBezTo>
                  <a:lnTo>
                    <a:pt x="618" y="18076"/>
                  </a:lnTo>
                  <a:cubicBezTo>
                    <a:pt x="1736" y="18791"/>
                    <a:pt x="3928" y="20134"/>
                    <a:pt x="5047" y="20805"/>
                  </a:cubicBezTo>
                  <a:close/>
                </a:path>
              </a:pathLst>
            </a:custGeom>
            <a:solidFill>
              <a:srgbClr val="B9DBF2"/>
            </a:solidFill>
            <a:ln w="9525" cap="flat">
              <a:solidFill>
                <a:srgbClr val="B9DB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57" name="Freeform: Shape 4556">
              <a:extLst>
                <a:ext uri="{FF2B5EF4-FFF2-40B4-BE49-F238E27FC236}">
                  <a16:creationId xmlns:a16="http://schemas.microsoft.com/office/drawing/2014/main" id="{E0D47C71-9E9A-182C-6C23-4A8D9101F6A1}"/>
                </a:ext>
              </a:extLst>
            </p:cNvPr>
            <p:cNvSpPr/>
            <p:nvPr/>
          </p:nvSpPr>
          <p:spPr>
            <a:xfrm flipH="1">
              <a:off x="2582945" y="2596655"/>
              <a:ext cx="100169" cy="23614"/>
            </a:xfrm>
            <a:custGeom>
              <a:avLst/>
              <a:gdLst>
                <a:gd name="connsiteX0" fmla="*/ 2506 w 83979"/>
                <a:gd name="connsiteY0" fmla="*/ 1052 h 19798"/>
                <a:gd name="connsiteX1" fmla="*/ 82906 w 83979"/>
                <a:gd name="connsiteY1" fmla="*/ 336 h 19798"/>
                <a:gd name="connsiteX2" fmla="*/ 83980 w 83979"/>
                <a:gd name="connsiteY2" fmla="*/ 19530 h 19798"/>
                <a:gd name="connsiteX3" fmla="*/ 0 w 83979"/>
                <a:gd name="connsiteY3" fmla="*/ 19798 h 19798"/>
                <a:gd name="connsiteX4" fmla="*/ 2506 w 83979"/>
                <a:gd name="connsiteY4" fmla="*/ 1052 h 19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979" h="19798">
                  <a:moveTo>
                    <a:pt x="2506" y="1052"/>
                  </a:moveTo>
                  <a:cubicBezTo>
                    <a:pt x="29306" y="-112"/>
                    <a:pt x="56106" y="-246"/>
                    <a:pt x="82906" y="336"/>
                  </a:cubicBezTo>
                  <a:cubicBezTo>
                    <a:pt x="83219" y="6734"/>
                    <a:pt x="83577" y="13132"/>
                    <a:pt x="83980" y="19530"/>
                  </a:cubicBezTo>
                  <a:cubicBezTo>
                    <a:pt x="55972" y="19798"/>
                    <a:pt x="27963" y="19441"/>
                    <a:pt x="0" y="19798"/>
                  </a:cubicBezTo>
                  <a:cubicBezTo>
                    <a:pt x="806" y="13490"/>
                    <a:pt x="1656" y="7271"/>
                    <a:pt x="2506" y="1052"/>
                  </a:cubicBezTo>
                  <a:close/>
                </a:path>
              </a:pathLst>
            </a:custGeom>
            <a:solidFill>
              <a:srgbClr val="F7FB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58" name="Freeform: Shape 4557">
              <a:extLst>
                <a:ext uri="{FF2B5EF4-FFF2-40B4-BE49-F238E27FC236}">
                  <a16:creationId xmlns:a16="http://schemas.microsoft.com/office/drawing/2014/main" id="{009E5A42-2101-6374-507D-CE4A6473E1B4}"/>
                </a:ext>
              </a:extLst>
            </p:cNvPr>
            <p:cNvSpPr/>
            <p:nvPr/>
          </p:nvSpPr>
          <p:spPr>
            <a:xfrm flipH="1">
              <a:off x="2859173" y="2627848"/>
              <a:ext cx="184383" cy="259577"/>
            </a:xfrm>
            <a:custGeom>
              <a:avLst/>
              <a:gdLst>
                <a:gd name="connsiteX0" fmla="*/ 761 w 154581"/>
                <a:gd name="connsiteY0" fmla="*/ 25816 h 217622"/>
                <a:gd name="connsiteX1" fmla="*/ 15525 w 154581"/>
                <a:gd name="connsiteY1" fmla="*/ 716 h 217622"/>
                <a:gd name="connsiteX2" fmla="*/ 153642 w 154581"/>
                <a:gd name="connsiteY2" fmla="*/ 0 h 217622"/>
                <a:gd name="connsiteX3" fmla="*/ 154582 w 154581"/>
                <a:gd name="connsiteY3" fmla="*/ 1611 h 217622"/>
                <a:gd name="connsiteX4" fmla="*/ 52661 w 154581"/>
                <a:gd name="connsiteY4" fmla="*/ 4071 h 217622"/>
                <a:gd name="connsiteX5" fmla="*/ 50737 w 154581"/>
                <a:gd name="connsiteY5" fmla="*/ 164828 h 217622"/>
                <a:gd name="connsiteX6" fmla="*/ 102637 w 154581"/>
                <a:gd name="connsiteY6" fmla="*/ 190643 h 217622"/>
                <a:gd name="connsiteX7" fmla="*/ 97357 w 154581"/>
                <a:gd name="connsiteY7" fmla="*/ 202321 h 217622"/>
                <a:gd name="connsiteX8" fmla="*/ 84964 w 154581"/>
                <a:gd name="connsiteY8" fmla="*/ 214938 h 217622"/>
                <a:gd name="connsiteX9" fmla="*/ 39686 w 154581"/>
                <a:gd name="connsiteY9" fmla="*/ 217622 h 217622"/>
                <a:gd name="connsiteX10" fmla="*/ 6756 w 154581"/>
                <a:gd name="connsiteY10" fmla="*/ 185364 h 217622"/>
                <a:gd name="connsiteX11" fmla="*/ 0 w 154581"/>
                <a:gd name="connsiteY11" fmla="*/ 180353 h 217622"/>
                <a:gd name="connsiteX12" fmla="*/ 179 w 154581"/>
                <a:gd name="connsiteY12" fmla="*/ 175968 h 217622"/>
                <a:gd name="connsiteX13" fmla="*/ 761 w 154581"/>
                <a:gd name="connsiteY13" fmla="*/ 25816 h 217622"/>
                <a:gd name="connsiteX14" fmla="*/ 30424 w 154581"/>
                <a:gd name="connsiteY14" fmla="*/ 27740 h 217622"/>
                <a:gd name="connsiteX15" fmla="*/ 31364 w 154581"/>
                <a:gd name="connsiteY15" fmla="*/ 157266 h 217622"/>
                <a:gd name="connsiteX16" fmla="*/ 44518 w 154581"/>
                <a:gd name="connsiteY16" fmla="*/ 164917 h 217622"/>
                <a:gd name="connsiteX17" fmla="*/ 44518 w 154581"/>
                <a:gd name="connsiteY17" fmla="*/ 27337 h 217622"/>
                <a:gd name="connsiteX18" fmla="*/ 30424 w 154581"/>
                <a:gd name="connsiteY18" fmla="*/ 27740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581" h="217622">
                  <a:moveTo>
                    <a:pt x="761" y="25816"/>
                  </a:moveTo>
                  <a:cubicBezTo>
                    <a:pt x="761" y="15928"/>
                    <a:pt x="1879" y="-268"/>
                    <a:pt x="15525" y="716"/>
                  </a:cubicBezTo>
                  <a:cubicBezTo>
                    <a:pt x="61520" y="-537"/>
                    <a:pt x="107603" y="403"/>
                    <a:pt x="153642" y="0"/>
                  </a:cubicBezTo>
                  <a:lnTo>
                    <a:pt x="154582" y="1611"/>
                  </a:lnTo>
                  <a:cubicBezTo>
                    <a:pt x="120578" y="2416"/>
                    <a:pt x="86575" y="1029"/>
                    <a:pt x="52661" y="4071"/>
                  </a:cubicBezTo>
                  <a:cubicBezTo>
                    <a:pt x="50110" y="57627"/>
                    <a:pt x="51453" y="111272"/>
                    <a:pt x="50737" y="164828"/>
                  </a:cubicBezTo>
                  <a:cubicBezTo>
                    <a:pt x="48410" y="192299"/>
                    <a:pt x="84427" y="188898"/>
                    <a:pt x="102637" y="190643"/>
                  </a:cubicBezTo>
                  <a:cubicBezTo>
                    <a:pt x="101339" y="193551"/>
                    <a:pt x="98700" y="199413"/>
                    <a:pt x="97357" y="202321"/>
                  </a:cubicBezTo>
                  <a:cubicBezTo>
                    <a:pt x="94181" y="207242"/>
                    <a:pt x="91944" y="214669"/>
                    <a:pt x="84964" y="214938"/>
                  </a:cubicBezTo>
                  <a:cubicBezTo>
                    <a:pt x="69976" y="217085"/>
                    <a:pt x="54763" y="216683"/>
                    <a:pt x="39686" y="217622"/>
                  </a:cubicBezTo>
                  <a:cubicBezTo>
                    <a:pt x="30693" y="205050"/>
                    <a:pt x="19194" y="194446"/>
                    <a:pt x="6756" y="185364"/>
                  </a:cubicBezTo>
                  <a:cubicBezTo>
                    <a:pt x="5056" y="184111"/>
                    <a:pt x="1700" y="181606"/>
                    <a:pt x="0" y="180353"/>
                  </a:cubicBezTo>
                  <a:cubicBezTo>
                    <a:pt x="45" y="179279"/>
                    <a:pt x="134" y="177087"/>
                    <a:pt x="179" y="175968"/>
                  </a:cubicBezTo>
                  <a:cubicBezTo>
                    <a:pt x="2685" y="125947"/>
                    <a:pt x="805" y="75837"/>
                    <a:pt x="761" y="25816"/>
                  </a:cubicBezTo>
                  <a:close/>
                  <a:moveTo>
                    <a:pt x="30424" y="27740"/>
                  </a:moveTo>
                  <a:cubicBezTo>
                    <a:pt x="28858" y="70870"/>
                    <a:pt x="29350" y="114180"/>
                    <a:pt x="31364" y="157266"/>
                  </a:cubicBezTo>
                  <a:cubicBezTo>
                    <a:pt x="34630" y="159190"/>
                    <a:pt x="41207" y="162993"/>
                    <a:pt x="44518" y="164917"/>
                  </a:cubicBezTo>
                  <a:cubicBezTo>
                    <a:pt x="48500" y="119191"/>
                    <a:pt x="44115" y="73152"/>
                    <a:pt x="44518" y="27337"/>
                  </a:cubicBezTo>
                  <a:cubicBezTo>
                    <a:pt x="39775" y="27516"/>
                    <a:pt x="35077" y="27650"/>
                    <a:pt x="30424" y="27740"/>
                  </a:cubicBezTo>
                  <a:close/>
                </a:path>
              </a:pathLst>
            </a:custGeom>
            <a:solidFill>
              <a:srgbClr val="B9CBD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60" name="Freeform: Shape 4559">
              <a:extLst>
                <a:ext uri="{FF2B5EF4-FFF2-40B4-BE49-F238E27FC236}">
                  <a16:creationId xmlns:a16="http://schemas.microsoft.com/office/drawing/2014/main" id="{8A2D0BAE-1E5A-23C6-E29B-1CB119558E32}"/>
                </a:ext>
              </a:extLst>
            </p:cNvPr>
            <p:cNvSpPr/>
            <p:nvPr/>
          </p:nvSpPr>
          <p:spPr>
            <a:xfrm flipH="1">
              <a:off x="2522639" y="2625570"/>
              <a:ext cx="460526" cy="229674"/>
            </a:xfrm>
            <a:custGeom>
              <a:avLst/>
              <a:gdLst>
                <a:gd name="connsiteX0" fmla="*/ 103953 w 386091"/>
                <a:gd name="connsiteY0" fmla="*/ 3520 h 192552"/>
                <a:gd name="connsiteX1" fmla="*/ 237416 w 386091"/>
                <a:gd name="connsiteY1" fmla="*/ 1417 h 192552"/>
                <a:gd name="connsiteX2" fmla="*/ 340232 w 386091"/>
                <a:gd name="connsiteY2" fmla="*/ 1552 h 192552"/>
                <a:gd name="connsiteX3" fmla="*/ 386092 w 386091"/>
                <a:gd name="connsiteY3" fmla="*/ 8308 h 192552"/>
                <a:gd name="connsiteX4" fmla="*/ 384302 w 386091"/>
                <a:gd name="connsiteY4" fmla="*/ 191882 h 192552"/>
                <a:gd name="connsiteX5" fmla="*/ 348554 w 386091"/>
                <a:gd name="connsiteY5" fmla="*/ 192016 h 192552"/>
                <a:gd name="connsiteX6" fmla="*/ 283903 w 386091"/>
                <a:gd name="connsiteY6" fmla="*/ 191479 h 192552"/>
                <a:gd name="connsiteX7" fmla="*/ 247036 w 386091"/>
                <a:gd name="connsiteY7" fmla="*/ 191255 h 192552"/>
                <a:gd name="connsiteX8" fmla="*/ 91291 w 386091"/>
                <a:gd name="connsiteY8" fmla="*/ 191658 h 192552"/>
                <a:gd name="connsiteX9" fmla="*/ 52008 w 386091"/>
                <a:gd name="connsiteY9" fmla="*/ 192553 h 192552"/>
                <a:gd name="connsiteX10" fmla="*/ 107 w 386091"/>
                <a:gd name="connsiteY10" fmla="*/ 166737 h 192552"/>
                <a:gd name="connsiteX11" fmla="*/ 2031 w 386091"/>
                <a:gd name="connsiteY11" fmla="*/ 5981 h 192552"/>
                <a:gd name="connsiteX12" fmla="*/ 103953 w 386091"/>
                <a:gd name="connsiteY12" fmla="*/ 3520 h 192552"/>
                <a:gd name="connsiteX13" fmla="*/ 66146 w 386091"/>
                <a:gd name="connsiteY13" fmla="*/ 56942 h 192552"/>
                <a:gd name="connsiteX14" fmla="*/ 40912 w 386091"/>
                <a:gd name="connsiteY14" fmla="*/ 101772 h 192552"/>
                <a:gd name="connsiteX15" fmla="*/ 97868 w 386091"/>
                <a:gd name="connsiteY15" fmla="*/ 102220 h 192552"/>
                <a:gd name="connsiteX16" fmla="*/ 70173 w 386091"/>
                <a:gd name="connsiteY16" fmla="*/ 55420 h 192552"/>
                <a:gd name="connsiteX17" fmla="*/ 66146 w 386091"/>
                <a:gd name="connsiteY17" fmla="*/ 56942 h 192552"/>
                <a:gd name="connsiteX18" fmla="*/ 172944 w 386091"/>
                <a:gd name="connsiteY18" fmla="*/ 60879 h 192552"/>
                <a:gd name="connsiteX19" fmla="*/ 172720 w 386091"/>
                <a:gd name="connsiteY19" fmla="*/ 59581 h 192552"/>
                <a:gd name="connsiteX20" fmla="*/ 168962 w 386091"/>
                <a:gd name="connsiteY20" fmla="*/ 76001 h 192552"/>
                <a:gd name="connsiteX21" fmla="*/ 157195 w 386091"/>
                <a:gd name="connsiteY21" fmla="*/ 83965 h 192552"/>
                <a:gd name="connsiteX22" fmla="*/ 170125 w 386091"/>
                <a:gd name="connsiteY22" fmla="*/ 96493 h 192552"/>
                <a:gd name="connsiteX23" fmla="*/ 216969 w 386091"/>
                <a:gd name="connsiteY23" fmla="*/ 95598 h 192552"/>
                <a:gd name="connsiteX24" fmla="*/ 214061 w 386091"/>
                <a:gd name="connsiteY24" fmla="*/ 75599 h 192552"/>
                <a:gd name="connsiteX25" fmla="*/ 213972 w 386091"/>
                <a:gd name="connsiteY25" fmla="*/ 56136 h 192552"/>
                <a:gd name="connsiteX26" fmla="*/ 172944 w 386091"/>
                <a:gd name="connsiteY26" fmla="*/ 60879 h 192552"/>
                <a:gd name="connsiteX27" fmla="*/ 236387 w 386091"/>
                <a:gd name="connsiteY27" fmla="*/ 79760 h 192552"/>
                <a:gd name="connsiteX28" fmla="*/ 237551 w 386091"/>
                <a:gd name="connsiteY28" fmla="*/ 98014 h 192552"/>
                <a:gd name="connsiteX29" fmla="*/ 352447 w 386091"/>
                <a:gd name="connsiteY29" fmla="*/ 97298 h 192552"/>
                <a:gd name="connsiteX30" fmla="*/ 351104 w 386091"/>
                <a:gd name="connsiteY30" fmla="*/ 79939 h 192552"/>
                <a:gd name="connsiteX31" fmla="*/ 236387 w 386091"/>
                <a:gd name="connsiteY31" fmla="*/ 79760 h 192552"/>
                <a:gd name="connsiteX32" fmla="*/ 39435 w 386091"/>
                <a:gd name="connsiteY32" fmla="*/ 110900 h 192552"/>
                <a:gd name="connsiteX33" fmla="*/ 32858 w 386091"/>
                <a:gd name="connsiteY33" fmla="*/ 124054 h 192552"/>
                <a:gd name="connsiteX34" fmla="*/ 103102 w 386091"/>
                <a:gd name="connsiteY34" fmla="*/ 124367 h 192552"/>
                <a:gd name="connsiteX35" fmla="*/ 104087 w 386091"/>
                <a:gd name="connsiteY35" fmla="*/ 109423 h 192552"/>
                <a:gd name="connsiteX36" fmla="*/ 39435 w 386091"/>
                <a:gd name="connsiteY36" fmla="*/ 110900 h 192552"/>
                <a:gd name="connsiteX37" fmla="*/ 146144 w 386091"/>
                <a:gd name="connsiteY37" fmla="*/ 108842 h 192552"/>
                <a:gd name="connsiteX38" fmla="*/ 146904 w 386091"/>
                <a:gd name="connsiteY38" fmla="*/ 123204 h 192552"/>
                <a:gd name="connsiteX39" fmla="*/ 216388 w 386091"/>
                <a:gd name="connsiteY39" fmla="*/ 123606 h 192552"/>
                <a:gd name="connsiteX40" fmla="*/ 218177 w 386091"/>
                <a:gd name="connsiteY40" fmla="*/ 110408 h 192552"/>
                <a:gd name="connsiteX41" fmla="*/ 146144 w 386091"/>
                <a:gd name="connsiteY41" fmla="*/ 108842 h 192552"/>
                <a:gd name="connsiteX42" fmla="*/ 232405 w 386091"/>
                <a:gd name="connsiteY42" fmla="*/ 116985 h 192552"/>
                <a:gd name="connsiteX43" fmla="*/ 273120 w 386091"/>
                <a:gd name="connsiteY43" fmla="*/ 123248 h 192552"/>
                <a:gd name="connsiteX44" fmla="*/ 355086 w 386091"/>
                <a:gd name="connsiteY44" fmla="*/ 120116 h 192552"/>
                <a:gd name="connsiteX45" fmla="*/ 308913 w 386091"/>
                <a:gd name="connsiteY45" fmla="*/ 113405 h 192552"/>
                <a:gd name="connsiteX46" fmla="*/ 232405 w 386091"/>
                <a:gd name="connsiteY46" fmla="*/ 116985 h 19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6091" h="192552">
                  <a:moveTo>
                    <a:pt x="103953" y="3520"/>
                  </a:moveTo>
                  <a:cubicBezTo>
                    <a:pt x="148381" y="1417"/>
                    <a:pt x="192943" y="4281"/>
                    <a:pt x="237416" y="1417"/>
                  </a:cubicBezTo>
                  <a:cubicBezTo>
                    <a:pt x="271644" y="-2296"/>
                    <a:pt x="305960" y="2581"/>
                    <a:pt x="340232" y="1552"/>
                  </a:cubicBezTo>
                  <a:cubicBezTo>
                    <a:pt x="355623" y="1865"/>
                    <a:pt x="372267" y="120"/>
                    <a:pt x="386092" y="8308"/>
                  </a:cubicBezTo>
                  <a:cubicBezTo>
                    <a:pt x="385153" y="69514"/>
                    <a:pt x="387076" y="130720"/>
                    <a:pt x="384302" y="191882"/>
                  </a:cubicBezTo>
                  <a:cubicBezTo>
                    <a:pt x="372356" y="191971"/>
                    <a:pt x="360455" y="192061"/>
                    <a:pt x="348554" y="192016"/>
                  </a:cubicBezTo>
                  <a:cubicBezTo>
                    <a:pt x="326989" y="191703"/>
                    <a:pt x="305423" y="191434"/>
                    <a:pt x="283903" y="191479"/>
                  </a:cubicBezTo>
                  <a:cubicBezTo>
                    <a:pt x="271599" y="191390"/>
                    <a:pt x="259295" y="191300"/>
                    <a:pt x="247036" y="191255"/>
                  </a:cubicBezTo>
                  <a:cubicBezTo>
                    <a:pt x="195135" y="190137"/>
                    <a:pt x="143191" y="191211"/>
                    <a:pt x="91291" y="191658"/>
                  </a:cubicBezTo>
                  <a:cubicBezTo>
                    <a:pt x="78181" y="191837"/>
                    <a:pt x="65072" y="192105"/>
                    <a:pt x="52008" y="192553"/>
                  </a:cubicBezTo>
                  <a:cubicBezTo>
                    <a:pt x="33798" y="190808"/>
                    <a:pt x="-2219" y="194208"/>
                    <a:pt x="107" y="166737"/>
                  </a:cubicBezTo>
                  <a:cubicBezTo>
                    <a:pt x="823" y="113182"/>
                    <a:pt x="-519" y="59536"/>
                    <a:pt x="2031" y="5981"/>
                  </a:cubicBezTo>
                  <a:cubicBezTo>
                    <a:pt x="35945" y="2939"/>
                    <a:pt x="69949" y="4326"/>
                    <a:pt x="103953" y="3520"/>
                  </a:cubicBezTo>
                  <a:close/>
                  <a:moveTo>
                    <a:pt x="66146" y="56942"/>
                  </a:moveTo>
                  <a:cubicBezTo>
                    <a:pt x="56482" y="71125"/>
                    <a:pt x="49457" y="86874"/>
                    <a:pt x="40912" y="101772"/>
                  </a:cubicBezTo>
                  <a:cubicBezTo>
                    <a:pt x="59882" y="102309"/>
                    <a:pt x="78897" y="101907"/>
                    <a:pt x="97868" y="102220"/>
                  </a:cubicBezTo>
                  <a:cubicBezTo>
                    <a:pt x="87488" y="87276"/>
                    <a:pt x="80374" y="70453"/>
                    <a:pt x="70173" y="55420"/>
                  </a:cubicBezTo>
                  <a:cubicBezTo>
                    <a:pt x="69188" y="55778"/>
                    <a:pt x="67130" y="56584"/>
                    <a:pt x="66146" y="56942"/>
                  </a:cubicBezTo>
                  <a:close/>
                  <a:moveTo>
                    <a:pt x="172944" y="60879"/>
                  </a:moveTo>
                  <a:lnTo>
                    <a:pt x="172720" y="59581"/>
                  </a:lnTo>
                  <a:cubicBezTo>
                    <a:pt x="171423" y="65040"/>
                    <a:pt x="170170" y="70498"/>
                    <a:pt x="168962" y="76001"/>
                  </a:cubicBezTo>
                  <a:cubicBezTo>
                    <a:pt x="164980" y="78641"/>
                    <a:pt x="161087" y="81281"/>
                    <a:pt x="157195" y="83965"/>
                  </a:cubicBezTo>
                  <a:cubicBezTo>
                    <a:pt x="160729" y="88663"/>
                    <a:pt x="163146" y="96269"/>
                    <a:pt x="170125" y="96493"/>
                  </a:cubicBezTo>
                  <a:cubicBezTo>
                    <a:pt x="185695" y="97880"/>
                    <a:pt x="201355" y="96001"/>
                    <a:pt x="216969" y="95598"/>
                  </a:cubicBezTo>
                  <a:cubicBezTo>
                    <a:pt x="215940" y="88887"/>
                    <a:pt x="215001" y="82220"/>
                    <a:pt x="214061" y="75599"/>
                  </a:cubicBezTo>
                  <a:cubicBezTo>
                    <a:pt x="213972" y="69111"/>
                    <a:pt x="213972" y="62624"/>
                    <a:pt x="213972" y="56136"/>
                  </a:cubicBezTo>
                  <a:cubicBezTo>
                    <a:pt x="200147" y="55912"/>
                    <a:pt x="186098" y="56047"/>
                    <a:pt x="172944" y="60879"/>
                  </a:cubicBezTo>
                  <a:close/>
                  <a:moveTo>
                    <a:pt x="236387" y="79760"/>
                  </a:moveTo>
                  <a:cubicBezTo>
                    <a:pt x="236745" y="85800"/>
                    <a:pt x="237148" y="91929"/>
                    <a:pt x="237551" y="98014"/>
                  </a:cubicBezTo>
                  <a:cubicBezTo>
                    <a:pt x="275849" y="98641"/>
                    <a:pt x="314192" y="98820"/>
                    <a:pt x="352447" y="97298"/>
                  </a:cubicBezTo>
                  <a:cubicBezTo>
                    <a:pt x="352133" y="92958"/>
                    <a:pt x="351462" y="84279"/>
                    <a:pt x="351104" y="79939"/>
                  </a:cubicBezTo>
                  <a:cubicBezTo>
                    <a:pt x="312895" y="79804"/>
                    <a:pt x="274641" y="79491"/>
                    <a:pt x="236387" y="79760"/>
                  </a:cubicBezTo>
                  <a:close/>
                  <a:moveTo>
                    <a:pt x="39435" y="110900"/>
                  </a:moveTo>
                  <a:cubicBezTo>
                    <a:pt x="32903" y="111392"/>
                    <a:pt x="34961" y="119759"/>
                    <a:pt x="32858" y="124054"/>
                  </a:cubicBezTo>
                  <a:cubicBezTo>
                    <a:pt x="56258" y="124904"/>
                    <a:pt x="79703" y="124591"/>
                    <a:pt x="103102" y="124367"/>
                  </a:cubicBezTo>
                  <a:cubicBezTo>
                    <a:pt x="103595" y="119356"/>
                    <a:pt x="103908" y="114390"/>
                    <a:pt x="104087" y="109423"/>
                  </a:cubicBezTo>
                  <a:cubicBezTo>
                    <a:pt x="82611" y="112376"/>
                    <a:pt x="60956" y="109781"/>
                    <a:pt x="39435" y="110900"/>
                  </a:cubicBezTo>
                  <a:close/>
                  <a:moveTo>
                    <a:pt x="146144" y="108842"/>
                  </a:moveTo>
                  <a:cubicBezTo>
                    <a:pt x="146323" y="112421"/>
                    <a:pt x="146725" y="119624"/>
                    <a:pt x="146904" y="123204"/>
                  </a:cubicBezTo>
                  <a:cubicBezTo>
                    <a:pt x="170036" y="123875"/>
                    <a:pt x="193212" y="123517"/>
                    <a:pt x="216388" y="123606"/>
                  </a:cubicBezTo>
                  <a:cubicBezTo>
                    <a:pt x="216880" y="119177"/>
                    <a:pt x="217461" y="114792"/>
                    <a:pt x="218177" y="110408"/>
                  </a:cubicBezTo>
                  <a:cubicBezTo>
                    <a:pt x="194151" y="109915"/>
                    <a:pt x="170125" y="109871"/>
                    <a:pt x="146144" y="108842"/>
                  </a:cubicBezTo>
                  <a:close/>
                  <a:moveTo>
                    <a:pt x="232405" y="116985"/>
                  </a:moveTo>
                  <a:cubicBezTo>
                    <a:pt x="244306" y="125530"/>
                    <a:pt x="259429" y="122667"/>
                    <a:pt x="273120" y="123248"/>
                  </a:cubicBezTo>
                  <a:cubicBezTo>
                    <a:pt x="300412" y="122398"/>
                    <a:pt x="328062" y="125799"/>
                    <a:pt x="355086" y="120116"/>
                  </a:cubicBezTo>
                  <a:cubicBezTo>
                    <a:pt x="342469" y="109021"/>
                    <a:pt x="324125" y="115105"/>
                    <a:pt x="308913" y="113405"/>
                  </a:cubicBezTo>
                  <a:cubicBezTo>
                    <a:pt x="283500" y="114926"/>
                    <a:pt x="257013" y="108707"/>
                    <a:pt x="232405" y="116985"/>
                  </a:cubicBezTo>
                  <a:close/>
                </a:path>
              </a:pathLst>
            </a:custGeom>
            <a:solidFill>
              <a:srgbClr val="E8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61" name="Freeform: Shape 4560">
              <a:extLst>
                <a:ext uri="{FF2B5EF4-FFF2-40B4-BE49-F238E27FC236}">
                  <a16:creationId xmlns:a16="http://schemas.microsoft.com/office/drawing/2014/main" id="{48C1D799-B528-4AA4-6A01-19D3C1DEE617}"/>
                </a:ext>
              </a:extLst>
            </p:cNvPr>
            <p:cNvSpPr/>
            <p:nvPr/>
          </p:nvSpPr>
          <p:spPr>
            <a:xfrm flipH="1">
              <a:off x="2036684" y="3111675"/>
              <a:ext cx="35641" cy="212135"/>
            </a:xfrm>
            <a:custGeom>
              <a:avLst/>
              <a:gdLst>
                <a:gd name="connsiteX0" fmla="*/ 0 w 29880"/>
                <a:gd name="connsiteY0" fmla="*/ 0 h 177847"/>
                <a:gd name="connsiteX1" fmla="*/ 13020 w 29880"/>
                <a:gd name="connsiteY1" fmla="*/ 6308 h 177847"/>
                <a:gd name="connsiteX2" fmla="*/ 22102 w 29880"/>
                <a:gd name="connsiteY2" fmla="*/ 1745 h 177847"/>
                <a:gd name="connsiteX3" fmla="*/ 28098 w 29880"/>
                <a:gd name="connsiteY3" fmla="*/ 24295 h 177847"/>
                <a:gd name="connsiteX4" fmla="*/ 28635 w 29880"/>
                <a:gd name="connsiteY4" fmla="*/ 175029 h 177847"/>
                <a:gd name="connsiteX5" fmla="*/ 21252 w 29880"/>
                <a:gd name="connsiteY5" fmla="*/ 175834 h 177847"/>
                <a:gd name="connsiteX6" fmla="*/ 21789 w 29880"/>
                <a:gd name="connsiteY6" fmla="*/ 20939 h 177847"/>
                <a:gd name="connsiteX7" fmla="*/ 9485 w 29880"/>
                <a:gd name="connsiteY7" fmla="*/ 18881 h 177847"/>
                <a:gd name="connsiteX8" fmla="*/ 10067 w 29880"/>
                <a:gd name="connsiteY8" fmla="*/ 176952 h 177847"/>
                <a:gd name="connsiteX9" fmla="*/ 448 w 29880"/>
                <a:gd name="connsiteY9" fmla="*/ 177847 h 177847"/>
                <a:gd name="connsiteX10" fmla="*/ 0 w 29880"/>
                <a:gd name="connsiteY10" fmla="*/ 0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80" h="177847">
                  <a:moveTo>
                    <a:pt x="0" y="0"/>
                  </a:moveTo>
                  <a:cubicBezTo>
                    <a:pt x="4250" y="2058"/>
                    <a:pt x="8680" y="4206"/>
                    <a:pt x="13020" y="6308"/>
                  </a:cubicBezTo>
                  <a:cubicBezTo>
                    <a:pt x="15973" y="4787"/>
                    <a:pt x="19015" y="3221"/>
                    <a:pt x="22102" y="1745"/>
                  </a:cubicBezTo>
                  <a:cubicBezTo>
                    <a:pt x="24116" y="9217"/>
                    <a:pt x="26263" y="16688"/>
                    <a:pt x="28098" y="24295"/>
                  </a:cubicBezTo>
                  <a:cubicBezTo>
                    <a:pt x="31632" y="74494"/>
                    <a:pt x="28858" y="124829"/>
                    <a:pt x="28635" y="175029"/>
                  </a:cubicBezTo>
                  <a:cubicBezTo>
                    <a:pt x="26800" y="175252"/>
                    <a:pt x="23087" y="175610"/>
                    <a:pt x="21252" y="175834"/>
                  </a:cubicBezTo>
                  <a:cubicBezTo>
                    <a:pt x="22237" y="124202"/>
                    <a:pt x="21834" y="72571"/>
                    <a:pt x="21789" y="20939"/>
                  </a:cubicBezTo>
                  <a:cubicBezTo>
                    <a:pt x="18747" y="20447"/>
                    <a:pt x="12572" y="19418"/>
                    <a:pt x="9485" y="18881"/>
                  </a:cubicBezTo>
                  <a:cubicBezTo>
                    <a:pt x="9709" y="71586"/>
                    <a:pt x="8948" y="124292"/>
                    <a:pt x="10067" y="176952"/>
                  </a:cubicBezTo>
                  <a:cubicBezTo>
                    <a:pt x="7696" y="177176"/>
                    <a:pt x="2864" y="177624"/>
                    <a:pt x="448" y="177847"/>
                  </a:cubicBezTo>
                  <a:cubicBezTo>
                    <a:pt x="-313" y="118565"/>
                    <a:pt x="537" y="59238"/>
                    <a:pt x="0" y="0"/>
                  </a:cubicBezTo>
                  <a:close/>
                </a:path>
              </a:pathLst>
            </a:custGeom>
            <a:solidFill>
              <a:srgbClr val="E8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65" name="Freeform: Shape 4564">
              <a:extLst>
                <a:ext uri="{FF2B5EF4-FFF2-40B4-BE49-F238E27FC236}">
                  <a16:creationId xmlns:a16="http://schemas.microsoft.com/office/drawing/2014/main" id="{53C56A64-D24A-988E-DC11-5A085DDFADFD}"/>
                </a:ext>
              </a:extLst>
            </p:cNvPr>
            <p:cNvSpPr/>
            <p:nvPr/>
          </p:nvSpPr>
          <p:spPr>
            <a:xfrm flipH="1">
              <a:off x="2988448" y="2660456"/>
              <a:ext cx="19922" cy="164102"/>
            </a:xfrm>
            <a:custGeom>
              <a:avLst/>
              <a:gdLst>
                <a:gd name="connsiteX0" fmla="*/ 926 w 16702"/>
                <a:gd name="connsiteY0" fmla="*/ 403 h 137579"/>
                <a:gd name="connsiteX1" fmla="*/ 15019 w 16702"/>
                <a:gd name="connsiteY1" fmla="*/ 0 h 137579"/>
                <a:gd name="connsiteX2" fmla="*/ 15019 w 16702"/>
                <a:gd name="connsiteY2" fmla="*/ 137580 h 137579"/>
                <a:gd name="connsiteX3" fmla="*/ 1865 w 16702"/>
                <a:gd name="connsiteY3" fmla="*/ 129929 h 137579"/>
                <a:gd name="connsiteX4" fmla="*/ 926 w 16702"/>
                <a:gd name="connsiteY4" fmla="*/ 403 h 137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02" h="137579">
                  <a:moveTo>
                    <a:pt x="926" y="403"/>
                  </a:moveTo>
                  <a:cubicBezTo>
                    <a:pt x="5579" y="313"/>
                    <a:pt x="10277" y="179"/>
                    <a:pt x="15019" y="0"/>
                  </a:cubicBezTo>
                  <a:cubicBezTo>
                    <a:pt x="14617" y="45815"/>
                    <a:pt x="19001" y="91854"/>
                    <a:pt x="15019" y="137580"/>
                  </a:cubicBezTo>
                  <a:cubicBezTo>
                    <a:pt x="11708" y="135656"/>
                    <a:pt x="5131" y="131853"/>
                    <a:pt x="1865" y="129929"/>
                  </a:cubicBezTo>
                  <a:cubicBezTo>
                    <a:pt x="-148" y="86843"/>
                    <a:pt x="-640" y="43533"/>
                    <a:pt x="926" y="403"/>
                  </a:cubicBezTo>
                  <a:close/>
                </a:path>
              </a:pathLst>
            </a:custGeom>
            <a:solidFill>
              <a:srgbClr val="3179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0" name="Freeform: Shape 4569">
              <a:extLst>
                <a:ext uri="{FF2B5EF4-FFF2-40B4-BE49-F238E27FC236}">
                  <a16:creationId xmlns:a16="http://schemas.microsoft.com/office/drawing/2014/main" id="{9DAC0476-0AA0-7EB9-6217-A56505B03183}"/>
                </a:ext>
              </a:extLst>
            </p:cNvPr>
            <p:cNvSpPr/>
            <p:nvPr/>
          </p:nvSpPr>
          <p:spPr>
            <a:xfrm flipH="1">
              <a:off x="2866433" y="2691676"/>
              <a:ext cx="67935" cy="55821"/>
            </a:xfrm>
            <a:custGeom>
              <a:avLst/>
              <a:gdLst>
                <a:gd name="connsiteX0" fmla="*/ 25234 w 56955"/>
                <a:gd name="connsiteY0" fmla="*/ 1521 h 46799"/>
                <a:gd name="connsiteX1" fmla="*/ 29261 w 56955"/>
                <a:gd name="connsiteY1" fmla="*/ 0 h 46799"/>
                <a:gd name="connsiteX2" fmla="*/ 56956 w 56955"/>
                <a:gd name="connsiteY2" fmla="*/ 46800 h 46799"/>
                <a:gd name="connsiteX3" fmla="*/ 0 w 56955"/>
                <a:gd name="connsiteY3" fmla="*/ 46352 h 46799"/>
                <a:gd name="connsiteX4" fmla="*/ 25234 w 56955"/>
                <a:gd name="connsiteY4" fmla="*/ 1521 h 46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55" h="46799">
                  <a:moveTo>
                    <a:pt x="25234" y="1521"/>
                  </a:moveTo>
                  <a:cubicBezTo>
                    <a:pt x="26219" y="1163"/>
                    <a:pt x="28277" y="358"/>
                    <a:pt x="29261" y="0"/>
                  </a:cubicBezTo>
                  <a:cubicBezTo>
                    <a:pt x="39462" y="15033"/>
                    <a:pt x="46576" y="31856"/>
                    <a:pt x="56956" y="46800"/>
                  </a:cubicBezTo>
                  <a:cubicBezTo>
                    <a:pt x="37986" y="46486"/>
                    <a:pt x="18970" y="46889"/>
                    <a:pt x="0" y="46352"/>
                  </a:cubicBezTo>
                  <a:cubicBezTo>
                    <a:pt x="8546" y="31453"/>
                    <a:pt x="15570" y="15704"/>
                    <a:pt x="25234" y="1521"/>
                  </a:cubicBezTo>
                  <a:close/>
                </a:path>
              </a:pathLst>
            </a:custGeom>
            <a:solidFill>
              <a:srgbClr val="458A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1" name="Freeform: Shape 4570">
              <a:extLst>
                <a:ext uri="{FF2B5EF4-FFF2-40B4-BE49-F238E27FC236}">
                  <a16:creationId xmlns:a16="http://schemas.microsoft.com/office/drawing/2014/main" id="{218245E9-B771-1536-D74E-D5F2B73E22AC}"/>
                </a:ext>
              </a:extLst>
            </p:cNvPr>
            <p:cNvSpPr/>
            <p:nvPr/>
          </p:nvSpPr>
          <p:spPr>
            <a:xfrm flipH="1">
              <a:off x="2727837" y="2692455"/>
              <a:ext cx="49044" cy="25316"/>
            </a:xfrm>
            <a:custGeom>
              <a:avLst/>
              <a:gdLst>
                <a:gd name="connsiteX0" fmla="*/ 0 w 41117"/>
                <a:gd name="connsiteY0" fmla="*/ 4805 h 21224"/>
                <a:gd name="connsiteX1" fmla="*/ 41028 w 41117"/>
                <a:gd name="connsiteY1" fmla="*/ 62 h 21224"/>
                <a:gd name="connsiteX2" fmla="*/ 41117 w 41117"/>
                <a:gd name="connsiteY2" fmla="*/ 19525 h 21224"/>
                <a:gd name="connsiteX3" fmla="*/ 3221 w 41117"/>
                <a:gd name="connsiteY3" fmla="*/ 21225 h 21224"/>
                <a:gd name="connsiteX4" fmla="*/ 0 w 41117"/>
                <a:gd name="connsiteY4" fmla="*/ 4805 h 2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7" h="21224">
                  <a:moveTo>
                    <a:pt x="0" y="4805"/>
                  </a:moveTo>
                  <a:cubicBezTo>
                    <a:pt x="13154" y="-27"/>
                    <a:pt x="27203" y="-162"/>
                    <a:pt x="41028" y="62"/>
                  </a:cubicBezTo>
                  <a:cubicBezTo>
                    <a:pt x="41028" y="6550"/>
                    <a:pt x="41028" y="13037"/>
                    <a:pt x="41117" y="19525"/>
                  </a:cubicBezTo>
                  <a:cubicBezTo>
                    <a:pt x="28456" y="19972"/>
                    <a:pt x="15838" y="20554"/>
                    <a:pt x="3221" y="21225"/>
                  </a:cubicBezTo>
                  <a:cubicBezTo>
                    <a:pt x="2148" y="15766"/>
                    <a:pt x="1074" y="10263"/>
                    <a:pt x="0" y="4805"/>
                  </a:cubicBezTo>
                  <a:close/>
                </a:path>
              </a:pathLst>
            </a:custGeom>
            <a:solidFill>
              <a:srgbClr val="63C6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2" name="Freeform: Shape 4571">
              <a:extLst>
                <a:ext uri="{FF2B5EF4-FFF2-40B4-BE49-F238E27FC236}">
                  <a16:creationId xmlns:a16="http://schemas.microsoft.com/office/drawing/2014/main" id="{074DFC53-D357-67FD-00D3-63CE620249BD}"/>
                </a:ext>
              </a:extLst>
            </p:cNvPr>
            <p:cNvSpPr/>
            <p:nvPr/>
          </p:nvSpPr>
          <p:spPr>
            <a:xfrm flipH="1">
              <a:off x="2724368" y="2696639"/>
              <a:ext cx="71298" cy="44628"/>
            </a:xfrm>
            <a:custGeom>
              <a:avLst/>
              <a:gdLst>
                <a:gd name="connsiteX0" fmla="*/ 15525 w 59774"/>
                <a:gd name="connsiteY0" fmla="*/ 0 h 37414"/>
                <a:gd name="connsiteX1" fmla="*/ 15749 w 59774"/>
                <a:gd name="connsiteY1" fmla="*/ 1298 h 37414"/>
                <a:gd name="connsiteX2" fmla="*/ 18970 w 59774"/>
                <a:gd name="connsiteY2" fmla="*/ 17718 h 37414"/>
                <a:gd name="connsiteX3" fmla="*/ 56866 w 59774"/>
                <a:gd name="connsiteY3" fmla="*/ 16018 h 37414"/>
                <a:gd name="connsiteX4" fmla="*/ 59775 w 59774"/>
                <a:gd name="connsiteY4" fmla="*/ 36017 h 37414"/>
                <a:gd name="connsiteX5" fmla="*/ 12930 w 59774"/>
                <a:gd name="connsiteY5" fmla="*/ 36912 h 37414"/>
                <a:gd name="connsiteX6" fmla="*/ 0 w 59774"/>
                <a:gd name="connsiteY6" fmla="*/ 24384 h 37414"/>
                <a:gd name="connsiteX7" fmla="*/ 11767 w 59774"/>
                <a:gd name="connsiteY7" fmla="*/ 16420 h 37414"/>
                <a:gd name="connsiteX8" fmla="*/ 15525 w 59774"/>
                <a:gd name="connsiteY8" fmla="*/ 0 h 3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74" h="37414">
                  <a:moveTo>
                    <a:pt x="15525" y="0"/>
                  </a:moveTo>
                  <a:lnTo>
                    <a:pt x="15749" y="1298"/>
                  </a:lnTo>
                  <a:cubicBezTo>
                    <a:pt x="16823" y="6756"/>
                    <a:pt x="17897" y="12259"/>
                    <a:pt x="18970" y="17718"/>
                  </a:cubicBezTo>
                  <a:cubicBezTo>
                    <a:pt x="31587" y="17046"/>
                    <a:pt x="44205" y="16465"/>
                    <a:pt x="56866" y="16018"/>
                  </a:cubicBezTo>
                  <a:cubicBezTo>
                    <a:pt x="57806" y="22639"/>
                    <a:pt x="58746" y="29306"/>
                    <a:pt x="59775" y="36017"/>
                  </a:cubicBezTo>
                  <a:cubicBezTo>
                    <a:pt x="44160" y="36420"/>
                    <a:pt x="28500" y="38299"/>
                    <a:pt x="12930" y="36912"/>
                  </a:cubicBezTo>
                  <a:cubicBezTo>
                    <a:pt x="5951" y="36688"/>
                    <a:pt x="3534" y="29082"/>
                    <a:pt x="0" y="24384"/>
                  </a:cubicBezTo>
                  <a:cubicBezTo>
                    <a:pt x="3892" y="21700"/>
                    <a:pt x="7785" y="19060"/>
                    <a:pt x="11767" y="16420"/>
                  </a:cubicBezTo>
                  <a:cubicBezTo>
                    <a:pt x="12975" y="10917"/>
                    <a:pt x="14228" y="5458"/>
                    <a:pt x="15525" y="0"/>
                  </a:cubicBezTo>
                  <a:close/>
                </a:path>
              </a:pathLst>
            </a:custGeom>
            <a:solidFill>
              <a:srgbClr val="B8E1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3" name="Freeform: Shape 4572">
              <a:extLst>
                <a:ext uri="{FF2B5EF4-FFF2-40B4-BE49-F238E27FC236}">
                  <a16:creationId xmlns:a16="http://schemas.microsoft.com/office/drawing/2014/main" id="{FAC84E81-C952-A1FC-9E5D-618445677BE7}"/>
                </a:ext>
              </a:extLst>
            </p:cNvPr>
            <p:cNvSpPr/>
            <p:nvPr/>
          </p:nvSpPr>
          <p:spPr>
            <a:xfrm flipH="1">
              <a:off x="2562771" y="2720582"/>
              <a:ext cx="138434" cy="22449"/>
            </a:xfrm>
            <a:custGeom>
              <a:avLst/>
              <a:gdLst>
                <a:gd name="connsiteX0" fmla="*/ 0 w 116059"/>
                <a:gd name="connsiteY0" fmla="*/ 105 h 18820"/>
                <a:gd name="connsiteX1" fmla="*/ 114717 w 116059"/>
                <a:gd name="connsiteY1" fmla="*/ 284 h 18820"/>
                <a:gd name="connsiteX2" fmla="*/ 116059 w 116059"/>
                <a:gd name="connsiteY2" fmla="*/ 17644 h 18820"/>
                <a:gd name="connsiteX3" fmla="*/ 1163 w 116059"/>
                <a:gd name="connsiteY3" fmla="*/ 18360 h 18820"/>
                <a:gd name="connsiteX4" fmla="*/ 0 w 116059"/>
                <a:gd name="connsiteY4" fmla="*/ 105 h 18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059" h="18820">
                  <a:moveTo>
                    <a:pt x="0" y="105"/>
                  </a:moveTo>
                  <a:cubicBezTo>
                    <a:pt x="38254" y="-163"/>
                    <a:pt x="76508" y="150"/>
                    <a:pt x="114717" y="284"/>
                  </a:cubicBezTo>
                  <a:cubicBezTo>
                    <a:pt x="115075" y="4624"/>
                    <a:pt x="115746" y="13304"/>
                    <a:pt x="116059" y="17644"/>
                  </a:cubicBezTo>
                  <a:cubicBezTo>
                    <a:pt x="77805" y="19165"/>
                    <a:pt x="39462" y="18986"/>
                    <a:pt x="1163" y="18360"/>
                  </a:cubicBezTo>
                  <a:cubicBezTo>
                    <a:pt x="761" y="12275"/>
                    <a:pt x="358" y="6146"/>
                    <a:pt x="0" y="105"/>
                  </a:cubicBezTo>
                  <a:close/>
                </a:path>
              </a:pathLst>
            </a:custGeom>
            <a:solidFill>
              <a:srgbClr val="7DC7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4" name="Freeform: Shape 4573">
              <a:extLst>
                <a:ext uri="{FF2B5EF4-FFF2-40B4-BE49-F238E27FC236}">
                  <a16:creationId xmlns:a16="http://schemas.microsoft.com/office/drawing/2014/main" id="{04CFACC9-02F5-643F-070F-BE8667005D9F}"/>
                </a:ext>
              </a:extLst>
            </p:cNvPr>
            <p:cNvSpPr/>
            <p:nvPr/>
          </p:nvSpPr>
          <p:spPr>
            <a:xfrm flipH="1">
              <a:off x="4351688" y="2748032"/>
              <a:ext cx="58654" cy="283380"/>
            </a:xfrm>
            <a:custGeom>
              <a:avLst/>
              <a:gdLst>
                <a:gd name="connsiteX0" fmla="*/ 19821 w 49174"/>
                <a:gd name="connsiteY0" fmla="*/ 4474 h 237577"/>
                <a:gd name="connsiteX1" fmla="*/ 35793 w 49174"/>
                <a:gd name="connsiteY1" fmla="*/ 1745 h 237577"/>
                <a:gd name="connsiteX2" fmla="*/ 48052 w 49174"/>
                <a:gd name="connsiteY2" fmla="*/ 0 h 237577"/>
                <a:gd name="connsiteX3" fmla="*/ 44741 w 49174"/>
                <a:gd name="connsiteY3" fmla="*/ 71900 h 237577"/>
                <a:gd name="connsiteX4" fmla="*/ 38030 w 49174"/>
                <a:gd name="connsiteY4" fmla="*/ 131003 h 237577"/>
                <a:gd name="connsiteX5" fmla="*/ 24921 w 49174"/>
                <a:gd name="connsiteY5" fmla="*/ 205229 h 237577"/>
                <a:gd name="connsiteX6" fmla="*/ 22550 w 49174"/>
                <a:gd name="connsiteY6" fmla="*/ 237577 h 237577"/>
                <a:gd name="connsiteX7" fmla="*/ 0 w 49174"/>
                <a:gd name="connsiteY7" fmla="*/ 232074 h 237577"/>
                <a:gd name="connsiteX8" fmla="*/ 8814 w 49174"/>
                <a:gd name="connsiteY8" fmla="*/ 134001 h 237577"/>
                <a:gd name="connsiteX9" fmla="*/ 13467 w 49174"/>
                <a:gd name="connsiteY9" fmla="*/ 77134 h 237577"/>
                <a:gd name="connsiteX10" fmla="*/ 18210 w 49174"/>
                <a:gd name="connsiteY10" fmla="*/ 70199 h 237577"/>
                <a:gd name="connsiteX11" fmla="*/ 14228 w 49174"/>
                <a:gd name="connsiteY11" fmla="*/ 58835 h 237577"/>
                <a:gd name="connsiteX12" fmla="*/ 22102 w 49174"/>
                <a:gd name="connsiteY12" fmla="*/ 48724 h 237577"/>
                <a:gd name="connsiteX13" fmla="*/ 17673 w 49174"/>
                <a:gd name="connsiteY13" fmla="*/ 36822 h 237577"/>
                <a:gd name="connsiteX14" fmla="*/ 25413 w 49174"/>
                <a:gd name="connsiteY14" fmla="*/ 16017 h 237577"/>
                <a:gd name="connsiteX15" fmla="*/ 19821 w 49174"/>
                <a:gd name="connsiteY15" fmla="*/ 4474 h 2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174" h="237577">
                  <a:moveTo>
                    <a:pt x="19821" y="4474"/>
                  </a:moveTo>
                  <a:cubicBezTo>
                    <a:pt x="25100" y="3535"/>
                    <a:pt x="30424" y="2595"/>
                    <a:pt x="35793" y="1745"/>
                  </a:cubicBezTo>
                  <a:cubicBezTo>
                    <a:pt x="38836" y="1298"/>
                    <a:pt x="45010" y="447"/>
                    <a:pt x="48052" y="0"/>
                  </a:cubicBezTo>
                  <a:cubicBezTo>
                    <a:pt x="49708" y="23892"/>
                    <a:pt x="50200" y="48410"/>
                    <a:pt x="44741" y="71900"/>
                  </a:cubicBezTo>
                  <a:cubicBezTo>
                    <a:pt x="43623" y="91720"/>
                    <a:pt x="40088" y="111272"/>
                    <a:pt x="38030" y="131003"/>
                  </a:cubicBezTo>
                  <a:cubicBezTo>
                    <a:pt x="34719" y="155879"/>
                    <a:pt x="35256" y="181919"/>
                    <a:pt x="24921" y="205229"/>
                  </a:cubicBezTo>
                  <a:cubicBezTo>
                    <a:pt x="26800" y="216057"/>
                    <a:pt x="25592" y="227063"/>
                    <a:pt x="22550" y="237577"/>
                  </a:cubicBezTo>
                  <a:cubicBezTo>
                    <a:pt x="15033" y="235698"/>
                    <a:pt x="7517" y="233864"/>
                    <a:pt x="0" y="232074"/>
                  </a:cubicBezTo>
                  <a:cubicBezTo>
                    <a:pt x="45" y="199144"/>
                    <a:pt x="7382" y="166796"/>
                    <a:pt x="8814" y="134001"/>
                  </a:cubicBezTo>
                  <a:cubicBezTo>
                    <a:pt x="9530" y="114941"/>
                    <a:pt x="14362" y="96239"/>
                    <a:pt x="13467" y="77134"/>
                  </a:cubicBezTo>
                  <a:cubicBezTo>
                    <a:pt x="14675" y="75389"/>
                    <a:pt x="17047" y="71900"/>
                    <a:pt x="18210" y="70199"/>
                  </a:cubicBezTo>
                  <a:cubicBezTo>
                    <a:pt x="16868" y="66396"/>
                    <a:pt x="15570" y="62593"/>
                    <a:pt x="14228" y="58835"/>
                  </a:cubicBezTo>
                  <a:cubicBezTo>
                    <a:pt x="16868" y="55435"/>
                    <a:pt x="19463" y="52079"/>
                    <a:pt x="22102" y="48724"/>
                  </a:cubicBezTo>
                  <a:cubicBezTo>
                    <a:pt x="20626" y="44741"/>
                    <a:pt x="19149" y="40804"/>
                    <a:pt x="17673" y="36822"/>
                  </a:cubicBezTo>
                  <a:cubicBezTo>
                    <a:pt x="20268" y="29887"/>
                    <a:pt x="22863" y="22952"/>
                    <a:pt x="25413" y="16017"/>
                  </a:cubicBezTo>
                  <a:cubicBezTo>
                    <a:pt x="23534" y="12125"/>
                    <a:pt x="21700" y="8277"/>
                    <a:pt x="19821" y="4474"/>
                  </a:cubicBezTo>
                  <a:close/>
                </a:path>
              </a:pathLst>
            </a:custGeom>
            <a:solidFill>
              <a:srgbClr val="B9DB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5" name="Freeform: Shape 4574">
              <a:extLst>
                <a:ext uri="{FF2B5EF4-FFF2-40B4-BE49-F238E27FC236}">
                  <a16:creationId xmlns:a16="http://schemas.microsoft.com/office/drawing/2014/main" id="{FC9ED368-3673-CC4C-6803-56AE2D58EDF9}"/>
                </a:ext>
              </a:extLst>
            </p:cNvPr>
            <p:cNvSpPr/>
            <p:nvPr/>
          </p:nvSpPr>
          <p:spPr>
            <a:xfrm flipH="1">
              <a:off x="2859012" y="2756090"/>
              <a:ext cx="84960" cy="18117"/>
            </a:xfrm>
            <a:custGeom>
              <a:avLst/>
              <a:gdLst>
                <a:gd name="connsiteX0" fmla="*/ 6577 w 71228"/>
                <a:gd name="connsiteY0" fmla="*/ 1476 h 15189"/>
                <a:gd name="connsiteX1" fmla="*/ 71228 w 71228"/>
                <a:gd name="connsiteY1" fmla="*/ 0 h 15189"/>
                <a:gd name="connsiteX2" fmla="*/ 70244 w 71228"/>
                <a:gd name="connsiteY2" fmla="*/ 14944 h 15189"/>
                <a:gd name="connsiteX3" fmla="*/ 0 w 71228"/>
                <a:gd name="connsiteY3" fmla="*/ 14630 h 15189"/>
                <a:gd name="connsiteX4" fmla="*/ 6577 w 71228"/>
                <a:gd name="connsiteY4" fmla="*/ 1476 h 15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28" h="15189">
                  <a:moveTo>
                    <a:pt x="6577" y="1476"/>
                  </a:moveTo>
                  <a:cubicBezTo>
                    <a:pt x="28098" y="358"/>
                    <a:pt x="49752" y="2953"/>
                    <a:pt x="71228" y="0"/>
                  </a:cubicBezTo>
                  <a:cubicBezTo>
                    <a:pt x="71049" y="4966"/>
                    <a:pt x="70736" y="9933"/>
                    <a:pt x="70244" y="14944"/>
                  </a:cubicBezTo>
                  <a:cubicBezTo>
                    <a:pt x="46844" y="15167"/>
                    <a:pt x="23400" y="15481"/>
                    <a:pt x="0" y="14630"/>
                  </a:cubicBezTo>
                  <a:cubicBezTo>
                    <a:pt x="2103" y="10335"/>
                    <a:pt x="45" y="1969"/>
                    <a:pt x="6577" y="1476"/>
                  </a:cubicBezTo>
                  <a:close/>
                </a:path>
              </a:pathLst>
            </a:custGeom>
            <a:solidFill>
              <a:srgbClr val="67B1F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6" name="Freeform: Shape 4575">
              <a:extLst>
                <a:ext uri="{FF2B5EF4-FFF2-40B4-BE49-F238E27FC236}">
                  <a16:creationId xmlns:a16="http://schemas.microsoft.com/office/drawing/2014/main" id="{5244E783-8C63-223F-E6FE-E1ABDE300344}"/>
                </a:ext>
              </a:extLst>
            </p:cNvPr>
            <p:cNvSpPr/>
            <p:nvPr/>
          </p:nvSpPr>
          <p:spPr>
            <a:xfrm flipH="1">
              <a:off x="2722927" y="2755396"/>
              <a:ext cx="85921" cy="17630"/>
            </a:xfrm>
            <a:custGeom>
              <a:avLst/>
              <a:gdLst>
                <a:gd name="connsiteX0" fmla="*/ 0 w 72033"/>
                <a:gd name="connsiteY0" fmla="*/ 0 h 14781"/>
                <a:gd name="connsiteX1" fmla="*/ 72034 w 72033"/>
                <a:gd name="connsiteY1" fmla="*/ 1566 h 14781"/>
                <a:gd name="connsiteX2" fmla="*/ 70244 w 72033"/>
                <a:gd name="connsiteY2" fmla="*/ 14765 h 14781"/>
                <a:gd name="connsiteX3" fmla="*/ 761 w 72033"/>
                <a:gd name="connsiteY3" fmla="*/ 14362 h 14781"/>
                <a:gd name="connsiteX4" fmla="*/ 0 w 72033"/>
                <a:gd name="connsiteY4" fmla="*/ 0 h 14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33" h="14781">
                  <a:moveTo>
                    <a:pt x="0" y="0"/>
                  </a:moveTo>
                  <a:cubicBezTo>
                    <a:pt x="23981" y="1029"/>
                    <a:pt x="48008" y="1074"/>
                    <a:pt x="72034" y="1566"/>
                  </a:cubicBezTo>
                  <a:cubicBezTo>
                    <a:pt x="71318" y="5951"/>
                    <a:pt x="70736" y="10335"/>
                    <a:pt x="70244" y="14765"/>
                  </a:cubicBezTo>
                  <a:cubicBezTo>
                    <a:pt x="47068" y="14675"/>
                    <a:pt x="23892" y="15033"/>
                    <a:pt x="761" y="14362"/>
                  </a:cubicBezTo>
                  <a:cubicBezTo>
                    <a:pt x="582" y="10783"/>
                    <a:pt x="179" y="3579"/>
                    <a:pt x="0" y="0"/>
                  </a:cubicBezTo>
                  <a:close/>
                </a:path>
              </a:pathLst>
            </a:custGeom>
            <a:solidFill>
              <a:srgbClr val="71C1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7" name="Freeform: Shape 4576">
              <a:extLst>
                <a:ext uri="{FF2B5EF4-FFF2-40B4-BE49-F238E27FC236}">
                  <a16:creationId xmlns:a16="http://schemas.microsoft.com/office/drawing/2014/main" id="{5F685C30-8B31-4614-0A8B-FBF113635270}"/>
                </a:ext>
              </a:extLst>
            </p:cNvPr>
            <p:cNvSpPr/>
            <p:nvPr/>
          </p:nvSpPr>
          <p:spPr>
            <a:xfrm flipH="1">
              <a:off x="2559622" y="2759853"/>
              <a:ext cx="146332" cy="13021"/>
            </a:xfrm>
            <a:custGeom>
              <a:avLst/>
              <a:gdLst>
                <a:gd name="connsiteX0" fmla="*/ 0 w 122680"/>
                <a:gd name="connsiteY0" fmla="*/ 4405 h 10916"/>
                <a:gd name="connsiteX1" fmla="*/ 76508 w 122680"/>
                <a:gd name="connsiteY1" fmla="*/ 826 h 10916"/>
                <a:gd name="connsiteX2" fmla="*/ 122681 w 122680"/>
                <a:gd name="connsiteY2" fmla="*/ 7537 h 10916"/>
                <a:gd name="connsiteX3" fmla="*/ 40715 w 122680"/>
                <a:gd name="connsiteY3" fmla="*/ 10669 h 10916"/>
                <a:gd name="connsiteX4" fmla="*/ 0 w 122680"/>
                <a:gd name="connsiteY4" fmla="*/ 4405 h 10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80" h="10916">
                  <a:moveTo>
                    <a:pt x="0" y="4405"/>
                  </a:moveTo>
                  <a:cubicBezTo>
                    <a:pt x="24608" y="-3872"/>
                    <a:pt x="51095" y="2347"/>
                    <a:pt x="76508" y="826"/>
                  </a:cubicBezTo>
                  <a:cubicBezTo>
                    <a:pt x="91720" y="2526"/>
                    <a:pt x="110064" y="-3559"/>
                    <a:pt x="122681" y="7537"/>
                  </a:cubicBezTo>
                  <a:cubicBezTo>
                    <a:pt x="95657" y="13219"/>
                    <a:pt x="68007" y="9819"/>
                    <a:pt x="40715" y="10669"/>
                  </a:cubicBezTo>
                  <a:cubicBezTo>
                    <a:pt x="27024" y="10088"/>
                    <a:pt x="11901" y="12951"/>
                    <a:pt x="0" y="4405"/>
                  </a:cubicBezTo>
                  <a:close/>
                </a:path>
              </a:pathLst>
            </a:custGeom>
            <a:solidFill>
              <a:srgbClr val="ACCCE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8" name="Freeform: Shape 4577">
              <a:extLst>
                <a:ext uri="{FF2B5EF4-FFF2-40B4-BE49-F238E27FC236}">
                  <a16:creationId xmlns:a16="http://schemas.microsoft.com/office/drawing/2014/main" id="{CAA8401A-90B3-68E3-7C96-AA6AE76F5DC4}"/>
                </a:ext>
              </a:extLst>
            </p:cNvPr>
            <p:cNvSpPr/>
            <p:nvPr/>
          </p:nvSpPr>
          <p:spPr>
            <a:xfrm flipH="1">
              <a:off x="2479518" y="2772633"/>
              <a:ext cx="24985" cy="240151"/>
            </a:xfrm>
            <a:custGeom>
              <a:avLst/>
              <a:gdLst>
                <a:gd name="connsiteX0" fmla="*/ 545 w 20947"/>
                <a:gd name="connsiteY0" fmla="*/ 2595 h 201336"/>
                <a:gd name="connsiteX1" fmla="*/ 20500 w 20947"/>
                <a:gd name="connsiteY1" fmla="*/ 0 h 201336"/>
                <a:gd name="connsiteX2" fmla="*/ 20947 w 20947"/>
                <a:gd name="connsiteY2" fmla="*/ 201337 h 201336"/>
                <a:gd name="connsiteX3" fmla="*/ 635 w 20947"/>
                <a:gd name="connsiteY3" fmla="*/ 201023 h 201336"/>
                <a:gd name="connsiteX4" fmla="*/ 545 w 20947"/>
                <a:gd name="connsiteY4" fmla="*/ 2595 h 20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47" h="201336">
                  <a:moveTo>
                    <a:pt x="545" y="2595"/>
                  </a:moveTo>
                  <a:cubicBezTo>
                    <a:pt x="7167" y="1700"/>
                    <a:pt x="13789" y="850"/>
                    <a:pt x="20500" y="0"/>
                  </a:cubicBezTo>
                  <a:cubicBezTo>
                    <a:pt x="21260" y="67112"/>
                    <a:pt x="20052" y="134224"/>
                    <a:pt x="20947" y="201337"/>
                  </a:cubicBezTo>
                  <a:cubicBezTo>
                    <a:pt x="14146" y="201158"/>
                    <a:pt x="7391" y="201068"/>
                    <a:pt x="635" y="201023"/>
                  </a:cubicBezTo>
                  <a:cubicBezTo>
                    <a:pt x="679" y="134896"/>
                    <a:pt x="-752" y="68723"/>
                    <a:pt x="545" y="2595"/>
                  </a:cubicBezTo>
                  <a:close/>
                </a:path>
              </a:pathLst>
            </a:custGeom>
            <a:solidFill>
              <a:srgbClr val="AED4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79" name="Freeform: Shape 4578">
              <a:extLst>
                <a:ext uri="{FF2B5EF4-FFF2-40B4-BE49-F238E27FC236}">
                  <a16:creationId xmlns:a16="http://schemas.microsoft.com/office/drawing/2014/main" id="{C5C360CA-A3D4-E32A-EE31-E606F1651B4F}"/>
                </a:ext>
              </a:extLst>
            </p:cNvPr>
            <p:cNvSpPr/>
            <p:nvPr/>
          </p:nvSpPr>
          <p:spPr>
            <a:xfrm flipH="1">
              <a:off x="2458754" y="2769699"/>
              <a:ext cx="21297" cy="1362838"/>
            </a:xfrm>
            <a:custGeom>
              <a:avLst/>
              <a:gdLst>
                <a:gd name="connsiteX0" fmla="*/ 0 w 17855"/>
                <a:gd name="connsiteY0" fmla="*/ 2461 h 1142562"/>
                <a:gd name="connsiteX1" fmla="*/ 15883 w 17855"/>
                <a:gd name="connsiteY1" fmla="*/ 0 h 1142562"/>
                <a:gd name="connsiteX2" fmla="*/ 17673 w 17855"/>
                <a:gd name="connsiteY2" fmla="*/ 211314 h 1142562"/>
                <a:gd name="connsiteX3" fmla="*/ 14362 w 17855"/>
                <a:gd name="connsiteY3" fmla="*/ 296233 h 1142562"/>
                <a:gd name="connsiteX4" fmla="*/ 15883 w 17855"/>
                <a:gd name="connsiteY4" fmla="*/ 497480 h 1142562"/>
                <a:gd name="connsiteX5" fmla="*/ 16599 w 17855"/>
                <a:gd name="connsiteY5" fmla="*/ 1136165 h 1142562"/>
                <a:gd name="connsiteX6" fmla="*/ 313 w 17855"/>
                <a:gd name="connsiteY6" fmla="*/ 1142563 h 1142562"/>
                <a:gd name="connsiteX7" fmla="*/ 1432 w 17855"/>
                <a:gd name="connsiteY7" fmla="*/ 247689 h 1142562"/>
                <a:gd name="connsiteX8" fmla="*/ 12975 w 17855"/>
                <a:gd name="connsiteY8" fmla="*/ 247957 h 1142562"/>
                <a:gd name="connsiteX9" fmla="*/ 12930 w 17855"/>
                <a:gd name="connsiteY9" fmla="*/ 205587 h 1142562"/>
                <a:gd name="connsiteX10" fmla="*/ 492 w 17855"/>
                <a:gd name="connsiteY10" fmla="*/ 205632 h 1142562"/>
                <a:gd name="connsiteX11" fmla="*/ 492 w 17855"/>
                <a:gd name="connsiteY11" fmla="*/ 203797 h 1142562"/>
                <a:gd name="connsiteX12" fmla="*/ 0 w 17855"/>
                <a:gd name="connsiteY12" fmla="*/ 2461 h 114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5" h="1142562">
                  <a:moveTo>
                    <a:pt x="0" y="2461"/>
                  </a:moveTo>
                  <a:cubicBezTo>
                    <a:pt x="5279" y="1700"/>
                    <a:pt x="10559" y="895"/>
                    <a:pt x="15883" y="0"/>
                  </a:cubicBezTo>
                  <a:cubicBezTo>
                    <a:pt x="16510" y="70423"/>
                    <a:pt x="15302" y="140891"/>
                    <a:pt x="17673" y="211314"/>
                  </a:cubicBezTo>
                  <a:cubicBezTo>
                    <a:pt x="18881" y="239680"/>
                    <a:pt x="13691" y="267822"/>
                    <a:pt x="14362" y="296233"/>
                  </a:cubicBezTo>
                  <a:cubicBezTo>
                    <a:pt x="14765" y="363301"/>
                    <a:pt x="12886" y="430413"/>
                    <a:pt x="15883" y="497480"/>
                  </a:cubicBezTo>
                  <a:cubicBezTo>
                    <a:pt x="16017" y="710360"/>
                    <a:pt x="16688" y="923285"/>
                    <a:pt x="16599" y="1136165"/>
                  </a:cubicBezTo>
                  <a:cubicBezTo>
                    <a:pt x="11051" y="1137999"/>
                    <a:pt x="5593" y="1140102"/>
                    <a:pt x="313" y="1142563"/>
                  </a:cubicBezTo>
                  <a:cubicBezTo>
                    <a:pt x="1074" y="844271"/>
                    <a:pt x="-448" y="545980"/>
                    <a:pt x="1432" y="247689"/>
                  </a:cubicBezTo>
                  <a:cubicBezTo>
                    <a:pt x="4340" y="247778"/>
                    <a:pt x="10111" y="247912"/>
                    <a:pt x="12975" y="247957"/>
                  </a:cubicBezTo>
                  <a:cubicBezTo>
                    <a:pt x="13154" y="233819"/>
                    <a:pt x="13109" y="219725"/>
                    <a:pt x="12930" y="205587"/>
                  </a:cubicBezTo>
                  <a:cubicBezTo>
                    <a:pt x="9798" y="205632"/>
                    <a:pt x="3579" y="205632"/>
                    <a:pt x="492" y="205632"/>
                  </a:cubicBezTo>
                  <a:lnTo>
                    <a:pt x="492" y="203797"/>
                  </a:lnTo>
                  <a:cubicBezTo>
                    <a:pt x="-448" y="136685"/>
                    <a:pt x="761" y="69573"/>
                    <a:pt x="0" y="2461"/>
                  </a:cubicBezTo>
                  <a:close/>
                </a:path>
              </a:pathLst>
            </a:custGeom>
            <a:solidFill>
              <a:srgbClr val="3A71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1" name="Freeform: Shape 4580">
              <a:extLst>
                <a:ext uri="{FF2B5EF4-FFF2-40B4-BE49-F238E27FC236}">
                  <a16:creationId xmlns:a16="http://schemas.microsoft.com/office/drawing/2014/main" id="{09178937-A0B4-E05F-2413-78263F0D8A91}"/>
                </a:ext>
              </a:extLst>
            </p:cNvPr>
            <p:cNvSpPr/>
            <p:nvPr/>
          </p:nvSpPr>
          <p:spPr>
            <a:xfrm flipH="1">
              <a:off x="2991896" y="2847280"/>
              <a:ext cx="151830" cy="47777"/>
            </a:xfrm>
            <a:custGeom>
              <a:avLst/>
              <a:gdLst>
                <a:gd name="connsiteX0" fmla="*/ 12886 w 127289"/>
                <a:gd name="connsiteY0" fmla="*/ 23232 h 40055"/>
                <a:gd name="connsiteX1" fmla="*/ 90736 w 127289"/>
                <a:gd name="connsiteY1" fmla="*/ 1399 h 40055"/>
                <a:gd name="connsiteX2" fmla="*/ 123665 w 127289"/>
                <a:gd name="connsiteY2" fmla="*/ 33657 h 40055"/>
                <a:gd name="connsiteX3" fmla="*/ 127289 w 127289"/>
                <a:gd name="connsiteY3" fmla="*/ 39384 h 40055"/>
                <a:gd name="connsiteX4" fmla="*/ 0 w 127289"/>
                <a:gd name="connsiteY4" fmla="*/ 40055 h 40055"/>
                <a:gd name="connsiteX5" fmla="*/ 12886 w 127289"/>
                <a:gd name="connsiteY5" fmla="*/ 23232 h 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289" h="40055">
                  <a:moveTo>
                    <a:pt x="12886" y="23232"/>
                  </a:moveTo>
                  <a:cubicBezTo>
                    <a:pt x="35346" y="7349"/>
                    <a:pt x="62727" y="-4105"/>
                    <a:pt x="90736" y="1399"/>
                  </a:cubicBezTo>
                  <a:cubicBezTo>
                    <a:pt x="103174" y="10481"/>
                    <a:pt x="114672" y="21085"/>
                    <a:pt x="123665" y="33657"/>
                  </a:cubicBezTo>
                  <a:lnTo>
                    <a:pt x="127289" y="39384"/>
                  </a:lnTo>
                  <a:cubicBezTo>
                    <a:pt x="84875" y="40503"/>
                    <a:pt x="42415" y="39697"/>
                    <a:pt x="0" y="40055"/>
                  </a:cubicBezTo>
                  <a:cubicBezTo>
                    <a:pt x="3758" y="34105"/>
                    <a:pt x="6845" y="27259"/>
                    <a:pt x="12886" y="23232"/>
                  </a:cubicBezTo>
                  <a:close/>
                </a:path>
              </a:pathLst>
            </a:custGeom>
            <a:solidFill>
              <a:srgbClr val="5FA2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2" name="Freeform: Shape 4581">
              <a:extLst>
                <a:ext uri="{FF2B5EF4-FFF2-40B4-BE49-F238E27FC236}">
                  <a16:creationId xmlns:a16="http://schemas.microsoft.com/office/drawing/2014/main" id="{79F6EE8D-3866-929C-1137-B885993AF3CD}"/>
                </a:ext>
              </a:extLst>
            </p:cNvPr>
            <p:cNvSpPr/>
            <p:nvPr/>
          </p:nvSpPr>
          <p:spPr>
            <a:xfrm flipH="1">
              <a:off x="2867658" y="2854179"/>
              <a:ext cx="59771" cy="18442"/>
            </a:xfrm>
            <a:custGeom>
              <a:avLst/>
              <a:gdLst>
                <a:gd name="connsiteX0" fmla="*/ 5279 w 50110"/>
                <a:gd name="connsiteY0" fmla="*/ 895 h 15461"/>
                <a:gd name="connsiteX1" fmla="*/ 44562 w 50110"/>
                <a:gd name="connsiteY1" fmla="*/ 0 h 15461"/>
                <a:gd name="connsiteX2" fmla="*/ 50110 w 50110"/>
                <a:gd name="connsiteY2" fmla="*/ 11946 h 15461"/>
                <a:gd name="connsiteX3" fmla="*/ 0 w 50110"/>
                <a:gd name="connsiteY3" fmla="*/ 12572 h 15461"/>
                <a:gd name="connsiteX4" fmla="*/ 5279 w 50110"/>
                <a:gd name="connsiteY4" fmla="*/ 895 h 15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10" h="15461">
                  <a:moveTo>
                    <a:pt x="5279" y="895"/>
                  </a:moveTo>
                  <a:cubicBezTo>
                    <a:pt x="18344" y="447"/>
                    <a:pt x="31453" y="179"/>
                    <a:pt x="44562" y="0"/>
                  </a:cubicBezTo>
                  <a:cubicBezTo>
                    <a:pt x="46486" y="3892"/>
                    <a:pt x="48545" y="7830"/>
                    <a:pt x="50110" y="11946"/>
                  </a:cubicBezTo>
                  <a:cubicBezTo>
                    <a:pt x="33869" y="17404"/>
                    <a:pt x="16554" y="15615"/>
                    <a:pt x="0" y="12572"/>
                  </a:cubicBezTo>
                  <a:cubicBezTo>
                    <a:pt x="1342" y="9664"/>
                    <a:pt x="3982" y="3803"/>
                    <a:pt x="5279" y="895"/>
                  </a:cubicBezTo>
                  <a:close/>
                </a:path>
              </a:pathLst>
            </a:custGeom>
            <a:solidFill>
              <a:srgbClr val="729FC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3" name="Freeform: Shape 4582">
              <a:extLst>
                <a:ext uri="{FF2B5EF4-FFF2-40B4-BE49-F238E27FC236}">
                  <a16:creationId xmlns:a16="http://schemas.microsoft.com/office/drawing/2014/main" id="{7B80BD41-DC85-E602-82BD-2A39B7B8A795}"/>
                </a:ext>
              </a:extLst>
            </p:cNvPr>
            <p:cNvSpPr/>
            <p:nvPr/>
          </p:nvSpPr>
          <p:spPr>
            <a:xfrm flipH="1">
              <a:off x="2673240" y="2853111"/>
              <a:ext cx="322978" cy="79091"/>
            </a:xfrm>
            <a:custGeom>
              <a:avLst/>
              <a:gdLst>
                <a:gd name="connsiteX0" fmla="*/ 102234 w 270775"/>
                <a:gd name="connsiteY0" fmla="*/ 895 h 66307"/>
                <a:gd name="connsiteX1" fmla="*/ 257979 w 270775"/>
                <a:gd name="connsiteY1" fmla="*/ 493 h 66307"/>
                <a:gd name="connsiteX2" fmla="*/ 270775 w 270775"/>
                <a:gd name="connsiteY2" fmla="*/ 17092 h 66307"/>
                <a:gd name="connsiteX3" fmla="*/ 262588 w 270775"/>
                <a:gd name="connsiteY3" fmla="*/ 16644 h 66307"/>
                <a:gd name="connsiteX4" fmla="*/ 144873 w 270775"/>
                <a:gd name="connsiteY4" fmla="*/ 12573 h 66307"/>
                <a:gd name="connsiteX5" fmla="*/ 114001 w 270775"/>
                <a:gd name="connsiteY5" fmla="*/ 29440 h 66307"/>
                <a:gd name="connsiteX6" fmla="*/ 108230 w 270775"/>
                <a:gd name="connsiteY6" fmla="*/ 54809 h 66307"/>
                <a:gd name="connsiteX7" fmla="*/ 106216 w 270775"/>
                <a:gd name="connsiteY7" fmla="*/ 66307 h 66307"/>
                <a:gd name="connsiteX8" fmla="*/ 57851 w 270775"/>
                <a:gd name="connsiteY8" fmla="*/ 63399 h 66307"/>
                <a:gd name="connsiteX9" fmla="*/ 53019 w 270775"/>
                <a:gd name="connsiteY9" fmla="*/ 35391 h 66307"/>
                <a:gd name="connsiteX10" fmla="*/ 3624 w 270775"/>
                <a:gd name="connsiteY10" fmla="*/ 34496 h 66307"/>
                <a:gd name="connsiteX11" fmla="*/ 0 w 270775"/>
                <a:gd name="connsiteY11" fmla="*/ 28769 h 66307"/>
                <a:gd name="connsiteX12" fmla="*/ 45278 w 270775"/>
                <a:gd name="connsiteY12" fmla="*/ 26085 h 66307"/>
                <a:gd name="connsiteX13" fmla="*/ 57672 w 270775"/>
                <a:gd name="connsiteY13" fmla="*/ 13468 h 66307"/>
                <a:gd name="connsiteX14" fmla="*/ 107782 w 270775"/>
                <a:gd name="connsiteY14" fmla="*/ 12841 h 66307"/>
                <a:gd name="connsiteX15" fmla="*/ 102234 w 270775"/>
                <a:gd name="connsiteY15" fmla="*/ 895 h 6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0775" h="66307">
                  <a:moveTo>
                    <a:pt x="102234" y="895"/>
                  </a:moveTo>
                  <a:cubicBezTo>
                    <a:pt x="154134" y="448"/>
                    <a:pt x="206079" y="-626"/>
                    <a:pt x="257979" y="493"/>
                  </a:cubicBezTo>
                  <a:cubicBezTo>
                    <a:pt x="262096" y="6041"/>
                    <a:pt x="266301" y="11723"/>
                    <a:pt x="270775" y="17092"/>
                  </a:cubicBezTo>
                  <a:cubicBezTo>
                    <a:pt x="268717" y="17002"/>
                    <a:pt x="264601" y="16734"/>
                    <a:pt x="262588" y="16644"/>
                  </a:cubicBezTo>
                  <a:cubicBezTo>
                    <a:pt x="223439" y="13468"/>
                    <a:pt x="184111" y="10336"/>
                    <a:pt x="144873" y="12573"/>
                  </a:cubicBezTo>
                  <a:cubicBezTo>
                    <a:pt x="132793" y="13199"/>
                    <a:pt x="120041" y="18434"/>
                    <a:pt x="114001" y="29440"/>
                  </a:cubicBezTo>
                  <a:cubicBezTo>
                    <a:pt x="110153" y="37315"/>
                    <a:pt x="109661" y="46263"/>
                    <a:pt x="108230" y="54809"/>
                  </a:cubicBezTo>
                  <a:cubicBezTo>
                    <a:pt x="107738" y="57672"/>
                    <a:pt x="106708" y="63444"/>
                    <a:pt x="106216" y="66307"/>
                  </a:cubicBezTo>
                  <a:cubicBezTo>
                    <a:pt x="90020" y="66039"/>
                    <a:pt x="73913" y="65055"/>
                    <a:pt x="57851" y="63399"/>
                  </a:cubicBezTo>
                  <a:cubicBezTo>
                    <a:pt x="56195" y="54048"/>
                    <a:pt x="54585" y="44742"/>
                    <a:pt x="53019" y="35391"/>
                  </a:cubicBezTo>
                  <a:cubicBezTo>
                    <a:pt x="36554" y="34765"/>
                    <a:pt x="20089" y="34362"/>
                    <a:pt x="3624" y="34496"/>
                  </a:cubicBezTo>
                  <a:lnTo>
                    <a:pt x="0" y="28769"/>
                  </a:lnTo>
                  <a:cubicBezTo>
                    <a:pt x="15078" y="27830"/>
                    <a:pt x="30290" y="28232"/>
                    <a:pt x="45278" y="26085"/>
                  </a:cubicBezTo>
                  <a:cubicBezTo>
                    <a:pt x="52258" y="25816"/>
                    <a:pt x="54495" y="18389"/>
                    <a:pt x="57672" y="13468"/>
                  </a:cubicBezTo>
                  <a:cubicBezTo>
                    <a:pt x="74226" y="16510"/>
                    <a:pt x="91541" y="18300"/>
                    <a:pt x="107782" y="12841"/>
                  </a:cubicBezTo>
                  <a:cubicBezTo>
                    <a:pt x="106216" y="8725"/>
                    <a:pt x="104158" y="4788"/>
                    <a:pt x="102234" y="895"/>
                  </a:cubicBezTo>
                  <a:close/>
                </a:path>
              </a:pathLst>
            </a:custGeom>
            <a:solidFill>
              <a:srgbClr val="97B7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84" name="Freeform: Shape 4583">
              <a:extLst>
                <a:ext uri="{FF2B5EF4-FFF2-40B4-BE49-F238E27FC236}">
                  <a16:creationId xmlns:a16="http://schemas.microsoft.com/office/drawing/2014/main" id="{7C0D2D1E-D8D8-9859-302C-B519A47504EE}"/>
                </a:ext>
              </a:extLst>
            </p:cNvPr>
            <p:cNvSpPr/>
            <p:nvPr/>
          </p:nvSpPr>
          <p:spPr>
            <a:xfrm flipH="1">
              <a:off x="2644531" y="2853699"/>
              <a:ext cx="43973" cy="20119"/>
            </a:xfrm>
            <a:custGeom>
              <a:avLst/>
              <a:gdLst>
                <a:gd name="connsiteX0" fmla="*/ 0 w 36866"/>
                <a:gd name="connsiteY0" fmla="*/ 0 h 16867"/>
                <a:gd name="connsiteX1" fmla="*/ 36867 w 36866"/>
                <a:gd name="connsiteY1" fmla="*/ 224 h 16867"/>
                <a:gd name="connsiteX2" fmla="*/ 21341 w 36866"/>
                <a:gd name="connsiteY2" fmla="*/ 16868 h 16867"/>
                <a:gd name="connsiteX3" fmla="*/ 12796 w 36866"/>
                <a:gd name="connsiteY3" fmla="*/ 16599 h 16867"/>
                <a:gd name="connsiteX4" fmla="*/ 0 w 36866"/>
                <a:gd name="connsiteY4" fmla="*/ 0 h 1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6" h="16867">
                  <a:moveTo>
                    <a:pt x="0" y="0"/>
                  </a:moveTo>
                  <a:cubicBezTo>
                    <a:pt x="12259" y="0"/>
                    <a:pt x="24563" y="134"/>
                    <a:pt x="36867" y="224"/>
                  </a:cubicBezTo>
                  <a:cubicBezTo>
                    <a:pt x="31766" y="5861"/>
                    <a:pt x="26711" y="11499"/>
                    <a:pt x="21341" y="16868"/>
                  </a:cubicBezTo>
                  <a:cubicBezTo>
                    <a:pt x="19194" y="16778"/>
                    <a:pt x="14943" y="16689"/>
                    <a:pt x="12796" y="16599"/>
                  </a:cubicBezTo>
                  <a:cubicBezTo>
                    <a:pt x="8322" y="11230"/>
                    <a:pt x="4116" y="5548"/>
                    <a:pt x="0" y="0"/>
                  </a:cubicBezTo>
                  <a:close/>
                </a:path>
              </a:pathLst>
            </a:custGeom>
            <a:solidFill>
              <a:srgbClr val="6D95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19" name="Freeform: Shape 4618">
              <a:extLst>
                <a:ext uri="{FF2B5EF4-FFF2-40B4-BE49-F238E27FC236}">
                  <a16:creationId xmlns:a16="http://schemas.microsoft.com/office/drawing/2014/main" id="{E0B35A5D-633C-B25F-8EAC-01EC110CEB3D}"/>
                </a:ext>
              </a:extLst>
            </p:cNvPr>
            <p:cNvSpPr/>
            <p:nvPr/>
          </p:nvSpPr>
          <p:spPr>
            <a:xfrm flipH="1">
              <a:off x="2567414" y="2853958"/>
              <a:ext cx="95634" cy="20231"/>
            </a:xfrm>
            <a:custGeom>
              <a:avLst/>
              <a:gdLst>
                <a:gd name="connsiteX0" fmla="*/ 15525 w 80176"/>
                <a:gd name="connsiteY0" fmla="*/ 5 h 16961"/>
                <a:gd name="connsiteX1" fmla="*/ 80177 w 80176"/>
                <a:gd name="connsiteY1" fmla="*/ 542 h 16961"/>
                <a:gd name="connsiteX2" fmla="*/ 79550 w 80176"/>
                <a:gd name="connsiteY2" fmla="*/ 16962 h 16961"/>
                <a:gd name="connsiteX3" fmla="*/ 0 w 80176"/>
                <a:gd name="connsiteY3" fmla="*/ 16649 h 16961"/>
                <a:gd name="connsiteX4" fmla="*/ 15525 w 80176"/>
                <a:gd name="connsiteY4" fmla="*/ 5 h 1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76" h="16961">
                  <a:moveTo>
                    <a:pt x="15525" y="5"/>
                  </a:moveTo>
                  <a:cubicBezTo>
                    <a:pt x="37046" y="-40"/>
                    <a:pt x="58611" y="229"/>
                    <a:pt x="80177" y="542"/>
                  </a:cubicBezTo>
                  <a:cubicBezTo>
                    <a:pt x="79953" y="6000"/>
                    <a:pt x="79729" y="11459"/>
                    <a:pt x="79550" y="16962"/>
                  </a:cubicBezTo>
                  <a:cubicBezTo>
                    <a:pt x="53019" y="15799"/>
                    <a:pt x="26487" y="17051"/>
                    <a:pt x="0" y="16649"/>
                  </a:cubicBezTo>
                  <a:cubicBezTo>
                    <a:pt x="5369" y="11280"/>
                    <a:pt x="10425" y="5642"/>
                    <a:pt x="15525" y="5"/>
                  </a:cubicBezTo>
                  <a:close/>
                </a:path>
              </a:pathLst>
            </a:custGeom>
            <a:solidFill>
              <a:srgbClr val="8FB0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1" name="Freeform: Shape 4620">
              <a:extLst>
                <a:ext uri="{FF2B5EF4-FFF2-40B4-BE49-F238E27FC236}">
                  <a16:creationId xmlns:a16="http://schemas.microsoft.com/office/drawing/2014/main" id="{0B02BFDE-B709-A093-65E2-A03C94D0D1EA}"/>
                </a:ext>
              </a:extLst>
            </p:cNvPr>
            <p:cNvSpPr/>
            <p:nvPr/>
          </p:nvSpPr>
          <p:spPr>
            <a:xfrm flipH="1">
              <a:off x="2540624" y="2872964"/>
              <a:ext cx="143130" cy="49731"/>
            </a:xfrm>
            <a:custGeom>
              <a:avLst/>
              <a:gdLst>
                <a:gd name="connsiteX0" fmla="*/ 626 w 119996"/>
                <a:gd name="connsiteY0" fmla="*/ 0 h 41693"/>
                <a:gd name="connsiteX1" fmla="*/ 8814 w 119996"/>
                <a:gd name="connsiteY1" fmla="*/ 447 h 41693"/>
                <a:gd name="connsiteX2" fmla="*/ 17360 w 119996"/>
                <a:gd name="connsiteY2" fmla="*/ 716 h 41693"/>
                <a:gd name="connsiteX3" fmla="*/ 96910 w 119996"/>
                <a:gd name="connsiteY3" fmla="*/ 1029 h 41693"/>
                <a:gd name="connsiteX4" fmla="*/ 118789 w 119996"/>
                <a:gd name="connsiteY4" fmla="*/ 1611 h 41693"/>
                <a:gd name="connsiteX5" fmla="*/ 119997 w 119996"/>
                <a:gd name="connsiteY5" fmla="*/ 21342 h 41693"/>
                <a:gd name="connsiteX6" fmla="*/ 102324 w 119996"/>
                <a:gd name="connsiteY6" fmla="*/ 19552 h 41693"/>
                <a:gd name="connsiteX7" fmla="*/ 97984 w 119996"/>
                <a:gd name="connsiteY7" fmla="*/ 39865 h 41693"/>
                <a:gd name="connsiteX8" fmla="*/ 39417 w 119996"/>
                <a:gd name="connsiteY8" fmla="*/ 41341 h 41693"/>
                <a:gd name="connsiteX9" fmla="*/ 37896 w 119996"/>
                <a:gd name="connsiteY9" fmla="*/ 2729 h 41693"/>
                <a:gd name="connsiteX10" fmla="*/ 36688 w 119996"/>
                <a:gd name="connsiteY10" fmla="*/ 41520 h 41693"/>
                <a:gd name="connsiteX11" fmla="*/ 0 w 119996"/>
                <a:gd name="connsiteY11" fmla="*/ 41073 h 41693"/>
                <a:gd name="connsiteX12" fmla="*/ 626 w 119996"/>
                <a:gd name="connsiteY12" fmla="*/ 0 h 4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996" h="41693">
                  <a:moveTo>
                    <a:pt x="626" y="0"/>
                  </a:moveTo>
                  <a:cubicBezTo>
                    <a:pt x="2640" y="89"/>
                    <a:pt x="6756" y="358"/>
                    <a:pt x="8814" y="447"/>
                  </a:cubicBezTo>
                  <a:cubicBezTo>
                    <a:pt x="10962" y="537"/>
                    <a:pt x="15212" y="626"/>
                    <a:pt x="17360" y="716"/>
                  </a:cubicBezTo>
                  <a:cubicBezTo>
                    <a:pt x="43847" y="1119"/>
                    <a:pt x="70378" y="-134"/>
                    <a:pt x="96910" y="1029"/>
                  </a:cubicBezTo>
                  <a:cubicBezTo>
                    <a:pt x="104158" y="1298"/>
                    <a:pt x="111451" y="1476"/>
                    <a:pt x="118789" y="1611"/>
                  </a:cubicBezTo>
                  <a:cubicBezTo>
                    <a:pt x="119147" y="8188"/>
                    <a:pt x="119549" y="14765"/>
                    <a:pt x="119997" y="21342"/>
                  </a:cubicBezTo>
                  <a:cubicBezTo>
                    <a:pt x="114091" y="20760"/>
                    <a:pt x="108185" y="20134"/>
                    <a:pt x="102324" y="19552"/>
                  </a:cubicBezTo>
                  <a:cubicBezTo>
                    <a:pt x="100355" y="25950"/>
                    <a:pt x="102368" y="34540"/>
                    <a:pt x="97984" y="39865"/>
                  </a:cubicBezTo>
                  <a:cubicBezTo>
                    <a:pt x="78611" y="42862"/>
                    <a:pt x="58925" y="41252"/>
                    <a:pt x="39417" y="41341"/>
                  </a:cubicBezTo>
                  <a:cubicBezTo>
                    <a:pt x="39194" y="28456"/>
                    <a:pt x="38925" y="15570"/>
                    <a:pt x="37896" y="2729"/>
                  </a:cubicBezTo>
                  <a:cubicBezTo>
                    <a:pt x="36822" y="15615"/>
                    <a:pt x="36688" y="28590"/>
                    <a:pt x="36688" y="41520"/>
                  </a:cubicBezTo>
                  <a:cubicBezTo>
                    <a:pt x="24474" y="41431"/>
                    <a:pt x="12215" y="41296"/>
                    <a:pt x="0" y="41073"/>
                  </a:cubicBezTo>
                  <a:cubicBezTo>
                    <a:pt x="448" y="27382"/>
                    <a:pt x="626" y="13691"/>
                    <a:pt x="626" y="0"/>
                  </a:cubicBezTo>
                  <a:close/>
                </a:path>
              </a:pathLst>
            </a:custGeom>
            <a:solidFill>
              <a:srgbClr val="EBED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3" name="Freeform: Shape 4622">
              <a:extLst>
                <a:ext uri="{FF2B5EF4-FFF2-40B4-BE49-F238E27FC236}">
                  <a16:creationId xmlns:a16="http://schemas.microsoft.com/office/drawing/2014/main" id="{BC681FAD-7706-C6B5-45EA-D721ECE36FBB}"/>
                </a:ext>
              </a:extLst>
            </p:cNvPr>
            <p:cNvSpPr/>
            <p:nvPr/>
          </p:nvSpPr>
          <p:spPr>
            <a:xfrm flipH="1">
              <a:off x="2749632" y="2894226"/>
              <a:ext cx="827063" cy="695192"/>
            </a:xfrm>
            <a:custGeom>
              <a:avLst/>
              <a:gdLst>
                <a:gd name="connsiteX0" fmla="*/ 346254 w 693385"/>
                <a:gd name="connsiteY0" fmla="*/ 1144 h 582828"/>
                <a:gd name="connsiteX1" fmla="*/ 362987 w 693385"/>
                <a:gd name="connsiteY1" fmla="*/ 697 h 582828"/>
                <a:gd name="connsiteX2" fmla="*/ 490277 w 693385"/>
                <a:gd name="connsiteY2" fmla="*/ 26 h 582828"/>
                <a:gd name="connsiteX3" fmla="*/ 539671 w 693385"/>
                <a:gd name="connsiteY3" fmla="*/ 921 h 582828"/>
                <a:gd name="connsiteX4" fmla="*/ 544504 w 693385"/>
                <a:gd name="connsiteY4" fmla="*/ 28929 h 582828"/>
                <a:gd name="connsiteX5" fmla="*/ 592869 w 693385"/>
                <a:gd name="connsiteY5" fmla="*/ 31837 h 582828"/>
                <a:gd name="connsiteX6" fmla="*/ 594882 w 693385"/>
                <a:gd name="connsiteY6" fmla="*/ 20338 h 582828"/>
                <a:gd name="connsiteX7" fmla="*/ 597164 w 693385"/>
                <a:gd name="connsiteY7" fmla="*/ 125168 h 582828"/>
                <a:gd name="connsiteX8" fmla="*/ 619311 w 693385"/>
                <a:gd name="connsiteY8" fmla="*/ 155189 h 582828"/>
                <a:gd name="connsiteX9" fmla="*/ 693090 w 693385"/>
                <a:gd name="connsiteY9" fmla="*/ 159350 h 582828"/>
                <a:gd name="connsiteX10" fmla="*/ 693090 w 693385"/>
                <a:gd name="connsiteY10" fmla="*/ 241272 h 582828"/>
                <a:gd name="connsiteX11" fmla="*/ 682397 w 693385"/>
                <a:gd name="connsiteY11" fmla="*/ 265477 h 582828"/>
                <a:gd name="connsiteX12" fmla="*/ 669601 w 693385"/>
                <a:gd name="connsiteY12" fmla="*/ 259392 h 582828"/>
                <a:gd name="connsiteX13" fmla="*/ 658371 w 693385"/>
                <a:gd name="connsiteY13" fmla="*/ 253665 h 582828"/>
                <a:gd name="connsiteX14" fmla="*/ 658639 w 693385"/>
                <a:gd name="connsiteY14" fmla="*/ 159753 h 582828"/>
                <a:gd name="connsiteX15" fmla="*/ 631570 w 693385"/>
                <a:gd name="connsiteY15" fmla="*/ 160111 h 582828"/>
                <a:gd name="connsiteX16" fmla="*/ 631391 w 693385"/>
                <a:gd name="connsiteY16" fmla="*/ 496074 h 582828"/>
                <a:gd name="connsiteX17" fmla="*/ 632555 w 693385"/>
                <a:gd name="connsiteY17" fmla="*/ 580233 h 582828"/>
                <a:gd name="connsiteX18" fmla="*/ 574257 w 693385"/>
                <a:gd name="connsiteY18" fmla="*/ 578891 h 582828"/>
                <a:gd name="connsiteX19" fmla="*/ 572646 w 693385"/>
                <a:gd name="connsiteY19" fmla="*/ 428470 h 582828"/>
                <a:gd name="connsiteX20" fmla="*/ 573541 w 693385"/>
                <a:gd name="connsiteY20" fmla="*/ 417866 h 582828"/>
                <a:gd name="connsiteX21" fmla="*/ 574167 w 693385"/>
                <a:gd name="connsiteY21" fmla="*/ 407755 h 582828"/>
                <a:gd name="connsiteX22" fmla="*/ 574391 w 693385"/>
                <a:gd name="connsiteY22" fmla="*/ 401849 h 582828"/>
                <a:gd name="connsiteX23" fmla="*/ 516048 w 693385"/>
                <a:gd name="connsiteY23" fmla="*/ 402207 h 582828"/>
                <a:gd name="connsiteX24" fmla="*/ 511395 w 693385"/>
                <a:gd name="connsiteY24" fmla="*/ 426994 h 582828"/>
                <a:gd name="connsiteX25" fmla="*/ 530276 w 693385"/>
                <a:gd name="connsiteY25" fmla="*/ 430170 h 582828"/>
                <a:gd name="connsiteX26" fmla="*/ 344509 w 693385"/>
                <a:gd name="connsiteY26" fmla="*/ 429902 h 582828"/>
                <a:gd name="connsiteX27" fmla="*/ 343793 w 693385"/>
                <a:gd name="connsiteY27" fmla="*/ 394601 h 582828"/>
                <a:gd name="connsiteX28" fmla="*/ 377349 w 693385"/>
                <a:gd name="connsiteY28" fmla="*/ 394780 h 582828"/>
                <a:gd name="connsiteX29" fmla="*/ 381600 w 693385"/>
                <a:gd name="connsiteY29" fmla="*/ 395003 h 582828"/>
                <a:gd name="connsiteX30" fmla="*/ 573407 w 693385"/>
                <a:gd name="connsiteY30" fmla="*/ 396525 h 582828"/>
                <a:gd name="connsiteX31" fmla="*/ 572825 w 693385"/>
                <a:gd name="connsiteY31" fmla="*/ 159171 h 582828"/>
                <a:gd name="connsiteX32" fmla="*/ 572735 w 693385"/>
                <a:gd name="connsiteY32" fmla="*/ 81500 h 582828"/>
                <a:gd name="connsiteX33" fmla="*/ 342451 w 693385"/>
                <a:gd name="connsiteY33" fmla="*/ 81903 h 582828"/>
                <a:gd name="connsiteX34" fmla="*/ 86441 w 693385"/>
                <a:gd name="connsiteY34" fmla="*/ 81232 h 582828"/>
                <a:gd name="connsiteX35" fmla="*/ 86530 w 693385"/>
                <a:gd name="connsiteY35" fmla="*/ 82842 h 582828"/>
                <a:gd name="connsiteX36" fmla="*/ 82951 w 693385"/>
                <a:gd name="connsiteY36" fmla="*/ 393214 h 582828"/>
                <a:gd name="connsiteX37" fmla="*/ 82816 w 693385"/>
                <a:gd name="connsiteY37" fmla="*/ 395809 h 582828"/>
                <a:gd name="connsiteX38" fmla="*/ 327329 w 693385"/>
                <a:gd name="connsiteY38" fmla="*/ 395809 h 582828"/>
                <a:gd name="connsiteX39" fmla="*/ 328805 w 693385"/>
                <a:gd name="connsiteY39" fmla="*/ 429589 h 582828"/>
                <a:gd name="connsiteX40" fmla="*/ 262632 w 693385"/>
                <a:gd name="connsiteY40" fmla="*/ 431423 h 582828"/>
                <a:gd name="connsiteX41" fmla="*/ 48947 w 693385"/>
                <a:gd name="connsiteY41" fmla="*/ 432184 h 582828"/>
                <a:gd name="connsiteX42" fmla="*/ 53153 w 693385"/>
                <a:gd name="connsiteY42" fmla="*/ 540905 h 582828"/>
                <a:gd name="connsiteX43" fmla="*/ 37538 w 693385"/>
                <a:gd name="connsiteY43" fmla="*/ 581575 h 582828"/>
                <a:gd name="connsiteX44" fmla="*/ 0 w 693385"/>
                <a:gd name="connsiteY44" fmla="*/ 582828 h 582828"/>
                <a:gd name="connsiteX45" fmla="*/ 447 w 693385"/>
                <a:gd name="connsiteY45" fmla="*/ 179036 h 582828"/>
                <a:gd name="connsiteX46" fmla="*/ 582 w 693385"/>
                <a:gd name="connsiteY46" fmla="*/ 2308 h 582828"/>
                <a:gd name="connsiteX47" fmla="*/ 346254 w 693385"/>
                <a:gd name="connsiteY47" fmla="*/ 1189 h 582828"/>
                <a:gd name="connsiteX48" fmla="*/ 219949 w 693385"/>
                <a:gd name="connsiteY48" fmla="*/ 40114 h 582828"/>
                <a:gd name="connsiteX49" fmla="*/ 218025 w 693385"/>
                <a:gd name="connsiteY49" fmla="*/ 57787 h 582828"/>
                <a:gd name="connsiteX50" fmla="*/ 391711 w 693385"/>
                <a:gd name="connsiteY50" fmla="*/ 58369 h 582828"/>
                <a:gd name="connsiteX51" fmla="*/ 389832 w 693385"/>
                <a:gd name="connsiteY51" fmla="*/ 41054 h 582828"/>
                <a:gd name="connsiteX52" fmla="*/ 219949 w 693385"/>
                <a:gd name="connsiteY52" fmla="*/ 40114 h 582828"/>
                <a:gd name="connsiteX53" fmla="*/ 34182 w 693385"/>
                <a:gd name="connsiteY53" fmla="*/ 229415 h 582828"/>
                <a:gd name="connsiteX54" fmla="*/ 33735 w 693385"/>
                <a:gd name="connsiteY54" fmla="*/ 244001 h 582828"/>
                <a:gd name="connsiteX55" fmla="*/ 62146 w 693385"/>
                <a:gd name="connsiteY55" fmla="*/ 236484 h 582828"/>
                <a:gd name="connsiteX56" fmla="*/ 34182 w 693385"/>
                <a:gd name="connsiteY56" fmla="*/ 229415 h 582828"/>
                <a:gd name="connsiteX57" fmla="*/ 35793 w 693385"/>
                <a:gd name="connsiteY57" fmla="*/ 301270 h 582828"/>
                <a:gd name="connsiteX58" fmla="*/ 30558 w 693385"/>
                <a:gd name="connsiteY58" fmla="*/ 312411 h 582828"/>
                <a:gd name="connsiteX59" fmla="*/ 35435 w 693385"/>
                <a:gd name="connsiteY59" fmla="*/ 324267 h 582828"/>
                <a:gd name="connsiteX60" fmla="*/ 61743 w 693385"/>
                <a:gd name="connsiteY60" fmla="*/ 323685 h 582828"/>
                <a:gd name="connsiteX61" fmla="*/ 57180 w 693385"/>
                <a:gd name="connsiteY61" fmla="*/ 300375 h 582828"/>
                <a:gd name="connsiteX62" fmla="*/ 35793 w 693385"/>
                <a:gd name="connsiteY62" fmla="*/ 301270 h 582828"/>
                <a:gd name="connsiteX63" fmla="*/ 34182 w 693385"/>
                <a:gd name="connsiteY63" fmla="*/ 372633 h 582828"/>
                <a:gd name="connsiteX64" fmla="*/ 34988 w 693385"/>
                <a:gd name="connsiteY64" fmla="*/ 382297 h 582828"/>
                <a:gd name="connsiteX65" fmla="*/ 52124 w 693385"/>
                <a:gd name="connsiteY65" fmla="*/ 379031 h 582828"/>
                <a:gd name="connsiteX66" fmla="*/ 34182 w 693385"/>
                <a:gd name="connsiteY66" fmla="*/ 372633 h 58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93385" h="582828">
                  <a:moveTo>
                    <a:pt x="346254" y="1144"/>
                  </a:moveTo>
                  <a:cubicBezTo>
                    <a:pt x="351802" y="965"/>
                    <a:pt x="357395" y="786"/>
                    <a:pt x="362987" y="697"/>
                  </a:cubicBezTo>
                  <a:cubicBezTo>
                    <a:pt x="405402" y="339"/>
                    <a:pt x="447862" y="1144"/>
                    <a:pt x="490277" y="26"/>
                  </a:cubicBezTo>
                  <a:cubicBezTo>
                    <a:pt x="506742" y="-108"/>
                    <a:pt x="523207" y="294"/>
                    <a:pt x="539671" y="921"/>
                  </a:cubicBezTo>
                  <a:cubicBezTo>
                    <a:pt x="541237" y="10272"/>
                    <a:pt x="542848" y="19578"/>
                    <a:pt x="544504" y="28929"/>
                  </a:cubicBezTo>
                  <a:cubicBezTo>
                    <a:pt x="560566" y="30584"/>
                    <a:pt x="576673" y="31569"/>
                    <a:pt x="592869" y="31837"/>
                  </a:cubicBezTo>
                  <a:cubicBezTo>
                    <a:pt x="593361" y="28974"/>
                    <a:pt x="594390" y="23202"/>
                    <a:pt x="594882" y="20338"/>
                  </a:cubicBezTo>
                  <a:cubicBezTo>
                    <a:pt x="599446" y="55192"/>
                    <a:pt x="593495" y="90314"/>
                    <a:pt x="597164" y="125168"/>
                  </a:cubicBezTo>
                  <a:cubicBezTo>
                    <a:pt x="598238" y="138098"/>
                    <a:pt x="605173" y="152818"/>
                    <a:pt x="619311" y="155189"/>
                  </a:cubicBezTo>
                  <a:cubicBezTo>
                    <a:pt x="643606" y="159798"/>
                    <a:pt x="668572" y="156845"/>
                    <a:pt x="693090" y="159350"/>
                  </a:cubicBezTo>
                  <a:cubicBezTo>
                    <a:pt x="692643" y="186642"/>
                    <a:pt x="693940" y="213979"/>
                    <a:pt x="693090" y="241272"/>
                  </a:cubicBezTo>
                  <a:cubicBezTo>
                    <a:pt x="693850" y="250802"/>
                    <a:pt x="687363" y="258139"/>
                    <a:pt x="682397" y="265477"/>
                  </a:cubicBezTo>
                  <a:cubicBezTo>
                    <a:pt x="678057" y="263508"/>
                    <a:pt x="673806" y="261495"/>
                    <a:pt x="669601" y="259392"/>
                  </a:cubicBezTo>
                  <a:cubicBezTo>
                    <a:pt x="666782" y="257960"/>
                    <a:pt x="661189" y="255097"/>
                    <a:pt x="658371" y="253665"/>
                  </a:cubicBezTo>
                  <a:cubicBezTo>
                    <a:pt x="657162" y="222346"/>
                    <a:pt x="657118" y="191027"/>
                    <a:pt x="658639" y="159753"/>
                  </a:cubicBezTo>
                  <a:cubicBezTo>
                    <a:pt x="649601" y="159842"/>
                    <a:pt x="640564" y="159977"/>
                    <a:pt x="631570" y="160111"/>
                  </a:cubicBezTo>
                  <a:cubicBezTo>
                    <a:pt x="634926" y="272054"/>
                    <a:pt x="631347" y="384086"/>
                    <a:pt x="631391" y="496074"/>
                  </a:cubicBezTo>
                  <a:cubicBezTo>
                    <a:pt x="631123" y="524127"/>
                    <a:pt x="633852" y="552180"/>
                    <a:pt x="632555" y="580233"/>
                  </a:cubicBezTo>
                  <a:cubicBezTo>
                    <a:pt x="613092" y="579741"/>
                    <a:pt x="593674" y="579741"/>
                    <a:pt x="574257" y="578891"/>
                  </a:cubicBezTo>
                  <a:cubicBezTo>
                    <a:pt x="573541" y="528780"/>
                    <a:pt x="577657" y="478446"/>
                    <a:pt x="572646" y="428470"/>
                  </a:cubicBezTo>
                  <a:cubicBezTo>
                    <a:pt x="572914" y="424891"/>
                    <a:pt x="573228" y="421356"/>
                    <a:pt x="573541" y="417866"/>
                  </a:cubicBezTo>
                  <a:cubicBezTo>
                    <a:pt x="573675" y="415316"/>
                    <a:pt x="573988" y="410260"/>
                    <a:pt x="574167" y="407755"/>
                  </a:cubicBezTo>
                  <a:lnTo>
                    <a:pt x="574391" y="401849"/>
                  </a:lnTo>
                  <a:cubicBezTo>
                    <a:pt x="554973" y="399925"/>
                    <a:pt x="535466" y="400775"/>
                    <a:pt x="516048" y="402207"/>
                  </a:cubicBezTo>
                  <a:cubicBezTo>
                    <a:pt x="514482" y="410439"/>
                    <a:pt x="512916" y="418716"/>
                    <a:pt x="511395" y="426994"/>
                  </a:cubicBezTo>
                  <a:cubicBezTo>
                    <a:pt x="517659" y="428112"/>
                    <a:pt x="523922" y="429186"/>
                    <a:pt x="530276" y="430170"/>
                  </a:cubicBezTo>
                  <a:cubicBezTo>
                    <a:pt x="468398" y="432228"/>
                    <a:pt x="406342" y="432765"/>
                    <a:pt x="344509" y="429902"/>
                  </a:cubicBezTo>
                  <a:cubicBezTo>
                    <a:pt x="344286" y="418090"/>
                    <a:pt x="344017" y="406323"/>
                    <a:pt x="343793" y="394601"/>
                  </a:cubicBezTo>
                  <a:cubicBezTo>
                    <a:pt x="354934" y="394556"/>
                    <a:pt x="366164" y="394377"/>
                    <a:pt x="377349" y="394780"/>
                  </a:cubicBezTo>
                  <a:lnTo>
                    <a:pt x="381600" y="395003"/>
                  </a:lnTo>
                  <a:cubicBezTo>
                    <a:pt x="445491" y="397017"/>
                    <a:pt x="509471" y="395451"/>
                    <a:pt x="573407" y="396525"/>
                  </a:cubicBezTo>
                  <a:cubicBezTo>
                    <a:pt x="573451" y="317377"/>
                    <a:pt x="574928" y="238274"/>
                    <a:pt x="572825" y="159171"/>
                  </a:cubicBezTo>
                  <a:cubicBezTo>
                    <a:pt x="573272" y="133266"/>
                    <a:pt x="572512" y="107405"/>
                    <a:pt x="572735" y="81500"/>
                  </a:cubicBezTo>
                  <a:cubicBezTo>
                    <a:pt x="495959" y="81724"/>
                    <a:pt x="419183" y="80784"/>
                    <a:pt x="342451" y="81903"/>
                  </a:cubicBezTo>
                  <a:cubicBezTo>
                    <a:pt x="257084" y="81187"/>
                    <a:pt x="171762" y="82395"/>
                    <a:pt x="86441" y="81232"/>
                  </a:cubicBezTo>
                  <a:lnTo>
                    <a:pt x="86530" y="82842"/>
                  </a:lnTo>
                  <a:cubicBezTo>
                    <a:pt x="84159" y="186285"/>
                    <a:pt x="85054" y="289772"/>
                    <a:pt x="82951" y="393214"/>
                  </a:cubicBezTo>
                  <a:lnTo>
                    <a:pt x="82816" y="395809"/>
                  </a:lnTo>
                  <a:cubicBezTo>
                    <a:pt x="164335" y="395227"/>
                    <a:pt x="245810" y="396167"/>
                    <a:pt x="327329" y="395809"/>
                  </a:cubicBezTo>
                  <a:cubicBezTo>
                    <a:pt x="328268" y="407039"/>
                    <a:pt x="328626" y="418314"/>
                    <a:pt x="328805" y="429589"/>
                  </a:cubicBezTo>
                  <a:cubicBezTo>
                    <a:pt x="306747" y="430886"/>
                    <a:pt x="284690" y="430752"/>
                    <a:pt x="262632" y="431423"/>
                  </a:cubicBezTo>
                  <a:cubicBezTo>
                    <a:pt x="191404" y="431423"/>
                    <a:pt x="120175" y="431781"/>
                    <a:pt x="48947" y="432184"/>
                  </a:cubicBezTo>
                  <a:cubicBezTo>
                    <a:pt x="50200" y="468335"/>
                    <a:pt x="45234" y="505291"/>
                    <a:pt x="53153" y="540905"/>
                  </a:cubicBezTo>
                  <a:cubicBezTo>
                    <a:pt x="48723" y="554730"/>
                    <a:pt x="43489" y="568287"/>
                    <a:pt x="37538" y="581575"/>
                  </a:cubicBezTo>
                  <a:cubicBezTo>
                    <a:pt x="25010" y="581844"/>
                    <a:pt x="12483" y="582291"/>
                    <a:pt x="0" y="582828"/>
                  </a:cubicBezTo>
                  <a:cubicBezTo>
                    <a:pt x="179" y="448246"/>
                    <a:pt x="537" y="313619"/>
                    <a:pt x="447" y="179036"/>
                  </a:cubicBezTo>
                  <a:cubicBezTo>
                    <a:pt x="761" y="120157"/>
                    <a:pt x="-537" y="61232"/>
                    <a:pt x="582" y="2308"/>
                  </a:cubicBezTo>
                  <a:cubicBezTo>
                    <a:pt x="115791" y="1189"/>
                    <a:pt x="231045" y="1950"/>
                    <a:pt x="346254" y="1189"/>
                  </a:cubicBezTo>
                  <a:close/>
                  <a:moveTo>
                    <a:pt x="219949" y="40114"/>
                  </a:moveTo>
                  <a:cubicBezTo>
                    <a:pt x="219278" y="45975"/>
                    <a:pt x="218651" y="51881"/>
                    <a:pt x="218025" y="57787"/>
                  </a:cubicBezTo>
                  <a:cubicBezTo>
                    <a:pt x="275921" y="58592"/>
                    <a:pt x="333816" y="59129"/>
                    <a:pt x="391711" y="58369"/>
                  </a:cubicBezTo>
                  <a:cubicBezTo>
                    <a:pt x="391040" y="52597"/>
                    <a:pt x="390414" y="46825"/>
                    <a:pt x="389832" y="41054"/>
                  </a:cubicBezTo>
                  <a:cubicBezTo>
                    <a:pt x="333190" y="39398"/>
                    <a:pt x="276592" y="40159"/>
                    <a:pt x="219949" y="40114"/>
                  </a:cubicBezTo>
                  <a:close/>
                  <a:moveTo>
                    <a:pt x="34182" y="229415"/>
                  </a:moveTo>
                  <a:cubicBezTo>
                    <a:pt x="26532" y="230444"/>
                    <a:pt x="32617" y="239795"/>
                    <a:pt x="33735" y="244001"/>
                  </a:cubicBezTo>
                  <a:cubicBezTo>
                    <a:pt x="42728" y="241495"/>
                    <a:pt x="57627" y="246775"/>
                    <a:pt x="62146" y="236484"/>
                  </a:cubicBezTo>
                  <a:cubicBezTo>
                    <a:pt x="58880" y="225747"/>
                    <a:pt x="42996" y="228476"/>
                    <a:pt x="34182" y="229415"/>
                  </a:cubicBezTo>
                  <a:close/>
                  <a:moveTo>
                    <a:pt x="35793" y="301270"/>
                  </a:moveTo>
                  <a:cubicBezTo>
                    <a:pt x="34451" y="304089"/>
                    <a:pt x="31856" y="309637"/>
                    <a:pt x="30558" y="312411"/>
                  </a:cubicBezTo>
                  <a:cubicBezTo>
                    <a:pt x="31811" y="315364"/>
                    <a:pt x="34227" y="321270"/>
                    <a:pt x="35435" y="324267"/>
                  </a:cubicBezTo>
                  <a:cubicBezTo>
                    <a:pt x="44205" y="324044"/>
                    <a:pt x="52974" y="323909"/>
                    <a:pt x="61743" y="323685"/>
                  </a:cubicBezTo>
                  <a:cubicBezTo>
                    <a:pt x="61117" y="315722"/>
                    <a:pt x="59909" y="307847"/>
                    <a:pt x="57180" y="300375"/>
                  </a:cubicBezTo>
                  <a:cubicBezTo>
                    <a:pt x="50021" y="300688"/>
                    <a:pt x="42907" y="301002"/>
                    <a:pt x="35793" y="301270"/>
                  </a:cubicBezTo>
                  <a:close/>
                  <a:moveTo>
                    <a:pt x="34182" y="372633"/>
                  </a:moveTo>
                  <a:cubicBezTo>
                    <a:pt x="34406" y="375049"/>
                    <a:pt x="34809" y="379881"/>
                    <a:pt x="34988" y="382297"/>
                  </a:cubicBezTo>
                  <a:cubicBezTo>
                    <a:pt x="40715" y="381268"/>
                    <a:pt x="46397" y="380149"/>
                    <a:pt x="52124" y="379031"/>
                  </a:cubicBezTo>
                  <a:cubicBezTo>
                    <a:pt x="49126" y="371335"/>
                    <a:pt x="40536" y="373662"/>
                    <a:pt x="34182" y="372633"/>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4" name="Freeform: Shape 4623">
              <a:extLst>
                <a:ext uri="{FF2B5EF4-FFF2-40B4-BE49-F238E27FC236}">
                  <a16:creationId xmlns:a16="http://schemas.microsoft.com/office/drawing/2014/main" id="{1CE74541-E459-2C3A-7467-C7293408E335}"/>
                </a:ext>
              </a:extLst>
            </p:cNvPr>
            <p:cNvSpPr/>
            <p:nvPr/>
          </p:nvSpPr>
          <p:spPr>
            <a:xfrm flipH="1">
              <a:off x="3649488" y="2896979"/>
              <a:ext cx="545460" cy="690625"/>
            </a:xfrm>
            <a:custGeom>
              <a:avLst/>
              <a:gdLst>
                <a:gd name="connsiteX0" fmla="*/ 397 w 457297"/>
                <a:gd name="connsiteY0" fmla="*/ 582 h 578999"/>
                <a:gd name="connsiteX1" fmla="*/ 456850 w 457297"/>
                <a:gd name="connsiteY1" fmla="*/ 0 h 578999"/>
                <a:gd name="connsiteX2" fmla="*/ 456313 w 457297"/>
                <a:gd name="connsiteY2" fmla="*/ 207511 h 578999"/>
                <a:gd name="connsiteX3" fmla="*/ 457297 w 457297"/>
                <a:gd name="connsiteY3" fmla="*/ 458152 h 578999"/>
                <a:gd name="connsiteX4" fmla="*/ 456760 w 457297"/>
                <a:gd name="connsiteY4" fmla="*/ 577388 h 578999"/>
                <a:gd name="connsiteX5" fmla="*/ 307771 w 457297"/>
                <a:gd name="connsiteY5" fmla="*/ 577031 h 578999"/>
                <a:gd name="connsiteX6" fmla="*/ 308219 w 457297"/>
                <a:gd name="connsiteY6" fmla="*/ 542982 h 578999"/>
                <a:gd name="connsiteX7" fmla="*/ 328442 w 457297"/>
                <a:gd name="connsiteY7" fmla="*/ 535063 h 578999"/>
                <a:gd name="connsiteX8" fmla="*/ 319941 w 457297"/>
                <a:gd name="connsiteY8" fmla="*/ 496406 h 578999"/>
                <a:gd name="connsiteX9" fmla="*/ 291127 w 457297"/>
                <a:gd name="connsiteY9" fmla="*/ 489651 h 578999"/>
                <a:gd name="connsiteX10" fmla="*/ 274931 w 457297"/>
                <a:gd name="connsiteY10" fmla="*/ 503341 h 578999"/>
                <a:gd name="connsiteX11" fmla="*/ 277258 w 457297"/>
                <a:gd name="connsiteY11" fmla="*/ 495064 h 578999"/>
                <a:gd name="connsiteX12" fmla="*/ 279003 w 457297"/>
                <a:gd name="connsiteY12" fmla="*/ 487145 h 578999"/>
                <a:gd name="connsiteX13" fmla="*/ 247325 w 457297"/>
                <a:gd name="connsiteY13" fmla="*/ 483566 h 578999"/>
                <a:gd name="connsiteX14" fmla="*/ 231263 w 457297"/>
                <a:gd name="connsiteY14" fmla="*/ 511171 h 578999"/>
                <a:gd name="connsiteX15" fmla="*/ 223299 w 457297"/>
                <a:gd name="connsiteY15" fmla="*/ 508263 h 578999"/>
                <a:gd name="connsiteX16" fmla="*/ 214083 w 457297"/>
                <a:gd name="connsiteY16" fmla="*/ 514661 h 578999"/>
                <a:gd name="connsiteX17" fmla="*/ 182853 w 457297"/>
                <a:gd name="connsiteY17" fmla="*/ 506026 h 578999"/>
                <a:gd name="connsiteX18" fmla="*/ 177574 w 457297"/>
                <a:gd name="connsiteY18" fmla="*/ 542714 h 578999"/>
                <a:gd name="connsiteX19" fmla="*/ 181242 w 457297"/>
                <a:gd name="connsiteY19" fmla="*/ 570185 h 578999"/>
                <a:gd name="connsiteX20" fmla="*/ 173815 w 457297"/>
                <a:gd name="connsiteY20" fmla="*/ 577120 h 578999"/>
                <a:gd name="connsiteX21" fmla="*/ 218 w 457297"/>
                <a:gd name="connsiteY21" fmla="*/ 578999 h 578999"/>
                <a:gd name="connsiteX22" fmla="*/ 129 w 457297"/>
                <a:gd name="connsiteY22" fmla="*/ 354039 h 578999"/>
                <a:gd name="connsiteX23" fmla="*/ 397 w 457297"/>
                <a:gd name="connsiteY23" fmla="*/ 582 h 578999"/>
                <a:gd name="connsiteX24" fmla="*/ 109790 w 457297"/>
                <a:gd name="connsiteY24" fmla="*/ 47471 h 578999"/>
                <a:gd name="connsiteX25" fmla="*/ 109343 w 457297"/>
                <a:gd name="connsiteY25" fmla="*/ 63264 h 578999"/>
                <a:gd name="connsiteX26" fmla="*/ 147731 w 457297"/>
                <a:gd name="connsiteY26" fmla="*/ 64562 h 578999"/>
                <a:gd name="connsiteX27" fmla="*/ 158066 w 457297"/>
                <a:gd name="connsiteY27" fmla="*/ 63354 h 578999"/>
                <a:gd name="connsiteX28" fmla="*/ 177976 w 457297"/>
                <a:gd name="connsiteY28" fmla="*/ 64696 h 578999"/>
                <a:gd name="connsiteX29" fmla="*/ 177663 w 457297"/>
                <a:gd name="connsiteY29" fmla="*/ 45368 h 578999"/>
                <a:gd name="connsiteX30" fmla="*/ 109790 w 457297"/>
                <a:gd name="connsiteY30" fmla="*/ 47471 h 578999"/>
                <a:gd name="connsiteX31" fmla="*/ 200660 w 457297"/>
                <a:gd name="connsiteY31" fmla="*/ 45905 h 578999"/>
                <a:gd name="connsiteX32" fmla="*/ 201197 w 457297"/>
                <a:gd name="connsiteY32" fmla="*/ 64249 h 578999"/>
                <a:gd name="connsiteX33" fmla="*/ 222897 w 457297"/>
                <a:gd name="connsiteY33" fmla="*/ 64204 h 578999"/>
                <a:gd name="connsiteX34" fmla="*/ 222449 w 457297"/>
                <a:gd name="connsiteY34" fmla="*/ 46531 h 578999"/>
                <a:gd name="connsiteX35" fmla="*/ 200660 w 457297"/>
                <a:gd name="connsiteY35" fmla="*/ 45905 h 578999"/>
                <a:gd name="connsiteX36" fmla="*/ 234977 w 457297"/>
                <a:gd name="connsiteY36" fmla="*/ 46218 h 578999"/>
                <a:gd name="connsiteX37" fmla="*/ 234306 w 457297"/>
                <a:gd name="connsiteY37" fmla="*/ 64070 h 578999"/>
                <a:gd name="connsiteX38" fmla="*/ 256855 w 457297"/>
                <a:gd name="connsiteY38" fmla="*/ 63041 h 578999"/>
                <a:gd name="connsiteX39" fmla="*/ 256498 w 457297"/>
                <a:gd name="connsiteY39" fmla="*/ 48589 h 578999"/>
                <a:gd name="connsiteX40" fmla="*/ 234977 w 457297"/>
                <a:gd name="connsiteY40" fmla="*/ 46218 h 578999"/>
                <a:gd name="connsiteX41" fmla="*/ 269070 w 457297"/>
                <a:gd name="connsiteY41" fmla="*/ 46800 h 578999"/>
                <a:gd name="connsiteX42" fmla="*/ 269249 w 457297"/>
                <a:gd name="connsiteY42" fmla="*/ 64875 h 578999"/>
                <a:gd name="connsiteX43" fmla="*/ 318241 w 457297"/>
                <a:gd name="connsiteY43" fmla="*/ 64830 h 578999"/>
                <a:gd name="connsiteX44" fmla="*/ 326876 w 457297"/>
                <a:gd name="connsiteY44" fmla="*/ 52929 h 578999"/>
                <a:gd name="connsiteX45" fmla="*/ 339582 w 457297"/>
                <a:gd name="connsiteY45" fmla="*/ 64472 h 578999"/>
                <a:gd name="connsiteX46" fmla="*/ 339985 w 457297"/>
                <a:gd name="connsiteY46" fmla="*/ 47963 h 578999"/>
                <a:gd name="connsiteX47" fmla="*/ 269070 w 457297"/>
                <a:gd name="connsiteY47" fmla="*/ 46800 h 578999"/>
                <a:gd name="connsiteX48" fmla="*/ 42096 w 457297"/>
                <a:gd name="connsiteY48" fmla="*/ 86798 h 578999"/>
                <a:gd name="connsiteX49" fmla="*/ 41828 w 457297"/>
                <a:gd name="connsiteY49" fmla="*/ 403434 h 578999"/>
                <a:gd name="connsiteX50" fmla="*/ 411929 w 457297"/>
                <a:gd name="connsiteY50" fmla="*/ 402584 h 578999"/>
                <a:gd name="connsiteX51" fmla="*/ 412958 w 457297"/>
                <a:gd name="connsiteY51" fmla="*/ 161159 h 578999"/>
                <a:gd name="connsiteX52" fmla="*/ 412824 w 457297"/>
                <a:gd name="connsiteY52" fmla="*/ 86664 h 578999"/>
                <a:gd name="connsiteX53" fmla="*/ 242314 w 457297"/>
                <a:gd name="connsiteY53" fmla="*/ 85993 h 578999"/>
                <a:gd name="connsiteX54" fmla="*/ 83840 w 457297"/>
                <a:gd name="connsiteY54" fmla="*/ 87469 h 578999"/>
                <a:gd name="connsiteX55" fmla="*/ 42096 w 457297"/>
                <a:gd name="connsiteY55" fmla="*/ 86798 h 578999"/>
                <a:gd name="connsiteX56" fmla="*/ 96099 w 457297"/>
                <a:gd name="connsiteY56" fmla="*/ 450904 h 578999"/>
                <a:gd name="connsiteX57" fmla="*/ 96413 w 457297"/>
                <a:gd name="connsiteY57" fmla="*/ 464819 h 578999"/>
                <a:gd name="connsiteX58" fmla="*/ 147015 w 457297"/>
                <a:gd name="connsiteY58" fmla="*/ 464461 h 578999"/>
                <a:gd name="connsiteX59" fmla="*/ 147105 w 457297"/>
                <a:gd name="connsiteY59" fmla="*/ 450860 h 578999"/>
                <a:gd name="connsiteX60" fmla="*/ 96099 w 457297"/>
                <a:gd name="connsiteY60" fmla="*/ 450860 h 578999"/>
                <a:gd name="connsiteX61" fmla="*/ 308935 w 457297"/>
                <a:gd name="connsiteY61" fmla="*/ 478823 h 578999"/>
                <a:gd name="connsiteX62" fmla="*/ 327278 w 457297"/>
                <a:gd name="connsiteY62" fmla="*/ 461642 h 578999"/>
                <a:gd name="connsiteX63" fmla="*/ 353631 w 457297"/>
                <a:gd name="connsiteY63" fmla="*/ 460658 h 578999"/>
                <a:gd name="connsiteX64" fmla="*/ 373317 w 457297"/>
                <a:gd name="connsiteY64" fmla="*/ 477794 h 578999"/>
                <a:gd name="connsiteX65" fmla="*/ 357479 w 457297"/>
                <a:gd name="connsiteY65" fmla="*/ 449965 h 578999"/>
                <a:gd name="connsiteX66" fmla="*/ 308935 w 457297"/>
                <a:gd name="connsiteY66" fmla="*/ 478823 h 578999"/>
                <a:gd name="connsiteX67" fmla="*/ 336003 w 457297"/>
                <a:gd name="connsiteY67" fmla="*/ 475602 h 578999"/>
                <a:gd name="connsiteX68" fmla="*/ 336808 w 457297"/>
                <a:gd name="connsiteY68" fmla="*/ 489337 h 578999"/>
                <a:gd name="connsiteX69" fmla="*/ 349381 w 457297"/>
                <a:gd name="connsiteY69" fmla="*/ 471127 h 578999"/>
                <a:gd name="connsiteX70" fmla="*/ 336003 w 457297"/>
                <a:gd name="connsiteY70" fmla="*/ 475602 h 578999"/>
                <a:gd name="connsiteX71" fmla="*/ 58561 w 457297"/>
                <a:gd name="connsiteY71" fmla="*/ 484058 h 578999"/>
                <a:gd name="connsiteX72" fmla="*/ 57935 w 457297"/>
                <a:gd name="connsiteY72" fmla="*/ 540969 h 578999"/>
                <a:gd name="connsiteX73" fmla="*/ 150237 w 457297"/>
                <a:gd name="connsiteY73" fmla="*/ 540432 h 578999"/>
                <a:gd name="connsiteX74" fmla="*/ 149923 w 457297"/>
                <a:gd name="connsiteY74" fmla="*/ 483297 h 578999"/>
                <a:gd name="connsiteX75" fmla="*/ 58561 w 457297"/>
                <a:gd name="connsiteY75" fmla="*/ 484058 h 57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57297" h="578999">
                  <a:moveTo>
                    <a:pt x="397" y="582"/>
                  </a:moveTo>
                  <a:cubicBezTo>
                    <a:pt x="152563" y="-89"/>
                    <a:pt x="304684" y="268"/>
                    <a:pt x="456850" y="0"/>
                  </a:cubicBezTo>
                  <a:cubicBezTo>
                    <a:pt x="457834" y="69170"/>
                    <a:pt x="455239" y="138341"/>
                    <a:pt x="456313" y="207511"/>
                  </a:cubicBezTo>
                  <a:cubicBezTo>
                    <a:pt x="457118" y="291043"/>
                    <a:pt x="455284" y="374620"/>
                    <a:pt x="457297" y="458152"/>
                  </a:cubicBezTo>
                  <a:cubicBezTo>
                    <a:pt x="455955" y="497883"/>
                    <a:pt x="456223" y="537613"/>
                    <a:pt x="456760" y="577388"/>
                  </a:cubicBezTo>
                  <a:cubicBezTo>
                    <a:pt x="407097" y="576852"/>
                    <a:pt x="357434" y="577567"/>
                    <a:pt x="307771" y="577031"/>
                  </a:cubicBezTo>
                  <a:cubicBezTo>
                    <a:pt x="307547" y="565666"/>
                    <a:pt x="308084" y="554302"/>
                    <a:pt x="308219" y="542982"/>
                  </a:cubicBezTo>
                  <a:cubicBezTo>
                    <a:pt x="315019" y="541014"/>
                    <a:pt x="325534" y="543609"/>
                    <a:pt x="328442" y="535063"/>
                  </a:cubicBezTo>
                  <a:cubicBezTo>
                    <a:pt x="332290" y="521954"/>
                    <a:pt x="330366" y="506071"/>
                    <a:pt x="319941" y="496406"/>
                  </a:cubicBezTo>
                  <a:cubicBezTo>
                    <a:pt x="312559" y="488442"/>
                    <a:pt x="300702" y="491172"/>
                    <a:pt x="291127" y="489651"/>
                  </a:cubicBezTo>
                  <a:cubicBezTo>
                    <a:pt x="285714" y="494214"/>
                    <a:pt x="280300" y="498733"/>
                    <a:pt x="274931" y="503341"/>
                  </a:cubicBezTo>
                  <a:cubicBezTo>
                    <a:pt x="275513" y="501283"/>
                    <a:pt x="276676" y="497122"/>
                    <a:pt x="277258" y="495064"/>
                  </a:cubicBezTo>
                  <a:cubicBezTo>
                    <a:pt x="277660" y="493096"/>
                    <a:pt x="278555" y="489114"/>
                    <a:pt x="279003" y="487145"/>
                  </a:cubicBezTo>
                  <a:cubicBezTo>
                    <a:pt x="268712" y="484639"/>
                    <a:pt x="257840" y="479136"/>
                    <a:pt x="247325" y="483566"/>
                  </a:cubicBezTo>
                  <a:cubicBezTo>
                    <a:pt x="236856" y="488800"/>
                    <a:pt x="234843" y="501239"/>
                    <a:pt x="231263" y="511171"/>
                  </a:cubicBezTo>
                  <a:cubicBezTo>
                    <a:pt x="229250" y="510455"/>
                    <a:pt x="225268" y="508979"/>
                    <a:pt x="223299" y="508263"/>
                  </a:cubicBezTo>
                  <a:cubicBezTo>
                    <a:pt x="220212" y="510366"/>
                    <a:pt x="217125" y="512469"/>
                    <a:pt x="214083" y="514661"/>
                  </a:cubicBezTo>
                  <a:cubicBezTo>
                    <a:pt x="204463" y="510455"/>
                    <a:pt x="193815" y="499896"/>
                    <a:pt x="182853" y="506026"/>
                  </a:cubicBezTo>
                  <a:cubicBezTo>
                    <a:pt x="172026" y="515108"/>
                    <a:pt x="175381" y="530589"/>
                    <a:pt x="177574" y="542714"/>
                  </a:cubicBezTo>
                  <a:cubicBezTo>
                    <a:pt x="178603" y="551886"/>
                    <a:pt x="179855" y="561058"/>
                    <a:pt x="181242" y="570185"/>
                  </a:cubicBezTo>
                  <a:cubicBezTo>
                    <a:pt x="178737" y="572467"/>
                    <a:pt x="176321" y="574838"/>
                    <a:pt x="173815" y="577120"/>
                  </a:cubicBezTo>
                  <a:cubicBezTo>
                    <a:pt x="115965" y="576404"/>
                    <a:pt x="58069" y="577165"/>
                    <a:pt x="218" y="578999"/>
                  </a:cubicBezTo>
                  <a:cubicBezTo>
                    <a:pt x="-274" y="504012"/>
                    <a:pt x="308" y="429026"/>
                    <a:pt x="129" y="354039"/>
                  </a:cubicBezTo>
                  <a:cubicBezTo>
                    <a:pt x="218" y="236235"/>
                    <a:pt x="-363" y="118386"/>
                    <a:pt x="397" y="582"/>
                  </a:cubicBezTo>
                  <a:close/>
                  <a:moveTo>
                    <a:pt x="109790" y="47471"/>
                  </a:moveTo>
                  <a:cubicBezTo>
                    <a:pt x="109656" y="52705"/>
                    <a:pt x="109477" y="57985"/>
                    <a:pt x="109343" y="63264"/>
                  </a:cubicBezTo>
                  <a:cubicBezTo>
                    <a:pt x="122139" y="62772"/>
                    <a:pt x="134980" y="63130"/>
                    <a:pt x="147731" y="64562"/>
                  </a:cubicBezTo>
                  <a:cubicBezTo>
                    <a:pt x="150326" y="64249"/>
                    <a:pt x="155471" y="63667"/>
                    <a:pt x="158066" y="63354"/>
                  </a:cubicBezTo>
                  <a:cubicBezTo>
                    <a:pt x="164688" y="63667"/>
                    <a:pt x="171310" y="64114"/>
                    <a:pt x="177976" y="64696"/>
                  </a:cubicBezTo>
                  <a:cubicBezTo>
                    <a:pt x="193681" y="69170"/>
                    <a:pt x="193278" y="40804"/>
                    <a:pt x="177663" y="45368"/>
                  </a:cubicBezTo>
                  <a:cubicBezTo>
                    <a:pt x="155069" y="46889"/>
                    <a:pt x="132340" y="45189"/>
                    <a:pt x="109790" y="47471"/>
                  </a:cubicBezTo>
                  <a:close/>
                  <a:moveTo>
                    <a:pt x="200660" y="45905"/>
                  </a:moveTo>
                  <a:cubicBezTo>
                    <a:pt x="200839" y="51990"/>
                    <a:pt x="201018" y="58119"/>
                    <a:pt x="201197" y="64249"/>
                  </a:cubicBezTo>
                  <a:cubicBezTo>
                    <a:pt x="208445" y="64249"/>
                    <a:pt x="215649" y="64204"/>
                    <a:pt x="222897" y="64204"/>
                  </a:cubicBezTo>
                  <a:cubicBezTo>
                    <a:pt x="222762" y="58298"/>
                    <a:pt x="222583" y="52392"/>
                    <a:pt x="222449" y="46531"/>
                  </a:cubicBezTo>
                  <a:cubicBezTo>
                    <a:pt x="215156" y="46352"/>
                    <a:pt x="207908" y="45994"/>
                    <a:pt x="200660" y="45905"/>
                  </a:cubicBezTo>
                  <a:close/>
                  <a:moveTo>
                    <a:pt x="234977" y="46218"/>
                  </a:moveTo>
                  <a:cubicBezTo>
                    <a:pt x="234753" y="52169"/>
                    <a:pt x="234485" y="58119"/>
                    <a:pt x="234306" y="64070"/>
                  </a:cubicBezTo>
                  <a:cubicBezTo>
                    <a:pt x="241778" y="63757"/>
                    <a:pt x="249294" y="63399"/>
                    <a:pt x="256855" y="63041"/>
                  </a:cubicBezTo>
                  <a:cubicBezTo>
                    <a:pt x="256721" y="58209"/>
                    <a:pt x="256587" y="53377"/>
                    <a:pt x="256498" y="48589"/>
                  </a:cubicBezTo>
                  <a:cubicBezTo>
                    <a:pt x="249294" y="47650"/>
                    <a:pt x="242180" y="46665"/>
                    <a:pt x="234977" y="46218"/>
                  </a:cubicBezTo>
                  <a:close/>
                  <a:moveTo>
                    <a:pt x="269070" y="46800"/>
                  </a:moveTo>
                  <a:cubicBezTo>
                    <a:pt x="269115" y="52795"/>
                    <a:pt x="269159" y="58835"/>
                    <a:pt x="269249" y="64875"/>
                  </a:cubicBezTo>
                  <a:cubicBezTo>
                    <a:pt x="285580" y="64472"/>
                    <a:pt x="301910" y="64472"/>
                    <a:pt x="318241" y="64830"/>
                  </a:cubicBezTo>
                  <a:cubicBezTo>
                    <a:pt x="321104" y="60848"/>
                    <a:pt x="323968" y="56866"/>
                    <a:pt x="326876" y="52929"/>
                  </a:cubicBezTo>
                  <a:cubicBezTo>
                    <a:pt x="327726" y="60401"/>
                    <a:pt x="332334" y="64249"/>
                    <a:pt x="339582" y="64472"/>
                  </a:cubicBezTo>
                  <a:cubicBezTo>
                    <a:pt x="339717" y="58924"/>
                    <a:pt x="339851" y="53466"/>
                    <a:pt x="339985" y="47963"/>
                  </a:cubicBezTo>
                  <a:cubicBezTo>
                    <a:pt x="316317" y="48142"/>
                    <a:pt x="292693" y="47471"/>
                    <a:pt x="269070" y="46800"/>
                  </a:cubicBezTo>
                  <a:close/>
                  <a:moveTo>
                    <a:pt x="42096" y="86798"/>
                  </a:moveTo>
                  <a:cubicBezTo>
                    <a:pt x="41157" y="192343"/>
                    <a:pt x="41694" y="297889"/>
                    <a:pt x="41828" y="403434"/>
                  </a:cubicBezTo>
                  <a:cubicBezTo>
                    <a:pt x="165180" y="403344"/>
                    <a:pt x="288577" y="403478"/>
                    <a:pt x="411929" y="402584"/>
                  </a:cubicBezTo>
                  <a:cubicBezTo>
                    <a:pt x="414614" y="322183"/>
                    <a:pt x="411974" y="241649"/>
                    <a:pt x="412958" y="161159"/>
                  </a:cubicBezTo>
                  <a:cubicBezTo>
                    <a:pt x="413406" y="136327"/>
                    <a:pt x="413272" y="111496"/>
                    <a:pt x="412824" y="86664"/>
                  </a:cubicBezTo>
                  <a:cubicBezTo>
                    <a:pt x="356003" y="85725"/>
                    <a:pt x="299136" y="88767"/>
                    <a:pt x="242314" y="85993"/>
                  </a:cubicBezTo>
                  <a:cubicBezTo>
                    <a:pt x="189520" y="86127"/>
                    <a:pt x="136590" y="84517"/>
                    <a:pt x="83840" y="87469"/>
                  </a:cubicBezTo>
                  <a:cubicBezTo>
                    <a:pt x="70015" y="85367"/>
                    <a:pt x="56011" y="85904"/>
                    <a:pt x="42096" y="86798"/>
                  </a:cubicBezTo>
                  <a:close/>
                  <a:moveTo>
                    <a:pt x="96099" y="450904"/>
                  </a:moveTo>
                  <a:cubicBezTo>
                    <a:pt x="96189" y="455513"/>
                    <a:pt x="96278" y="460166"/>
                    <a:pt x="96413" y="464819"/>
                  </a:cubicBezTo>
                  <a:cubicBezTo>
                    <a:pt x="113280" y="464506"/>
                    <a:pt x="130148" y="464327"/>
                    <a:pt x="147015" y="464461"/>
                  </a:cubicBezTo>
                  <a:cubicBezTo>
                    <a:pt x="146926" y="459897"/>
                    <a:pt x="147015" y="455334"/>
                    <a:pt x="147105" y="450860"/>
                  </a:cubicBezTo>
                  <a:cubicBezTo>
                    <a:pt x="130103" y="450949"/>
                    <a:pt x="113101" y="450949"/>
                    <a:pt x="96099" y="450860"/>
                  </a:cubicBezTo>
                  <a:close/>
                  <a:moveTo>
                    <a:pt x="308935" y="478823"/>
                  </a:moveTo>
                  <a:cubicBezTo>
                    <a:pt x="314930" y="472962"/>
                    <a:pt x="320478" y="466609"/>
                    <a:pt x="327278" y="461642"/>
                  </a:cubicBezTo>
                  <a:cubicBezTo>
                    <a:pt x="335824" y="459047"/>
                    <a:pt x="344862" y="460390"/>
                    <a:pt x="353631" y="460658"/>
                  </a:cubicBezTo>
                  <a:cubicBezTo>
                    <a:pt x="359448" y="467190"/>
                    <a:pt x="365980" y="473007"/>
                    <a:pt x="373317" y="477794"/>
                  </a:cubicBezTo>
                  <a:cubicBezTo>
                    <a:pt x="373541" y="466340"/>
                    <a:pt x="367322" y="455692"/>
                    <a:pt x="357479" y="449965"/>
                  </a:cubicBezTo>
                  <a:cubicBezTo>
                    <a:pt x="337122" y="437750"/>
                    <a:pt x="303834" y="452247"/>
                    <a:pt x="308935" y="478823"/>
                  </a:cubicBezTo>
                  <a:close/>
                  <a:moveTo>
                    <a:pt x="336003" y="475602"/>
                  </a:moveTo>
                  <a:cubicBezTo>
                    <a:pt x="336227" y="479047"/>
                    <a:pt x="336629" y="485892"/>
                    <a:pt x="336808" y="489337"/>
                  </a:cubicBezTo>
                  <a:cubicBezTo>
                    <a:pt x="348844" y="490322"/>
                    <a:pt x="352871" y="481731"/>
                    <a:pt x="349381" y="471127"/>
                  </a:cubicBezTo>
                  <a:cubicBezTo>
                    <a:pt x="344907" y="472604"/>
                    <a:pt x="340432" y="474125"/>
                    <a:pt x="336003" y="475602"/>
                  </a:cubicBezTo>
                  <a:close/>
                  <a:moveTo>
                    <a:pt x="58561" y="484058"/>
                  </a:moveTo>
                  <a:cubicBezTo>
                    <a:pt x="57577" y="503028"/>
                    <a:pt x="57532" y="521998"/>
                    <a:pt x="57935" y="540969"/>
                  </a:cubicBezTo>
                  <a:cubicBezTo>
                    <a:pt x="88717" y="541595"/>
                    <a:pt x="119454" y="540074"/>
                    <a:pt x="150237" y="540432"/>
                  </a:cubicBezTo>
                  <a:cubicBezTo>
                    <a:pt x="150818" y="521372"/>
                    <a:pt x="150908" y="502312"/>
                    <a:pt x="149923" y="483297"/>
                  </a:cubicBezTo>
                  <a:cubicBezTo>
                    <a:pt x="119454" y="483655"/>
                    <a:pt x="88986" y="482581"/>
                    <a:pt x="58561" y="484058"/>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5" name="Freeform: Shape 4624">
              <a:extLst>
                <a:ext uri="{FF2B5EF4-FFF2-40B4-BE49-F238E27FC236}">
                  <a16:creationId xmlns:a16="http://schemas.microsoft.com/office/drawing/2014/main" id="{F66B86A0-F03B-1912-804C-33E79FC03D82}"/>
                </a:ext>
              </a:extLst>
            </p:cNvPr>
            <p:cNvSpPr/>
            <p:nvPr/>
          </p:nvSpPr>
          <p:spPr>
            <a:xfrm flipH="1">
              <a:off x="3150291" y="3027622"/>
              <a:ext cx="39171" cy="96327"/>
            </a:xfrm>
            <a:custGeom>
              <a:avLst/>
              <a:gdLst>
                <a:gd name="connsiteX0" fmla="*/ 5548 w 32840"/>
                <a:gd name="connsiteY0" fmla="*/ 11498 h 80758"/>
                <a:gd name="connsiteX1" fmla="*/ 14899 w 32840"/>
                <a:gd name="connsiteY1" fmla="*/ 0 h 80758"/>
                <a:gd name="connsiteX2" fmla="*/ 32840 w 32840"/>
                <a:gd name="connsiteY2" fmla="*/ 72705 h 80758"/>
                <a:gd name="connsiteX3" fmla="*/ 32661 w 32840"/>
                <a:gd name="connsiteY3" fmla="*/ 80758 h 80758"/>
                <a:gd name="connsiteX4" fmla="*/ 18568 w 32840"/>
                <a:gd name="connsiteY4" fmla="*/ 49887 h 80758"/>
                <a:gd name="connsiteX5" fmla="*/ 12707 w 32840"/>
                <a:gd name="connsiteY5" fmla="*/ 33332 h 80758"/>
                <a:gd name="connsiteX6" fmla="*/ 2908 w 32840"/>
                <a:gd name="connsiteY6" fmla="*/ 42728 h 80758"/>
                <a:gd name="connsiteX7" fmla="*/ 11901 w 32840"/>
                <a:gd name="connsiteY7" fmla="*/ 32616 h 80758"/>
                <a:gd name="connsiteX8" fmla="*/ 10827 w 32840"/>
                <a:gd name="connsiteY8" fmla="*/ 13557 h 80758"/>
                <a:gd name="connsiteX9" fmla="*/ 0 w 32840"/>
                <a:gd name="connsiteY9" fmla="*/ 14049 h 80758"/>
                <a:gd name="connsiteX10" fmla="*/ 5548 w 32840"/>
                <a:gd name="connsiteY10" fmla="*/ 11498 h 8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40" h="80758">
                  <a:moveTo>
                    <a:pt x="5548" y="11498"/>
                  </a:moveTo>
                  <a:cubicBezTo>
                    <a:pt x="8725" y="7740"/>
                    <a:pt x="11812" y="3892"/>
                    <a:pt x="14899" y="0"/>
                  </a:cubicBezTo>
                  <a:cubicBezTo>
                    <a:pt x="11051" y="25816"/>
                    <a:pt x="19194" y="51005"/>
                    <a:pt x="32840" y="72705"/>
                  </a:cubicBezTo>
                  <a:cubicBezTo>
                    <a:pt x="32751" y="75345"/>
                    <a:pt x="32661" y="78029"/>
                    <a:pt x="32661" y="80758"/>
                  </a:cubicBezTo>
                  <a:cubicBezTo>
                    <a:pt x="27650" y="70557"/>
                    <a:pt x="22594" y="60446"/>
                    <a:pt x="18568" y="49887"/>
                  </a:cubicBezTo>
                  <a:cubicBezTo>
                    <a:pt x="17091" y="45770"/>
                    <a:pt x="14183" y="37493"/>
                    <a:pt x="12707" y="33332"/>
                  </a:cubicBezTo>
                  <a:cubicBezTo>
                    <a:pt x="10246" y="35704"/>
                    <a:pt x="5369" y="40402"/>
                    <a:pt x="2908" y="42728"/>
                  </a:cubicBezTo>
                  <a:cubicBezTo>
                    <a:pt x="5861" y="39328"/>
                    <a:pt x="8859" y="35972"/>
                    <a:pt x="11901" y="32616"/>
                  </a:cubicBezTo>
                  <a:cubicBezTo>
                    <a:pt x="11633" y="27874"/>
                    <a:pt x="11096" y="18344"/>
                    <a:pt x="10827" y="13557"/>
                  </a:cubicBezTo>
                  <a:cubicBezTo>
                    <a:pt x="8143" y="13691"/>
                    <a:pt x="2685" y="13915"/>
                    <a:pt x="0" y="14049"/>
                  </a:cubicBezTo>
                  <a:cubicBezTo>
                    <a:pt x="1387" y="13422"/>
                    <a:pt x="4161" y="12125"/>
                    <a:pt x="5548" y="11498"/>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6" name="Freeform: Shape 4625">
              <a:extLst>
                <a:ext uri="{FF2B5EF4-FFF2-40B4-BE49-F238E27FC236}">
                  <a16:creationId xmlns:a16="http://schemas.microsoft.com/office/drawing/2014/main" id="{F9D9114F-E371-5D53-580B-23E041ABF856}"/>
                </a:ext>
              </a:extLst>
            </p:cNvPr>
            <p:cNvSpPr/>
            <p:nvPr/>
          </p:nvSpPr>
          <p:spPr>
            <a:xfrm flipH="1">
              <a:off x="3002571" y="3037975"/>
              <a:ext cx="28498" cy="41786"/>
            </a:xfrm>
            <a:custGeom>
              <a:avLst/>
              <a:gdLst>
                <a:gd name="connsiteX0" fmla="*/ 0 w 23891"/>
                <a:gd name="connsiteY0" fmla="*/ 0 h 35032"/>
                <a:gd name="connsiteX1" fmla="*/ 23892 w 23891"/>
                <a:gd name="connsiteY1" fmla="*/ 2282 h 35032"/>
                <a:gd name="connsiteX2" fmla="*/ 13154 w 23891"/>
                <a:gd name="connsiteY2" fmla="*/ 13601 h 35032"/>
                <a:gd name="connsiteX3" fmla="*/ 10827 w 23891"/>
                <a:gd name="connsiteY3" fmla="*/ 35033 h 35032"/>
                <a:gd name="connsiteX4" fmla="*/ 6667 w 23891"/>
                <a:gd name="connsiteY4" fmla="*/ 21476 h 35032"/>
                <a:gd name="connsiteX5" fmla="*/ 0 w 23891"/>
                <a:gd name="connsiteY5" fmla="*/ 0 h 3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91" h="35032">
                  <a:moveTo>
                    <a:pt x="0" y="0"/>
                  </a:moveTo>
                  <a:cubicBezTo>
                    <a:pt x="7964" y="671"/>
                    <a:pt x="15928" y="1432"/>
                    <a:pt x="23892" y="2282"/>
                  </a:cubicBezTo>
                  <a:cubicBezTo>
                    <a:pt x="19865" y="6040"/>
                    <a:pt x="16554" y="9217"/>
                    <a:pt x="13154" y="13601"/>
                  </a:cubicBezTo>
                  <a:cubicBezTo>
                    <a:pt x="12393" y="20715"/>
                    <a:pt x="11588" y="27874"/>
                    <a:pt x="10827" y="35033"/>
                  </a:cubicBezTo>
                  <a:cubicBezTo>
                    <a:pt x="9441" y="30469"/>
                    <a:pt x="8054" y="25950"/>
                    <a:pt x="6667" y="21476"/>
                  </a:cubicBezTo>
                  <a:cubicBezTo>
                    <a:pt x="4474" y="14273"/>
                    <a:pt x="2237" y="7159"/>
                    <a:pt x="0" y="0"/>
                  </a:cubicBezTo>
                  <a:close/>
                </a:path>
              </a:pathLst>
            </a:custGeom>
            <a:solidFill>
              <a:srgbClr val="D3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9" name="Freeform: Shape 4628">
              <a:extLst>
                <a:ext uri="{FF2B5EF4-FFF2-40B4-BE49-F238E27FC236}">
                  <a16:creationId xmlns:a16="http://schemas.microsoft.com/office/drawing/2014/main" id="{7AFF9438-B5A8-A3DB-CCE3-C0B9F0CA69C0}"/>
                </a:ext>
              </a:extLst>
            </p:cNvPr>
            <p:cNvSpPr/>
            <p:nvPr/>
          </p:nvSpPr>
          <p:spPr>
            <a:xfrm flipH="1">
              <a:off x="3109466" y="2941911"/>
              <a:ext cx="207171" cy="22373"/>
            </a:xfrm>
            <a:custGeom>
              <a:avLst/>
              <a:gdLst>
                <a:gd name="connsiteX0" fmla="*/ 1924 w 173686"/>
                <a:gd name="connsiteY0" fmla="*/ 136 h 18756"/>
                <a:gd name="connsiteX1" fmla="*/ 171807 w 173686"/>
                <a:gd name="connsiteY1" fmla="*/ 1076 h 18756"/>
                <a:gd name="connsiteX2" fmla="*/ 173686 w 173686"/>
                <a:gd name="connsiteY2" fmla="*/ 18391 h 18756"/>
                <a:gd name="connsiteX3" fmla="*/ 0 w 173686"/>
                <a:gd name="connsiteY3" fmla="*/ 17809 h 18756"/>
                <a:gd name="connsiteX4" fmla="*/ 1924 w 173686"/>
                <a:gd name="connsiteY4" fmla="*/ 136 h 18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6" h="18756">
                  <a:moveTo>
                    <a:pt x="1924" y="136"/>
                  </a:moveTo>
                  <a:cubicBezTo>
                    <a:pt x="58567" y="181"/>
                    <a:pt x="115164" y="-580"/>
                    <a:pt x="171807" y="1076"/>
                  </a:cubicBezTo>
                  <a:cubicBezTo>
                    <a:pt x="172389" y="6847"/>
                    <a:pt x="173015" y="12619"/>
                    <a:pt x="173686" y="18391"/>
                  </a:cubicBezTo>
                  <a:cubicBezTo>
                    <a:pt x="115791" y="19151"/>
                    <a:pt x="57895" y="18614"/>
                    <a:pt x="0" y="17809"/>
                  </a:cubicBezTo>
                  <a:cubicBezTo>
                    <a:pt x="626" y="11903"/>
                    <a:pt x="1253" y="5997"/>
                    <a:pt x="1924" y="136"/>
                  </a:cubicBezTo>
                  <a:close/>
                </a:path>
              </a:pathLst>
            </a:custGeom>
            <a:solidFill>
              <a:srgbClr val="85A1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0" name="Freeform: Shape 4629">
              <a:extLst>
                <a:ext uri="{FF2B5EF4-FFF2-40B4-BE49-F238E27FC236}">
                  <a16:creationId xmlns:a16="http://schemas.microsoft.com/office/drawing/2014/main" id="{2FF5995D-55C3-2F12-76E6-C70F6A11F35A}"/>
                </a:ext>
              </a:extLst>
            </p:cNvPr>
            <p:cNvSpPr/>
            <p:nvPr/>
          </p:nvSpPr>
          <p:spPr>
            <a:xfrm flipH="1">
              <a:off x="3982660" y="2951093"/>
              <a:ext cx="81865" cy="23055"/>
            </a:xfrm>
            <a:custGeom>
              <a:avLst/>
              <a:gdLst>
                <a:gd name="connsiteX0" fmla="*/ 447 w 68633"/>
                <a:gd name="connsiteY0" fmla="*/ 2103 h 19328"/>
                <a:gd name="connsiteX1" fmla="*/ 68320 w 68633"/>
                <a:gd name="connsiteY1" fmla="*/ 0 h 19328"/>
                <a:gd name="connsiteX2" fmla="*/ 68633 w 68633"/>
                <a:gd name="connsiteY2" fmla="*/ 19328 h 19328"/>
                <a:gd name="connsiteX3" fmla="*/ 48724 w 68633"/>
                <a:gd name="connsiteY3" fmla="*/ 17986 h 19328"/>
                <a:gd name="connsiteX4" fmla="*/ 54719 w 68633"/>
                <a:gd name="connsiteY4" fmla="*/ 3311 h 19328"/>
                <a:gd name="connsiteX5" fmla="*/ 28635 w 68633"/>
                <a:gd name="connsiteY5" fmla="*/ 5995 h 19328"/>
                <a:gd name="connsiteX6" fmla="*/ 38388 w 68633"/>
                <a:gd name="connsiteY6" fmla="*/ 19194 h 19328"/>
                <a:gd name="connsiteX7" fmla="*/ 0 w 68633"/>
                <a:gd name="connsiteY7" fmla="*/ 17897 h 19328"/>
                <a:gd name="connsiteX8" fmla="*/ 447 w 68633"/>
                <a:gd name="connsiteY8" fmla="*/ 2103 h 1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33" h="19328">
                  <a:moveTo>
                    <a:pt x="447" y="2103"/>
                  </a:moveTo>
                  <a:cubicBezTo>
                    <a:pt x="22997" y="-179"/>
                    <a:pt x="45726" y="1521"/>
                    <a:pt x="68320" y="0"/>
                  </a:cubicBezTo>
                  <a:cubicBezTo>
                    <a:pt x="68365" y="6443"/>
                    <a:pt x="68454" y="12841"/>
                    <a:pt x="68633" y="19328"/>
                  </a:cubicBezTo>
                  <a:cubicBezTo>
                    <a:pt x="61967" y="18747"/>
                    <a:pt x="55345" y="18299"/>
                    <a:pt x="48724" y="17986"/>
                  </a:cubicBezTo>
                  <a:cubicBezTo>
                    <a:pt x="50782" y="13109"/>
                    <a:pt x="52795" y="8188"/>
                    <a:pt x="54719" y="3311"/>
                  </a:cubicBezTo>
                  <a:cubicBezTo>
                    <a:pt x="45994" y="4116"/>
                    <a:pt x="37314" y="5011"/>
                    <a:pt x="28635" y="5995"/>
                  </a:cubicBezTo>
                  <a:cubicBezTo>
                    <a:pt x="31811" y="10380"/>
                    <a:pt x="34988" y="14854"/>
                    <a:pt x="38388" y="19194"/>
                  </a:cubicBezTo>
                  <a:cubicBezTo>
                    <a:pt x="25637" y="17762"/>
                    <a:pt x="12796" y="17404"/>
                    <a:pt x="0" y="17897"/>
                  </a:cubicBezTo>
                  <a:cubicBezTo>
                    <a:pt x="134" y="12617"/>
                    <a:pt x="313" y="7338"/>
                    <a:pt x="447" y="2103"/>
                  </a:cubicBezTo>
                  <a:close/>
                </a:path>
              </a:pathLst>
            </a:custGeom>
            <a:solidFill>
              <a:srgbClr val="719C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1" name="Freeform: Shape 4630">
              <a:extLst>
                <a:ext uri="{FF2B5EF4-FFF2-40B4-BE49-F238E27FC236}">
                  <a16:creationId xmlns:a16="http://schemas.microsoft.com/office/drawing/2014/main" id="{75391A67-1404-1BBE-376F-13FB0BEF683A}"/>
                </a:ext>
              </a:extLst>
            </p:cNvPr>
            <p:cNvSpPr/>
            <p:nvPr/>
          </p:nvSpPr>
          <p:spPr>
            <a:xfrm flipH="1">
              <a:off x="3968836" y="2950499"/>
              <a:ext cx="14197" cy="24222"/>
            </a:xfrm>
            <a:custGeom>
              <a:avLst/>
              <a:gdLst>
                <a:gd name="connsiteX0" fmla="*/ 0 w 11902"/>
                <a:gd name="connsiteY0" fmla="*/ 499 h 20307"/>
                <a:gd name="connsiteX1" fmla="*/ 313 w 11902"/>
                <a:gd name="connsiteY1" fmla="*/ 19827 h 20307"/>
                <a:gd name="connsiteX2" fmla="*/ 0 w 11902"/>
                <a:gd name="connsiteY2" fmla="*/ 499 h 20307"/>
              </a:gdLst>
              <a:ahLst/>
              <a:cxnLst>
                <a:cxn ang="0">
                  <a:pos x="connsiteX0" y="connsiteY0"/>
                </a:cxn>
                <a:cxn ang="0">
                  <a:pos x="connsiteX1" y="connsiteY1"/>
                </a:cxn>
                <a:cxn ang="0">
                  <a:pos x="connsiteX2" y="connsiteY2"/>
                </a:cxn>
              </a:cxnLst>
              <a:rect l="l" t="t" r="r" b="b"/>
              <a:pathLst>
                <a:path w="11902" h="20307">
                  <a:moveTo>
                    <a:pt x="0" y="499"/>
                  </a:moveTo>
                  <a:cubicBezTo>
                    <a:pt x="15615" y="-4065"/>
                    <a:pt x="16018" y="24301"/>
                    <a:pt x="313" y="19827"/>
                  </a:cubicBezTo>
                  <a:cubicBezTo>
                    <a:pt x="134" y="13340"/>
                    <a:pt x="45" y="6942"/>
                    <a:pt x="0" y="499"/>
                  </a:cubicBezTo>
                  <a:close/>
                </a:path>
              </a:pathLst>
            </a:custGeom>
            <a:solidFill>
              <a:srgbClr val="507C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2" name="Freeform: Shape 4631">
              <a:extLst>
                <a:ext uri="{FF2B5EF4-FFF2-40B4-BE49-F238E27FC236}">
                  <a16:creationId xmlns:a16="http://schemas.microsoft.com/office/drawing/2014/main" id="{F3AD2075-4313-3B37-5C73-B2F44F33AF5A}"/>
                </a:ext>
              </a:extLst>
            </p:cNvPr>
            <p:cNvSpPr/>
            <p:nvPr/>
          </p:nvSpPr>
          <p:spPr>
            <a:xfrm flipH="1">
              <a:off x="3929079" y="2951734"/>
              <a:ext cx="26522" cy="21880"/>
            </a:xfrm>
            <a:custGeom>
              <a:avLst/>
              <a:gdLst>
                <a:gd name="connsiteX0" fmla="*/ 0 w 22236"/>
                <a:gd name="connsiteY0" fmla="*/ 0 h 18343"/>
                <a:gd name="connsiteX1" fmla="*/ 21789 w 22236"/>
                <a:gd name="connsiteY1" fmla="*/ 626 h 18343"/>
                <a:gd name="connsiteX2" fmla="*/ 22237 w 22236"/>
                <a:gd name="connsiteY2" fmla="*/ 18299 h 18343"/>
                <a:gd name="connsiteX3" fmla="*/ 537 w 22236"/>
                <a:gd name="connsiteY3" fmla="*/ 18344 h 18343"/>
                <a:gd name="connsiteX4" fmla="*/ 0 w 22236"/>
                <a:gd name="connsiteY4" fmla="*/ 0 h 18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6" h="18343">
                  <a:moveTo>
                    <a:pt x="0" y="0"/>
                  </a:moveTo>
                  <a:cubicBezTo>
                    <a:pt x="7248" y="89"/>
                    <a:pt x="14496" y="447"/>
                    <a:pt x="21789" y="626"/>
                  </a:cubicBezTo>
                  <a:cubicBezTo>
                    <a:pt x="21923" y="6487"/>
                    <a:pt x="22102" y="12393"/>
                    <a:pt x="22237" y="18299"/>
                  </a:cubicBezTo>
                  <a:cubicBezTo>
                    <a:pt x="14988" y="18299"/>
                    <a:pt x="7785" y="18344"/>
                    <a:pt x="537" y="18344"/>
                  </a:cubicBezTo>
                  <a:cubicBezTo>
                    <a:pt x="358" y="12214"/>
                    <a:pt x="179" y="6085"/>
                    <a:pt x="0" y="0"/>
                  </a:cubicBezTo>
                  <a:close/>
                </a:path>
              </a:pathLst>
            </a:custGeom>
            <a:solidFill>
              <a:srgbClr val="517D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3" name="Freeform: Shape 4632">
              <a:extLst>
                <a:ext uri="{FF2B5EF4-FFF2-40B4-BE49-F238E27FC236}">
                  <a16:creationId xmlns:a16="http://schemas.microsoft.com/office/drawing/2014/main" id="{C38C431E-5CC1-6D13-9332-DBBFB171F212}"/>
                </a:ext>
              </a:extLst>
            </p:cNvPr>
            <p:cNvSpPr/>
            <p:nvPr/>
          </p:nvSpPr>
          <p:spPr>
            <a:xfrm flipH="1">
              <a:off x="3888574" y="2952107"/>
              <a:ext cx="26896" cy="21293"/>
            </a:xfrm>
            <a:custGeom>
              <a:avLst/>
              <a:gdLst>
                <a:gd name="connsiteX0" fmla="*/ 671 w 22549"/>
                <a:gd name="connsiteY0" fmla="*/ 0 h 17851"/>
                <a:gd name="connsiteX1" fmla="*/ 22192 w 22549"/>
                <a:gd name="connsiteY1" fmla="*/ 2371 h 17851"/>
                <a:gd name="connsiteX2" fmla="*/ 22550 w 22549"/>
                <a:gd name="connsiteY2" fmla="*/ 16823 h 17851"/>
                <a:gd name="connsiteX3" fmla="*/ 0 w 22549"/>
                <a:gd name="connsiteY3" fmla="*/ 17852 h 17851"/>
                <a:gd name="connsiteX4" fmla="*/ 671 w 22549"/>
                <a:gd name="connsiteY4" fmla="*/ 0 h 17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7851">
                  <a:moveTo>
                    <a:pt x="671" y="0"/>
                  </a:moveTo>
                  <a:cubicBezTo>
                    <a:pt x="7875" y="447"/>
                    <a:pt x="14988" y="1432"/>
                    <a:pt x="22192" y="2371"/>
                  </a:cubicBezTo>
                  <a:cubicBezTo>
                    <a:pt x="22281" y="7159"/>
                    <a:pt x="22416" y="11991"/>
                    <a:pt x="22550" y="16823"/>
                  </a:cubicBezTo>
                  <a:cubicBezTo>
                    <a:pt x="14988" y="17181"/>
                    <a:pt x="7472" y="17539"/>
                    <a:pt x="0" y="17852"/>
                  </a:cubicBezTo>
                  <a:cubicBezTo>
                    <a:pt x="179" y="11901"/>
                    <a:pt x="447" y="5951"/>
                    <a:pt x="671" y="0"/>
                  </a:cubicBezTo>
                  <a:close/>
                </a:path>
              </a:pathLst>
            </a:custGeom>
            <a:solidFill>
              <a:srgbClr val="4977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34" name="Freeform: Shape 4633">
              <a:extLst>
                <a:ext uri="{FF2B5EF4-FFF2-40B4-BE49-F238E27FC236}">
                  <a16:creationId xmlns:a16="http://schemas.microsoft.com/office/drawing/2014/main" id="{3CA6D3DE-4962-3111-3C35-1D259EC0DB72}"/>
                </a:ext>
              </a:extLst>
            </p:cNvPr>
            <p:cNvSpPr/>
            <p:nvPr/>
          </p:nvSpPr>
          <p:spPr>
            <a:xfrm flipH="1">
              <a:off x="3789416" y="2952801"/>
              <a:ext cx="84587" cy="21560"/>
            </a:xfrm>
            <a:custGeom>
              <a:avLst/>
              <a:gdLst>
                <a:gd name="connsiteX0" fmla="*/ 0 w 70915"/>
                <a:gd name="connsiteY0" fmla="*/ 0 h 18075"/>
                <a:gd name="connsiteX1" fmla="*/ 70915 w 70915"/>
                <a:gd name="connsiteY1" fmla="*/ 1163 h 18075"/>
                <a:gd name="connsiteX2" fmla="*/ 70512 w 70915"/>
                <a:gd name="connsiteY2" fmla="*/ 17673 h 18075"/>
                <a:gd name="connsiteX3" fmla="*/ 57806 w 70915"/>
                <a:gd name="connsiteY3" fmla="*/ 6130 h 18075"/>
                <a:gd name="connsiteX4" fmla="*/ 49171 w 70915"/>
                <a:gd name="connsiteY4" fmla="*/ 18031 h 18075"/>
                <a:gd name="connsiteX5" fmla="*/ 179 w 70915"/>
                <a:gd name="connsiteY5" fmla="*/ 18076 h 18075"/>
                <a:gd name="connsiteX6" fmla="*/ 0 w 70915"/>
                <a:gd name="connsiteY6" fmla="*/ 0 h 1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15" h="18075">
                  <a:moveTo>
                    <a:pt x="0" y="0"/>
                  </a:moveTo>
                  <a:cubicBezTo>
                    <a:pt x="23623" y="671"/>
                    <a:pt x="47247" y="1342"/>
                    <a:pt x="70915" y="1163"/>
                  </a:cubicBezTo>
                  <a:cubicBezTo>
                    <a:pt x="70781" y="6666"/>
                    <a:pt x="70647" y="12125"/>
                    <a:pt x="70512" y="17673"/>
                  </a:cubicBezTo>
                  <a:cubicBezTo>
                    <a:pt x="63264" y="17449"/>
                    <a:pt x="58656" y="13601"/>
                    <a:pt x="57806" y="6130"/>
                  </a:cubicBezTo>
                  <a:cubicBezTo>
                    <a:pt x="54898" y="10067"/>
                    <a:pt x="52034" y="14049"/>
                    <a:pt x="49171" y="18031"/>
                  </a:cubicBezTo>
                  <a:cubicBezTo>
                    <a:pt x="32840" y="17673"/>
                    <a:pt x="16510" y="17673"/>
                    <a:pt x="179" y="18076"/>
                  </a:cubicBezTo>
                  <a:cubicBezTo>
                    <a:pt x="89" y="12035"/>
                    <a:pt x="45" y="5995"/>
                    <a:pt x="0" y="0"/>
                  </a:cubicBezTo>
                  <a:close/>
                </a:path>
              </a:pathLst>
            </a:custGeom>
            <a:solidFill>
              <a:srgbClr val="4F7EB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47" name="Freeform: Shape 4646">
              <a:extLst>
                <a:ext uri="{FF2B5EF4-FFF2-40B4-BE49-F238E27FC236}">
                  <a16:creationId xmlns:a16="http://schemas.microsoft.com/office/drawing/2014/main" id="{9D8AE4C6-E625-75EE-ADBB-290BBE2B53F0}"/>
                </a:ext>
              </a:extLst>
            </p:cNvPr>
            <p:cNvSpPr/>
            <p:nvPr/>
          </p:nvSpPr>
          <p:spPr>
            <a:xfrm flipH="1">
              <a:off x="3999257" y="2955043"/>
              <a:ext cx="31112" cy="18944"/>
            </a:xfrm>
            <a:custGeom>
              <a:avLst/>
              <a:gdLst>
                <a:gd name="connsiteX0" fmla="*/ 0 w 26084"/>
                <a:gd name="connsiteY0" fmla="*/ 2685 h 15883"/>
                <a:gd name="connsiteX1" fmla="*/ 26084 w 26084"/>
                <a:gd name="connsiteY1" fmla="*/ 0 h 15883"/>
                <a:gd name="connsiteX2" fmla="*/ 20089 w 26084"/>
                <a:gd name="connsiteY2" fmla="*/ 14675 h 15883"/>
                <a:gd name="connsiteX3" fmla="*/ 9754 w 26084"/>
                <a:gd name="connsiteY3" fmla="*/ 15883 h 15883"/>
                <a:gd name="connsiteX4" fmla="*/ 0 w 26084"/>
                <a:gd name="connsiteY4" fmla="*/ 2685 h 1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4" h="15883">
                  <a:moveTo>
                    <a:pt x="0" y="2685"/>
                  </a:moveTo>
                  <a:cubicBezTo>
                    <a:pt x="8680" y="1700"/>
                    <a:pt x="17360" y="805"/>
                    <a:pt x="26084" y="0"/>
                  </a:cubicBezTo>
                  <a:cubicBezTo>
                    <a:pt x="24160" y="4877"/>
                    <a:pt x="22147" y="9798"/>
                    <a:pt x="20089" y="14675"/>
                  </a:cubicBezTo>
                  <a:cubicBezTo>
                    <a:pt x="17494" y="14988"/>
                    <a:pt x="12349" y="15570"/>
                    <a:pt x="9754" y="15883"/>
                  </a:cubicBezTo>
                  <a:cubicBezTo>
                    <a:pt x="6353" y="11543"/>
                    <a:pt x="3177" y="7069"/>
                    <a:pt x="0" y="2685"/>
                  </a:cubicBezTo>
                  <a:close/>
                </a:path>
              </a:pathLst>
            </a:custGeom>
            <a:solidFill>
              <a:srgbClr val="4D7FB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51" name="Freeform: Shape 4650">
              <a:extLst>
                <a:ext uri="{FF2B5EF4-FFF2-40B4-BE49-F238E27FC236}">
                  <a16:creationId xmlns:a16="http://schemas.microsoft.com/office/drawing/2014/main" id="{2842B499-F40B-D675-3940-E4B531A7C1F6}"/>
                </a:ext>
              </a:extLst>
            </p:cNvPr>
            <p:cNvSpPr/>
            <p:nvPr/>
          </p:nvSpPr>
          <p:spPr>
            <a:xfrm flipH="1">
              <a:off x="3168223" y="2991119"/>
              <a:ext cx="305366" cy="87096"/>
            </a:xfrm>
            <a:custGeom>
              <a:avLst/>
              <a:gdLst>
                <a:gd name="connsiteX0" fmla="*/ 0 w 256010"/>
                <a:gd name="connsiteY0" fmla="*/ 0 h 73018"/>
                <a:gd name="connsiteX1" fmla="*/ 256011 w 256010"/>
                <a:gd name="connsiteY1" fmla="*/ 671 h 73018"/>
                <a:gd name="connsiteX2" fmla="*/ 194178 w 256010"/>
                <a:gd name="connsiteY2" fmla="*/ 3624 h 73018"/>
                <a:gd name="connsiteX3" fmla="*/ 199457 w 256010"/>
                <a:gd name="connsiteY3" fmla="*/ 12528 h 73018"/>
                <a:gd name="connsiteX4" fmla="*/ 198563 w 256010"/>
                <a:gd name="connsiteY4" fmla="*/ 32438 h 73018"/>
                <a:gd name="connsiteX5" fmla="*/ 67157 w 256010"/>
                <a:gd name="connsiteY5" fmla="*/ 29485 h 73018"/>
                <a:gd name="connsiteX6" fmla="*/ 11096 w 256010"/>
                <a:gd name="connsiteY6" fmla="*/ 32393 h 73018"/>
                <a:gd name="connsiteX7" fmla="*/ 75881 w 256010"/>
                <a:gd name="connsiteY7" fmla="*/ 37717 h 73018"/>
                <a:gd name="connsiteX8" fmla="*/ 194223 w 256010"/>
                <a:gd name="connsiteY8" fmla="*/ 42191 h 73018"/>
                <a:gd name="connsiteX9" fmla="*/ 191270 w 256010"/>
                <a:gd name="connsiteY9" fmla="*/ 71005 h 73018"/>
                <a:gd name="connsiteX10" fmla="*/ 174447 w 256010"/>
                <a:gd name="connsiteY10" fmla="*/ 73018 h 73018"/>
                <a:gd name="connsiteX11" fmla="*/ 173776 w 256010"/>
                <a:gd name="connsiteY11" fmla="*/ 44115 h 73018"/>
                <a:gd name="connsiteX12" fmla="*/ 133866 w 256010"/>
                <a:gd name="connsiteY12" fmla="*/ 46979 h 73018"/>
                <a:gd name="connsiteX13" fmla="*/ 113733 w 256010"/>
                <a:gd name="connsiteY13" fmla="*/ 47829 h 73018"/>
                <a:gd name="connsiteX14" fmla="*/ 13422 w 256010"/>
                <a:gd name="connsiteY14" fmla="*/ 45413 h 73018"/>
                <a:gd name="connsiteX15" fmla="*/ 89 w 256010"/>
                <a:gd name="connsiteY15" fmla="*/ 1611 h 73018"/>
                <a:gd name="connsiteX16" fmla="*/ 0 w 256010"/>
                <a:gd name="connsiteY16" fmla="*/ 0 h 7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6010" h="73018">
                  <a:moveTo>
                    <a:pt x="0" y="0"/>
                  </a:moveTo>
                  <a:cubicBezTo>
                    <a:pt x="85322" y="1163"/>
                    <a:pt x="170644" y="-45"/>
                    <a:pt x="256011" y="671"/>
                  </a:cubicBezTo>
                  <a:cubicBezTo>
                    <a:pt x="235430" y="2282"/>
                    <a:pt x="214804" y="3490"/>
                    <a:pt x="194178" y="3624"/>
                  </a:cubicBezTo>
                  <a:cubicBezTo>
                    <a:pt x="195923" y="6577"/>
                    <a:pt x="197668" y="9530"/>
                    <a:pt x="199457" y="12528"/>
                  </a:cubicBezTo>
                  <a:cubicBezTo>
                    <a:pt x="199055" y="19149"/>
                    <a:pt x="198563" y="25771"/>
                    <a:pt x="198563" y="32438"/>
                  </a:cubicBezTo>
                  <a:cubicBezTo>
                    <a:pt x="154805" y="29574"/>
                    <a:pt x="110959" y="30648"/>
                    <a:pt x="67157" y="29485"/>
                  </a:cubicBezTo>
                  <a:cubicBezTo>
                    <a:pt x="48455" y="28903"/>
                    <a:pt x="29619" y="29261"/>
                    <a:pt x="11096" y="32393"/>
                  </a:cubicBezTo>
                  <a:cubicBezTo>
                    <a:pt x="31632" y="41162"/>
                    <a:pt x="54316" y="36151"/>
                    <a:pt x="75881" y="37717"/>
                  </a:cubicBezTo>
                  <a:cubicBezTo>
                    <a:pt x="115254" y="40446"/>
                    <a:pt x="154850" y="38120"/>
                    <a:pt x="194223" y="42191"/>
                  </a:cubicBezTo>
                  <a:cubicBezTo>
                    <a:pt x="193194" y="51766"/>
                    <a:pt x="192254" y="61385"/>
                    <a:pt x="191270" y="71005"/>
                  </a:cubicBezTo>
                  <a:cubicBezTo>
                    <a:pt x="185632" y="71318"/>
                    <a:pt x="179995" y="72034"/>
                    <a:pt x="174447" y="73018"/>
                  </a:cubicBezTo>
                  <a:cubicBezTo>
                    <a:pt x="174223" y="63354"/>
                    <a:pt x="173999" y="53735"/>
                    <a:pt x="173776" y="44115"/>
                  </a:cubicBezTo>
                  <a:cubicBezTo>
                    <a:pt x="160398" y="43891"/>
                    <a:pt x="147065" y="44697"/>
                    <a:pt x="133866" y="46979"/>
                  </a:cubicBezTo>
                  <a:cubicBezTo>
                    <a:pt x="127200" y="47739"/>
                    <a:pt x="120444" y="48187"/>
                    <a:pt x="113733" y="47829"/>
                  </a:cubicBezTo>
                  <a:cubicBezTo>
                    <a:pt x="80579" y="42370"/>
                    <a:pt x="46844" y="44339"/>
                    <a:pt x="13422" y="45413"/>
                  </a:cubicBezTo>
                  <a:cubicBezTo>
                    <a:pt x="5100" y="32259"/>
                    <a:pt x="2148" y="16778"/>
                    <a:pt x="89" y="1611"/>
                  </a:cubicBezTo>
                  <a:lnTo>
                    <a:pt x="0" y="0"/>
                  </a:ln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2" name="Freeform: Shape 4351">
              <a:extLst>
                <a:ext uri="{FF2B5EF4-FFF2-40B4-BE49-F238E27FC236}">
                  <a16:creationId xmlns:a16="http://schemas.microsoft.com/office/drawing/2014/main" id="{A02F20FE-B721-911C-A094-80FCB53913D9}"/>
                </a:ext>
              </a:extLst>
            </p:cNvPr>
            <p:cNvSpPr/>
            <p:nvPr/>
          </p:nvSpPr>
          <p:spPr>
            <a:xfrm flipH="1">
              <a:off x="2893262" y="2991250"/>
              <a:ext cx="392260" cy="156127"/>
            </a:xfrm>
            <a:custGeom>
              <a:avLst/>
              <a:gdLst>
                <a:gd name="connsiteX0" fmla="*/ 98342 w 328859"/>
                <a:gd name="connsiteY0" fmla="*/ 561 h 130892"/>
                <a:gd name="connsiteX1" fmla="*/ 328626 w 328859"/>
                <a:gd name="connsiteY1" fmla="*/ 158 h 130892"/>
                <a:gd name="connsiteX2" fmla="*/ 328715 w 328859"/>
                <a:gd name="connsiteY2" fmla="*/ 77829 h 130892"/>
                <a:gd name="connsiteX3" fmla="*/ 322228 w 328859"/>
                <a:gd name="connsiteY3" fmla="*/ 130892 h 130892"/>
                <a:gd name="connsiteX4" fmla="*/ 316680 w 328859"/>
                <a:gd name="connsiteY4" fmla="*/ 61454 h 130892"/>
                <a:gd name="connsiteX5" fmla="*/ 302542 w 328859"/>
                <a:gd name="connsiteY5" fmla="*/ 77829 h 130892"/>
                <a:gd name="connsiteX6" fmla="*/ 296457 w 328859"/>
                <a:gd name="connsiteY6" fmla="*/ 78232 h 130892"/>
                <a:gd name="connsiteX7" fmla="*/ 309253 w 328859"/>
                <a:gd name="connsiteY7" fmla="*/ 54429 h 130892"/>
                <a:gd name="connsiteX8" fmla="*/ 291938 w 328859"/>
                <a:gd name="connsiteY8" fmla="*/ 61320 h 130892"/>
                <a:gd name="connsiteX9" fmla="*/ 288717 w 328859"/>
                <a:gd name="connsiteY9" fmla="*/ 81543 h 130892"/>
                <a:gd name="connsiteX10" fmla="*/ 273907 w 328859"/>
                <a:gd name="connsiteY10" fmla="*/ 103779 h 130892"/>
                <a:gd name="connsiteX11" fmla="*/ 256190 w 328859"/>
                <a:gd name="connsiteY11" fmla="*/ 103779 h 130892"/>
                <a:gd name="connsiteX12" fmla="*/ 253684 w 328859"/>
                <a:gd name="connsiteY12" fmla="*/ 25929 h 130892"/>
                <a:gd name="connsiteX13" fmla="*/ 243438 w 328859"/>
                <a:gd name="connsiteY13" fmla="*/ 28793 h 130892"/>
                <a:gd name="connsiteX14" fmla="*/ 205721 w 328859"/>
                <a:gd name="connsiteY14" fmla="*/ 38770 h 130892"/>
                <a:gd name="connsiteX15" fmla="*/ 198876 w 328859"/>
                <a:gd name="connsiteY15" fmla="*/ 41678 h 130892"/>
                <a:gd name="connsiteX16" fmla="*/ 195878 w 328859"/>
                <a:gd name="connsiteY16" fmla="*/ 31432 h 130892"/>
                <a:gd name="connsiteX17" fmla="*/ 187422 w 328859"/>
                <a:gd name="connsiteY17" fmla="*/ 57382 h 130892"/>
                <a:gd name="connsiteX18" fmla="*/ 157893 w 328859"/>
                <a:gd name="connsiteY18" fmla="*/ 103466 h 130892"/>
                <a:gd name="connsiteX19" fmla="*/ 151405 w 328859"/>
                <a:gd name="connsiteY19" fmla="*/ 27853 h 130892"/>
                <a:gd name="connsiteX20" fmla="*/ 123755 w 328859"/>
                <a:gd name="connsiteY20" fmla="*/ 38009 h 130892"/>
                <a:gd name="connsiteX21" fmla="*/ 111630 w 328859"/>
                <a:gd name="connsiteY21" fmla="*/ 48524 h 130892"/>
                <a:gd name="connsiteX22" fmla="*/ 108140 w 328859"/>
                <a:gd name="connsiteY22" fmla="*/ 39441 h 130892"/>
                <a:gd name="connsiteX23" fmla="*/ 105098 w 328859"/>
                <a:gd name="connsiteY23" fmla="*/ 52416 h 130892"/>
                <a:gd name="connsiteX24" fmla="*/ 95433 w 328859"/>
                <a:gd name="connsiteY24" fmla="*/ 30493 h 130892"/>
                <a:gd name="connsiteX25" fmla="*/ 86083 w 328859"/>
                <a:gd name="connsiteY25" fmla="*/ 41991 h 130892"/>
                <a:gd name="connsiteX26" fmla="*/ 80535 w 328859"/>
                <a:gd name="connsiteY26" fmla="*/ 44541 h 130892"/>
                <a:gd name="connsiteX27" fmla="*/ 91362 w 328859"/>
                <a:gd name="connsiteY27" fmla="*/ 44049 h 130892"/>
                <a:gd name="connsiteX28" fmla="*/ 92436 w 328859"/>
                <a:gd name="connsiteY28" fmla="*/ 63109 h 130892"/>
                <a:gd name="connsiteX29" fmla="*/ 83443 w 328859"/>
                <a:gd name="connsiteY29" fmla="*/ 73221 h 130892"/>
                <a:gd name="connsiteX30" fmla="*/ 93241 w 328859"/>
                <a:gd name="connsiteY30" fmla="*/ 63825 h 130892"/>
                <a:gd name="connsiteX31" fmla="*/ 99102 w 328859"/>
                <a:gd name="connsiteY31" fmla="*/ 80379 h 130892"/>
                <a:gd name="connsiteX32" fmla="*/ 83353 w 328859"/>
                <a:gd name="connsiteY32" fmla="*/ 82393 h 130892"/>
                <a:gd name="connsiteX33" fmla="*/ 69260 w 328859"/>
                <a:gd name="connsiteY33" fmla="*/ 81722 h 130892"/>
                <a:gd name="connsiteX34" fmla="*/ 68052 w 328859"/>
                <a:gd name="connsiteY34" fmla="*/ 81587 h 130892"/>
                <a:gd name="connsiteX35" fmla="*/ 61475 w 328859"/>
                <a:gd name="connsiteY35" fmla="*/ 103198 h 130892"/>
                <a:gd name="connsiteX36" fmla="*/ 48813 w 328859"/>
                <a:gd name="connsiteY36" fmla="*/ 102795 h 130892"/>
                <a:gd name="connsiteX37" fmla="*/ 42012 w 328859"/>
                <a:gd name="connsiteY37" fmla="*/ 102661 h 130892"/>
                <a:gd name="connsiteX38" fmla="*/ 2058 w 328859"/>
                <a:gd name="connsiteY38" fmla="*/ 101721 h 130892"/>
                <a:gd name="connsiteX39" fmla="*/ 0 w 328859"/>
                <a:gd name="connsiteY39" fmla="*/ 76442 h 130892"/>
                <a:gd name="connsiteX40" fmla="*/ 16778 w 328859"/>
                <a:gd name="connsiteY40" fmla="*/ 72908 h 130892"/>
                <a:gd name="connsiteX41" fmla="*/ 33601 w 328859"/>
                <a:gd name="connsiteY41" fmla="*/ 70894 h 130892"/>
                <a:gd name="connsiteX42" fmla="*/ 44652 w 328859"/>
                <a:gd name="connsiteY42" fmla="*/ 72818 h 130892"/>
                <a:gd name="connsiteX43" fmla="*/ 42102 w 328859"/>
                <a:gd name="connsiteY43" fmla="*/ 39530 h 130892"/>
                <a:gd name="connsiteX44" fmla="*/ 40894 w 328859"/>
                <a:gd name="connsiteY44" fmla="*/ 32327 h 130892"/>
                <a:gd name="connsiteX45" fmla="*/ 41789 w 328859"/>
                <a:gd name="connsiteY45" fmla="*/ 12417 h 130892"/>
                <a:gd name="connsiteX46" fmla="*/ 36509 w 328859"/>
                <a:gd name="connsiteY46" fmla="*/ 3514 h 130892"/>
                <a:gd name="connsiteX47" fmla="*/ 98342 w 328859"/>
                <a:gd name="connsiteY47" fmla="*/ 561 h 130892"/>
                <a:gd name="connsiteX48" fmla="*/ 58298 w 328859"/>
                <a:gd name="connsiteY48" fmla="*/ 36175 h 130892"/>
                <a:gd name="connsiteX49" fmla="*/ 69528 w 328859"/>
                <a:gd name="connsiteY49" fmla="*/ 45928 h 130892"/>
                <a:gd name="connsiteX50" fmla="*/ 58298 w 328859"/>
                <a:gd name="connsiteY50" fmla="*/ 36175 h 13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8859" h="130892">
                  <a:moveTo>
                    <a:pt x="98342" y="561"/>
                  </a:moveTo>
                  <a:cubicBezTo>
                    <a:pt x="175073" y="-558"/>
                    <a:pt x="251850" y="382"/>
                    <a:pt x="328626" y="158"/>
                  </a:cubicBezTo>
                  <a:cubicBezTo>
                    <a:pt x="328402" y="26063"/>
                    <a:pt x="329163" y="51924"/>
                    <a:pt x="328715" y="77829"/>
                  </a:cubicBezTo>
                  <a:cubicBezTo>
                    <a:pt x="327821" y="95636"/>
                    <a:pt x="325628" y="113399"/>
                    <a:pt x="322228" y="130892"/>
                  </a:cubicBezTo>
                  <a:cubicBezTo>
                    <a:pt x="318559" y="107895"/>
                    <a:pt x="320975" y="84361"/>
                    <a:pt x="316680" y="61454"/>
                  </a:cubicBezTo>
                  <a:cubicBezTo>
                    <a:pt x="311937" y="66912"/>
                    <a:pt x="307419" y="72505"/>
                    <a:pt x="302542" y="77829"/>
                  </a:cubicBezTo>
                  <a:cubicBezTo>
                    <a:pt x="301021" y="77919"/>
                    <a:pt x="297978" y="78142"/>
                    <a:pt x="296457" y="78232"/>
                  </a:cubicBezTo>
                  <a:cubicBezTo>
                    <a:pt x="300797" y="70357"/>
                    <a:pt x="305137" y="62438"/>
                    <a:pt x="309253" y="54429"/>
                  </a:cubicBezTo>
                  <a:cubicBezTo>
                    <a:pt x="302273" y="54161"/>
                    <a:pt x="296502" y="56488"/>
                    <a:pt x="291938" y="61320"/>
                  </a:cubicBezTo>
                  <a:cubicBezTo>
                    <a:pt x="290640" y="67986"/>
                    <a:pt x="289790" y="74787"/>
                    <a:pt x="288717" y="81543"/>
                  </a:cubicBezTo>
                  <a:cubicBezTo>
                    <a:pt x="284019" y="89104"/>
                    <a:pt x="279008" y="96442"/>
                    <a:pt x="273907" y="103779"/>
                  </a:cubicBezTo>
                  <a:lnTo>
                    <a:pt x="256190" y="103779"/>
                  </a:lnTo>
                  <a:cubicBezTo>
                    <a:pt x="255205" y="77829"/>
                    <a:pt x="255295" y="51834"/>
                    <a:pt x="253684" y="25929"/>
                  </a:cubicBezTo>
                  <a:cubicBezTo>
                    <a:pt x="251134" y="26645"/>
                    <a:pt x="245989" y="28077"/>
                    <a:pt x="243438" y="28793"/>
                  </a:cubicBezTo>
                  <a:cubicBezTo>
                    <a:pt x="230911" y="32372"/>
                    <a:pt x="218204" y="35280"/>
                    <a:pt x="205721" y="38770"/>
                  </a:cubicBezTo>
                  <a:cubicBezTo>
                    <a:pt x="203976" y="39486"/>
                    <a:pt x="200576" y="40962"/>
                    <a:pt x="198876" y="41678"/>
                  </a:cubicBezTo>
                  <a:cubicBezTo>
                    <a:pt x="198115" y="39128"/>
                    <a:pt x="196639" y="33983"/>
                    <a:pt x="195878" y="31432"/>
                  </a:cubicBezTo>
                  <a:cubicBezTo>
                    <a:pt x="183574" y="34967"/>
                    <a:pt x="187288" y="47852"/>
                    <a:pt x="187422" y="57382"/>
                  </a:cubicBezTo>
                  <a:cubicBezTo>
                    <a:pt x="190017" y="77024"/>
                    <a:pt x="179189" y="100200"/>
                    <a:pt x="157893" y="103466"/>
                  </a:cubicBezTo>
                  <a:cubicBezTo>
                    <a:pt x="152658" y="78500"/>
                    <a:pt x="155521" y="52819"/>
                    <a:pt x="151405" y="27853"/>
                  </a:cubicBezTo>
                  <a:cubicBezTo>
                    <a:pt x="143710" y="17428"/>
                    <a:pt x="131540" y="33446"/>
                    <a:pt x="123755" y="38009"/>
                  </a:cubicBezTo>
                  <a:cubicBezTo>
                    <a:pt x="119639" y="41454"/>
                    <a:pt x="115612" y="44989"/>
                    <a:pt x="111630" y="48524"/>
                  </a:cubicBezTo>
                  <a:cubicBezTo>
                    <a:pt x="110735" y="46242"/>
                    <a:pt x="108990" y="41723"/>
                    <a:pt x="108140" y="39441"/>
                  </a:cubicBezTo>
                  <a:cubicBezTo>
                    <a:pt x="107379" y="42707"/>
                    <a:pt x="105858" y="49150"/>
                    <a:pt x="105098" y="52416"/>
                  </a:cubicBezTo>
                  <a:cubicBezTo>
                    <a:pt x="101966" y="45034"/>
                    <a:pt x="98700" y="37741"/>
                    <a:pt x="95433" y="30493"/>
                  </a:cubicBezTo>
                  <a:cubicBezTo>
                    <a:pt x="92346" y="34385"/>
                    <a:pt x="89259" y="38233"/>
                    <a:pt x="86083" y="41991"/>
                  </a:cubicBezTo>
                  <a:cubicBezTo>
                    <a:pt x="84696" y="42618"/>
                    <a:pt x="81922" y="43915"/>
                    <a:pt x="80535" y="44541"/>
                  </a:cubicBezTo>
                  <a:cubicBezTo>
                    <a:pt x="83219" y="44407"/>
                    <a:pt x="88678" y="44184"/>
                    <a:pt x="91362" y="44049"/>
                  </a:cubicBezTo>
                  <a:cubicBezTo>
                    <a:pt x="91631" y="48837"/>
                    <a:pt x="92167" y="58367"/>
                    <a:pt x="92436" y="63109"/>
                  </a:cubicBezTo>
                  <a:cubicBezTo>
                    <a:pt x="89393" y="66465"/>
                    <a:pt x="86396" y="69820"/>
                    <a:pt x="83443" y="73221"/>
                  </a:cubicBezTo>
                  <a:cubicBezTo>
                    <a:pt x="85904" y="70894"/>
                    <a:pt x="90780" y="66196"/>
                    <a:pt x="93241" y="63825"/>
                  </a:cubicBezTo>
                  <a:cubicBezTo>
                    <a:pt x="94718" y="67986"/>
                    <a:pt x="97626" y="76263"/>
                    <a:pt x="99102" y="80379"/>
                  </a:cubicBezTo>
                  <a:cubicBezTo>
                    <a:pt x="93823" y="81140"/>
                    <a:pt x="88588" y="81766"/>
                    <a:pt x="83353" y="82393"/>
                  </a:cubicBezTo>
                  <a:cubicBezTo>
                    <a:pt x="79819" y="82214"/>
                    <a:pt x="72750" y="81901"/>
                    <a:pt x="69260" y="81722"/>
                  </a:cubicBezTo>
                  <a:lnTo>
                    <a:pt x="68052" y="81587"/>
                  </a:lnTo>
                  <a:cubicBezTo>
                    <a:pt x="65680" y="88701"/>
                    <a:pt x="63309" y="95860"/>
                    <a:pt x="61475" y="103198"/>
                  </a:cubicBezTo>
                  <a:cubicBezTo>
                    <a:pt x="58298" y="103108"/>
                    <a:pt x="51990" y="102884"/>
                    <a:pt x="48813" y="102795"/>
                  </a:cubicBezTo>
                  <a:lnTo>
                    <a:pt x="42012" y="102661"/>
                  </a:lnTo>
                  <a:cubicBezTo>
                    <a:pt x="28679" y="102437"/>
                    <a:pt x="15391" y="102079"/>
                    <a:pt x="2058" y="101721"/>
                  </a:cubicBezTo>
                  <a:cubicBezTo>
                    <a:pt x="1387" y="93265"/>
                    <a:pt x="716" y="84854"/>
                    <a:pt x="0" y="76442"/>
                  </a:cubicBezTo>
                  <a:cubicBezTo>
                    <a:pt x="5548" y="75189"/>
                    <a:pt x="11141" y="73981"/>
                    <a:pt x="16778" y="72908"/>
                  </a:cubicBezTo>
                  <a:cubicBezTo>
                    <a:pt x="22326" y="71923"/>
                    <a:pt x="27963" y="71207"/>
                    <a:pt x="33601" y="70894"/>
                  </a:cubicBezTo>
                  <a:cubicBezTo>
                    <a:pt x="36375" y="71386"/>
                    <a:pt x="41878" y="72326"/>
                    <a:pt x="44652" y="72818"/>
                  </a:cubicBezTo>
                  <a:cubicBezTo>
                    <a:pt x="44518" y="61677"/>
                    <a:pt x="44249" y="50492"/>
                    <a:pt x="42102" y="39530"/>
                  </a:cubicBezTo>
                  <a:cubicBezTo>
                    <a:pt x="41789" y="37741"/>
                    <a:pt x="41207" y="34117"/>
                    <a:pt x="40894" y="32327"/>
                  </a:cubicBezTo>
                  <a:cubicBezTo>
                    <a:pt x="40894" y="25661"/>
                    <a:pt x="41386" y="19039"/>
                    <a:pt x="41789" y="12417"/>
                  </a:cubicBezTo>
                  <a:cubicBezTo>
                    <a:pt x="39999" y="9419"/>
                    <a:pt x="38254" y="6466"/>
                    <a:pt x="36509" y="3514"/>
                  </a:cubicBezTo>
                  <a:cubicBezTo>
                    <a:pt x="57135" y="3379"/>
                    <a:pt x="77761" y="2171"/>
                    <a:pt x="98342" y="561"/>
                  </a:cubicBezTo>
                  <a:close/>
                  <a:moveTo>
                    <a:pt x="58298" y="36175"/>
                  </a:moveTo>
                  <a:cubicBezTo>
                    <a:pt x="52705" y="42662"/>
                    <a:pt x="63712" y="51342"/>
                    <a:pt x="69528" y="45928"/>
                  </a:cubicBezTo>
                  <a:cubicBezTo>
                    <a:pt x="75479" y="39665"/>
                    <a:pt x="63891" y="30537"/>
                    <a:pt x="58298" y="36175"/>
                  </a:cubicBezTo>
                  <a:close/>
                </a:path>
              </a:pathLst>
            </a:custGeom>
            <a:solidFill>
              <a:srgbClr val="354F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3" name="Freeform: Shape 4352">
              <a:extLst>
                <a:ext uri="{FF2B5EF4-FFF2-40B4-BE49-F238E27FC236}">
                  <a16:creationId xmlns:a16="http://schemas.microsoft.com/office/drawing/2014/main" id="{FB024C58-99C1-E9D4-9DC4-B90643864FB6}"/>
                </a:ext>
              </a:extLst>
            </p:cNvPr>
            <p:cNvSpPr/>
            <p:nvPr/>
          </p:nvSpPr>
          <p:spPr>
            <a:xfrm flipH="1">
              <a:off x="3452615" y="2993041"/>
              <a:ext cx="25136" cy="370207"/>
            </a:xfrm>
            <a:custGeom>
              <a:avLst/>
              <a:gdLst>
                <a:gd name="connsiteX0" fmla="*/ 3579 w 21073"/>
                <a:gd name="connsiteY0" fmla="*/ 0 h 310371"/>
                <a:gd name="connsiteX1" fmla="*/ 16912 w 21073"/>
                <a:gd name="connsiteY1" fmla="*/ 43802 h 310371"/>
                <a:gd name="connsiteX2" fmla="*/ 13736 w 21073"/>
                <a:gd name="connsiteY2" fmla="*/ 74853 h 310371"/>
                <a:gd name="connsiteX3" fmla="*/ 14273 w 21073"/>
                <a:gd name="connsiteY3" fmla="*/ 102861 h 310371"/>
                <a:gd name="connsiteX4" fmla="*/ 17583 w 21073"/>
                <a:gd name="connsiteY4" fmla="*/ 131808 h 310371"/>
                <a:gd name="connsiteX5" fmla="*/ 21073 w 21073"/>
                <a:gd name="connsiteY5" fmla="*/ 152524 h 310371"/>
                <a:gd name="connsiteX6" fmla="*/ 15615 w 21073"/>
                <a:gd name="connsiteY6" fmla="*/ 157356 h 310371"/>
                <a:gd name="connsiteX7" fmla="*/ 17360 w 21073"/>
                <a:gd name="connsiteY7" fmla="*/ 201516 h 310371"/>
                <a:gd name="connsiteX8" fmla="*/ 7830 w 21073"/>
                <a:gd name="connsiteY8" fmla="*/ 220396 h 310371"/>
                <a:gd name="connsiteX9" fmla="*/ 8277 w 21073"/>
                <a:gd name="connsiteY9" fmla="*/ 310058 h 310371"/>
                <a:gd name="connsiteX10" fmla="*/ 0 w 21073"/>
                <a:gd name="connsiteY10" fmla="*/ 310371 h 310371"/>
                <a:gd name="connsiteX11" fmla="*/ 3579 w 21073"/>
                <a:gd name="connsiteY11" fmla="*/ 0 h 31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73" h="310371">
                  <a:moveTo>
                    <a:pt x="3579" y="0"/>
                  </a:moveTo>
                  <a:cubicBezTo>
                    <a:pt x="5637" y="15167"/>
                    <a:pt x="8590" y="30648"/>
                    <a:pt x="16912" y="43802"/>
                  </a:cubicBezTo>
                  <a:cubicBezTo>
                    <a:pt x="16375" y="54182"/>
                    <a:pt x="15257" y="64562"/>
                    <a:pt x="13736" y="74853"/>
                  </a:cubicBezTo>
                  <a:cubicBezTo>
                    <a:pt x="12170" y="84159"/>
                    <a:pt x="11901" y="93644"/>
                    <a:pt x="14273" y="102861"/>
                  </a:cubicBezTo>
                  <a:cubicBezTo>
                    <a:pt x="16375" y="112346"/>
                    <a:pt x="17091" y="122055"/>
                    <a:pt x="17583" y="131808"/>
                  </a:cubicBezTo>
                  <a:cubicBezTo>
                    <a:pt x="18210" y="138743"/>
                    <a:pt x="19552" y="145678"/>
                    <a:pt x="21073" y="152524"/>
                  </a:cubicBezTo>
                  <a:cubicBezTo>
                    <a:pt x="19731" y="153732"/>
                    <a:pt x="17002" y="156148"/>
                    <a:pt x="15615" y="157356"/>
                  </a:cubicBezTo>
                  <a:cubicBezTo>
                    <a:pt x="15883" y="172076"/>
                    <a:pt x="16733" y="186796"/>
                    <a:pt x="17360" y="201516"/>
                  </a:cubicBezTo>
                  <a:cubicBezTo>
                    <a:pt x="13378" y="207287"/>
                    <a:pt x="7696" y="212790"/>
                    <a:pt x="7830" y="220396"/>
                  </a:cubicBezTo>
                  <a:cubicBezTo>
                    <a:pt x="6219" y="250239"/>
                    <a:pt x="8143" y="280171"/>
                    <a:pt x="8277" y="310058"/>
                  </a:cubicBezTo>
                  <a:cubicBezTo>
                    <a:pt x="6219" y="310148"/>
                    <a:pt x="2058" y="310282"/>
                    <a:pt x="0" y="310371"/>
                  </a:cubicBezTo>
                  <a:cubicBezTo>
                    <a:pt x="2103" y="206929"/>
                    <a:pt x="1208" y="103442"/>
                    <a:pt x="3579" y="0"/>
                  </a:cubicBezTo>
                  <a:close/>
                </a:path>
              </a:pathLst>
            </a:custGeom>
            <a:solidFill>
              <a:srgbClr val="2A448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4" name="Freeform: Shape 4353">
              <a:extLst>
                <a:ext uri="{FF2B5EF4-FFF2-40B4-BE49-F238E27FC236}">
                  <a16:creationId xmlns:a16="http://schemas.microsoft.com/office/drawing/2014/main" id="{5D091831-4996-F399-27D0-759F2BDDCB35}"/>
                </a:ext>
              </a:extLst>
            </p:cNvPr>
            <p:cNvSpPr/>
            <p:nvPr/>
          </p:nvSpPr>
          <p:spPr>
            <a:xfrm flipH="1">
              <a:off x="2735654" y="2994668"/>
              <a:ext cx="82910" cy="60242"/>
            </a:xfrm>
            <a:custGeom>
              <a:avLst/>
              <a:gdLst>
                <a:gd name="connsiteX0" fmla="*/ 24924 w 69509"/>
                <a:gd name="connsiteY0" fmla="*/ 1990 h 50505"/>
                <a:gd name="connsiteX1" fmla="*/ 69129 w 69509"/>
                <a:gd name="connsiteY1" fmla="*/ 32101 h 50505"/>
                <a:gd name="connsiteX2" fmla="*/ 1748 w 69509"/>
                <a:gd name="connsiteY2" fmla="*/ 31654 h 50505"/>
                <a:gd name="connsiteX3" fmla="*/ 24924 w 69509"/>
                <a:gd name="connsiteY3" fmla="*/ 1990 h 50505"/>
                <a:gd name="connsiteX4" fmla="*/ 20450 w 69509"/>
                <a:gd name="connsiteY4" fmla="*/ 10267 h 50505"/>
                <a:gd name="connsiteX5" fmla="*/ 14320 w 69509"/>
                <a:gd name="connsiteY5" fmla="*/ 34786 h 50505"/>
                <a:gd name="connsiteX6" fmla="*/ 60628 w 69509"/>
                <a:gd name="connsiteY6" fmla="*/ 27001 h 50505"/>
                <a:gd name="connsiteX7" fmla="*/ 20450 w 69509"/>
                <a:gd name="connsiteY7" fmla="*/ 10267 h 50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509" h="50505">
                  <a:moveTo>
                    <a:pt x="24924" y="1990"/>
                  </a:moveTo>
                  <a:cubicBezTo>
                    <a:pt x="44387" y="-5526"/>
                    <a:pt x="73155" y="9059"/>
                    <a:pt x="69129" y="32101"/>
                  </a:cubicBezTo>
                  <a:cubicBezTo>
                    <a:pt x="55840" y="58141"/>
                    <a:pt x="16155" y="55232"/>
                    <a:pt x="1748" y="31654"/>
                  </a:cubicBezTo>
                  <a:cubicBezTo>
                    <a:pt x="-5858" y="16576"/>
                    <a:pt x="13112" y="6062"/>
                    <a:pt x="24924" y="1990"/>
                  </a:cubicBezTo>
                  <a:close/>
                  <a:moveTo>
                    <a:pt x="20450" y="10267"/>
                  </a:moveTo>
                  <a:cubicBezTo>
                    <a:pt x="11233" y="14428"/>
                    <a:pt x="6893" y="26956"/>
                    <a:pt x="14320" y="34786"/>
                  </a:cubicBezTo>
                  <a:cubicBezTo>
                    <a:pt x="26087" y="49103"/>
                    <a:pt x="58033" y="48566"/>
                    <a:pt x="60628" y="27001"/>
                  </a:cubicBezTo>
                  <a:cubicBezTo>
                    <a:pt x="60717" y="6956"/>
                    <a:pt x="34857" y="1051"/>
                    <a:pt x="20450" y="10267"/>
                  </a:cubicBezTo>
                  <a:close/>
                </a:path>
              </a:pathLst>
            </a:custGeom>
            <a:solidFill>
              <a:srgbClr val="5692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7" name="Freeform: Shape 4356">
              <a:extLst>
                <a:ext uri="{FF2B5EF4-FFF2-40B4-BE49-F238E27FC236}">
                  <a16:creationId xmlns:a16="http://schemas.microsoft.com/office/drawing/2014/main" id="{C467C327-E73B-8500-EB26-59F2A9EFA5BB}"/>
                </a:ext>
              </a:extLst>
            </p:cNvPr>
            <p:cNvSpPr/>
            <p:nvPr/>
          </p:nvSpPr>
          <p:spPr>
            <a:xfrm flipH="1">
              <a:off x="3790815" y="3214674"/>
              <a:ext cx="165498" cy="133175"/>
            </a:xfrm>
            <a:custGeom>
              <a:avLst/>
              <a:gdLst>
                <a:gd name="connsiteX0" fmla="*/ 4534 w 138749"/>
                <a:gd name="connsiteY0" fmla="*/ 4429 h 111650"/>
                <a:gd name="connsiteX1" fmla="*/ 105605 w 138749"/>
                <a:gd name="connsiteY1" fmla="*/ 0 h 111650"/>
                <a:gd name="connsiteX2" fmla="*/ 133926 w 138749"/>
                <a:gd name="connsiteY2" fmla="*/ 5682 h 111650"/>
                <a:gd name="connsiteX3" fmla="*/ 138624 w 138749"/>
                <a:gd name="connsiteY3" fmla="*/ 75389 h 111650"/>
                <a:gd name="connsiteX4" fmla="*/ 117730 w 138749"/>
                <a:gd name="connsiteY4" fmla="*/ 108677 h 111650"/>
                <a:gd name="connsiteX5" fmla="*/ 9455 w 138749"/>
                <a:gd name="connsiteY5" fmla="*/ 108274 h 111650"/>
                <a:gd name="connsiteX6" fmla="*/ 15 w 138749"/>
                <a:gd name="connsiteY6" fmla="*/ 65725 h 111650"/>
                <a:gd name="connsiteX7" fmla="*/ 954 w 138749"/>
                <a:gd name="connsiteY7" fmla="*/ 34138 h 111650"/>
                <a:gd name="connsiteX8" fmla="*/ 3505 w 138749"/>
                <a:gd name="connsiteY8" fmla="*/ 10872 h 111650"/>
                <a:gd name="connsiteX9" fmla="*/ 4534 w 138749"/>
                <a:gd name="connsiteY9" fmla="*/ 4429 h 111650"/>
                <a:gd name="connsiteX10" fmla="*/ 47799 w 138749"/>
                <a:gd name="connsiteY10" fmla="*/ 26174 h 111650"/>
                <a:gd name="connsiteX11" fmla="*/ 48246 w 138749"/>
                <a:gd name="connsiteY11" fmla="*/ 87917 h 111650"/>
                <a:gd name="connsiteX12" fmla="*/ 89543 w 138749"/>
                <a:gd name="connsiteY12" fmla="*/ 86217 h 111650"/>
                <a:gd name="connsiteX13" fmla="*/ 87977 w 138749"/>
                <a:gd name="connsiteY13" fmla="*/ 25458 h 111650"/>
                <a:gd name="connsiteX14" fmla="*/ 47799 w 138749"/>
                <a:gd name="connsiteY14" fmla="*/ 26174 h 11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49" h="111650">
                  <a:moveTo>
                    <a:pt x="4534" y="4429"/>
                  </a:moveTo>
                  <a:cubicBezTo>
                    <a:pt x="37956" y="-626"/>
                    <a:pt x="71914" y="984"/>
                    <a:pt x="105605" y="0"/>
                  </a:cubicBezTo>
                  <a:cubicBezTo>
                    <a:pt x="115045" y="805"/>
                    <a:pt x="126052" y="-850"/>
                    <a:pt x="133926" y="5682"/>
                  </a:cubicBezTo>
                  <a:cubicBezTo>
                    <a:pt x="139743" y="28321"/>
                    <a:pt x="138713" y="52169"/>
                    <a:pt x="138624" y="75389"/>
                  </a:cubicBezTo>
                  <a:cubicBezTo>
                    <a:pt x="138042" y="88678"/>
                    <a:pt x="134910" y="108677"/>
                    <a:pt x="117730" y="108677"/>
                  </a:cubicBezTo>
                  <a:cubicBezTo>
                    <a:pt x="81802" y="110377"/>
                    <a:pt x="45025" y="114628"/>
                    <a:pt x="9455" y="108274"/>
                  </a:cubicBezTo>
                  <a:cubicBezTo>
                    <a:pt x="-209" y="96507"/>
                    <a:pt x="1044" y="79998"/>
                    <a:pt x="15" y="65725"/>
                  </a:cubicBezTo>
                  <a:cubicBezTo>
                    <a:pt x="-75" y="55166"/>
                    <a:pt x="239" y="44652"/>
                    <a:pt x="954" y="34138"/>
                  </a:cubicBezTo>
                  <a:cubicBezTo>
                    <a:pt x="1536" y="26353"/>
                    <a:pt x="2431" y="18568"/>
                    <a:pt x="3505" y="10872"/>
                  </a:cubicBezTo>
                  <a:cubicBezTo>
                    <a:pt x="3729" y="9262"/>
                    <a:pt x="4265" y="6040"/>
                    <a:pt x="4534" y="4429"/>
                  </a:cubicBezTo>
                  <a:close/>
                  <a:moveTo>
                    <a:pt x="47799" y="26174"/>
                  </a:moveTo>
                  <a:cubicBezTo>
                    <a:pt x="47799" y="46755"/>
                    <a:pt x="47799" y="67336"/>
                    <a:pt x="48246" y="87917"/>
                  </a:cubicBezTo>
                  <a:cubicBezTo>
                    <a:pt x="62027" y="88320"/>
                    <a:pt x="75807" y="87828"/>
                    <a:pt x="89543" y="86217"/>
                  </a:cubicBezTo>
                  <a:cubicBezTo>
                    <a:pt x="89498" y="65949"/>
                    <a:pt x="89677" y="45636"/>
                    <a:pt x="87977" y="25458"/>
                  </a:cubicBezTo>
                  <a:cubicBezTo>
                    <a:pt x="74554" y="24742"/>
                    <a:pt x="61132" y="24966"/>
                    <a:pt x="47799" y="26174"/>
                  </a:cubicBezTo>
                  <a:close/>
                </a:path>
              </a:pathLst>
            </a:custGeom>
            <a:solidFill>
              <a:srgbClr val="FE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59" name="Rectangle: Rounded Corners 4358">
              <a:extLst>
                <a:ext uri="{FF2B5EF4-FFF2-40B4-BE49-F238E27FC236}">
                  <a16:creationId xmlns:a16="http://schemas.microsoft.com/office/drawing/2014/main" id="{E6108FEE-5D41-2C4F-2AF3-0B917069A400}"/>
                </a:ext>
              </a:extLst>
            </p:cNvPr>
            <p:cNvSpPr/>
            <p:nvPr/>
          </p:nvSpPr>
          <p:spPr>
            <a:xfrm flipH="1">
              <a:off x="1250933" y="5045650"/>
              <a:ext cx="94087" cy="61958"/>
            </a:xfrm>
            <a:prstGeom prst="roundRect">
              <a:avLst/>
            </a:prstGeom>
            <a:solidFill>
              <a:srgbClr val="FE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63" name="Freeform: Shape 4362">
              <a:extLst>
                <a:ext uri="{FF2B5EF4-FFF2-40B4-BE49-F238E27FC236}">
                  <a16:creationId xmlns:a16="http://schemas.microsoft.com/office/drawing/2014/main" id="{F867A946-D9D3-2524-1CCB-F1F28E800F43}"/>
                </a:ext>
              </a:extLst>
            </p:cNvPr>
            <p:cNvSpPr/>
            <p:nvPr/>
          </p:nvSpPr>
          <p:spPr>
            <a:xfrm flipH="1">
              <a:off x="3214810" y="3180199"/>
              <a:ext cx="72031" cy="54380"/>
            </a:xfrm>
            <a:custGeom>
              <a:avLst/>
              <a:gdLst>
                <a:gd name="connsiteX0" fmla="*/ 44774 w 60389"/>
                <a:gd name="connsiteY0" fmla="*/ 671 h 45591"/>
                <a:gd name="connsiteX1" fmla="*/ 59986 w 60389"/>
                <a:gd name="connsiteY1" fmla="*/ 0 h 45591"/>
                <a:gd name="connsiteX2" fmla="*/ 59986 w 60389"/>
                <a:gd name="connsiteY2" fmla="*/ 43936 h 45591"/>
                <a:gd name="connsiteX3" fmla="*/ 33320 w 60389"/>
                <a:gd name="connsiteY3" fmla="*/ 45592 h 45591"/>
                <a:gd name="connsiteX4" fmla="*/ 2672 w 60389"/>
                <a:gd name="connsiteY4" fmla="*/ 43265 h 45591"/>
                <a:gd name="connsiteX5" fmla="*/ 4059 w 60389"/>
                <a:gd name="connsiteY5" fmla="*/ 5503 h 45591"/>
                <a:gd name="connsiteX6" fmla="*/ 14484 w 60389"/>
                <a:gd name="connsiteY6" fmla="*/ 4071 h 45591"/>
                <a:gd name="connsiteX7" fmla="*/ 16631 w 60389"/>
                <a:gd name="connsiteY7" fmla="*/ 25547 h 45591"/>
                <a:gd name="connsiteX8" fmla="*/ 40121 w 60389"/>
                <a:gd name="connsiteY8" fmla="*/ 23221 h 45591"/>
                <a:gd name="connsiteX9" fmla="*/ 44818 w 60389"/>
                <a:gd name="connsiteY9" fmla="*/ 671 h 4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389" h="45591">
                  <a:moveTo>
                    <a:pt x="44774" y="671"/>
                  </a:moveTo>
                  <a:cubicBezTo>
                    <a:pt x="48577" y="492"/>
                    <a:pt x="56183" y="179"/>
                    <a:pt x="59986" y="0"/>
                  </a:cubicBezTo>
                  <a:cubicBezTo>
                    <a:pt x="60567" y="14630"/>
                    <a:pt x="60478" y="29261"/>
                    <a:pt x="59986" y="43936"/>
                  </a:cubicBezTo>
                  <a:cubicBezTo>
                    <a:pt x="51082" y="44473"/>
                    <a:pt x="42179" y="45055"/>
                    <a:pt x="33320" y="45592"/>
                  </a:cubicBezTo>
                  <a:cubicBezTo>
                    <a:pt x="23074" y="45010"/>
                    <a:pt x="12739" y="45189"/>
                    <a:pt x="2672" y="43265"/>
                  </a:cubicBezTo>
                  <a:cubicBezTo>
                    <a:pt x="-3637" y="31945"/>
                    <a:pt x="3075" y="17673"/>
                    <a:pt x="4059" y="5503"/>
                  </a:cubicBezTo>
                  <a:cubicBezTo>
                    <a:pt x="6654" y="5145"/>
                    <a:pt x="11889" y="4429"/>
                    <a:pt x="14484" y="4071"/>
                  </a:cubicBezTo>
                  <a:cubicBezTo>
                    <a:pt x="15334" y="11185"/>
                    <a:pt x="15915" y="18344"/>
                    <a:pt x="16631" y="25547"/>
                  </a:cubicBezTo>
                  <a:cubicBezTo>
                    <a:pt x="24461" y="24966"/>
                    <a:pt x="32336" y="24563"/>
                    <a:pt x="40121" y="23221"/>
                  </a:cubicBezTo>
                  <a:cubicBezTo>
                    <a:pt x="42537" y="15883"/>
                    <a:pt x="43431" y="8188"/>
                    <a:pt x="44818" y="671"/>
                  </a:cubicBezTo>
                  <a:close/>
                </a:path>
              </a:pathLst>
            </a:custGeom>
            <a:solidFill>
              <a:srgbClr val="FF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65" name="Freeform: Shape 4364">
              <a:extLst>
                <a:ext uri="{FF2B5EF4-FFF2-40B4-BE49-F238E27FC236}">
                  <a16:creationId xmlns:a16="http://schemas.microsoft.com/office/drawing/2014/main" id="{83400F7B-3D1E-67FD-5832-4CF1D4B4E18D}"/>
                </a:ext>
              </a:extLst>
            </p:cNvPr>
            <p:cNvSpPr/>
            <p:nvPr/>
          </p:nvSpPr>
          <p:spPr>
            <a:xfrm flipH="1">
              <a:off x="1688135" y="4410580"/>
              <a:ext cx="168427" cy="221953"/>
            </a:xfrm>
            <a:custGeom>
              <a:avLst/>
              <a:gdLst>
                <a:gd name="connsiteX0" fmla="*/ 68276 w 141204"/>
                <a:gd name="connsiteY0" fmla="*/ 10469 h 186078"/>
                <a:gd name="connsiteX1" fmla="*/ 74897 w 141204"/>
                <a:gd name="connsiteY1" fmla="*/ 0 h 186078"/>
                <a:gd name="connsiteX2" fmla="*/ 131227 w 141204"/>
                <a:gd name="connsiteY2" fmla="*/ 45144 h 186078"/>
                <a:gd name="connsiteX3" fmla="*/ 141204 w 141204"/>
                <a:gd name="connsiteY3" fmla="*/ 74136 h 186078"/>
                <a:gd name="connsiteX4" fmla="*/ 35435 w 141204"/>
                <a:gd name="connsiteY4" fmla="*/ 184066 h 186078"/>
                <a:gd name="connsiteX5" fmla="*/ 0 w 141204"/>
                <a:gd name="connsiteY5" fmla="*/ 185856 h 186078"/>
                <a:gd name="connsiteX6" fmla="*/ 35749 w 141204"/>
                <a:gd name="connsiteY6" fmla="*/ 132971 h 186078"/>
                <a:gd name="connsiteX7" fmla="*/ 38523 w 141204"/>
                <a:gd name="connsiteY7" fmla="*/ 85859 h 186078"/>
                <a:gd name="connsiteX8" fmla="*/ 48097 w 141204"/>
                <a:gd name="connsiteY8" fmla="*/ 76597 h 186078"/>
                <a:gd name="connsiteX9" fmla="*/ 68276 w 141204"/>
                <a:gd name="connsiteY9" fmla="*/ 10469 h 18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4" h="186078">
                  <a:moveTo>
                    <a:pt x="68276" y="10469"/>
                  </a:moveTo>
                  <a:cubicBezTo>
                    <a:pt x="70378" y="6935"/>
                    <a:pt x="72571" y="3445"/>
                    <a:pt x="74897" y="0"/>
                  </a:cubicBezTo>
                  <a:cubicBezTo>
                    <a:pt x="97313" y="9619"/>
                    <a:pt x="118431" y="23802"/>
                    <a:pt x="131227" y="45144"/>
                  </a:cubicBezTo>
                  <a:cubicBezTo>
                    <a:pt x="135298" y="54495"/>
                    <a:pt x="138520" y="64249"/>
                    <a:pt x="141204" y="74136"/>
                  </a:cubicBezTo>
                  <a:cubicBezTo>
                    <a:pt x="105142" y="109974"/>
                    <a:pt x="70602" y="147334"/>
                    <a:pt x="35435" y="184066"/>
                  </a:cubicBezTo>
                  <a:cubicBezTo>
                    <a:pt x="23802" y="186527"/>
                    <a:pt x="11767" y="186169"/>
                    <a:pt x="0" y="185856"/>
                  </a:cubicBezTo>
                  <a:cubicBezTo>
                    <a:pt x="14138" y="170062"/>
                    <a:pt x="31230" y="154626"/>
                    <a:pt x="35749" y="132971"/>
                  </a:cubicBezTo>
                  <a:cubicBezTo>
                    <a:pt x="37896" y="117312"/>
                    <a:pt x="36420" y="101474"/>
                    <a:pt x="38523" y="85859"/>
                  </a:cubicBezTo>
                  <a:cubicBezTo>
                    <a:pt x="41654" y="82727"/>
                    <a:pt x="44831" y="79640"/>
                    <a:pt x="48097" y="76597"/>
                  </a:cubicBezTo>
                  <a:cubicBezTo>
                    <a:pt x="68812" y="61117"/>
                    <a:pt x="63041" y="32706"/>
                    <a:pt x="68276" y="10469"/>
                  </a:cubicBezTo>
                  <a:close/>
                </a:path>
              </a:pathLst>
            </a:custGeom>
            <a:solidFill>
              <a:srgbClr val="FFFF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0" name="Freeform: Shape 4369">
              <a:extLst>
                <a:ext uri="{FF2B5EF4-FFF2-40B4-BE49-F238E27FC236}">
                  <a16:creationId xmlns:a16="http://schemas.microsoft.com/office/drawing/2014/main" id="{5D888C25-8292-EEE7-9CB1-D90571A31E0F}"/>
                </a:ext>
              </a:extLst>
            </p:cNvPr>
            <p:cNvSpPr/>
            <p:nvPr/>
          </p:nvSpPr>
          <p:spPr>
            <a:xfrm flipH="1">
              <a:off x="3702062" y="2999570"/>
              <a:ext cx="443267" cy="378621"/>
            </a:xfrm>
            <a:custGeom>
              <a:avLst/>
              <a:gdLst>
                <a:gd name="connsiteX0" fmla="*/ 498 w 371622"/>
                <a:gd name="connsiteY0" fmla="*/ 789 h 317424"/>
                <a:gd name="connsiteX1" fmla="*/ 42242 w 371622"/>
                <a:gd name="connsiteY1" fmla="*/ 1460 h 317424"/>
                <a:gd name="connsiteX2" fmla="*/ 86760 w 371622"/>
                <a:gd name="connsiteY2" fmla="*/ 11393 h 317424"/>
                <a:gd name="connsiteX3" fmla="*/ 87610 w 371622"/>
                <a:gd name="connsiteY3" fmla="*/ 20923 h 317424"/>
                <a:gd name="connsiteX4" fmla="*/ 39602 w 371622"/>
                <a:gd name="connsiteY4" fmla="*/ 19760 h 317424"/>
                <a:gd name="connsiteX5" fmla="*/ 38081 w 371622"/>
                <a:gd name="connsiteY5" fmla="*/ 39535 h 317424"/>
                <a:gd name="connsiteX6" fmla="*/ 80183 w 371622"/>
                <a:gd name="connsiteY6" fmla="*/ 40117 h 317424"/>
                <a:gd name="connsiteX7" fmla="*/ 66536 w 371622"/>
                <a:gd name="connsiteY7" fmla="*/ 44144 h 317424"/>
                <a:gd name="connsiteX8" fmla="*/ 153335 w 371622"/>
                <a:gd name="connsiteY8" fmla="*/ 48663 h 317424"/>
                <a:gd name="connsiteX9" fmla="*/ 37723 w 371622"/>
                <a:gd name="connsiteY9" fmla="*/ 56045 h 317424"/>
                <a:gd name="connsiteX10" fmla="*/ 36604 w 371622"/>
                <a:gd name="connsiteY10" fmla="*/ 60072 h 317424"/>
                <a:gd name="connsiteX11" fmla="*/ 36112 w 371622"/>
                <a:gd name="connsiteY11" fmla="*/ 177070 h 317424"/>
                <a:gd name="connsiteX12" fmla="*/ 38707 w 371622"/>
                <a:gd name="connsiteY12" fmla="*/ 229329 h 317424"/>
                <a:gd name="connsiteX13" fmla="*/ 54233 w 371622"/>
                <a:gd name="connsiteY13" fmla="*/ 230760 h 317424"/>
                <a:gd name="connsiteX14" fmla="*/ 52711 w 371622"/>
                <a:gd name="connsiteY14" fmla="*/ 232281 h 317424"/>
                <a:gd name="connsiteX15" fmla="*/ 33830 w 371622"/>
                <a:gd name="connsiteY15" fmla="*/ 233668 h 317424"/>
                <a:gd name="connsiteX16" fmla="*/ 36023 w 371622"/>
                <a:gd name="connsiteY16" fmla="*/ 268701 h 317424"/>
                <a:gd name="connsiteX17" fmla="*/ 96155 w 371622"/>
                <a:gd name="connsiteY17" fmla="*/ 268298 h 317424"/>
                <a:gd name="connsiteX18" fmla="*/ 96155 w 371622"/>
                <a:gd name="connsiteY18" fmla="*/ 256039 h 317424"/>
                <a:gd name="connsiteX19" fmla="*/ 100450 w 371622"/>
                <a:gd name="connsiteY19" fmla="*/ 254831 h 317424"/>
                <a:gd name="connsiteX20" fmla="*/ 122329 w 371622"/>
                <a:gd name="connsiteY20" fmla="*/ 249865 h 317424"/>
                <a:gd name="connsiteX21" fmla="*/ 146758 w 371622"/>
                <a:gd name="connsiteY21" fmla="*/ 246017 h 317424"/>
                <a:gd name="connsiteX22" fmla="*/ 158480 w 371622"/>
                <a:gd name="connsiteY22" fmla="*/ 246062 h 317424"/>
                <a:gd name="connsiteX23" fmla="*/ 167921 w 371622"/>
                <a:gd name="connsiteY23" fmla="*/ 288611 h 317424"/>
                <a:gd name="connsiteX24" fmla="*/ 276195 w 371622"/>
                <a:gd name="connsiteY24" fmla="*/ 289014 h 317424"/>
                <a:gd name="connsiteX25" fmla="*/ 297089 w 371622"/>
                <a:gd name="connsiteY25" fmla="*/ 255726 h 317424"/>
                <a:gd name="connsiteX26" fmla="*/ 292391 w 371622"/>
                <a:gd name="connsiteY26" fmla="*/ 186019 h 317424"/>
                <a:gd name="connsiteX27" fmla="*/ 264070 w 371622"/>
                <a:gd name="connsiteY27" fmla="*/ 180337 h 317424"/>
                <a:gd name="connsiteX28" fmla="*/ 269573 w 371622"/>
                <a:gd name="connsiteY28" fmla="*/ 75328 h 317424"/>
                <a:gd name="connsiteX29" fmla="*/ 268320 w 371622"/>
                <a:gd name="connsiteY29" fmla="*/ 6069 h 317424"/>
                <a:gd name="connsiteX30" fmla="*/ 331406 w 371622"/>
                <a:gd name="connsiteY30" fmla="*/ 7366 h 317424"/>
                <a:gd name="connsiteX31" fmla="*/ 325903 w 371622"/>
                <a:gd name="connsiteY31" fmla="*/ 15375 h 317424"/>
                <a:gd name="connsiteX32" fmla="*/ 312570 w 371622"/>
                <a:gd name="connsiteY32" fmla="*/ 15062 h 317424"/>
                <a:gd name="connsiteX33" fmla="*/ 312570 w 371622"/>
                <a:gd name="connsiteY33" fmla="*/ 41638 h 317424"/>
                <a:gd name="connsiteX34" fmla="*/ 338341 w 371622"/>
                <a:gd name="connsiteY34" fmla="*/ 36359 h 317424"/>
                <a:gd name="connsiteX35" fmla="*/ 339862 w 371622"/>
                <a:gd name="connsiteY35" fmla="*/ 59803 h 317424"/>
                <a:gd name="connsiteX36" fmla="*/ 371405 w 371622"/>
                <a:gd name="connsiteY36" fmla="*/ 75149 h 317424"/>
                <a:gd name="connsiteX37" fmla="*/ 370376 w 371622"/>
                <a:gd name="connsiteY37" fmla="*/ 316574 h 317424"/>
                <a:gd name="connsiteX38" fmla="*/ 274 w 371622"/>
                <a:gd name="connsiteY38" fmla="*/ 317424 h 317424"/>
                <a:gd name="connsiteX39" fmla="*/ 543 w 371622"/>
                <a:gd name="connsiteY39" fmla="*/ 789 h 317424"/>
                <a:gd name="connsiteX40" fmla="*/ 341160 w 371622"/>
                <a:gd name="connsiteY40" fmla="*/ 68036 h 317424"/>
                <a:gd name="connsiteX41" fmla="*/ 336730 w 371622"/>
                <a:gd name="connsiteY41" fmla="*/ 80787 h 317424"/>
                <a:gd name="connsiteX42" fmla="*/ 315836 w 371622"/>
                <a:gd name="connsiteY42" fmla="*/ 72420 h 317424"/>
                <a:gd name="connsiteX43" fmla="*/ 307335 w 371622"/>
                <a:gd name="connsiteY43" fmla="*/ 81413 h 317424"/>
                <a:gd name="connsiteX44" fmla="*/ 317536 w 371622"/>
                <a:gd name="connsiteY44" fmla="*/ 100921 h 317424"/>
                <a:gd name="connsiteX45" fmla="*/ 313107 w 371622"/>
                <a:gd name="connsiteY45" fmla="*/ 102755 h 317424"/>
                <a:gd name="connsiteX46" fmla="*/ 331540 w 371622"/>
                <a:gd name="connsiteY46" fmla="*/ 105484 h 317424"/>
                <a:gd name="connsiteX47" fmla="*/ 350600 w 371622"/>
                <a:gd name="connsiteY47" fmla="*/ 90943 h 317424"/>
                <a:gd name="connsiteX48" fmla="*/ 349168 w 371622"/>
                <a:gd name="connsiteY48" fmla="*/ 87990 h 317424"/>
                <a:gd name="connsiteX49" fmla="*/ 341160 w 371622"/>
                <a:gd name="connsiteY49" fmla="*/ 68036 h 317424"/>
                <a:gd name="connsiteX50" fmla="*/ 312346 w 371622"/>
                <a:gd name="connsiteY50" fmla="*/ 143962 h 317424"/>
                <a:gd name="connsiteX51" fmla="*/ 328632 w 371622"/>
                <a:gd name="connsiteY51" fmla="*/ 164453 h 317424"/>
                <a:gd name="connsiteX52" fmla="*/ 338878 w 371622"/>
                <a:gd name="connsiteY52" fmla="*/ 139219 h 317424"/>
                <a:gd name="connsiteX53" fmla="*/ 356282 w 371622"/>
                <a:gd name="connsiteY53" fmla="*/ 152731 h 317424"/>
                <a:gd name="connsiteX54" fmla="*/ 340399 w 371622"/>
                <a:gd name="connsiteY54" fmla="*/ 127497 h 317424"/>
                <a:gd name="connsiteX55" fmla="*/ 312346 w 371622"/>
                <a:gd name="connsiteY55" fmla="*/ 143962 h 317424"/>
                <a:gd name="connsiteX56" fmla="*/ 347737 w 371622"/>
                <a:gd name="connsiteY56" fmla="*/ 203781 h 317424"/>
                <a:gd name="connsiteX57" fmla="*/ 337222 w 371622"/>
                <a:gd name="connsiteY57" fmla="*/ 218770 h 317424"/>
                <a:gd name="connsiteX58" fmla="*/ 315925 w 371622"/>
                <a:gd name="connsiteY58" fmla="*/ 208211 h 317424"/>
                <a:gd name="connsiteX59" fmla="*/ 316015 w 371622"/>
                <a:gd name="connsiteY59" fmla="*/ 220559 h 317424"/>
                <a:gd name="connsiteX60" fmla="*/ 354895 w 371622"/>
                <a:gd name="connsiteY60" fmla="*/ 204542 h 317424"/>
                <a:gd name="connsiteX61" fmla="*/ 347737 w 371622"/>
                <a:gd name="connsiteY61" fmla="*/ 203781 h 317424"/>
                <a:gd name="connsiteX62" fmla="*/ 316418 w 371622"/>
                <a:gd name="connsiteY62" fmla="*/ 278052 h 317424"/>
                <a:gd name="connsiteX63" fmla="*/ 339504 w 371622"/>
                <a:gd name="connsiteY63" fmla="*/ 269238 h 317424"/>
                <a:gd name="connsiteX64" fmla="*/ 325500 w 371622"/>
                <a:gd name="connsiteY64" fmla="*/ 247807 h 317424"/>
                <a:gd name="connsiteX65" fmla="*/ 316418 w 371622"/>
                <a:gd name="connsiteY65" fmla="*/ 278052 h 3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71622" h="317424">
                  <a:moveTo>
                    <a:pt x="498" y="789"/>
                  </a:moveTo>
                  <a:cubicBezTo>
                    <a:pt x="14413" y="-106"/>
                    <a:pt x="28417" y="-643"/>
                    <a:pt x="42242" y="1460"/>
                  </a:cubicBezTo>
                  <a:cubicBezTo>
                    <a:pt x="57230" y="3966"/>
                    <a:pt x="72934" y="4592"/>
                    <a:pt x="86760" y="11393"/>
                  </a:cubicBezTo>
                  <a:cubicBezTo>
                    <a:pt x="86983" y="13764"/>
                    <a:pt x="87386" y="18552"/>
                    <a:pt x="87610" y="20923"/>
                  </a:cubicBezTo>
                  <a:cubicBezTo>
                    <a:pt x="71592" y="20654"/>
                    <a:pt x="55620" y="20297"/>
                    <a:pt x="39602" y="19760"/>
                  </a:cubicBezTo>
                  <a:cubicBezTo>
                    <a:pt x="39110" y="26292"/>
                    <a:pt x="38618" y="32914"/>
                    <a:pt x="38081" y="39535"/>
                  </a:cubicBezTo>
                  <a:cubicBezTo>
                    <a:pt x="52130" y="38819"/>
                    <a:pt x="66178" y="38998"/>
                    <a:pt x="80183" y="40117"/>
                  </a:cubicBezTo>
                  <a:cubicBezTo>
                    <a:pt x="75619" y="41370"/>
                    <a:pt x="71055" y="42712"/>
                    <a:pt x="66536" y="44144"/>
                  </a:cubicBezTo>
                  <a:cubicBezTo>
                    <a:pt x="95395" y="47097"/>
                    <a:pt x="124700" y="42488"/>
                    <a:pt x="153335" y="48663"/>
                  </a:cubicBezTo>
                  <a:cubicBezTo>
                    <a:pt x="114947" y="53181"/>
                    <a:pt x="76111" y="51392"/>
                    <a:pt x="37723" y="56045"/>
                  </a:cubicBezTo>
                  <a:cubicBezTo>
                    <a:pt x="37455" y="57074"/>
                    <a:pt x="36873" y="59087"/>
                    <a:pt x="36604" y="60072"/>
                  </a:cubicBezTo>
                  <a:cubicBezTo>
                    <a:pt x="30967" y="98728"/>
                    <a:pt x="33338" y="138235"/>
                    <a:pt x="36112" y="177070"/>
                  </a:cubicBezTo>
                  <a:cubicBezTo>
                    <a:pt x="37902" y="194430"/>
                    <a:pt x="35665" y="212058"/>
                    <a:pt x="38707" y="229329"/>
                  </a:cubicBezTo>
                  <a:cubicBezTo>
                    <a:pt x="42600" y="229686"/>
                    <a:pt x="50340" y="230402"/>
                    <a:pt x="54233" y="230760"/>
                  </a:cubicBezTo>
                  <a:lnTo>
                    <a:pt x="52711" y="232281"/>
                  </a:lnTo>
                  <a:cubicBezTo>
                    <a:pt x="46403" y="232729"/>
                    <a:pt x="40094" y="233221"/>
                    <a:pt x="33830" y="233668"/>
                  </a:cubicBezTo>
                  <a:cubicBezTo>
                    <a:pt x="34591" y="245301"/>
                    <a:pt x="35307" y="256979"/>
                    <a:pt x="36023" y="268701"/>
                  </a:cubicBezTo>
                  <a:cubicBezTo>
                    <a:pt x="56022" y="269417"/>
                    <a:pt x="76111" y="269283"/>
                    <a:pt x="96155" y="268298"/>
                  </a:cubicBezTo>
                  <a:lnTo>
                    <a:pt x="96155" y="256039"/>
                  </a:lnTo>
                  <a:lnTo>
                    <a:pt x="100450" y="254831"/>
                  </a:lnTo>
                  <a:cubicBezTo>
                    <a:pt x="107699" y="252997"/>
                    <a:pt x="114991" y="251341"/>
                    <a:pt x="122329" y="249865"/>
                  </a:cubicBezTo>
                  <a:cubicBezTo>
                    <a:pt x="130427" y="248209"/>
                    <a:pt x="138570" y="246778"/>
                    <a:pt x="146758" y="246017"/>
                  </a:cubicBezTo>
                  <a:cubicBezTo>
                    <a:pt x="149711" y="246017"/>
                    <a:pt x="155527" y="246062"/>
                    <a:pt x="158480" y="246062"/>
                  </a:cubicBezTo>
                  <a:cubicBezTo>
                    <a:pt x="159509" y="260334"/>
                    <a:pt x="158256" y="276844"/>
                    <a:pt x="167921" y="288611"/>
                  </a:cubicBezTo>
                  <a:cubicBezTo>
                    <a:pt x="203490" y="294964"/>
                    <a:pt x="240267" y="290714"/>
                    <a:pt x="276195" y="289014"/>
                  </a:cubicBezTo>
                  <a:cubicBezTo>
                    <a:pt x="293376" y="289014"/>
                    <a:pt x="296508" y="269014"/>
                    <a:pt x="297089" y="255726"/>
                  </a:cubicBezTo>
                  <a:cubicBezTo>
                    <a:pt x="297179" y="232505"/>
                    <a:pt x="298208" y="208658"/>
                    <a:pt x="292391" y="186019"/>
                  </a:cubicBezTo>
                  <a:cubicBezTo>
                    <a:pt x="284517" y="179487"/>
                    <a:pt x="273510" y="181142"/>
                    <a:pt x="264070" y="180337"/>
                  </a:cubicBezTo>
                  <a:cubicBezTo>
                    <a:pt x="269305" y="145662"/>
                    <a:pt x="274003" y="110361"/>
                    <a:pt x="269573" y="75328"/>
                  </a:cubicBezTo>
                  <a:cubicBezTo>
                    <a:pt x="266799" y="52331"/>
                    <a:pt x="267247" y="29155"/>
                    <a:pt x="268320" y="6069"/>
                  </a:cubicBezTo>
                  <a:cubicBezTo>
                    <a:pt x="289304" y="5040"/>
                    <a:pt x="310556" y="3697"/>
                    <a:pt x="331406" y="7366"/>
                  </a:cubicBezTo>
                  <a:cubicBezTo>
                    <a:pt x="330019" y="9380"/>
                    <a:pt x="327290" y="13406"/>
                    <a:pt x="325903" y="15375"/>
                  </a:cubicBezTo>
                  <a:cubicBezTo>
                    <a:pt x="322592" y="15330"/>
                    <a:pt x="315881" y="15151"/>
                    <a:pt x="312570" y="15062"/>
                  </a:cubicBezTo>
                  <a:cubicBezTo>
                    <a:pt x="312570" y="23921"/>
                    <a:pt x="312480" y="32779"/>
                    <a:pt x="312570" y="41638"/>
                  </a:cubicBezTo>
                  <a:cubicBezTo>
                    <a:pt x="321115" y="39849"/>
                    <a:pt x="329706" y="38104"/>
                    <a:pt x="338341" y="36359"/>
                  </a:cubicBezTo>
                  <a:cubicBezTo>
                    <a:pt x="338207" y="44188"/>
                    <a:pt x="339101" y="51973"/>
                    <a:pt x="339862" y="59803"/>
                  </a:cubicBezTo>
                  <a:cubicBezTo>
                    <a:pt x="350421" y="64725"/>
                    <a:pt x="360935" y="69915"/>
                    <a:pt x="371405" y="75149"/>
                  </a:cubicBezTo>
                  <a:cubicBezTo>
                    <a:pt x="370420" y="155639"/>
                    <a:pt x="373060" y="236174"/>
                    <a:pt x="370376" y="316574"/>
                  </a:cubicBezTo>
                  <a:cubicBezTo>
                    <a:pt x="247023" y="317469"/>
                    <a:pt x="123626" y="317335"/>
                    <a:pt x="274" y="317424"/>
                  </a:cubicBezTo>
                  <a:cubicBezTo>
                    <a:pt x="140" y="211879"/>
                    <a:pt x="-397" y="106334"/>
                    <a:pt x="543" y="789"/>
                  </a:cubicBezTo>
                  <a:close/>
                  <a:moveTo>
                    <a:pt x="341160" y="68036"/>
                  </a:moveTo>
                  <a:cubicBezTo>
                    <a:pt x="340086" y="71212"/>
                    <a:pt x="337849" y="77610"/>
                    <a:pt x="336730" y="80787"/>
                  </a:cubicBezTo>
                  <a:cubicBezTo>
                    <a:pt x="329750" y="78013"/>
                    <a:pt x="322771" y="75239"/>
                    <a:pt x="315836" y="72420"/>
                  </a:cubicBezTo>
                  <a:cubicBezTo>
                    <a:pt x="313688" y="74702"/>
                    <a:pt x="309483" y="79176"/>
                    <a:pt x="307335" y="81413"/>
                  </a:cubicBezTo>
                  <a:cubicBezTo>
                    <a:pt x="305366" y="89422"/>
                    <a:pt x="314180" y="94612"/>
                    <a:pt x="317536" y="100921"/>
                  </a:cubicBezTo>
                  <a:lnTo>
                    <a:pt x="313107" y="102755"/>
                  </a:lnTo>
                  <a:cubicBezTo>
                    <a:pt x="319236" y="103605"/>
                    <a:pt x="325366" y="104545"/>
                    <a:pt x="331540" y="105484"/>
                  </a:cubicBezTo>
                  <a:cubicBezTo>
                    <a:pt x="337759" y="100428"/>
                    <a:pt x="344068" y="95552"/>
                    <a:pt x="350600" y="90943"/>
                  </a:cubicBezTo>
                  <a:cubicBezTo>
                    <a:pt x="350242" y="90183"/>
                    <a:pt x="349526" y="88751"/>
                    <a:pt x="349168" y="87990"/>
                  </a:cubicBezTo>
                  <a:cubicBezTo>
                    <a:pt x="362143" y="83024"/>
                    <a:pt x="351674" y="67409"/>
                    <a:pt x="341160" y="68036"/>
                  </a:cubicBezTo>
                  <a:close/>
                  <a:moveTo>
                    <a:pt x="312346" y="143962"/>
                  </a:moveTo>
                  <a:cubicBezTo>
                    <a:pt x="304472" y="154029"/>
                    <a:pt x="316820" y="170717"/>
                    <a:pt x="328632" y="164453"/>
                  </a:cubicBezTo>
                  <a:cubicBezTo>
                    <a:pt x="336327" y="158413"/>
                    <a:pt x="338385" y="148481"/>
                    <a:pt x="338878" y="139219"/>
                  </a:cubicBezTo>
                  <a:cubicBezTo>
                    <a:pt x="344470" y="143917"/>
                    <a:pt x="350332" y="148436"/>
                    <a:pt x="356282" y="152731"/>
                  </a:cubicBezTo>
                  <a:cubicBezTo>
                    <a:pt x="353463" y="142933"/>
                    <a:pt x="350332" y="132329"/>
                    <a:pt x="340399" y="127497"/>
                  </a:cubicBezTo>
                  <a:cubicBezTo>
                    <a:pt x="336462" y="140472"/>
                    <a:pt x="320981" y="136535"/>
                    <a:pt x="312346" y="143962"/>
                  </a:cubicBezTo>
                  <a:close/>
                  <a:moveTo>
                    <a:pt x="347737" y="203781"/>
                  </a:moveTo>
                  <a:cubicBezTo>
                    <a:pt x="344157" y="208703"/>
                    <a:pt x="340623" y="213669"/>
                    <a:pt x="337222" y="218770"/>
                  </a:cubicBezTo>
                  <a:cubicBezTo>
                    <a:pt x="330422" y="214609"/>
                    <a:pt x="323218" y="211253"/>
                    <a:pt x="315925" y="208211"/>
                  </a:cubicBezTo>
                  <a:cubicBezTo>
                    <a:pt x="315925" y="211298"/>
                    <a:pt x="315970" y="217472"/>
                    <a:pt x="316015" y="220559"/>
                  </a:cubicBezTo>
                  <a:cubicBezTo>
                    <a:pt x="327558" y="238232"/>
                    <a:pt x="363172" y="228121"/>
                    <a:pt x="354895" y="204542"/>
                  </a:cubicBezTo>
                  <a:cubicBezTo>
                    <a:pt x="353105" y="204318"/>
                    <a:pt x="349526" y="203960"/>
                    <a:pt x="347737" y="203781"/>
                  </a:cubicBezTo>
                  <a:close/>
                  <a:moveTo>
                    <a:pt x="316418" y="278052"/>
                  </a:moveTo>
                  <a:cubicBezTo>
                    <a:pt x="322502" y="288835"/>
                    <a:pt x="338162" y="278902"/>
                    <a:pt x="339504" y="269238"/>
                  </a:cubicBezTo>
                  <a:cubicBezTo>
                    <a:pt x="342636" y="258634"/>
                    <a:pt x="331540" y="253892"/>
                    <a:pt x="325500" y="247807"/>
                  </a:cubicBezTo>
                  <a:cubicBezTo>
                    <a:pt x="315388" y="254115"/>
                    <a:pt x="310512" y="267224"/>
                    <a:pt x="316418" y="278052"/>
                  </a:cubicBezTo>
                  <a:close/>
                </a:path>
              </a:pathLst>
            </a:custGeom>
            <a:solidFill>
              <a:srgbClr val="6B91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1" name="Freeform: Shape 4370">
              <a:extLst>
                <a:ext uri="{FF2B5EF4-FFF2-40B4-BE49-F238E27FC236}">
                  <a16:creationId xmlns:a16="http://schemas.microsoft.com/office/drawing/2014/main" id="{7E843901-3709-E960-1430-B2A10C05682C}"/>
                </a:ext>
              </a:extLst>
            </p:cNvPr>
            <p:cNvSpPr/>
            <p:nvPr/>
          </p:nvSpPr>
          <p:spPr>
            <a:xfrm flipH="1">
              <a:off x="3702046" y="2999170"/>
              <a:ext cx="392898" cy="304360"/>
            </a:xfrm>
            <a:custGeom>
              <a:avLst/>
              <a:gdLst>
                <a:gd name="connsiteX0" fmla="*/ 0 w 329394"/>
                <a:gd name="connsiteY0" fmla="*/ 1796 h 255166"/>
                <a:gd name="connsiteX1" fmla="*/ 158474 w 329394"/>
                <a:gd name="connsiteY1" fmla="*/ 319 h 255166"/>
                <a:gd name="connsiteX2" fmla="*/ 328984 w 329394"/>
                <a:gd name="connsiteY2" fmla="*/ 991 h 255166"/>
                <a:gd name="connsiteX3" fmla="*/ 329118 w 329394"/>
                <a:gd name="connsiteY3" fmla="*/ 75485 h 255166"/>
                <a:gd name="connsiteX4" fmla="*/ 297575 w 329394"/>
                <a:gd name="connsiteY4" fmla="*/ 60139 h 255166"/>
                <a:gd name="connsiteX5" fmla="*/ 296054 w 329394"/>
                <a:gd name="connsiteY5" fmla="*/ 36694 h 255166"/>
                <a:gd name="connsiteX6" fmla="*/ 298784 w 329394"/>
                <a:gd name="connsiteY6" fmla="*/ 21751 h 255166"/>
                <a:gd name="connsiteX7" fmla="*/ 283661 w 329394"/>
                <a:gd name="connsiteY7" fmla="*/ 15710 h 255166"/>
                <a:gd name="connsiteX8" fmla="*/ 289164 w 329394"/>
                <a:gd name="connsiteY8" fmla="*/ 7702 h 255166"/>
                <a:gd name="connsiteX9" fmla="*/ 226079 w 329394"/>
                <a:gd name="connsiteY9" fmla="*/ 6404 h 255166"/>
                <a:gd name="connsiteX10" fmla="*/ 227331 w 329394"/>
                <a:gd name="connsiteY10" fmla="*/ 75664 h 255166"/>
                <a:gd name="connsiteX11" fmla="*/ 221828 w 329394"/>
                <a:gd name="connsiteY11" fmla="*/ 180672 h 255166"/>
                <a:gd name="connsiteX12" fmla="*/ 120757 w 329394"/>
                <a:gd name="connsiteY12" fmla="*/ 185102 h 255166"/>
                <a:gd name="connsiteX13" fmla="*/ 119728 w 329394"/>
                <a:gd name="connsiteY13" fmla="*/ 191544 h 255166"/>
                <a:gd name="connsiteX14" fmla="*/ 77671 w 329394"/>
                <a:gd name="connsiteY14" fmla="*/ 185057 h 255166"/>
                <a:gd name="connsiteX15" fmla="*/ 78835 w 329394"/>
                <a:gd name="connsiteY15" fmla="*/ 209038 h 255166"/>
                <a:gd name="connsiteX16" fmla="*/ 85277 w 329394"/>
                <a:gd name="connsiteY16" fmla="*/ 210917 h 255166"/>
                <a:gd name="connsiteX17" fmla="*/ 81743 w 329394"/>
                <a:gd name="connsiteY17" fmla="*/ 225772 h 255166"/>
                <a:gd name="connsiteX18" fmla="*/ 108856 w 329394"/>
                <a:gd name="connsiteY18" fmla="*/ 216286 h 255166"/>
                <a:gd name="connsiteX19" fmla="*/ 117178 w 329394"/>
                <a:gd name="connsiteY19" fmla="*/ 214810 h 255166"/>
                <a:gd name="connsiteX20" fmla="*/ 116238 w 329394"/>
                <a:gd name="connsiteY20" fmla="*/ 246397 h 255166"/>
                <a:gd name="connsiteX21" fmla="*/ 104516 w 329394"/>
                <a:gd name="connsiteY21" fmla="*/ 246353 h 255166"/>
                <a:gd name="connsiteX22" fmla="*/ 108185 w 329394"/>
                <a:gd name="connsiteY22" fmla="*/ 229530 h 255166"/>
                <a:gd name="connsiteX23" fmla="*/ 78969 w 329394"/>
                <a:gd name="connsiteY23" fmla="*/ 230604 h 255166"/>
                <a:gd name="connsiteX24" fmla="*/ 80087 w 329394"/>
                <a:gd name="connsiteY24" fmla="*/ 250200 h 255166"/>
                <a:gd name="connsiteX25" fmla="*/ 58209 w 329394"/>
                <a:gd name="connsiteY25" fmla="*/ 255167 h 255166"/>
                <a:gd name="connsiteX26" fmla="*/ 59461 w 329394"/>
                <a:gd name="connsiteY26" fmla="*/ 59020 h 255166"/>
                <a:gd name="connsiteX27" fmla="*/ 199950 w 329394"/>
                <a:gd name="connsiteY27" fmla="*/ 58797 h 255166"/>
                <a:gd name="connsiteX28" fmla="*/ 205050 w 329394"/>
                <a:gd name="connsiteY28" fmla="*/ 126356 h 255166"/>
                <a:gd name="connsiteX29" fmla="*/ 204782 w 329394"/>
                <a:gd name="connsiteY29" fmla="*/ 49311 h 255166"/>
                <a:gd name="connsiteX30" fmla="*/ 201695 w 329394"/>
                <a:gd name="connsiteY30" fmla="*/ 43405 h 255166"/>
                <a:gd name="connsiteX31" fmla="*/ 113778 w 329394"/>
                <a:gd name="connsiteY31" fmla="*/ 48819 h 255166"/>
                <a:gd name="connsiteX32" fmla="*/ 111093 w 329394"/>
                <a:gd name="connsiteY32" fmla="*/ 48998 h 255166"/>
                <a:gd name="connsiteX33" fmla="*/ 24295 w 329394"/>
                <a:gd name="connsiteY33" fmla="*/ 44479 h 255166"/>
                <a:gd name="connsiteX34" fmla="*/ 37941 w 329394"/>
                <a:gd name="connsiteY34" fmla="*/ 40453 h 255166"/>
                <a:gd name="connsiteX35" fmla="*/ 46844 w 329394"/>
                <a:gd name="connsiteY35" fmla="*/ 40900 h 255166"/>
                <a:gd name="connsiteX36" fmla="*/ 45368 w 329394"/>
                <a:gd name="connsiteY36" fmla="*/ 21258 h 255166"/>
                <a:gd name="connsiteX37" fmla="*/ 44518 w 329394"/>
                <a:gd name="connsiteY37" fmla="*/ 11728 h 255166"/>
                <a:gd name="connsiteX38" fmla="*/ 0 w 329394"/>
                <a:gd name="connsiteY38" fmla="*/ 1796 h 255166"/>
                <a:gd name="connsiteX39" fmla="*/ 114762 w 329394"/>
                <a:gd name="connsiteY39" fmla="*/ 102554 h 255166"/>
                <a:gd name="connsiteX40" fmla="*/ 155387 w 329394"/>
                <a:gd name="connsiteY40" fmla="*/ 110249 h 255166"/>
                <a:gd name="connsiteX41" fmla="*/ 135477 w 329394"/>
                <a:gd name="connsiteY41" fmla="*/ 78751 h 255166"/>
                <a:gd name="connsiteX42" fmla="*/ 114762 w 329394"/>
                <a:gd name="connsiteY42" fmla="*/ 102554 h 255166"/>
                <a:gd name="connsiteX43" fmla="*/ 86083 w 329394"/>
                <a:gd name="connsiteY43" fmla="*/ 107967 h 255166"/>
                <a:gd name="connsiteX44" fmla="*/ 115120 w 329394"/>
                <a:gd name="connsiteY44" fmla="*/ 118303 h 255166"/>
                <a:gd name="connsiteX45" fmla="*/ 109482 w 329394"/>
                <a:gd name="connsiteY45" fmla="*/ 93024 h 255166"/>
                <a:gd name="connsiteX46" fmla="*/ 86083 w 329394"/>
                <a:gd name="connsiteY46" fmla="*/ 107967 h 255166"/>
                <a:gd name="connsiteX47" fmla="*/ 65323 w 329394"/>
                <a:gd name="connsiteY47" fmla="*/ 148458 h 255166"/>
                <a:gd name="connsiteX48" fmla="*/ 77090 w 329394"/>
                <a:gd name="connsiteY48" fmla="*/ 170740 h 255166"/>
                <a:gd name="connsiteX49" fmla="*/ 85993 w 329394"/>
                <a:gd name="connsiteY49" fmla="*/ 156109 h 255166"/>
                <a:gd name="connsiteX50" fmla="*/ 87559 w 329394"/>
                <a:gd name="connsiteY50" fmla="*/ 172306 h 255166"/>
                <a:gd name="connsiteX51" fmla="*/ 118833 w 329394"/>
                <a:gd name="connsiteY51" fmla="*/ 160941 h 255166"/>
                <a:gd name="connsiteX52" fmla="*/ 108274 w 329394"/>
                <a:gd name="connsiteY52" fmla="*/ 154006 h 255166"/>
                <a:gd name="connsiteX53" fmla="*/ 179726 w 329394"/>
                <a:gd name="connsiteY53" fmla="*/ 149174 h 255166"/>
                <a:gd name="connsiteX54" fmla="*/ 164425 w 329394"/>
                <a:gd name="connsiteY54" fmla="*/ 173737 h 255166"/>
                <a:gd name="connsiteX55" fmla="*/ 207645 w 329394"/>
                <a:gd name="connsiteY55" fmla="*/ 175348 h 255166"/>
                <a:gd name="connsiteX56" fmla="*/ 216996 w 329394"/>
                <a:gd name="connsiteY56" fmla="*/ 159017 h 255166"/>
                <a:gd name="connsiteX57" fmla="*/ 207869 w 329394"/>
                <a:gd name="connsiteY57" fmla="*/ 162552 h 255166"/>
                <a:gd name="connsiteX58" fmla="*/ 209032 w 329394"/>
                <a:gd name="connsiteY58" fmla="*/ 151724 h 255166"/>
                <a:gd name="connsiteX59" fmla="*/ 204871 w 329394"/>
                <a:gd name="connsiteY59" fmla="*/ 151903 h 255166"/>
                <a:gd name="connsiteX60" fmla="*/ 188854 w 329394"/>
                <a:gd name="connsiteY60" fmla="*/ 141389 h 255166"/>
                <a:gd name="connsiteX61" fmla="*/ 82324 w 329394"/>
                <a:gd name="connsiteY61" fmla="*/ 141165 h 255166"/>
                <a:gd name="connsiteX62" fmla="*/ 65323 w 329394"/>
                <a:gd name="connsiteY62" fmla="*/ 148458 h 25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9394" h="255166">
                  <a:moveTo>
                    <a:pt x="0" y="1796"/>
                  </a:moveTo>
                  <a:cubicBezTo>
                    <a:pt x="52750" y="-1157"/>
                    <a:pt x="105679" y="454"/>
                    <a:pt x="158474" y="319"/>
                  </a:cubicBezTo>
                  <a:cubicBezTo>
                    <a:pt x="215296" y="3093"/>
                    <a:pt x="272162" y="51"/>
                    <a:pt x="328984" y="991"/>
                  </a:cubicBezTo>
                  <a:cubicBezTo>
                    <a:pt x="329431" y="25822"/>
                    <a:pt x="329566" y="50654"/>
                    <a:pt x="329118" y="75485"/>
                  </a:cubicBezTo>
                  <a:cubicBezTo>
                    <a:pt x="318649" y="70250"/>
                    <a:pt x="308135" y="65060"/>
                    <a:pt x="297575" y="60139"/>
                  </a:cubicBezTo>
                  <a:cubicBezTo>
                    <a:pt x="296815" y="52309"/>
                    <a:pt x="295920" y="44524"/>
                    <a:pt x="296054" y="36694"/>
                  </a:cubicBezTo>
                  <a:cubicBezTo>
                    <a:pt x="296725" y="32936"/>
                    <a:pt x="298112" y="25509"/>
                    <a:pt x="298784" y="21751"/>
                  </a:cubicBezTo>
                  <a:cubicBezTo>
                    <a:pt x="293728" y="19692"/>
                    <a:pt x="288761" y="17590"/>
                    <a:pt x="283661" y="15710"/>
                  </a:cubicBezTo>
                  <a:cubicBezTo>
                    <a:pt x="285048" y="13742"/>
                    <a:pt x="287777" y="9715"/>
                    <a:pt x="289164" y="7702"/>
                  </a:cubicBezTo>
                  <a:cubicBezTo>
                    <a:pt x="268315" y="4033"/>
                    <a:pt x="247062" y="5375"/>
                    <a:pt x="226079" y="6404"/>
                  </a:cubicBezTo>
                  <a:cubicBezTo>
                    <a:pt x="225005" y="29491"/>
                    <a:pt x="224557" y="52667"/>
                    <a:pt x="227331" y="75664"/>
                  </a:cubicBezTo>
                  <a:cubicBezTo>
                    <a:pt x="231761" y="110697"/>
                    <a:pt x="227063" y="145998"/>
                    <a:pt x="221828" y="180672"/>
                  </a:cubicBezTo>
                  <a:cubicBezTo>
                    <a:pt x="188138" y="181657"/>
                    <a:pt x="154179" y="180046"/>
                    <a:pt x="120757" y="185102"/>
                  </a:cubicBezTo>
                  <a:cubicBezTo>
                    <a:pt x="120489" y="186712"/>
                    <a:pt x="119952" y="189934"/>
                    <a:pt x="119728" y="191544"/>
                  </a:cubicBezTo>
                  <a:cubicBezTo>
                    <a:pt x="106887" y="184073"/>
                    <a:pt x="91989" y="184475"/>
                    <a:pt x="77671" y="185057"/>
                  </a:cubicBezTo>
                  <a:cubicBezTo>
                    <a:pt x="77940" y="193021"/>
                    <a:pt x="78208" y="201030"/>
                    <a:pt x="78835" y="209038"/>
                  </a:cubicBezTo>
                  <a:cubicBezTo>
                    <a:pt x="80445" y="209486"/>
                    <a:pt x="83667" y="210425"/>
                    <a:pt x="85277" y="210917"/>
                  </a:cubicBezTo>
                  <a:cubicBezTo>
                    <a:pt x="84248" y="215884"/>
                    <a:pt x="83085" y="220805"/>
                    <a:pt x="81743" y="225772"/>
                  </a:cubicBezTo>
                  <a:cubicBezTo>
                    <a:pt x="91452" y="224743"/>
                    <a:pt x="101116" y="222640"/>
                    <a:pt x="108856" y="216286"/>
                  </a:cubicBezTo>
                  <a:cubicBezTo>
                    <a:pt x="110959" y="215929"/>
                    <a:pt x="115075" y="215213"/>
                    <a:pt x="117178" y="214810"/>
                  </a:cubicBezTo>
                  <a:cubicBezTo>
                    <a:pt x="116462" y="225324"/>
                    <a:pt x="116149" y="235838"/>
                    <a:pt x="116238" y="246397"/>
                  </a:cubicBezTo>
                  <a:cubicBezTo>
                    <a:pt x="113285" y="246397"/>
                    <a:pt x="107469" y="246353"/>
                    <a:pt x="104516" y="246353"/>
                  </a:cubicBezTo>
                  <a:cubicBezTo>
                    <a:pt x="105724" y="240715"/>
                    <a:pt x="106977" y="235122"/>
                    <a:pt x="108185" y="229530"/>
                  </a:cubicBezTo>
                  <a:cubicBezTo>
                    <a:pt x="98610" y="229888"/>
                    <a:pt x="87649" y="225816"/>
                    <a:pt x="78969" y="230604"/>
                  </a:cubicBezTo>
                  <a:cubicBezTo>
                    <a:pt x="77582" y="237046"/>
                    <a:pt x="79506" y="243668"/>
                    <a:pt x="80087" y="250200"/>
                  </a:cubicBezTo>
                  <a:cubicBezTo>
                    <a:pt x="72750" y="251677"/>
                    <a:pt x="65457" y="253332"/>
                    <a:pt x="58209" y="255167"/>
                  </a:cubicBezTo>
                  <a:cubicBezTo>
                    <a:pt x="56866" y="189800"/>
                    <a:pt x="57359" y="124343"/>
                    <a:pt x="59461" y="59020"/>
                  </a:cubicBezTo>
                  <a:cubicBezTo>
                    <a:pt x="106261" y="57052"/>
                    <a:pt x="153195" y="55217"/>
                    <a:pt x="199950" y="58797"/>
                  </a:cubicBezTo>
                  <a:cubicBezTo>
                    <a:pt x="205542" y="80899"/>
                    <a:pt x="204469" y="103762"/>
                    <a:pt x="205050" y="126356"/>
                  </a:cubicBezTo>
                  <a:cubicBezTo>
                    <a:pt x="206750" y="100719"/>
                    <a:pt x="207332" y="74903"/>
                    <a:pt x="204782" y="49311"/>
                  </a:cubicBezTo>
                  <a:cubicBezTo>
                    <a:pt x="204021" y="47835"/>
                    <a:pt x="202455" y="44882"/>
                    <a:pt x="201695" y="43405"/>
                  </a:cubicBezTo>
                  <a:cubicBezTo>
                    <a:pt x="172523" y="45195"/>
                    <a:pt x="141696" y="38260"/>
                    <a:pt x="113778" y="48819"/>
                  </a:cubicBezTo>
                  <a:lnTo>
                    <a:pt x="111093" y="48998"/>
                  </a:lnTo>
                  <a:cubicBezTo>
                    <a:pt x="82459" y="42824"/>
                    <a:pt x="53153" y="47432"/>
                    <a:pt x="24295" y="44479"/>
                  </a:cubicBezTo>
                  <a:cubicBezTo>
                    <a:pt x="28814" y="43047"/>
                    <a:pt x="33377" y="41705"/>
                    <a:pt x="37941" y="40453"/>
                  </a:cubicBezTo>
                  <a:cubicBezTo>
                    <a:pt x="40178" y="40587"/>
                    <a:pt x="44607" y="40810"/>
                    <a:pt x="46844" y="40900"/>
                  </a:cubicBezTo>
                  <a:cubicBezTo>
                    <a:pt x="46307" y="34323"/>
                    <a:pt x="45815" y="27791"/>
                    <a:pt x="45368" y="21258"/>
                  </a:cubicBezTo>
                  <a:cubicBezTo>
                    <a:pt x="45144" y="18887"/>
                    <a:pt x="44741" y="14100"/>
                    <a:pt x="44518" y="11728"/>
                  </a:cubicBezTo>
                  <a:cubicBezTo>
                    <a:pt x="30693" y="4928"/>
                    <a:pt x="14988" y="4301"/>
                    <a:pt x="0" y="1796"/>
                  </a:cubicBezTo>
                  <a:close/>
                  <a:moveTo>
                    <a:pt x="114762" y="102554"/>
                  </a:moveTo>
                  <a:cubicBezTo>
                    <a:pt x="124516" y="115350"/>
                    <a:pt x="141651" y="109041"/>
                    <a:pt x="155387" y="110249"/>
                  </a:cubicBezTo>
                  <a:cubicBezTo>
                    <a:pt x="167557" y="95619"/>
                    <a:pt x="152300" y="77319"/>
                    <a:pt x="135477" y="78751"/>
                  </a:cubicBezTo>
                  <a:cubicBezTo>
                    <a:pt x="122502" y="78706"/>
                    <a:pt x="120220" y="94008"/>
                    <a:pt x="114762" y="102554"/>
                  </a:cubicBezTo>
                  <a:close/>
                  <a:moveTo>
                    <a:pt x="86083" y="107967"/>
                  </a:moveTo>
                  <a:cubicBezTo>
                    <a:pt x="89528" y="120405"/>
                    <a:pt x="105500" y="115618"/>
                    <a:pt x="115120" y="118303"/>
                  </a:cubicBezTo>
                  <a:cubicBezTo>
                    <a:pt x="113375" y="109802"/>
                    <a:pt x="111496" y="101435"/>
                    <a:pt x="109482" y="93024"/>
                  </a:cubicBezTo>
                  <a:cubicBezTo>
                    <a:pt x="99281" y="92576"/>
                    <a:pt x="86038" y="95127"/>
                    <a:pt x="86083" y="107967"/>
                  </a:cubicBezTo>
                  <a:close/>
                  <a:moveTo>
                    <a:pt x="65323" y="148458"/>
                  </a:moveTo>
                  <a:cubicBezTo>
                    <a:pt x="69305" y="155841"/>
                    <a:pt x="73197" y="163268"/>
                    <a:pt x="77090" y="170740"/>
                  </a:cubicBezTo>
                  <a:cubicBezTo>
                    <a:pt x="79908" y="165773"/>
                    <a:pt x="82727" y="160807"/>
                    <a:pt x="85993" y="156109"/>
                  </a:cubicBezTo>
                  <a:cubicBezTo>
                    <a:pt x="86351" y="160181"/>
                    <a:pt x="87156" y="168234"/>
                    <a:pt x="87559" y="172306"/>
                  </a:cubicBezTo>
                  <a:cubicBezTo>
                    <a:pt x="98610" y="170471"/>
                    <a:pt x="109214" y="166668"/>
                    <a:pt x="118833" y="160941"/>
                  </a:cubicBezTo>
                  <a:cubicBezTo>
                    <a:pt x="115388" y="158480"/>
                    <a:pt x="111898" y="156154"/>
                    <a:pt x="108274" y="154006"/>
                  </a:cubicBezTo>
                  <a:cubicBezTo>
                    <a:pt x="132122" y="152440"/>
                    <a:pt x="155969" y="151635"/>
                    <a:pt x="179726" y="149174"/>
                  </a:cubicBezTo>
                  <a:cubicBezTo>
                    <a:pt x="178608" y="159778"/>
                    <a:pt x="176953" y="171500"/>
                    <a:pt x="164425" y="173737"/>
                  </a:cubicBezTo>
                  <a:cubicBezTo>
                    <a:pt x="178832" y="174095"/>
                    <a:pt x="193238" y="177182"/>
                    <a:pt x="207645" y="175348"/>
                  </a:cubicBezTo>
                  <a:cubicBezTo>
                    <a:pt x="213148" y="171858"/>
                    <a:pt x="213864" y="164386"/>
                    <a:pt x="216996" y="159017"/>
                  </a:cubicBezTo>
                  <a:cubicBezTo>
                    <a:pt x="214714" y="159912"/>
                    <a:pt x="210151" y="161657"/>
                    <a:pt x="207869" y="162552"/>
                  </a:cubicBezTo>
                  <a:cubicBezTo>
                    <a:pt x="208137" y="159823"/>
                    <a:pt x="208764" y="154454"/>
                    <a:pt x="209032" y="151724"/>
                  </a:cubicBezTo>
                  <a:lnTo>
                    <a:pt x="204871" y="151903"/>
                  </a:lnTo>
                  <a:cubicBezTo>
                    <a:pt x="200844" y="146713"/>
                    <a:pt x="196370" y="140271"/>
                    <a:pt x="188854" y="141389"/>
                  </a:cubicBezTo>
                  <a:cubicBezTo>
                    <a:pt x="153374" y="141031"/>
                    <a:pt x="117849" y="141121"/>
                    <a:pt x="82324" y="141165"/>
                  </a:cubicBezTo>
                  <a:cubicBezTo>
                    <a:pt x="75658" y="140584"/>
                    <a:pt x="70557" y="145147"/>
                    <a:pt x="65323" y="148458"/>
                  </a:cubicBezTo>
                  <a:close/>
                </a:path>
              </a:pathLst>
            </a:custGeom>
            <a:solidFill>
              <a:srgbClr val="7495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2" name="Freeform: Shape 4371">
              <a:extLst>
                <a:ext uri="{FF2B5EF4-FFF2-40B4-BE49-F238E27FC236}">
                  <a16:creationId xmlns:a16="http://schemas.microsoft.com/office/drawing/2014/main" id="{5DAC746E-DC9E-E0F2-EA64-62936464543A}"/>
                </a:ext>
              </a:extLst>
            </p:cNvPr>
            <p:cNvSpPr/>
            <p:nvPr/>
          </p:nvSpPr>
          <p:spPr>
            <a:xfrm flipH="1">
              <a:off x="2038010" y="3001205"/>
              <a:ext cx="411728" cy="19088"/>
            </a:xfrm>
            <a:custGeom>
              <a:avLst/>
              <a:gdLst>
                <a:gd name="connsiteX0" fmla="*/ 223081 w 345180"/>
                <a:gd name="connsiteY0" fmla="*/ 1521 h 16003"/>
                <a:gd name="connsiteX1" fmla="*/ 282140 w 345180"/>
                <a:gd name="connsiteY1" fmla="*/ 582 h 16003"/>
                <a:gd name="connsiteX2" fmla="*/ 328984 w 345180"/>
                <a:gd name="connsiteY2" fmla="*/ 0 h 16003"/>
                <a:gd name="connsiteX3" fmla="*/ 345180 w 345180"/>
                <a:gd name="connsiteY3" fmla="*/ 15660 h 16003"/>
                <a:gd name="connsiteX4" fmla="*/ 5279 w 345180"/>
                <a:gd name="connsiteY4" fmla="*/ 15525 h 16003"/>
                <a:gd name="connsiteX5" fmla="*/ 0 w 345180"/>
                <a:gd name="connsiteY5" fmla="*/ 15660 h 16003"/>
                <a:gd name="connsiteX6" fmla="*/ 1879 w 345180"/>
                <a:gd name="connsiteY6" fmla="*/ 8546 h 16003"/>
                <a:gd name="connsiteX7" fmla="*/ 76463 w 345180"/>
                <a:gd name="connsiteY7" fmla="*/ 3042 h 16003"/>
                <a:gd name="connsiteX8" fmla="*/ 223081 w 345180"/>
                <a:gd name="connsiteY8" fmla="*/ 1521 h 1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180" h="16003">
                  <a:moveTo>
                    <a:pt x="223081" y="1521"/>
                  </a:moveTo>
                  <a:cubicBezTo>
                    <a:pt x="242722" y="537"/>
                    <a:pt x="262453" y="358"/>
                    <a:pt x="282140" y="582"/>
                  </a:cubicBezTo>
                  <a:cubicBezTo>
                    <a:pt x="297754" y="761"/>
                    <a:pt x="313369" y="313"/>
                    <a:pt x="328984" y="0"/>
                  </a:cubicBezTo>
                  <a:cubicBezTo>
                    <a:pt x="337350" y="1566"/>
                    <a:pt x="342630" y="7830"/>
                    <a:pt x="345180" y="15660"/>
                  </a:cubicBezTo>
                  <a:cubicBezTo>
                    <a:pt x="231895" y="16823"/>
                    <a:pt x="118565" y="14586"/>
                    <a:pt x="5279" y="15525"/>
                  </a:cubicBezTo>
                  <a:lnTo>
                    <a:pt x="0" y="15660"/>
                  </a:lnTo>
                  <a:cubicBezTo>
                    <a:pt x="447" y="13870"/>
                    <a:pt x="1387" y="10290"/>
                    <a:pt x="1879" y="8546"/>
                  </a:cubicBezTo>
                  <a:cubicBezTo>
                    <a:pt x="26084" y="1521"/>
                    <a:pt x="51542" y="3535"/>
                    <a:pt x="76463" y="3042"/>
                  </a:cubicBezTo>
                  <a:cubicBezTo>
                    <a:pt x="125321" y="2416"/>
                    <a:pt x="174223" y="3937"/>
                    <a:pt x="223081" y="1521"/>
                  </a:cubicBezTo>
                  <a:close/>
                </a:path>
              </a:pathLst>
            </a:custGeom>
            <a:solidFill>
              <a:srgbClr val="5784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4" name="Freeform: Shape 4373">
              <a:extLst>
                <a:ext uri="{FF2B5EF4-FFF2-40B4-BE49-F238E27FC236}">
                  <a16:creationId xmlns:a16="http://schemas.microsoft.com/office/drawing/2014/main" id="{E953B412-0DA1-60C4-2FB7-F89AE261B492}"/>
                </a:ext>
              </a:extLst>
            </p:cNvPr>
            <p:cNvSpPr/>
            <p:nvPr/>
          </p:nvSpPr>
          <p:spPr>
            <a:xfrm flipH="1">
              <a:off x="2479519" y="3009531"/>
              <a:ext cx="205410" cy="73485"/>
            </a:xfrm>
            <a:custGeom>
              <a:avLst/>
              <a:gdLst>
                <a:gd name="connsiteX0" fmla="*/ 1387 w 172209"/>
                <a:gd name="connsiteY0" fmla="*/ 0 h 61608"/>
                <a:gd name="connsiteX1" fmla="*/ 102592 w 172209"/>
                <a:gd name="connsiteY1" fmla="*/ 17718 h 61608"/>
                <a:gd name="connsiteX2" fmla="*/ 112614 w 172209"/>
                <a:gd name="connsiteY2" fmla="*/ 3982 h 61608"/>
                <a:gd name="connsiteX3" fmla="*/ 151897 w 172209"/>
                <a:gd name="connsiteY3" fmla="*/ 2416 h 61608"/>
                <a:gd name="connsiteX4" fmla="*/ 172210 w 172209"/>
                <a:gd name="connsiteY4" fmla="*/ 2729 h 61608"/>
                <a:gd name="connsiteX5" fmla="*/ 172210 w 172209"/>
                <a:gd name="connsiteY5" fmla="*/ 4564 h 61608"/>
                <a:gd name="connsiteX6" fmla="*/ 149884 w 172209"/>
                <a:gd name="connsiteY6" fmla="*/ 4922 h 61608"/>
                <a:gd name="connsiteX7" fmla="*/ 150734 w 172209"/>
                <a:gd name="connsiteY7" fmla="*/ 41654 h 61608"/>
                <a:gd name="connsiteX8" fmla="*/ 109661 w 172209"/>
                <a:gd name="connsiteY8" fmla="*/ 43757 h 61608"/>
                <a:gd name="connsiteX9" fmla="*/ 88678 w 172209"/>
                <a:gd name="connsiteY9" fmla="*/ 59596 h 61608"/>
                <a:gd name="connsiteX10" fmla="*/ 81877 w 172209"/>
                <a:gd name="connsiteY10" fmla="*/ 60088 h 61608"/>
                <a:gd name="connsiteX11" fmla="*/ 98834 w 172209"/>
                <a:gd name="connsiteY11" fmla="*/ 33646 h 61608"/>
                <a:gd name="connsiteX12" fmla="*/ 28769 w 172209"/>
                <a:gd name="connsiteY12" fmla="*/ 34317 h 61608"/>
                <a:gd name="connsiteX13" fmla="*/ 42370 w 172209"/>
                <a:gd name="connsiteY13" fmla="*/ 61251 h 61608"/>
                <a:gd name="connsiteX14" fmla="*/ 37851 w 172209"/>
                <a:gd name="connsiteY14" fmla="*/ 61609 h 61608"/>
                <a:gd name="connsiteX15" fmla="*/ 0 w 172209"/>
                <a:gd name="connsiteY15" fmla="*/ 43891 h 61608"/>
                <a:gd name="connsiteX16" fmla="*/ 1387 w 172209"/>
                <a:gd name="connsiteY16" fmla="*/ 0 h 6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209" h="61608">
                  <a:moveTo>
                    <a:pt x="1387" y="0"/>
                  </a:moveTo>
                  <a:cubicBezTo>
                    <a:pt x="32259" y="17225"/>
                    <a:pt x="68231" y="17091"/>
                    <a:pt x="102592" y="17718"/>
                  </a:cubicBezTo>
                  <a:cubicBezTo>
                    <a:pt x="105903" y="13109"/>
                    <a:pt x="109214" y="8501"/>
                    <a:pt x="112614" y="3982"/>
                  </a:cubicBezTo>
                  <a:cubicBezTo>
                    <a:pt x="125679" y="3042"/>
                    <a:pt x="138788" y="2416"/>
                    <a:pt x="151897" y="2416"/>
                  </a:cubicBezTo>
                  <a:cubicBezTo>
                    <a:pt x="158653" y="2461"/>
                    <a:pt x="165409" y="2550"/>
                    <a:pt x="172210" y="2729"/>
                  </a:cubicBezTo>
                  <a:lnTo>
                    <a:pt x="172210" y="4564"/>
                  </a:lnTo>
                  <a:cubicBezTo>
                    <a:pt x="164738" y="4564"/>
                    <a:pt x="157311" y="4743"/>
                    <a:pt x="149884" y="4922"/>
                  </a:cubicBezTo>
                  <a:cubicBezTo>
                    <a:pt x="150197" y="17136"/>
                    <a:pt x="150510" y="29395"/>
                    <a:pt x="150734" y="41654"/>
                  </a:cubicBezTo>
                  <a:cubicBezTo>
                    <a:pt x="137043" y="42012"/>
                    <a:pt x="123173" y="41117"/>
                    <a:pt x="109661" y="43757"/>
                  </a:cubicBezTo>
                  <a:cubicBezTo>
                    <a:pt x="101474" y="47158"/>
                    <a:pt x="95702" y="54406"/>
                    <a:pt x="88678" y="59596"/>
                  </a:cubicBezTo>
                  <a:cubicBezTo>
                    <a:pt x="86977" y="59730"/>
                    <a:pt x="83577" y="59954"/>
                    <a:pt x="81877" y="60088"/>
                  </a:cubicBezTo>
                  <a:cubicBezTo>
                    <a:pt x="87604" y="51318"/>
                    <a:pt x="93241" y="42504"/>
                    <a:pt x="98834" y="33646"/>
                  </a:cubicBezTo>
                  <a:cubicBezTo>
                    <a:pt x="75479" y="32795"/>
                    <a:pt x="51990" y="30737"/>
                    <a:pt x="28769" y="34317"/>
                  </a:cubicBezTo>
                  <a:cubicBezTo>
                    <a:pt x="33198" y="43310"/>
                    <a:pt x="37762" y="52303"/>
                    <a:pt x="42370" y="61251"/>
                  </a:cubicBezTo>
                  <a:cubicBezTo>
                    <a:pt x="41251" y="61340"/>
                    <a:pt x="38970" y="61520"/>
                    <a:pt x="37851" y="61609"/>
                  </a:cubicBezTo>
                  <a:cubicBezTo>
                    <a:pt x="26576" y="52929"/>
                    <a:pt x="15838" y="40133"/>
                    <a:pt x="0" y="43891"/>
                  </a:cubicBezTo>
                  <a:cubicBezTo>
                    <a:pt x="1477" y="29306"/>
                    <a:pt x="1655" y="14630"/>
                    <a:pt x="1387" y="0"/>
                  </a:cubicBezTo>
                  <a:close/>
                </a:path>
              </a:pathLst>
            </a:custGeom>
            <a:solidFill>
              <a:srgbClr val="4682C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6" name="Freeform: Shape 4375">
              <a:extLst>
                <a:ext uri="{FF2B5EF4-FFF2-40B4-BE49-F238E27FC236}">
                  <a16:creationId xmlns:a16="http://schemas.microsoft.com/office/drawing/2014/main" id="{6C53C0F2-D7F3-EBCE-431C-75C5725A9D9C}"/>
                </a:ext>
              </a:extLst>
            </p:cNvPr>
            <p:cNvSpPr/>
            <p:nvPr/>
          </p:nvSpPr>
          <p:spPr>
            <a:xfrm flipH="1">
              <a:off x="3738557" y="3017535"/>
              <a:ext cx="34018" cy="31699"/>
            </a:xfrm>
            <a:custGeom>
              <a:avLst/>
              <a:gdLst>
                <a:gd name="connsiteX0" fmla="*/ 65 w 28520"/>
                <a:gd name="connsiteY0" fmla="*/ 0 h 26576"/>
                <a:gd name="connsiteX1" fmla="*/ 13398 w 28520"/>
                <a:gd name="connsiteY1" fmla="*/ 313 h 26576"/>
                <a:gd name="connsiteX2" fmla="*/ 28520 w 28520"/>
                <a:gd name="connsiteY2" fmla="*/ 6353 h 26576"/>
                <a:gd name="connsiteX3" fmla="*/ 25791 w 28520"/>
                <a:gd name="connsiteY3" fmla="*/ 21297 h 26576"/>
                <a:gd name="connsiteX4" fmla="*/ 20 w 28520"/>
                <a:gd name="connsiteY4" fmla="*/ 26576 h 26576"/>
                <a:gd name="connsiteX5" fmla="*/ 20 w 28520"/>
                <a:gd name="connsiteY5" fmla="*/ 0 h 2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20" h="26576">
                  <a:moveTo>
                    <a:pt x="65" y="0"/>
                  </a:moveTo>
                  <a:cubicBezTo>
                    <a:pt x="3375" y="89"/>
                    <a:pt x="10087" y="268"/>
                    <a:pt x="13398" y="313"/>
                  </a:cubicBezTo>
                  <a:cubicBezTo>
                    <a:pt x="18498" y="2192"/>
                    <a:pt x="23464" y="4295"/>
                    <a:pt x="28520" y="6353"/>
                  </a:cubicBezTo>
                  <a:cubicBezTo>
                    <a:pt x="27849" y="10112"/>
                    <a:pt x="26462" y="17539"/>
                    <a:pt x="25791" y="21297"/>
                  </a:cubicBezTo>
                  <a:cubicBezTo>
                    <a:pt x="17156" y="23042"/>
                    <a:pt x="8565" y="24787"/>
                    <a:pt x="20" y="26576"/>
                  </a:cubicBezTo>
                  <a:cubicBezTo>
                    <a:pt x="-25" y="17718"/>
                    <a:pt x="20" y="8859"/>
                    <a:pt x="20" y="0"/>
                  </a:cubicBezTo>
                  <a:close/>
                </a:path>
              </a:pathLst>
            </a:custGeom>
            <a:solidFill>
              <a:srgbClr val="ADC3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7" name="Freeform: Shape 4376">
              <a:extLst>
                <a:ext uri="{FF2B5EF4-FFF2-40B4-BE49-F238E27FC236}">
                  <a16:creationId xmlns:a16="http://schemas.microsoft.com/office/drawing/2014/main" id="{4B607E61-BF2B-9C43-4995-E21ADCB3815A}"/>
                </a:ext>
              </a:extLst>
            </p:cNvPr>
            <p:cNvSpPr/>
            <p:nvPr/>
          </p:nvSpPr>
          <p:spPr>
            <a:xfrm flipH="1">
              <a:off x="2464439" y="3014921"/>
              <a:ext cx="41709" cy="50538"/>
            </a:xfrm>
            <a:custGeom>
              <a:avLst/>
              <a:gdLst>
                <a:gd name="connsiteX0" fmla="*/ 0 w 34967"/>
                <a:gd name="connsiteY0" fmla="*/ 403 h 42370"/>
                <a:gd name="connsiteX1" fmla="*/ 22371 w 34967"/>
                <a:gd name="connsiteY1" fmla="*/ 45 h 42370"/>
                <a:gd name="connsiteX2" fmla="*/ 34809 w 34967"/>
                <a:gd name="connsiteY2" fmla="*/ 0 h 42370"/>
                <a:gd name="connsiteX3" fmla="*/ 34853 w 34967"/>
                <a:gd name="connsiteY3" fmla="*/ 42370 h 42370"/>
                <a:gd name="connsiteX4" fmla="*/ 23310 w 34967"/>
                <a:gd name="connsiteY4" fmla="*/ 42102 h 42370"/>
                <a:gd name="connsiteX5" fmla="*/ 940 w 34967"/>
                <a:gd name="connsiteY5" fmla="*/ 41610 h 42370"/>
                <a:gd name="connsiteX6" fmla="*/ 850 w 34967"/>
                <a:gd name="connsiteY6" fmla="*/ 37135 h 42370"/>
                <a:gd name="connsiteX7" fmla="*/ 0 w 34967"/>
                <a:gd name="connsiteY7" fmla="*/ 403 h 4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67" h="42370">
                  <a:moveTo>
                    <a:pt x="0" y="403"/>
                  </a:moveTo>
                  <a:cubicBezTo>
                    <a:pt x="7427" y="224"/>
                    <a:pt x="14854" y="89"/>
                    <a:pt x="22371" y="45"/>
                  </a:cubicBezTo>
                  <a:cubicBezTo>
                    <a:pt x="25458" y="45"/>
                    <a:pt x="31677" y="45"/>
                    <a:pt x="34809" y="0"/>
                  </a:cubicBezTo>
                  <a:cubicBezTo>
                    <a:pt x="34988" y="14138"/>
                    <a:pt x="35033" y="28232"/>
                    <a:pt x="34853" y="42370"/>
                  </a:cubicBezTo>
                  <a:cubicBezTo>
                    <a:pt x="31990" y="42370"/>
                    <a:pt x="26218" y="42191"/>
                    <a:pt x="23310" y="42102"/>
                  </a:cubicBezTo>
                  <a:cubicBezTo>
                    <a:pt x="15838" y="41923"/>
                    <a:pt x="8367" y="41744"/>
                    <a:pt x="940" y="41610"/>
                  </a:cubicBezTo>
                  <a:cubicBezTo>
                    <a:pt x="895" y="40491"/>
                    <a:pt x="850" y="38254"/>
                    <a:pt x="850" y="37135"/>
                  </a:cubicBezTo>
                  <a:cubicBezTo>
                    <a:pt x="626" y="24876"/>
                    <a:pt x="313" y="12617"/>
                    <a:pt x="0" y="403"/>
                  </a:cubicBezTo>
                  <a:close/>
                </a:path>
              </a:pathLst>
            </a:custGeom>
            <a:solidFill>
              <a:srgbClr val="293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8" name="Freeform: Shape 4377">
              <a:extLst>
                <a:ext uri="{FF2B5EF4-FFF2-40B4-BE49-F238E27FC236}">
                  <a16:creationId xmlns:a16="http://schemas.microsoft.com/office/drawing/2014/main" id="{6904831C-5CB0-20A4-7581-6D4DE7C73271}"/>
                </a:ext>
              </a:extLst>
            </p:cNvPr>
            <p:cNvSpPr/>
            <p:nvPr/>
          </p:nvSpPr>
          <p:spPr>
            <a:xfrm flipH="1">
              <a:off x="4039068" y="3023139"/>
              <a:ext cx="60839" cy="24815"/>
            </a:xfrm>
            <a:custGeom>
              <a:avLst/>
              <a:gdLst>
                <a:gd name="connsiteX0" fmla="*/ 1521 w 51005"/>
                <a:gd name="connsiteY0" fmla="*/ 0 h 20804"/>
                <a:gd name="connsiteX1" fmla="*/ 49529 w 51005"/>
                <a:gd name="connsiteY1" fmla="*/ 1163 h 20804"/>
                <a:gd name="connsiteX2" fmla="*/ 51005 w 51005"/>
                <a:gd name="connsiteY2" fmla="*/ 20805 h 20804"/>
                <a:gd name="connsiteX3" fmla="*/ 42102 w 51005"/>
                <a:gd name="connsiteY3" fmla="*/ 20357 h 20804"/>
                <a:gd name="connsiteX4" fmla="*/ 0 w 51005"/>
                <a:gd name="connsiteY4" fmla="*/ 19776 h 20804"/>
                <a:gd name="connsiteX5" fmla="*/ 1521 w 51005"/>
                <a:gd name="connsiteY5" fmla="*/ 0 h 2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05" h="20804">
                  <a:moveTo>
                    <a:pt x="1521" y="0"/>
                  </a:moveTo>
                  <a:cubicBezTo>
                    <a:pt x="17539" y="537"/>
                    <a:pt x="33511" y="895"/>
                    <a:pt x="49529" y="1163"/>
                  </a:cubicBezTo>
                  <a:cubicBezTo>
                    <a:pt x="49976" y="7696"/>
                    <a:pt x="50468" y="14228"/>
                    <a:pt x="51005" y="20805"/>
                  </a:cubicBezTo>
                  <a:cubicBezTo>
                    <a:pt x="48768" y="20715"/>
                    <a:pt x="44339" y="20492"/>
                    <a:pt x="42102" y="20357"/>
                  </a:cubicBezTo>
                  <a:cubicBezTo>
                    <a:pt x="28098" y="19239"/>
                    <a:pt x="14049" y="19060"/>
                    <a:pt x="0" y="19776"/>
                  </a:cubicBezTo>
                  <a:cubicBezTo>
                    <a:pt x="537" y="13154"/>
                    <a:pt x="1029" y="6532"/>
                    <a:pt x="1521" y="0"/>
                  </a:cubicBezTo>
                  <a:close/>
                </a:path>
              </a:pathLst>
            </a:custGeom>
            <a:solidFill>
              <a:srgbClr val="D1DC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79" name="Freeform: Shape 4378">
              <a:extLst>
                <a:ext uri="{FF2B5EF4-FFF2-40B4-BE49-F238E27FC236}">
                  <a16:creationId xmlns:a16="http://schemas.microsoft.com/office/drawing/2014/main" id="{5F08C293-1EF1-E8A8-94DA-334ACB364997}"/>
                </a:ext>
              </a:extLst>
            </p:cNvPr>
            <p:cNvSpPr/>
            <p:nvPr/>
          </p:nvSpPr>
          <p:spPr>
            <a:xfrm flipH="1">
              <a:off x="3072376" y="3020344"/>
              <a:ext cx="65534" cy="107530"/>
            </a:xfrm>
            <a:custGeom>
              <a:avLst/>
              <a:gdLst>
                <a:gd name="connsiteX0" fmla="*/ 0 w 54942"/>
                <a:gd name="connsiteY0" fmla="*/ 13617 h 90150"/>
                <a:gd name="connsiteX1" fmla="*/ 27650 w 54942"/>
                <a:gd name="connsiteY1" fmla="*/ 3461 h 90150"/>
                <a:gd name="connsiteX2" fmla="*/ 34138 w 54942"/>
                <a:gd name="connsiteY2" fmla="*/ 79074 h 90150"/>
                <a:gd name="connsiteX3" fmla="*/ 54943 w 54942"/>
                <a:gd name="connsiteY3" fmla="*/ 85472 h 90150"/>
                <a:gd name="connsiteX4" fmla="*/ 24116 w 54942"/>
                <a:gd name="connsiteY4" fmla="*/ 89991 h 90150"/>
                <a:gd name="connsiteX5" fmla="*/ 15794 w 54942"/>
                <a:gd name="connsiteY5" fmla="*/ 14467 h 90150"/>
                <a:gd name="connsiteX6" fmla="*/ 8769 w 54942"/>
                <a:gd name="connsiteY6" fmla="*/ 18583 h 90150"/>
                <a:gd name="connsiteX7" fmla="*/ 3624 w 54942"/>
                <a:gd name="connsiteY7" fmla="*/ 21805 h 90150"/>
                <a:gd name="connsiteX8" fmla="*/ 0 w 54942"/>
                <a:gd name="connsiteY8" fmla="*/ 13617 h 9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942" h="90150">
                  <a:moveTo>
                    <a:pt x="0" y="13617"/>
                  </a:moveTo>
                  <a:cubicBezTo>
                    <a:pt x="7785" y="9053"/>
                    <a:pt x="19955" y="-6964"/>
                    <a:pt x="27650" y="3461"/>
                  </a:cubicBezTo>
                  <a:cubicBezTo>
                    <a:pt x="31766" y="28427"/>
                    <a:pt x="28903" y="54108"/>
                    <a:pt x="34138" y="79074"/>
                  </a:cubicBezTo>
                  <a:cubicBezTo>
                    <a:pt x="41073" y="81043"/>
                    <a:pt x="47963" y="83190"/>
                    <a:pt x="54943" y="85472"/>
                  </a:cubicBezTo>
                  <a:cubicBezTo>
                    <a:pt x="45099" y="89454"/>
                    <a:pt x="34585" y="90617"/>
                    <a:pt x="24116" y="89991"/>
                  </a:cubicBezTo>
                  <a:cubicBezTo>
                    <a:pt x="18433" y="65204"/>
                    <a:pt x="17762" y="39701"/>
                    <a:pt x="15794" y="14467"/>
                  </a:cubicBezTo>
                  <a:cubicBezTo>
                    <a:pt x="14049" y="15496"/>
                    <a:pt x="10514" y="17554"/>
                    <a:pt x="8769" y="18583"/>
                  </a:cubicBezTo>
                  <a:lnTo>
                    <a:pt x="3624" y="21805"/>
                  </a:lnTo>
                  <a:cubicBezTo>
                    <a:pt x="2729" y="19747"/>
                    <a:pt x="895" y="15630"/>
                    <a:pt x="0" y="13617"/>
                  </a:cubicBezTo>
                  <a:close/>
                </a:path>
              </a:pathLst>
            </a:custGeom>
            <a:solidFill>
              <a:srgbClr val="F2F3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0" name="Freeform: Shape 4379">
              <a:extLst>
                <a:ext uri="{FF2B5EF4-FFF2-40B4-BE49-F238E27FC236}">
                  <a16:creationId xmlns:a16="http://schemas.microsoft.com/office/drawing/2014/main" id="{E78BA22B-4BAB-9EE7-205B-FA6732B7F5D7}"/>
                </a:ext>
              </a:extLst>
            </p:cNvPr>
            <p:cNvSpPr/>
            <p:nvPr/>
          </p:nvSpPr>
          <p:spPr>
            <a:xfrm flipH="1">
              <a:off x="2988747" y="3025594"/>
              <a:ext cx="51392" cy="93819"/>
            </a:xfrm>
            <a:custGeom>
              <a:avLst/>
              <a:gdLst>
                <a:gd name="connsiteX0" fmla="*/ 0 w 43086"/>
                <a:gd name="connsiteY0" fmla="*/ 9977 h 78655"/>
                <a:gd name="connsiteX1" fmla="*/ 37717 w 43086"/>
                <a:gd name="connsiteY1" fmla="*/ 0 h 78655"/>
                <a:gd name="connsiteX2" fmla="*/ 43086 w 43086"/>
                <a:gd name="connsiteY2" fmla="*/ 78655 h 78655"/>
                <a:gd name="connsiteX3" fmla="*/ 18433 w 43086"/>
                <a:gd name="connsiteY3" fmla="*/ 45413 h 78655"/>
                <a:gd name="connsiteX4" fmla="*/ 20760 w 43086"/>
                <a:gd name="connsiteY4" fmla="*/ 23981 h 78655"/>
                <a:gd name="connsiteX5" fmla="*/ 31498 w 43086"/>
                <a:gd name="connsiteY5" fmla="*/ 12662 h 78655"/>
                <a:gd name="connsiteX6" fmla="*/ 7606 w 43086"/>
                <a:gd name="connsiteY6" fmla="*/ 10380 h 78655"/>
                <a:gd name="connsiteX7" fmla="*/ 14273 w 43086"/>
                <a:gd name="connsiteY7" fmla="*/ 31856 h 78655"/>
                <a:gd name="connsiteX8" fmla="*/ 0 w 43086"/>
                <a:gd name="connsiteY8" fmla="*/ 9977 h 7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86" h="78655">
                  <a:moveTo>
                    <a:pt x="0" y="9977"/>
                  </a:moveTo>
                  <a:cubicBezTo>
                    <a:pt x="12483" y="6487"/>
                    <a:pt x="25189" y="3579"/>
                    <a:pt x="37717" y="0"/>
                  </a:cubicBezTo>
                  <a:cubicBezTo>
                    <a:pt x="40312" y="26174"/>
                    <a:pt x="38925" y="52661"/>
                    <a:pt x="43086" y="78655"/>
                  </a:cubicBezTo>
                  <a:cubicBezTo>
                    <a:pt x="25100" y="77626"/>
                    <a:pt x="22952" y="58880"/>
                    <a:pt x="18433" y="45413"/>
                  </a:cubicBezTo>
                  <a:cubicBezTo>
                    <a:pt x="19194" y="38254"/>
                    <a:pt x="19999" y="31095"/>
                    <a:pt x="20760" y="23981"/>
                  </a:cubicBezTo>
                  <a:cubicBezTo>
                    <a:pt x="24160" y="19597"/>
                    <a:pt x="27471" y="16420"/>
                    <a:pt x="31498" y="12662"/>
                  </a:cubicBezTo>
                  <a:cubicBezTo>
                    <a:pt x="23534" y="11812"/>
                    <a:pt x="15570" y="11051"/>
                    <a:pt x="7606" y="10380"/>
                  </a:cubicBezTo>
                  <a:cubicBezTo>
                    <a:pt x="9843" y="17539"/>
                    <a:pt x="12080" y="24652"/>
                    <a:pt x="14273" y="31856"/>
                  </a:cubicBezTo>
                  <a:cubicBezTo>
                    <a:pt x="5951" y="27024"/>
                    <a:pt x="2103" y="18881"/>
                    <a:pt x="0" y="9977"/>
                  </a:cubicBezTo>
                  <a:close/>
                </a:path>
              </a:pathLst>
            </a:custGeom>
            <a:solidFill>
              <a:srgbClr val="485C9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1" name="Freeform: Shape 4380">
              <a:extLst>
                <a:ext uri="{FF2B5EF4-FFF2-40B4-BE49-F238E27FC236}">
                  <a16:creationId xmlns:a16="http://schemas.microsoft.com/office/drawing/2014/main" id="{99E2FA7C-5C6B-43A5-D81C-09B0A86201E4}"/>
                </a:ext>
              </a:extLst>
            </p:cNvPr>
            <p:cNvSpPr/>
            <p:nvPr/>
          </p:nvSpPr>
          <p:spPr>
            <a:xfrm flipH="1">
              <a:off x="2442323" y="3019723"/>
              <a:ext cx="8292" cy="346032"/>
            </a:xfrm>
            <a:custGeom>
              <a:avLst/>
              <a:gdLst>
                <a:gd name="connsiteX0" fmla="*/ 736 w 6952"/>
                <a:gd name="connsiteY0" fmla="*/ 134 h 290103"/>
                <a:gd name="connsiteX1" fmla="*/ 6015 w 6952"/>
                <a:gd name="connsiteY1" fmla="*/ 0 h 290103"/>
                <a:gd name="connsiteX2" fmla="*/ 5926 w 6952"/>
                <a:gd name="connsiteY2" fmla="*/ 290104 h 290103"/>
                <a:gd name="connsiteX3" fmla="*/ 1139 w 6952"/>
                <a:gd name="connsiteY3" fmla="*/ 171807 h 290103"/>
                <a:gd name="connsiteX4" fmla="*/ 736 w 6952"/>
                <a:gd name="connsiteY4" fmla="*/ 134 h 29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2" h="290103">
                  <a:moveTo>
                    <a:pt x="736" y="134"/>
                  </a:moveTo>
                  <a:lnTo>
                    <a:pt x="6015" y="0"/>
                  </a:lnTo>
                  <a:cubicBezTo>
                    <a:pt x="6776" y="96686"/>
                    <a:pt x="7716" y="193417"/>
                    <a:pt x="5926" y="290104"/>
                  </a:cubicBezTo>
                  <a:cubicBezTo>
                    <a:pt x="-4588" y="251536"/>
                    <a:pt x="2347" y="211180"/>
                    <a:pt x="1139" y="171807"/>
                  </a:cubicBezTo>
                  <a:cubicBezTo>
                    <a:pt x="-293" y="114583"/>
                    <a:pt x="2794" y="57359"/>
                    <a:pt x="736" y="134"/>
                  </a:cubicBezTo>
                  <a:close/>
                </a:path>
              </a:pathLst>
            </a:custGeom>
            <a:solidFill>
              <a:srgbClr val="5686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2" name="Freeform: Shape 4381">
              <a:extLst>
                <a:ext uri="{FF2B5EF4-FFF2-40B4-BE49-F238E27FC236}">
                  <a16:creationId xmlns:a16="http://schemas.microsoft.com/office/drawing/2014/main" id="{D096FEC4-0874-3D31-FBDC-5412ABD49044}"/>
                </a:ext>
              </a:extLst>
            </p:cNvPr>
            <p:cNvSpPr/>
            <p:nvPr/>
          </p:nvSpPr>
          <p:spPr>
            <a:xfrm flipH="1">
              <a:off x="2036924" y="3019441"/>
              <a:ext cx="406624" cy="367236"/>
            </a:xfrm>
            <a:custGeom>
              <a:avLst/>
              <a:gdLst>
                <a:gd name="connsiteX0" fmla="*/ 90 w 340901"/>
                <a:gd name="connsiteY0" fmla="*/ 237 h 307879"/>
                <a:gd name="connsiteX1" fmla="*/ 339990 w 340901"/>
                <a:gd name="connsiteY1" fmla="*/ 371 h 307879"/>
                <a:gd name="connsiteX2" fmla="*/ 339319 w 340901"/>
                <a:gd name="connsiteY2" fmla="*/ 101621 h 307879"/>
                <a:gd name="connsiteX3" fmla="*/ 333324 w 340901"/>
                <a:gd name="connsiteY3" fmla="*/ 79071 h 307879"/>
                <a:gd name="connsiteX4" fmla="*/ 324241 w 340901"/>
                <a:gd name="connsiteY4" fmla="*/ 83635 h 307879"/>
                <a:gd name="connsiteX5" fmla="*/ 311222 w 340901"/>
                <a:gd name="connsiteY5" fmla="*/ 77327 h 307879"/>
                <a:gd name="connsiteX6" fmla="*/ 309521 w 340901"/>
                <a:gd name="connsiteY6" fmla="*/ 53300 h 307879"/>
                <a:gd name="connsiteX7" fmla="*/ 25189 w 340901"/>
                <a:gd name="connsiteY7" fmla="*/ 53166 h 307879"/>
                <a:gd name="connsiteX8" fmla="*/ 24474 w 340901"/>
                <a:gd name="connsiteY8" fmla="*/ 254145 h 307879"/>
                <a:gd name="connsiteX9" fmla="*/ 241157 w 340901"/>
                <a:gd name="connsiteY9" fmla="*/ 256158 h 307879"/>
                <a:gd name="connsiteX10" fmla="*/ 311669 w 340901"/>
                <a:gd name="connsiteY10" fmla="*/ 255174 h 307879"/>
                <a:gd name="connsiteX11" fmla="*/ 321288 w 340901"/>
                <a:gd name="connsiteY11" fmla="*/ 254279 h 307879"/>
                <a:gd name="connsiteX12" fmla="*/ 332474 w 340901"/>
                <a:gd name="connsiteY12" fmla="*/ 253160 h 307879"/>
                <a:gd name="connsiteX13" fmla="*/ 339856 w 340901"/>
                <a:gd name="connsiteY13" fmla="*/ 252355 h 307879"/>
                <a:gd name="connsiteX14" fmla="*/ 339140 w 340901"/>
                <a:gd name="connsiteY14" fmla="*/ 305329 h 307879"/>
                <a:gd name="connsiteX15" fmla="*/ 277039 w 340901"/>
                <a:gd name="connsiteY15" fmla="*/ 305061 h 307879"/>
                <a:gd name="connsiteX16" fmla="*/ 218204 w 340901"/>
                <a:gd name="connsiteY16" fmla="*/ 306537 h 307879"/>
                <a:gd name="connsiteX17" fmla="*/ 2819 w 340901"/>
                <a:gd name="connsiteY17" fmla="*/ 307879 h 307879"/>
                <a:gd name="connsiteX18" fmla="*/ 0 w 340901"/>
                <a:gd name="connsiteY18" fmla="*/ 290341 h 307879"/>
                <a:gd name="connsiteX19" fmla="*/ 90 w 340901"/>
                <a:gd name="connsiteY19" fmla="*/ 237 h 30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0901" h="307879">
                  <a:moveTo>
                    <a:pt x="90" y="237"/>
                  </a:moveTo>
                  <a:cubicBezTo>
                    <a:pt x="113375" y="-703"/>
                    <a:pt x="226705" y="1535"/>
                    <a:pt x="339990" y="371"/>
                  </a:cubicBezTo>
                  <a:cubicBezTo>
                    <a:pt x="341601" y="34106"/>
                    <a:pt x="340885" y="67886"/>
                    <a:pt x="339319" y="101621"/>
                  </a:cubicBezTo>
                  <a:cubicBezTo>
                    <a:pt x="337485" y="94015"/>
                    <a:pt x="335337" y="86543"/>
                    <a:pt x="333324" y="79071"/>
                  </a:cubicBezTo>
                  <a:cubicBezTo>
                    <a:pt x="330237" y="80548"/>
                    <a:pt x="327194" y="82114"/>
                    <a:pt x="324241" y="83635"/>
                  </a:cubicBezTo>
                  <a:cubicBezTo>
                    <a:pt x="319901" y="81532"/>
                    <a:pt x="315472" y="79385"/>
                    <a:pt x="311222" y="77327"/>
                  </a:cubicBezTo>
                  <a:cubicBezTo>
                    <a:pt x="310819" y="69273"/>
                    <a:pt x="310237" y="61264"/>
                    <a:pt x="309521" y="53300"/>
                  </a:cubicBezTo>
                  <a:cubicBezTo>
                    <a:pt x="214759" y="53032"/>
                    <a:pt x="119952" y="54240"/>
                    <a:pt x="25189" y="53166"/>
                  </a:cubicBezTo>
                  <a:cubicBezTo>
                    <a:pt x="22729" y="120144"/>
                    <a:pt x="25682" y="187167"/>
                    <a:pt x="24474" y="254145"/>
                  </a:cubicBezTo>
                  <a:cubicBezTo>
                    <a:pt x="96642" y="256695"/>
                    <a:pt x="168899" y="255308"/>
                    <a:pt x="241157" y="256158"/>
                  </a:cubicBezTo>
                  <a:cubicBezTo>
                    <a:pt x="264646" y="256158"/>
                    <a:pt x="288180" y="256784"/>
                    <a:pt x="311669" y="255174"/>
                  </a:cubicBezTo>
                  <a:cubicBezTo>
                    <a:pt x="314085" y="254950"/>
                    <a:pt x="318917" y="254503"/>
                    <a:pt x="321288" y="254279"/>
                  </a:cubicBezTo>
                  <a:cubicBezTo>
                    <a:pt x="324107" y="254011"/>
                    <a:pt x="329700" y="253429"/>
                    <a:pt x="332474" y="253160"/>
                  </a:cubicBezTo>
                  <a:cubicBezTo>
                    <a:pt x="334308" y="252937"/>
                    <a:pt x="338022" y="252579"/>
                    <a:pt x="339856" y="252355"/>
                  </a:cubicBezTo>
                  <a:cubicBezTo>
                    <a:pt x="341064" y="269983"/>
                    <a:pt x="340706" y="287701"/>
                    <a:pt x="339140" y="305329"/>
                  </a:cubicBezTo>
                  <a:cubicBezTo>
                    <a:pt x="318425" y="304792"/>
                    <a:pt x="297710" y="304971"/>
                    <a:pt x="277039" y="305061"/>
                  </a:cubicBezTo>
                  <a:cubicBezTo>
                    <a:pt x="257398" y="304747"/>
                    <a:pt x="237756" y="304792"/>
                    <a:pt x="218204" y="306537"/>
                  </a:cubicBezTo>
                  <a:cubicBezTo>
                    <a:pt x="146439" y="309042"/>
                    <a:pt x="74584" y="306582"/>
                    <a:pt x="2819" y="307879"/>
                  </a:cubicBezTo>
                  <a:cubicBezTo>
                    <a:pt x="1879" y="301973"/>
                    <a:pt x="984" y="296157"/>
                    <a:pt x="0" y="290341"/>
                  </a:cubicBezTo>
                  <a:cubicBezTo>
                    <a:pt x="1790" y="193654"/>
                    <a:pt x="850" y="96923"/>
                    <a:pt x="90" y="237"/>
                  </a:cubicBezTo>
                  <a:close/>
                </a:path>
              </a:pathLst>
            </a:custGeom>
            <a:solidFill>
              <a:srgbClr val="D2D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3" name="Freeform: Shape 4382">
              <a:extLst>
                <a:ext uri="{FF2B5EF4-FFF2-40B4-BE49-F238E27FC236}">
                  <a16:creationId xmlns:a16="http://schemas.microsoft.com/office/drawing/2014/main" id="{8F56C1E2-F77C-D4D0-C1A7-97E1246D1155}"/>
                </a:ext>
              </a:extLst>
            </p:cNvPr>
            <p:cNvSpPr/>
            <p:nvPr/>
          </p:nvSpPr>
          <p:spPr>
            <a:xfrm flipH="1">
              <a:off x="4351268" y="3024846"/>
              <a:ext cx="64155" cy="452767"/>
            </a:xfrm>
            <a:custGeom>
              <a:avLst/>
              <a:gdLst>
                <a:gd name="connsiteX0" fmla="*/ 4258 w 53786"/>
                <a:gd name="connsiteY0" fmla="*/ 0 h 379586"/>
                <a:gd name="connsiteX1" fmla="*/ 26808 w 53786"/>
                <a:gd name="connsiteY1" fmla="*/ 5503 h 379586"/>
                <a:gd name="connsiteX2" fmla="*/ 26897 w 53786"/>
                <a:gd name="connsiteY2" fmla="*/ 239367 h 379586"/>
                <a:gd name="connsiteX3" fmla="*/ 53787 w 53786"/>
                <a:gd name="connsiteY3" fmla="*/ 357797 h 379586"/>
                <a:gd name="connsiteX4" fmla="*/ 36338 w 53786"/>
                <a:gd name="connsiteY4" fmla="*/ 379587 h 379586"/>
                <a:gd name="connsiteX5" fmla="*/ 8374 w 53786"/>
                <a:gd name="connsiteY5" fmla="*/ 268851 h 379586"/>
                <a:gd name="connsiteX6" fmla="*/ 4258 w 53786"/>
                <a:gd name="connsiteY6" fmla="*/ 0 h 37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6" h="379586">
                  <a:moveTo>
                    <a:pt x="4258" y="0"/>
                  </a:moveTo>
                  <a:cubicBezTo>
                    <a:pt x="11775" y="1790"/>
                    <a:pt x="19291" y="3624"/>
                    <a:pt x="26808" y="5503"/>
                  </a:cubicBezTo>
                  <a:cubicBezTo>
                    <a:pt x="17278" y="82995"/>
                    <a:pt x="19739" y="161740"/>
                    <a:pt x="26897" y="239367"/>
                  </a:cubicBezTo>
                  <a:cubicBezTo>
                    <a:pt x="30566" y="279858"/>
                    <a:pt x="40320" y="319499"/>
                    <a:pt x="53787" y="357797"/>
                  </a:cubicBezTo>
                  <a:cubicBezTo>
                    <a:pt x="50208" y="366656"/>
                    <a:pt x="45152" y="375023"/>
                    <a:pt x="36338" y="379587"/>
                  </a:cubicBezTo>
                  <a:cubicBezTo>
                    <a:pt x="21484" y="344330"/>
                    <a:pt x="14907" y="306345"/>
                    <a:pt x="8374" y="268851"/>
                  </a:cubicBezTo>
                  <a:cubicBezTo>
                    <a:pt x="-3572" y="179726"/>
                    <a:pt x="-619" y="89483"/>
                    <a:pt x="4258" y="0"/>
                  </a:cubicBez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4" name="Freeform: Shape 4383">
              <a:extLst>
                <a:ext uri="{FF2B5EF4-FFF2-40B4-BE49-F238E27FC236}">
                  <a16:creationId xmlns:a16="http://schemas.microsoft.com/office/drawing/2014/main" id="{6C87E0A5-93A5-8030-BB5F-1DA63E07FB10}"/>
                </a:ext>
              </a:extLst>
            </p:cNvPr>
            <p:cNvSpPr/>
            <p:nvPr/>
          </p:nvSpPr>
          <p:spPr>
            <a:xfrm flipH="1">
              <a:off x="3235305" y="3026011"/>
              <a:ext cx="225049" cy="15431"/>
            </a:xfrm>
            <a:custGeom>
              <a:avLst/>
              <a:gdLst>
                <a:gd name="connsiteX0" fmla="*/ 0 w 188674"/>
                <a:gd name="connsiteY0" fmla="*/ 3140 h 12937"/>
                <a:gd name="connsiteX1" fmla="*/ 56061 w 188674"/>
                <a:gd name="connsiteY1" fmla="*/ 231 h 12937"/>
                <a:gd name="connsiteX2" fmla="*/ 187467 w 188674"/>
                <a:gd name="connsiteY2" fmla="*/ 3184 h 12937"/>
                <a:gd name="connsiteX3" fmla="*/ 188675 w 188674"/>
                <a:gd name="connsiteY3" fmla="*/ 10388 h 12937"/>
                <a:gd name="connsiteX4" fmla="*/ 183798 w 188674"/>
                <a:gd name="connsiteY4" fmla="*/ 6629 h 12937"/>
                <a:gd name="connsiteX5" fmla="*/ 183127 w 188674"/>
                <a:gd name="connsiteY5" fmla="*/ 12938 h 12937"/>
                <a:gd name="connsiteX6" fmla="*/ 64786 w 188674"/>
                <a:gd name="connsiteY6" fmla="*/ 8464 h 12937"/>
                <a:gd name="connsiteX7" fmla="*/ 0 w 188674"/>
                <a:gd name="connsiteY7" fmla="*/ 3140 h 1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674" h="12937">
                  <a:moveTo>
                    <a:pt x="0" y="3140"/>
                  </a:moveTo>
                  <a:cubicBezTo>
                    <a:pt x="18523" y="8"/>
                    <a:pt x="37359" y="-350"/>
                    <a:pt x="56061" y="231"/>
                  </a:cubicBezTo>
                  <a:cubicBezTo>
                    <a:pt x="99863" y="1395"/>
                    <a:pt x="143710" y="321"/>
                    <a:pt x="187467" y="3184"/>
                  </a:cubicBezTo>
                  <a:cubicBezTo>
                    <a:pt x="187780" y="4974"/>
                    <a:pt x="188362" y="8598"/>
                    <a:pt x="188675" y="10388"/>
                  </a:cubicBezTo>
                  <a:cubicBezTo>
                    <a:pt x="187467" y="9448"/>
                    <a:pt x="185006" y="7569"/>
                    <a:pt x="183798" y="6629"/>
                  </a:cubicBezTo>
                  <a:lnTo>
                    <a:pt x="183127" y="12938"/>
                  </a:lnTo>
                  <a:cubicBezTo>
                    <a:pt x="143754" y="8866"/>
                    <a:pt x="104158" y="11193"/>
                    <a:pt x="64786" y="8464"/>
                  </a:cubicBezTo>
                  <a:cubicBezTo>
                    <a:pt x="43220" y="6898"/>
                    <a:pt x="20536" y="11909"/>
                    <a:pt x="0" y="3140"/>
                  </a:cubicBezTo>
                  <a:close/>
                </a:path>
              </a:pathLst>
            </a:custGeom>
            <a:solidFill>
              <a:srgbClr val="5272A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5" name="Freeform: Shape 4384">
              <a:extLst>
                <a:ext uri="{FF2B5EF4-FFF2-40B4-BE49-F238E27FC236}">
                  <a16:creationId xmlns:a16="http://schemas.microsoft.com/office/drawing/2014/main" id="{9BDE487A-5AEF-4233-CDA7-4CACA82E4595}"/>
                </a:ext>
              </a:extLst>
            </p:cNvPr>
            <p:cNvSpPr/>
            <p:nvPr/>
          </p:nvSpPr>
          <p:spPr>
            <a:xfrm flipH="1">
              <a:off x="3200617" y="3032295"/>
              <a:ext cx="17205" cy="15766"/>
            </a:xfrm>
            <a:custGeom>
              <a:avLst/>
              <a:gdLst>
                <a:gd name="connsiteX0" fmla="*/ 1540 w 14424"/>
                <a:gd name="connsiteY0" fmla="*/ 1765 h 13218"/>
                <a:gd name="connsiteX1" fmla="*/ 12770 w 14424"/>
                <a:gd name="connsiteY1" fmla="*/ 11518 h 13218"/>
                <a:gd name="connsiteX2" fmla="*/ 1540 w 14424"/>
                <a:gd name="connsiteY2" fmla="*/ 1765 h 13218"/>
              </a:gdLst>
              <a:ahLst/>
              <a:cxnLst>
                <a:cxn ang="0">
                  <a:pos x="connsiteX0" y="connsiteY0"/>
                </a:cxn>
                <a:cxn ang="0">
                  <a:pos x="connsiteX1" y="connsiteY1"/>
                </a:cxn>
                <a:cxn ang="0">
                  <a:pos x="connsiteX2" y="connsiteY2"/>
                </a:cxn>
              </a:cxnLst>
              <a:rect l="l" t="t" r="r" b="b"/>
              <a:pathLst>
                <a:path w="14424" h="13218">
                  <a:moveTo>
                    <a:pt x="1540" y="1765"/>
                  </a:moveTo>
                  <a:cubicBezTo>
                    <a:pt x="7133" y="-3873"/>
                    <a:pt x="18721" y="5254"/>
                    <a:pt x="12770" y="11518"/>
                  </a:cubicBezTo>
                  <a:cubicBezTo>
                    <a:pt x="6954" y="16932"/>
                    <a:pt x="-4053" y="8252"/>
                    <a:pt x="1540" y="1765"/>
                  </a:cubicBezTo>
                  <a:close/>
                </a:path>
              </a:pathLst>
            </a:custGeom>
            <a:solidFill>
              <a:srgbClr val="6672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6" name="Freeform: Shape 4385">
              <a:extLst>
                <a:ext uri="{FF2B5EF4-FFF2-40B4-BE49-F238E27FC236}">
                  <a16:creationId xmlns:a16="http://schemas.microsoft.com/office/drawing/2014/main" id="{ACFC156D-F46D-74C7-5E39-5D1466E8AD5A}"/>
                </a:ext>
              </a:extLst>
            </p:cNvPr>
            <p:cNvSpPr/>
            <p:nvPr/>
          </p:nvSpPr>
          <p:spPr>
            <a:xfrm flipH="1">
              <a:off x="3133587" y="3027622"/>
              <a:ext cx="39243" cy="86720"/>
            </a:xfrm>
            <a:custGeom>
              <a:avLst/>
              <a:gdLst>
                <a:gd name="connsiteX0" fmla="*/ 955 w 32900"/>
                <a:gd name="connsiteY0" fmla="*/ 0 h 72704"/>
                <a:gd name="connsiteX1" fmla="*/ 10619 w 32900"/>
                <a:gd name="connsiteY1" fmla="*/ 21923 h 72704"/>
                <a:gd name="connsiteX2" fmla="*/ 13661 w 32900"/>
                <a:gd name="connsiteY2" fmla="*/ 8948 h 72704"/>
                <a:gd name="connsiteX3" fmla="*/ 17151 w 32900"/>
                <a:gd name="connsiteY3" fmla="*/ 18031 h 72704"/>
                <a:gd name="connsiteX4" fmla="*/ 29276 w 32900"/>
                <a:gd name="connsiteY4" fmla="*/ 7517 h 72704"/>
                <a:gd name="connsiteX5" fmla="*/ 32900 w 32900"/>
                <a:gd name="connsiteY5" fmla="*/ 15704 h 72704"/>
                <a:gd name="connsiteX6" fmla="*/ 18896 w 32900"/>
                <a:gd name="connsiteY6" fmla="*/ 72705 h 72704"/>
                <a:gd name="connsiteX7" fmla="*/ 955 w 32900"/>
                <a:gd name="connsiteY7" fmla="*/ 0 h 7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00" h="72704">
                  <a:moveTo>
                    <a:pt x="955" y="0"/>
                  </a:moveTo>
                  <a:cubicBezTo>
                    <a:pt x="4221" y="7248"/>
                    <a:pt x="7487" y="14541"/>
                    <a:pt x="10619" y="21923"/>
                  </a:cubicBezTo>
                  <a:cubicBezTo>
                    <a:pt x="11380" y="18657"/>
                    <a:pt x="12901" y="12214"/>
                    <a:pt x="13661" y="8948"/>
                  </a:cubicBezTo>
                  <a:cubicBezTo>
                    <a:pt x="14512" y="11230"/>
                    <a:pt x="16256" y="15749"/>
                    <a:pt x="17151" y="18031"/>
                  </a:cubicBezTo>
                  <a:cubicBezTo>
                    <a:pt x="21133" y="14496"/>
                    <a:pt x="25160" y="10962"/>
                    <a:pt x="29276" y="7517"/>
                  </a:cubicBezTo>
                  <a:cubicBezTo>
                    <a:pt x="30171" y="9530"/>
                    <a:pt x="32005" y="13646"/>
                    <a:pt x="32900" y="15704"/>
                  </a:cubicBezTo>
                  <a:cubicBezTo>
                    <a:pt x="14243" y="29842"/>
                    <a:pt x="26681" y="53779"/>
                    <a:pt x="18896" y="72705"/>
                  </a:cubicBezTo>
                  <a:cubicBezTo>
                    <a:pt x="5250" y="51005"/>
                    <a:pt x="-2893" y="25816"/>
                    <a:pt x="955" y="0"/>
                  </a:cubicBezTo>
                  <a:close/>
                </a:path>
              </a:pathLst>
            </a:custGeom>
            <a:solidFill>
              <a:srgbClr val="7174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7" name="Freeform: Shape 4386">
              <a:extLst>
                <a:ext uri="{FF2B5EF4-FFF2-40B4-BE49-F238E27FC236}">
                  <a16:creationId xmlns:a16="http://schemas.microsoft.com/office/drawing/2014/main" id="{8429FE55-85F9-13E9-8476-E906363C23DD}"/>
                </a:ext>
              </a:extLst>
            </p:cNvPr>
            <p:cNvSpPr/>
            <p:nvPr/>
          </p:nvSpPr>
          <p:spPr>
            <a:xfrm flipH="1">
              <a:off x="3048307" y="3028743"/>
              <a:ext cx="48884" cy="95953"/>
            </a:xfrm>
            <a:custGeom>
              <a:avLst/>
              <a:gdLst>
                <a:gd name="connsiteX0" fmla="*/ 29529 w 40983"/>
                <a:gd name="connsiteY0" fmla="*/ 25950 h 80445"/>
                <a:gd name="connsiteX1" fmla="*/ 37985 w 40983"/>
                <a:gd name="connsiteY1" fmla="*/ 0 h 80445"/>
                <a:gd name="connsiteX2" fmla="*/ 40983 w 40983"/>
                <a:gd name="connsiteY2" fmla="*/ 10246 h 80445"/>
                <a:gd name="connsiteX3" fmla="*/ 33332 w 40983"/>
                <a:gd name="connsiteY3" fmla="*/ 74315 h 80445"/>
                <a:gd name="connsiteX4" fmla="*/ 27158 w 40983"/>
                <a:gd name="connsiteY4" fmla="*/ 80445 h 80445"/>
                <a:gd name="connsiteX5" fmla="*/ 20805 w 40983"/>
                <a:gd name="connsiteY5" fmla="*/ 78432 h 80445"/>
                <a:gd name="connsiteX6" fmla="*/ 0 w 40983"/>
                <a:gd name="connsiteY6" fmla="*/ 72034 h 80445"/>
                <a:gd name="connsiteX7" fmla="*/ 29529 w 40983"/>
                <a:gd name="connsiteY7" fmla="*/ 25950 h 8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83" h="80445">
                  <a:moveTo>
                    <a:pt x="29529" y="25950"/>
                  </a:moveTo>
                  <a:cubicBezTo>
                    <a:pt x="29395" y="16420"/>
                    <a:pt x="25682" y="3535"/>
                    <a:pt x="37985" y="0"/>
                  </a:cubicBezTo>
                  <a:cubicBezTo>
                    <a:pt x="38746" y="2550"/>
                    <a:pt x="40223" y="7696"/>
                    <a:pt x="40983" y="10246"/>
                  </a:cubicBezTo>
                  <a:cubicBezTo>
                    <a:pt x="38701" y="31632"/>
                    <a:pt x="34719" y="52795"/>
                    <a:pt x="33332" y="74315"/>
                  </a:cubicBezTo>
                  <a:cubicBezTo>
                    <a:pt x="31140" y="76239"/>
                    <a:pt x="29261" y="78477"/>
                    <a:pt x="27158" y="80445"/>
                  </a:cubicBezTo>
                  <a:cubicBezTo>
                    <a:pt x="25547" y="79953"/>
                    <a:pt x="22371" y="78924"/>
                    <a:pt x="20805" y="78432"/>
                  </a:cubicBezTo>
                  <a:cubicBezTo>
                    <a:pt x="13825" y="76150"/>
                    <a:pt x="6935" y="74002"/>
                    <a:pt x="0" y="72034"/>
                  </a:cubicBezTo>
                  <a:cubicBezTo>
                    <a:pt x="21297" y="68768"/>
                    <a:pt x="32124" y="45592"/>
                    <a:pt x="29529" y="25950"/>
                  </a:cubicBezTo>
                  <a:close/>
                </a:path>
              </a:pathLst>
            </a:custGeom>
            <a:solidFill>
              <a:srgbClr val="8584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8" name="Freeform: Shape 4387">
              <a:extLst>
                <a:ext uri="{FF2B5EF4-FFF2-40B4-BE49-F238E27FC236}">
                  <a16:creationId xmlns:a16="http://schemas.microsoft.com/office/drawing/2014/main" id="{D4F3458B-E99C-C2E3-59A8-59EC377291AF}"/>
                </a:ext>
              </a:extLst>
            </p:cNvPr>
            <p:cNvSpPr/>
            <p:nvPr/>
          </p:nvSpPr>
          <p:spPr>
            <a:xfrm flipH="1">
              <a:off x="3232263" y="3033920"/>
              <a:ext cx="13182" cy="44187"/>
            </a:xfrm>
            <a:custGeom>
              <a:avLst/>
              <a:gdLst>
                <a:gd name="connsiteX0" fmla="*/ 3624 w 11051"/>
                <a:gd name="connsiteY0" fmla="*/ 0 h 37045"/>
                <a:gd name="connsiteX1" fmla="*/ 8501 w 11051"/>
                <a:gd name="connsiteY1" fmla="*/ 3758 h 37045"/>
                <a:gd name="connsiteX2" fmla="*/ 11051 w 11051"/>
                <a:gd name="connsiteY2" fmla="*/ 37046 h 37045"/>
                <a:gd name="connsiteX3" fmla="*/ 0 w 11051"/>
                <a:gd name="connsiteY3" fmla="*/ 35122 h 37045"/>
                <a:gd name="connsiteX4" fmla="*/ 2953 w 11051"/>
                <a:gd name="connsiteY4" fmla="*/ 6309 h 37045"/>
                <a:gd name="connsiteX5" fmla="*/ 3624 w 11051"/>
                <a:gd name="connsiteY5" fmla="*/ 0 h 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1" h="37045">
                  <a:moveTo>
                    <a:pt x="3624" y="0"/>
                  </a:moveTo>
                  <a:cubicBezTo>
                    <a:pt x="4832" y="940"/>
                    <a:pt x="7293" y="2819"/>
                    <a:pt x="8501" y="3758"/>
                  </a:cubicBezTo>
                  <a:cubicBezTo>
                    <a:pt x="10648" y="14720"/>
                    <a:pt x="10917" y="25905"/>
                    <a:pt x="11051" y="37046"/>
                  </a:cubicBezTo>
                  <a:cubicBezTo>
                    <a:pt x="8277" y="36554"/>
                    <a:pt x="2774" y="35614"/>
                    <a:pt x="0" y="35122"/>
                  </a:cubicBezTo>
                  <a:cubicBezTo>
                    <a:pt x="984" y="25503"/>
                    <a:pt x="1924" y="15883"/>
                    <a:pt x="2953" y="6309"/>
                  </a:cubicBezTo>
                  <a:lnTo>
                    <a:pt x="3624" y="0"/>
                  </a:lnTo>
                  <a:close/>
                </a:path>
              </a:pathLst>
            </a:custGeom>
            <a:solidFill>
              <a:srgbClr val="7E85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89" name="Freeform: Shape 4388">
              <a:extLst>
                <a:ext uri="{FF2B5EF4-FFF2-40B4-BE49-F238E27FC236}">
                  <a16:creationId xmlns:a16="http://schemas.microsoft.com/office/drawing/2014/main" id="{6E0D4F27-3E11-01E3-16B5-C7B0BFD64D59}"/>
                </a:ext>
              </a:extLst>
            </p:cNvPr>
            <p:cNvSpPr/>
            <p:nvPr/>
          </p:nvSpPr>
          <p:spPr>
            <a:xfrm flipH="1">
              <a:off x="2984747" y="3037495"/>
              <a:ext cx="484482" cy="325379"/>
            </a:xfrm>
            <a:custGeom>
              <a:avLst/>
              <a:gdLst>
                <a:gd name="connsiteX0" fmla="*/ 286537 w 406175"/>
                <a:gd name="connsiteY0" fmla="*/ 4206 h 272788"/>
                <a:gd name="connsiteX1" fmla="*/ 293562 w 406175"/>
                <a:gd name="connsiteY1" fmla="*/ 90 h 272788"/>
                <a:gd name="connsiteX2" fmla="*/ 301884 w 406175"/>
                <a:gd name="connsiteY2" fmla="*/ 75613 h 272788"/>
                <a:gd name="connsiteX3" fmla="*/ 332710 w 406175"/>
                <a:gd name="connsiteY3" fmla="*/ 71094 h 272788"/>
                <a:gd name="connsiteX4" fmla="*/ 339064 w 406175"/>
                <a:gd name="connsiteY4" fmla="*/ 73108 h 272788"/>
                <a:gd name="connsiteX5" fmla="*/ 345238 w 406175"/>
                <a:gd name="connsiteY5" fmla="*/ 66978 h 272788"/>
                <a:gd name="connsiteX6" fmla="*/ 352889 w 406175"/>
                <a:gd name="connsiteY6" fmla="*/ 2908 h 272788"/>
                <a:gd name="connsiteX7" fmla="*/ 359734 w 406175"/>
                <a:gd name="connsiteY7" fmla="*/ 0 h 272788"/>
                <a:gd name="connsiteX8" fmla="*/ 374007 w 406175"/>
                <a:gd name="connsiteY8" fmla="*/ 21879 h 272788"/>
                <a:gd name="connsiteX9" fmla="*/ 378168 w 406175"/>
                <a:gd name="connsiteY9" fmla="*/ 35435 h 272788"/>
                <a:gd name="connsiteX10" fmla="*/ 402820 w 406175"/>
                <a:gd name="connsiteY10" fmla="*/ 68678 h 272788"/>
                <a:gd name="connsiteX11" fmla="*/ 404073 w 406175"/>
                <a:gd name="connsiteY11" fmla="*/ 73331 h 272788"/>
                <a:gd name="connsiteX12" fmla="*/ 406176 w 406175"/>
                <a:gd name="connsiteY12" fmla="*/ 99997 h 272788"/>
                <a:gd name="connsiteX13" fmla="*/ 380002 w 406175"/>
                <a:gd name="connsiteY13" fmla="*/ 106977 h 272788"/>
                <a:gd name="connsiteX14" fmla="*/ 331681 w 406175"/>
                <a:gd name="connsiteY14" fmla="*/ 116194 h 272788"/>
                <a:gd name="connsiteX15" fmla="*/ 291369 w 406175"/>
                <a:gd name="connsiteY15" fmla="*/ 103934 h 272788"/>
                <a:gd name="connsiteX16" fmla="*/ 230208 w 406175"/>
                <a:gd name="connsiteY16" fmla="*/ 129213 h 272788"/>
                <a:gd name="connsiteX17" fmla="*/ 219246 w 406175"/>
                <a:gd name="connsiteY17" fmla="*/ 173642 h 272788"/>
                <a:gd name="connsiteX18" fmla="*/ 186182 w 406175"/>
                <a:gd name="connsiteY18" fmla="*/ 165230 h 272788"/>
                <a:gd name="connsiteX19" fmla="*/ 212848 w 406175"/>
                <a:gd name="connsiteY19" fmla="*/ 163575 h 272788"/>
                <a:gd name="connsiteX20" fmla="*/ 212848 w 406175"/>
                <a:gd name="connsiteY20" fmla="*/ 119639 h 272788"/>
                <a:gd name="connsiteX21" fmla="*/ 197636 w 406175"/>
                <a:gd name="connsiteY21" fmla="*/ 120310 h 272788"/>
                <a:gd name="connsiteX22" fmla="*/ 192938 w 406175"/>
                <a:gd name="connsiteY22" fmla="*/ 142860 h 272788"/>
                <a:gd name="connsiteX23" fmla="*/ 169449 w 406175"/>
                <a:gd name="connsiteY23" fmla="*/ 145186 h 272788"/>
                <a:gd name="connsiteX24" fmla="*/ 167301 w 406175"/>
                <a:gd name="connsiteY24" fmla="*/ 123710 h 272788"/>
                <a:gd name="connsiteX25" fmla="*/ 156877 w 406175"/>
                <a:gd name="connsiteY25" fmla="*/ 125142 h 272788"/>
                <a:gd name="connsiteX26" fmla="*/ 150210 w 406175"/>
                <a:gd name="connsiteY26" fmla="*/ 126439 h 272788"/>
                <a:gd name="connsiteX27" fmla="*/ 147615 w 406175"/>
                <a:gd name="connsiteY27" fmla="*/ 163575 h 272788"/>
                <a:gd name="connsiteX28" fmla="*/ 141172 w 406175"/>
                <a:gd name="connsiteY28" fmla="*/ 164380 h 272788"/>
                <a:gd name="connsiteX29" fmla="*/ 141530 w 406175"/>
                <a:gd name="connsiteY29" fmla="*/ 112301 h 272788"/>
                <a:gd name="connsiteX30" fmla="*/ 124752 w 406175"/>
                <a:gd name="connsiteY30" fmla="*/ 142233 h 272788"/>
                <a:gd name="connsiteX31" fmla="*/ 91062 w 406175"/>
                <a:gd name="connsiteY31" fmla="*/ 142099 h 272788"/>
                <a:gd name="connsiteX32" fmla="*/ 92359 w 406175"/>
                <a:gd name="connsiteY32" fmla="*/ 123486 h 272788"/>
                <a:gd name="connsiteX33" fmla="*/ 82785 w 406175"/>
                <a:gd name="connsiteY33" fmla="*/ 120981 h 272788"/>
                <a:gd name="connsiteX34" fmla="*/ 81532 w 406175"/>
                <a:gd name="connsiteY34" fmla="*/ 163709 h 272788"/>
                <a:gd name="connsiteX35" fmla="*/ 136564 w 406175"/>
                <a:gd name="connsiteY35" fmla="*/ 164425 h 272788"/>
                <a:gd name="connsiteX36" fmla="*/ 142201 w 406175"/>
                <a:gd name="connsiteY36" fmla="*/ 188898 h 272788"/>
                <a:gd name="connsiteX37" fmla="*/ 105066 w 406175"/>
                <a:gd name="connsiteY37" fmla="*/ 193865 h 272788"/>
                <a:gd name="connsiteX38" fmla="*/ 109853 w 406175"/>
                <a:gd name="connsiteY38" fmla="*/ 206974 h 272788"/>
                <a:gd name="connsiteX39" fmla="*/ 36612 w 406175"/>
                <a:gd name="connsiteY39" fmla="*/ 269254 h 272788"/>
                <a:gd name="connsiteX40" fmla="*/ 1087 w 406175"/>
                <a:gd name="connsiteY40" fmla="*/ 272789 h 272788"/>
                <a:gd name="connsiteX41" fmla="*/ 639 w 406175"/>
                <a:gd name="connsiteY41" fmla="*/ 183127 h 272788"/>
                <a:gd name="connsiteX42" fmla="*/ 10169 w 406175"/>
                <a:gd name="connsiteY42" fmla="*/ 164246 h 272788"/>
                <a:gd name="connsiteX43" fmla="*/ 72136 w 406175"/>
                <a:gd name="connsiteY43" fmla="*/ 172344 h 272788"/>
                <a:gd name="connsiteX44" fmla="*/ 75134 w 406175"/>
                <a:gd name="connsiteY44" fmla="*/ 118028 h 272788"/>
                <a:gd name="connsiteX45" fmla="*/ 61622 w 406175"/>
                <a:gd name="connsiteY45" fmla="*/ 117267 h 272788"/>
                <a:gd name="connsiteX46" fmla="*/ 56656 w 406175"/>
                <a:gd name="connsiteY46" fmla="*/ 141651 h 272788"/>
                <a:gd name="connsiteX47" fmla="*/ 24621 w 406175"/>
                <a:gd name="connsiteY47" fmla="*/ 146081 h 272788"/>
                <a:gd name="connsiteX48" fmla="*/ 21310 w 406175"/>
                <a:gd name="connsiteY48" fmla="*/ 118878 h 272788"/>
                <a:gd name="connsiteX49" fmla="*/ 8424 w 406175"/>
                <a:gd name="connsiteY49" fmla="*/ 120086 h 272788"/>
                <a:gd name="connsiteX50" fmla="*/ 13883 w 406175"/>
                <a:gd name="connsiteY50" fmla="*/ 115254 h 272788"/>
                <a:gd name="connsiteX51" fmla="*/ 10393 w 406175"/>
                <a:gd name="connsiteY51" fmla="*/ 94539 h 272788"/>
                <a:gd name="connsiteX52" fmla="*/ 60190 w 406175"/>
                <a:gd name="connsiteY52" fmla="*/ 94852 h 272788"/>
                <a:gd name="connsiteX53" fmla="*/ 195354 w 406175"/>
                <a:gd name="connsiteY53" fmla="*/ 93733 h 272788"/>
                <a:gd name="connsiteX54" fmla="*/ 195981 w 406175"/>
                <a:gd name="connsiteY54" fmla="*/ 63891 h 272788"/>
                <a:gd name="connsiteX55" fmla="*/ 202781 w 406175"/>
                <a:gd name="connsiteY55" fmla="*/ 64025 h 272788"/>
                <a:gd name="connsiteX56" fmla="*/ 203273 w 406175"/>
                <a:gd name="connsiteY56" fmla="*/ 95344 h 272788"/>
                <a:gd name="connsiteX57" fmla="*/ 215577 w 406175"/>
                <a:gd name="connsiteY57" fmla="*/ 92883 h 272788"/>
                <a:gd name="connsiteX58" fmla="*/ 215443 w 406175"/>
                <a:gd name="connsiteY58" fmla="*/ 64428 h 272788"/>
                <a:gd name="connsiteX59" fmla="*/ 222020 w 406175"/>
                <a:gd name="connsiteY59" fmla="*/ 42818 h 272788"/>
                <a:gd name="connsiteX60" fmla="*/ 223228 w 406175"/>
                <a:gd name="connsiteY60" fmla="*/ 42952 h 272788"/>
                <a:gd name="connsiteX61" fmla="*/ 236382 w 406175"/>
                <a:gd name="connsiteY61" fmla="*/ 66799 h 272788"/>
                <a:gd name="connsiteX62" fmla="*/ 237322 w 406175"/>
                <a:gd name="connsiteY62" fmla="*/ 43623 h 272788"/>
                <a:gd name="connsiteX63" fmla="*/ 253071 w 406175"/>
                <a:gd name="connsiteY63" fmla="*/ 41610 h 272788"/>
                <a:gd name="connsiteX64" fmla="*/ 267164 w 406175"/>
                <a:gd name="connsiteY64" fmla="*/ 72481 h 272788"/>
                <a:gd name="connsiteX65" fmla="*/ 267343 w 406175"/>
                <a:gd name="connsiteY65" fmla="*/ 64428 h 272788"/>
                <a:gd name="connsiteX66" fmla="*/ 281347 w 406175"/>
                <a:gd name="connsiteY66" fmla="*/ 7427 h 272788"/>
                <a:gd name="connsiteX67" fmla="*/ 286493 w 406175"/>
                <a:gd name="connsiteY67" fmla="*/ 4206 h 27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06175" h="272788">
                  <a:moveTo>
                    <a:pt x="286537" y="4206"/>
                  </a:moveTo>
                  <a:cubicBezTo>
                    <a:pt x="288282" y="3177"/>
                    <a:pt x="291817" y="1119"/>
                    <a:pt x="293562" y="90"/>
                  </a:cubicBezTo>
                  <a:cubicBezTo>
                    <a:pt x="295530" y="25324"/>
                    <a:pt x="296201" y="50826"/>
                    <a:pt x="301884" y="75613"/>
                  </a:cubicBezTo>
                  <a:cubicBezTo>
                    <a:pt x="312353" y="76239"/>
                    <a:pt x="322867" y="75076"/>
                    <a:pt x="332710" y="71094"/>
                  </a:cubicBezTo>
                  <a:cubicBezTo>
                    <a:pt x="334276" y="71586"/>
                    <a:pt x="337453" y="72615"/>
                    <a:pt x="339064" y="73108"/>
                  </a:cubicBezTo>
                  <a:cubicBezTo>
                    <a:pt x="341167" y="71139"/>
                    <a:pt x="343046" y="68902"/>
                    <a:pt x="345238" y="66978"/>
                  </a:cubicBezTo>
                  <a:cubicBezTo>
                    <a:pt x="346625" y="45457"/>
                    <a:pt x="350607" y="24295"/>
                    <a:pt x="352889" y="2908"/>
                  </a:cubicBezTo>
                  <a:cubicBezTo>
                    <a:pt x="354589" y="2192"/>
                    <a:pt x="357989" y="716"/>
                    <a:pt x="359734" y="0"/>
                  </a:cubicBezTo>
                  <a:cubicBezTo>
                    <a:pt x="361837" y="8904"/>
                    <a:pt x="365685" y="17046"/>
                    <a:pt x="374007" y="21879"/>
                  </a:cubicBezTo>
                  <a:cubicBezTo>
                    <a:pt x="375394" y="26353"/>
                    <a:pt x="376781" y="30872"/>
                    <a:pt x="378168" y="35435"/>
                  </a:cubicBezTo>
                  <a:cubicBezTo>
                    <a:pt x="382687" y="48903"/>
                    <a:pt x="384834" y="67649"/>
                    <a:pt x="402820" y="68678"/>
                  </a:cubicBezTo>
                  <a:lnTo>
                    <a:pt x="404073" y="73331"/>
                  </a:lnTo>
                  <a:cubicBezTo>
                    <a:pt x="405594" y="82101"/>
                    <a:pt x="405818" y="91049"/>
                    <a:pt x="406176" y="99997"/>
                  </a:cubicBezTo>
                  <a:cubicBezTo>
                    <a:pt x="397451" y="102324"/>
                    <a:pt x="388727" y="104785"/>
                    <a:pt x="380002" y="106977"/>
                  </a:cubicBezTo>
                  <a:cubicBezTo>
                    <a:pt x="363850" y="109930"/>
                    <a:pt x="348236" y="116283"/>
                    <a:pt x="331681" y="116194"/>
                  </a:cubicBezTo>
                  <a:cubicBezTo>
                    <a:pt x="317767" y="113599"/>
                    <a:pt x="305597" y="104919"/>
                    <a:pt x="291369" y="103934"/>
                  </a:cubicBezTo>
                  <a:cubicBezTo>
                    <a:pt x="268775" y="103398"/>
                    <a:pt x="243138" y="108766"/>
                    <a:pt x="230208" y="129213"/>
                  </a:cubicBezTo>
                  <a:cubicBezTo>
                    <a:pt x="219470" y="141472"/>
                    <a:pt x="221125" y="158564"/>
                    <a:pt x="219246" y="173642"/>
                  </a:cubicBezTo>
                  <a:cubicBezTo>
                    <a:pt x="208150" y="171136"/>
                    <a:pt x="197144" y="168138"/>
                    <a:pt x="186182" y="165230"/>
                  </a:cubicBezTo>
                  <a:cubicBezTo>
                    <a:pt x="195041" y="164693"/>
                    <a:pt x="203945" y="164112"/>
                    <a:pt x="212848" y="163575"/>
                  </a:cubicBezTo>
                  <a:cubicBezTo>
                    <a:pt x="213385" y="148900"/>
                    <a:pt x="213475" y="134269"/>
                    <a:pt x="212848" y="119639"/>
                  </a:cubicBezTo>
                  <a:cubicBezTo>
                    <a:pt x="209045" y="119818"/>
                    <a:pt x="201439" y="120131"/>
                    <a:pt x="197636" y="120310"/>
                  </a:cubicBezTo>
                  <a:cubicBezTo>
                    <a:pt x="196249" y="127826"/>
                    <a:pt x="195354" y="135522"/>
                    <a:pt x="192938" y="142860"/>
                  </a:cubicBezTo>
                  <a:cubicBezTo>
                    <a:pt x="185153" y="144202"/>
                    <a:pt x="177279" y="144604"/>
                    <a:pt x="169449" y="145186"/>
                  </a:cubicBezTo>
                  <a:cubicBezTo>
                    <a:pt x="168733" y="137983"/>
                    <a:pt x="168151" y="130824"/>
                    <a:pt x="167301" y="123710"/>
                  </a:cubicBezTo>
                  <a:cubicBezTo>
                    <a:pt x="164706" y="124068"/>
                    <a:pt x="159472" y="124784"/>
                    <a:pt x="156877" y="125142"/>
                  </a:cubicBezTo>
                  <a:cubicBezTo>
                    <a:pt x="155176" y="125500"/>
                    <a:pt x="151865" y="126126"/>
                    <a:pt x="150210" y="126439"/>
                  </a:cubicBezTo>
                  <a:cubicBezTo>
                    <a:pt x="149360" y="138833"/>
                    <a:pt x="149718" y="151316"/>
                    <a:pt x="147615" y="163575"/>
                  </a:cubicBezTo>
                  <a:lnTo>
                    <a:pt x="141172" y="164380"/>
                  </a:lnTo>
                  <a:cubicBezTo>
                    <a:pt x="141307" y="147021"/>
                    <a:pt x="141799" y="129661"/>
                    <a:pt x="141530" y="112301"/>
                  </a:cubicBezTo>
                  <a:cubicBezTo>
                    <a:pt x="125647" y="113285"/>
                    <a:pt x="127839" y="130690"/>
                    <a:pt x="124752" y="142233"/>
                  </a:cubicBezTo>
                  <a:cubicBezTo>
                    <a:pt x="113477" y="142412"/>
                    <a:pt x="102247" y="142367"/>
                    <a:pt x="91062" y="142099"/>
                  </a:cubicBezTo>
                  <a:cubicBezTo>
                    <a:pt x="91464" y="135880"/>
                    <a:pt x="91912" y="129661"/>
                    <a:pt x="92359" y="123486"/>
                  </a:cubicBezTo>
                  <a:cubicBezTo>
                    <a:pt x="89988" y="122860"/>
                    <a:pt x="85201" y="121607"/>
                    <a:pt x="82785" y="120981"/>
                  </a:cubicBezTo>
                  <a:cubicBezTo>
                    <a:pt x="82203" y="135209"/>
                    <a:pt x="81621" y="149437"/>
                    <a:pt x="81532" y="163709"/>
                  </a:cubicBezTo>
                  <a:cubicBezTo>
                    <a:pt x="99831" y="164246"/>
                    <a:pt x="118220" y="164156"/>
                    <a:pt x="136564" y="164425"/>
                  </a:cubicBezTo>
                  <a:cubicBezTo>
                    <a:pt x="138398" y="172568"/>
                    <a:pt x="140277" y="180756"/>
                    <a:pt x="142201" y="188898"/>
                  </a:cubicBezTo>
                  <a:cubicBezTo>
                    <a:pt x="130121" y="192388"/>
                    <a:pt x="117594" y="193865"/>
                    <a:pt x="105066" y="193865"/>
                  </a:cubicBezTo>
                  <a:cubicBezTo>
                    <a:pt x="106632" y="198205"/>
                    <a:pt x="108243" y="202589"/>
                    <a:pt x="109853" y="206974"/>
                  </a:cubicBezTo>
                  <a:cubicBezTo>
                    <a:pt x="86319" y="228808"/>
                    <a:pt x="58177" y="245138"/>
                    <a:pt x="36612" y="269254"/>
                  </a:cubicBezTo>
                  <a:cubicBezTo>
                    <a:pt x="25426" y="273057"/>
                    <a:pt x="12809" y="271715"/>
                    <a:pt x="1087" y="272789"/>
                  </a:cubicBezTo>
                  <a:cubicBezTo>
                    <a:pt x="953" y="242901"/>
                    <a:pt x="-971" y="212969"/>
                    <a:pt x="639" y="183127"/>
                  </a:cubicBezTo>
                  <a:cubicBezTo>
                    <a:pt x="505" y="175521"/>
                    <a:pt x="6187" y="170018"/>
                    <a:pt x="10169" y="164246"/>
                  </a:cubicBezTo>
                  <a:cubicBezTo>
                    <a:pt x="30706" y="168138"/>
                    <a:pt x="54911" y="157222"/>
                    <a:pt x="72136" y="172344"/>
                  </a:cubicBezTo>
                  <a:cubicBezTo>
                    <a:pt x="69139" y="154179"/>
                    <a:pt x="72047" y="135925"/>
                    <a:pt x="75134" y="118028"/>
                  </a:cubicBezTo>
                  <a:cubicBezTo>
                    <a:pt x="71734" y="117849"/>
                    <a:pt x="65022" y="117446"/>
                    <a:pt x="61622" y="117267"/>
                  </a:cubicBezTo>
                  <a:cubicBezTo>
                    <a:pt x="60190" y="125410"/>
                    <a:pt x="59116" y="133687"/>
                    <a:pt x="56656" y="141651"/>
                  </a:cubicBezTo>
                  <a:cubicBezTo>
                    <a:pt x="46813" y="146305"/>
                    <a:pt x="35180" y="144694"/>
                    <a:pt x="24621" y="146081"/>
                  </a:cubicBezTo>
                  <a:cubicBezTo>
                    <a:pt x="23413" y="136998"/>
                    <a:pt x="22294" y="127916"/>
                    <a:pt x="21310" y="118878"/>
                  </a:cubicBezTo>
                  <a:cubicBezTo>
                    <a:pt x="18089" y="119191"/>
                    <a:pt x="11646" y="119818"/>
                    <a:pt x="8424" y="120086"/>
                  </a:cubicBezTo>
                  <a:cubicBezTo>
                    <a:pt x="9811" y="118878"/>
                    <a:pt x="12541" y="116462"/>
                    <a:pt x="13883" y="115254"/>
                  </a:cubicBezTo>
                  <a:cubicBezTo>
                    <a:pt x="12362" y="108409"/>
                    <a:pt x="11019" y="101474"/>
                    <a:pt x="10393" y="94539"/>
                  </a:cubicBezTo>
                  <a:cubicBezTo>
                    <a:pt x="26992" y="94628"/>
                    <a:pt x="43591" y="94449"/>
                    <a:pt x="60190" y="94852"/>
                  </a:cubicBezTo>
                  <a:cubicBezTo>
                    <a:pt x="105200" y="96463"/>
                    <a:pt x="150344" y="96015"/>
                    <a:pt x="195354" y="93733"/>
                  </a:cubicBezTo>
                  <a:cubicBezTo>
                    <a:pt x="195533" y="83756"/>
                    <a:pt x="195757" y="73823"/>
                    <a:pt x="195981" y="63891"/>
                  </a:cubicBezTo>
                  <a:lnTo>
                    <a:pt x="202781" y="64025"/>
                  </a:lnTo>
                  <a:cubicBezTo>
                    <a:pt x="203005" y="74450"/>
                    <a:pt x="203094" y="84919"/>
                    <a:pt x="203273" y="95344"/>
                  </a:cubicBezTo>
                  <a:cubicBezTo>
                    <a:pt x="206316" y="94763"/>
                    <a:pt x="212490" y="93510"/>
                    <a:pt x="215577" y="92883"/>
                  </a:cubicBezTo>
                  <a:cubicBezTo>
                    <a:pt x="216383" y="83398"/>
                    <a:pt x="215309" y="73913"/>
                    <a:pt x="215443" y="64428"/>
                  </a:cubicBezTo>
                  <a:cubicBezTo>
                    <a:pt x="217278" y="57090"/>
                    <a:pt x="219649" y="49931"/>
                    <a:pt x="222020" y="42818"/>
                  </a:cubicBezTo>
                  <a:lnTo>
                    <a:pt x="223228" y="42952"/>
                  </a:lnTo>
                  <a:cubicBezTo>
                    <a:pt x="226360" y="51497"/>
                    <a:pt x="228373" y="61206"/>
                    <a:pt x="236382" y="66799"/>
                  </a:cubicBezTo>
                  <a:cubicBezTo>
                    <a:pt x="236785" y="59059"/>
                    <a:pt x="237098" y="51318"/>
                    <a:pt x="237322" y="43623"/>
                  </a:cubicBezTo>
                  <a:cubicBezTo>
                    <a:pt x="242556" y="42997"/>
                    <a:pt x="247791" y="42370"/>
                    <a:pt x="253071" y="41610"/>
                  </a:cubicBezTo>
                  <a:cubicBezTo>
                    <a:pt x="257097" y="52169"/>
                    <a:pt x="262153" y="62280"/>
                    <a:pt x="267164" y="72481"/>
                  </a:cubicBezTo>
                  <a:cubicBezTo>
                    <a:pt x="267164" y="69752"/>
                    <a:pt x="267254" y="67068"/>
                    <a:pt x="267343" y="64428"/>
                  </a:cubicBezTo>
                  <a:cubicBezTo>
                    <a:pt x="275128" y="45502"/>
                    <a:pt x="262690" y="21565"/>
                    <a:pt x="281347" y="7427"/>
                  </a:cubicBezTo>
                  <a:lnTo>
                    <a:pt x="286493" y="4206"/>
                  </a:lnTo>
                  <a:close/>
                </a:path>
              </a:pathLst>
            </a:custGeom>
            <a:solidFill>
              <a:srgbClr val="37549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0" name="Freeform: Shape 4389">
              <a:extLst>
                <a:ext uri="{FF2B5EF4-FFF2-40B4-BE49-F238E27FC236}">
                  <a16:creationId xmlns:a16="http://schemas.microsoft.com/office/drawing/2014/main" id="{67DDDDA9-3FEF-9E32-8565-268792C00A1C}"/>
                </a:ext>
              </a:extLst>
            </p:cNvPr>
            <p:cNvSpPr/>
            <p:nvPr/>
          </p:nvSpPr>
          <p:spPr>
            <a:xfrm flipH="1">
              <a:off x="3265512" y="3043696"/>
              <a:ext cx="195857" cy="69153"/>
            </a:xfrm>
            <a:custGeom>
              <a:avLst/>
              <a:gdLst>
                <a:gd name="connsiteX0" fmla="*/ 3177 w 164201"/>
                <a:gd name="connsiteY0" fmla="*/ 1333 h 57976"/>
                <a:gd name="connsiteX1" fmla="*/ 103487 w 164201"/>
                <a:gd name="connsiteY1" fmla="*/ 3749 h 57976"/>
                <a:gd name="connsiteX2" fmla="*/ 97268 w 164201"/>
                <a:gd name="connsiteY2" fmla="*/ 28178 h 57976"/>
                <a:gd name="connsiteX3" fmla="*/ 138654 w 164201"/>
                <a:gd name="connsiteY3" fmla="*/ 28760 h 57976"/>
                <a:gd name="connsiteX4" fmla="*/ 133553 w 164201"/>
                <a:gd name="connsiteY4" fmla="*/ 1960 h 57976"/>
                <a:gd name="connsiteX5" fmla="*/ 123621 w 164201"/>
                <a:gd name="connsiteY5" fmla="*/ 2899 h 57976"/>
                <a:gd name="connsiteX6" fmla="*/ 163530 w 164201"/>
                <a:gd name="connsiteY6" fmla="*/ 36 h 57976"/>
                <a:gd name="connsiteX7" fmla="*/ 164201 w 164201"/>
                <a:gd name="connsiteY7" fmla="*/ 28939 h 57976"/>
                <a:gd name="connsiteX8" fmla="*/ 147423 w 164201"/>
                <a:gd name="connsiteY8" fmla="*/ 32473 h 57976"/>
                <a:gd name="connsiteX9" fmla="*/ 149481 w 164201"/>
                <a:gd name="connsiteY9" fmla="*/ 57752 h 57976"/>
                <a:gd name="connsiteX10" fmla="*/ 144962 w 164201"/>
                <a:gd name="connsiteY10" fmla="*/ 51936 h 57976"/>
                <a:gd name="connsiteX11" fmla="*/ 136685 w 164201"/>
                <a:gd name="connsiteY11" fmla="*/ 56410 h 57976"/>
                <a:gd name="connsiteX12" fmla="*/ 129571 w 164201"/>
                <a:gd name="connsiteY12" fmla="*/ 57976 h 57976"/>
                <a:gd name="connsiteX13" fmla="*/ 142188 w 164201"/>
                <a:gd name="connsiteY13" fmla="*/ 37574 h 57976"/>
                <a:gd name="connsiteX14" fmla="*/ 126305 w 164201"/>
                <a:gd name="connsiteY14" fmla="*/ 35426 h 57976"/>
                <a:gd name="connsiteX15" fmla="*/ 0 w 164201"/>
                <a:gd name="connsiteY15" fmla="*/ 32384 h 57976"/>
                <a:gd name="connsiteX16" fmla="*/ 3177 w 164201"/>
                <a:gd name="connsiteY16" fmla="*/ 1333 h 57976"/>
                <a:gd name="connsiteX17" fmla="*/ 7338 w 164201"/>
                <a:gd name="connsiteY17" fmla="*/ 2899 h 57976"/>
                <a:gd name="connsiteX18" fmla="*/ 6130 w 164201"/>
                <a:gd name="connsiteY18" fmla="*/ 31489 h 57976"/>
                <a:gd name="connsiteX19" fmla="*/ 28858 w 164201"/>
                <a:gd name="connsiteY19" fmla="*/ 29700 h 57976"/>
                <a:gd name="connsiteX20" fmla="*/ 31230 w 164201"/>
                <a:gd name="connsiteY20" fmla="*/ 6792 h 57976"/>
                <a:gd name="connsiteX21" fmla="*/ 7338 w 164201"/>
                <a:gd name="connsiteY21" fmla="*/ 2899 h 57976"/>
                <a:gd name="connsiteX22" fmla="*/ 32840 w 164201"/>
                <a:gd name="connsiteY22" fmla="*/ 4600 h 57976"/>
                <a:gd name="connsiteX23" fmla="*/ 42057 w 164201"/>
                <a:gd name="connsiteY23" fmla="*/ 31981 h 57976"/>
                <a:gd name="connsiteX24" fmla="*/ 43444 w 164201"/>
                <a:gd name="connsiteY24" fmla="*/ 3123 h 57976"/>
                <a:gd name="connsiteX25" fmla="*/ 32840 w 164201"/>
                <a:gd name="connsiteY25" fmla="*/ 4600 h 57976"/>
                <a:gd name="connsiteX26" fmla="*/ 54182 w 164201"/>
                <a:gd name="connsiteY26" fmla="*/ 1065 h 57976"/>
                <a:gd name="connsiteX27" fmla="*/ 48008 w 164201"/>
                <a:gd name="connsiteY27" fmla="*/ 30326 h 57976"/>
                <a:gd name="connsiteX28" fmla="*/ 87962 w 164201"/>
                <a:gd name="connsiteY28" fmla="*/ 30460 h 57976"/>
                <a:gd name="connsiteX29" fmla="*/ 87201 w 164201"/>
                <a:gd name="connsiteY29" fmla="*/ 4868 h 57976"/>
                <a:gd name="connsiteX30" fmla="*/ 55748 w 164201"/>
                <a:gd name="connsiteY30" fmla="*/ 5584 h 57976"/>
                <a:gd name="connsiteX31" fmla="*/ 54182 w 164201"/>
                <a:gd name="connsiteY31" fmla="*/ 1065 h 57976"/>
                <a:gd name="connsiteX32" fmla="*/ 143710 w 164201"/>
                <a:gd name="connsiteY32" fmla="*/ 2005 h 57976"/>
                <a:gd name="connsiteX33" fmla="*/ 144873 w 164201"/>
                <a:gd name="connsiteY33" fmla="*/ 22630 h 57976"/>
                <a:gd name="connsiteX34" fmla="*/ 156864 w 164201"/>
                <a:gd name="connsiteY34" fmla="*/ 29476 h 57976"/>
                <a:gd name="connsiteX35" fmla="*/ 162233 w 164201"/>
                <a:gd name="connsiteY35" fmla="*/ 1870 h 57976"/>
                <a:gd name="connsiteX36" fmla="*/ 143710 w 164201"/>
                <a:gd name="connsiteY36" fmla="*/ 2005 h 5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4201" h="57976">
                  <a:moveTo>
                    <a:pt x="3177" y="1333"/>
                  </a:moveTo>
                  <a:cubicBezTo>
                    <a:pt x="36599" y="260"/>
                    <a:pt x="70334" y="-1709"/>
                    <a:pt x="103487" y="3749"/>
                  </a:cubicBezTo>
                  <a:cubicBezTo>
                    <a:pt x="101340" y="11848"/>
                    <a:pt x="99281" y="20035"/>
                    <a:pt x="97268" y="28178"/>
                  </a:cubicBezTo>
                  <a:cubicBezTo>
                    <a:pt x="111048" y="28134"/>
                    <a:pt x="124873" y="28313"/>
                    <a:pt x="138654" y="28760"/>
                  </a:cubicBezTo>
                  <a:cubicBezTo>
                    <a:pt x="138162" y="19633"/>
                    <a:pt x="137133" y="10461"/>
                    <a:pt x="133553" y="1960"/>
                  </a:cubicBezTo>
                  <a:cubicBezTo>
                    <a:pt x="131093" y="2184"/>
                    <a:pt x="126126" y="2676"/>
                    <a:pt x="123621" y="2899"/>
                  </a:cubicBezTo>
                  <a:cubicBezTo>
                    <a:pt x="136819" y="618"/>
                    <a:pt x="150152" y="-188"/>
                    <a:pt x="163530" y="36"/>
                  </a:cubicBezTo>
                  <a:cubicBezTo>
                    <a:pt x="163754" y="9655"/>
                    <a:pt x="163978" y="19275"/>
                    <a:pt x="164201" y="28939"/>
                  </a:cubicBezTo>
                  <a:cubicBezTo>
                    <a:pt x="158564" y="30013"/>
                    <a:pt x="152971" y="31221"/>
                    <a:pt x="147423" y="32473"/>
                  </a:cubicBezTo>
                  <a:cubicBezTo>
                    <a:pt x="148139" y="40885"/>
                    <a:pt x="148810" y="49296"/>
                    <a:pt x="149481" y="57752"/>
                  </a:cubicBezTo>
                  <a:cubicBezTo>
                    <a:pt x="148363" y="56321"/>
                    <a:pt x="146081" y="53412"/>
                    <a:pt x="144962" y="51936"/>
                  </a:cubicBezTo>
                  <a:cubicBezTo>
                    <a:pt x="142188" y="53457"/>
                    <a:pt x="139414" y="54934"/>
                    <a:pt x="136685" y="56410"/>
                  </a:cubicBezTo>
                  <a:cubicBezTo>
                    <a:pt x="134896" y="56813"/>
                    <a:pt x="131316" y="57573"/>
                    <a:pt x="129571" y="57976"/>
                  </a:cubicBezTo>
                  <a:cubicBezTo>
                    <a:pt x="133777" y="51175"/>
                    <a:pt x="137983" y="44330"/>
                    <a:pt x="142188" y="37574"/>
                  </a:cubicBezTo>
                  <a:cubicBezTo>
                    <a:pt x="136909" y="36724"/>
                    <a:pt x="131585" y="36008"/>
                    <a:pt x="126305" y="35426"/>
                  </a:cubicBezTo>
                  <a:cubicBezTo>
                    <a:pt x="84382" y="29476"/>
                    <a:pt x="42012" y="36366"/>
                    <a:pt x="0" y="32384"/>
                  </a:cubicBezTo>
                  <a:cubicBezTo>
                    <a:pt x="1521" y="22093"/>
                    <a:pt x="2640" y="11713"/>
                    <a:pt x="3177" y="1333"/>
                  </a:cubicBezTo>
                  <a:close/>
                  <a:moveTo>
                    <a:pt x="7338" y="2899"/>
                  </a:moveTo>
                  <a:cubicBezTo>
                    <a:pt x="6890" y="12429"/>
                    <a:pt x="6488" y="21959"/>
                    <a:pt x="6130" y="31489"/>
                  </a:cubicBezTo>
                  <a:cubicBezTo>
                    <a:pt x="13691" y="30863"/>
                    <a:pt x="21297" y="30281"/>
                    <a:pt x="28858" y="29700"/>
                  </a:cubicBezTo>
                  <a:cubicBezTo>
                    <a:pt x="29664" y="22049"/>
                    <a:pt x="30424" y="14398"/>
                    <a:pt x="31230" y="6792"/>
                  </a:cubicBezTo>
                  <a:cubicBezTo>
                    <a:pt x="23400" y="4779"/>
                    <a:pt x="15391" y="3481"/>
                    <a:pt x="7338" y="2899"/>
                  </a:cubicBezTo>
                  <a:close/>
                  <a:moveTo>
                    <a:pt x="32840" y="4600"/>
                  </a:moveTo>
                  <a:cubicBezTo>
                    <a:pt x="31945" y="14398"/>
                    <a:pt x="31140" y="27507"/>
                    <a:pt x="42057" y="31981"/>
                  </a:cubicBezTo>
                  <a:cubicBezTo>
                    <a:pt x="42728" y="22362"/>
                    <a:pt x="43086" y="12742"/>
                    <a:pt x="43444" y="3123"/>
                  </a:cubicBezTo>
                  <a:cubicBezTo>
                    <a:pt x="40804" y="3481"/>
                    <a:pt x="35480" y="4197"/>
                    <a:pt x="32840" y="4600"/>
                  </a:cubicBezTo>
                  <a:close/>
                  <a:moveTo>
                    <a:pt x="54182" y="1065"/>
                  </a:moveTo>
                  <a:cubicBezTo>
                    <a:pt x="51855" y="10729"/>
                    <a:pt x="49842" y="20527"/>
                    <a:pt x="48008" y="30326"/>
                  </a:cubicBezTo>
                  <a:cubicBezTo>
                    <a:pt x="61296" y="30326"/>
                    <a:pt x="74629" y="30415"/>
                    <a:pt x="87962" y="30460"/>
                  </a:cubicBezTo>
                  <a:cubicBezTo>
                    <a:pt x="87559" y="21914"/>
                    <a:pt x="87246" y="13369"/>
                    <a:pt x="87201" y="4868"/>
                  </a:cubicBezTo>
                  <a:cubicBezTo>
                    <a:pt x="76687" y="4600"/>
                    <a:pt x="66217" y="4958"/>
                    <a:pt x="55748" y="5584"/>
                  </a:cubicBezTo>
                  <a:lnTo>
                    <a:pt x="54182" y="1065"/>
                  </a:lnTo>
                  <a:close/>
                  <a:moveTo>
                    <a:pt x="143710" y="2005"/>
                  </a:moveTo>
                  <a:cubicBezTo>
                    <a:pt x="144112" y="8850"/>
                    <a:pt x="144470" y="15740"/>
                    <a:pt x="144873" y="22630"/>
                  </a:cubicBezTo>
                  <a:cubicBezTo>
                    <a:pt x="147871" y="24331"/>
                    <a:pt x="153866" y="27776"/>
                    <a:pt x="156864" y="29476"/>
                  </a:cubicBezTo>
                  <a:cubicBezTo>
                    <a:pt x="158698" y="20259"/>
                    <a:pt x="160532" y="11087"/>
                    <a:pt x="162233" y="1870"/>
                  </a:cubicBezTo>
                  <a:cubicBezTo>
                    <a:pt x="157579" y="1870"/>
                    <a:pt x="148363" y="1960"/>
                    <a:pt x="143710" y="2005"/>
                  </a:cubicBezTo>
                  <a:close/>
                </a:path>
              </a:pathLst>
            </a:custGeom>
            <a:solidFill>
              <a:srgbClr val="4D7F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2" name="Freeform: Shape 4391">
              <a:extLst>
                <a:ext uri="{FF2B5EF4-FFF2-40B4-BE49-F238E27FC236}">
                  <a16:creationId xmlns:a16="http://schemas.microsoft.com/office/drawing/2014/main" id="{5A0C41B0-6656-3A41-8BF3-CABCF13A5DEE}"/>
                </a:ext>
              </a:extLst>
            </p:cNvPr>
            <p:cNvSpPr/>
            <p:nvPr/>
          </p:nvSpPr>
          <p:spPr>
            <a:xfrm flipH="1">
              <a:off x="3850683" y="3050221"/>
              <a:ext cx="108548" cy="9432"/>
            </a:xfrm>
            <a:custGeom>
              <a:avLst/>
              <a:gdLst>
                <a:gd name="connsiteX0" fmla="*/ 0 w 91004"/>
                <a:gd name="connsiteY0" fmla="*/ 6018 h 7908"/>
                <a:gd name="connsiteX1" fmla="*/ 87917 w 91004"/>
                <a:gd name="connsiteY1" fmla="*/ 605 h 7908"/>
                <a:gd name="connsiteX2" fmla="*/ 91004 w 91004"/>
                <a:gd name="connsiteY2" fmla="*/ 6510 h 7908"/>
                <a:gd name="connsiteX3" fmla="*/ 0 w 91004"/>
                <a:gd name="connsiteY3" fmla="*/ 6018 h 7908"/>
              </a:gdLst>
              <a:ahLst/>
              <a:cxnLst>
                <a:cxn ang="0">
                  <a:pos x="connsiteX0" y="connsiteY0"/>
                </a:cxn>
                <a:cxn ang="0">
                  <a:pos x="connsiteX1" y="connsiteY1"/>
                </a:cxn>
                <a:cxn ang="0">
                  <a:pos x="connsiteX2" y="connsiteY2"/>
                </a:cxn>
                <a:cxn ang="0">
                  <a:pos x="connsiteX3" y="connsiteY3"/>
                </a:cxn>
              </a:cxnLst>
              <a:rect l="l" t="t" r="r" b="b"/>
              <a:pathLst>
                <a:path w="91004" h="7908">
                  <a:moveTo>
                    <a:pt x="0" y="6018"/>
                  </a:moveTo>
                  <a:cubicBezTo>
                    <a:pt x="27919" y="-4541"/>
                    <a:pt x="58746" y="2394"/>
                    <a:pt x="87917" y="605"/>
                  </a:cubicBezTo>
                  <a:cubicBezTo>
                    <a:pt x="88677" y="2081"/>
                    <a:pt x="90243" y="5034"/>
                    <a:pt x="91004" y="6510"/>
                  </a:cubicBezTo>
                  <a:cubicBezTo>
                    <a:pt x="60669" y="8211"/>
                    <a:pt x="30290" y="8703"/>
                    <a:pt x="0" y="6018"/>
                  </a:cubicBezTo>
                  <a:close/>
                </a:path>
              </a:pathLst>
            </a:custGeom>
            <a:solidFill>
              <a:srgbClr val="ABC2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3" name="Freeform: Shape 4392">
              <a:extLst>
                <a:ext uri="{FF2B5EF4-FFF2-40B4-BE49-F238E27FC236}">
                  <a16:creationId xmlns:a16="http://schemas.microsoft.com/office/drawing/2014/main" id="{CB691419-3CD8-E6C8-0D68-1E32D25E8D5D}"/>
                </a:ext>
              </a:extLst>
            </p:cNvPr>
            <p:cNvSpPr/>
            <p:nvPr/>
          </p:nvSpPr>
          <p:spPr>
            <a:xfrm flipH="1">
              <a:off x="2923694" y="3161424"/>
              <a:ext cx="270945" cy="68032"/>
            </a:xfrm>
            <a:custGeom>
              <a:avLst/>
              <a:gdLst>
                <a:gd name="connsiteX0" fmla="*/ 0 w 227152"/>
                <a:gd name="connsiteY0" fmla="*/ 25315 h 57036"/>
                <a:gd name="connsiteX1" fmla="*/ 61162 w 227152"/>
                <a:gd name="connsiteY1" fmla="*/ 36 h 57036"/>
                <a:gd name="connsiteX2" fmla="*/ 101474 w 227152"/>
                <a:gd name="connsiteY2" fmla="*/ 12295 h 57036"/>
                <a:gd name="connsiteX3" fmla="*/ 149794 w 227152"/>
                <a:gd name="connsiteY3" fmla="*/ 3078 h 57036"/>
                <a:gd name="connsiteX4" fmla="*/ 227152 w 227152"/>
                <a:gd name="connsiteY4" fmla="*/ 5807 h 57036"/>
                <a:gd name="connsiteX5" fmla="*/ 138788 w 227152"/>
                <a:gd name="connsiteY5" fmla="*/ 10550 h 57036"/>
                <a:gd name="connsiteX6" fmla="*/ 105635 w 227152"/>
                <a:gd name="connsiteY6" fmla="*/ 16322 h 57036"/>
                <a:gd name="connsiteX7" fmla="*/ 62280 w 227152"/>
                <a:gd name="connsiteY7" fmla="*/ 4510 h 57036"/>
                <a:gd name="connsiteX8" fmla="*/ 3356 w 227152"/>
                <a:gd name="connsiteY8" fmla="*/ 24778 h 57036"/>
                <a:gd name="connsiteX9" fmla="*/ 5101 w 227152"/>
                <a:gd name="connsiteY9" fmla="*/ 48670 h 57036"/>
                <a:gd name="connsiteX10" fmla="*/ 5593 w 227152"/>
                <a:gd name="connsiteY10" fmla="*/ 57036 h 57036"/>
                <a:gd name="connsiteX11" fmla="*/ 0 w 227152"/>
                <a:gd name="connsiteY11" fmla="*/ 25315 h 5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152" h="57036">
                  <a:moveTo>
                    <a:pt x="0" y="25315"/>
                  </a:moveTo>
                  <a:cubicBezTo>
                    <a:pt x="12930" y="4868"/>
                    <a:pt x="38567" y="-501"/>
                    <a:pt x="61162" y="36"/>
                  </a:cubicBezTo>
                  <a:cubicBezTo>
                    <a:pt x="75389" y="1020"/>
                    <a:pt x="87559" y="9700"/>
                    <a:pt x="101474" y="12295"/>
                  </a:cubicBezTo>
                  <a:cubicBezTo>
                    <a:pt x="118028" y="12384"/>
                    <a:pt x="133643" y="6031"/>
                    <a:pt x="149794" y="3078"/>
                  </a:cubicBezTo>
                  <a:cubicBezTo>
                    <a:pt x="175565" y="3749"/>
                    <a:pt x="201337" y="5315"/>
                    <a:pt x="227152" y="5807"/>
                  </a:cubicBezTo>
                  <a:cubicBezTo>
                    <a:pt x="197757" y="7910"/>
                    <a:pt x="167780" y="4241"/>
                    <a:pt x="138788" y="10550"/>
                  </a:cubicBezTo>
                  <a:cubicBezTo>
                    <a:pt x="127871" y="13056"/>
                    <a:pt x="116909" y="16098"/>
                    <a:pt x="105635" y="16322"/>
                  </a:cubicBezTo>
                  <a:cubicBezTo>
                    <a:pt x="90512" y="15158"/>
                    <a:pt x="77492" y="5092"/>
                    <a:pt x="62280" y="4510"/>
                  </a:cubicBezTo>
                  <a:cubicBezTo>
                    <a:pt x="41162" y="5181"/>
                    <a:pt x="19731" y="10953"/>
                    <a:pt x="3356" y="24778"/>
                  </a:cubicBezTo>
                  <a:cubicBezTo>
                    <a:pt x="3982" y="32697"/>
                    <a:pt x="4564" y="40661"/>
                    <a:pt x="5101" y="48670"/>
                  </a:cubicBezTo>
                  <a:cubicBezTo>
                    <a:pt x="5235" y="50773"/>
                    <a:pt x="5458" y="54934"/>
                    <a:pt x="5593" y="57036"/>
                  </a:cubicBezTo>
                  <a:cubicBezTo>
                    <a:pt x="3714" y="46433"/>
                    <a:pt x="1924" y="35874"/>
                    <a:pt x="0" y="25315"/>
                  </a:cubicBezTo>
                  <a:close/>
                </a:path>
              </a:pathLst>
            </a:custGeom>
            <a:solidFill>
              <a:srgbClr val="ABC2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4" name="Freeform: Shape 4393">
              <a:extLst>
                <a:ext uri="{FF2B5EF4-FFF2-40B4-BE49-F238E27FC236}">
                  <a16:creationId xmlns:a16="http://schemas.microsoft.com/office/drawing/2014/main" id="{93E8D460-7845-D975-1FF4-5EB52F0BA5DC}"/>
                </a:ext>
              </a:extLst>
            </p:cNvPr>
            <p:cNvSpPr/>
            <p:nvPr/>
          </p:nvSpPr>
          <p:spPr>
            <a:xfrm flipH="1">
              <a:off x="2487629" y="5428400"/>
              <a:ext cx="1705509" cy="85736"/>
            </a:xfrm>
            <a:custGeom>
              <a:avLst/>
              <a:gdLst>
                <a:gd name="connsiteX0" fmla="*/ 34764 w 1429847"/>
                <a:gd name="connsiteY0" fmla="*/ 537 h 71878"/>
                <a:gd name="connsiteX1" fmla="*/ 157400 w 1429847"/>
                <a:gd name="connsiteY1" fmla="*/ 0 h 71878"/>
                <a:gd name="connsiteX2" fmla="*/ 1164933 w 1429847"/>
                <a:gd name="connsiteY2" fmla="*/ 4609 h 71878"/>
                <a:gd name="connsiteX3" fmla="*/ 1326629 w 1429847"/>
                <a:gd name="connsiteY3" fmla="*/ 4206 h 71878"/>
                <a:gd name="connsiteX4" fmla="*/ 1333206 w 1429847"/>
                <a:gd name="connsiteY4" fmla="*/ 4385 h 71878"/>
                <a:gd name="connsiteX5" fmla="*/ 1346852 w 1429847"/>
                <a:gd name="connsiteY5" fmla="*/ 4787 h 71878"/>
                <a:gd name="connsiteX6" fmla="*/ 1412846 w 1429847"/>
                <a:gd name="connsiteY6" fmla="*/ 5145 h 71878"/>
                <a:gd name="connsiteX7" fmla="*/ 1429847 w 1429847"/>
                <a:gd name="connsiteY7" fmla="*/ 70468 h 71878"/>
                <a:gd name="connsiteX8" fmla="*/ 562624 w 1429847"/>
                <a:gd name="connsiteY8" fmla="*/ 71631 h 71878"/>
                <a:gd name="connsiteX9" fmla="*/ 297933 w 1429847"/>
                <a:gd name="connsiteY9" fmla="*/ 71676 h 71878"/>
                <a:gd name="connsiteX10" fmla="*/ 0 w 1429847"/>
                <a:gd name="connsiteY10" fmla="*/ 69797 h 71878"/>
                <a:gd name="connsiteX11" fmla="*/ 34764 w 1429847"/>
                <a:gd name="connsiteY11" fmla="*/ 537 h 7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9847" h="71878">
                  <a:moveTo>
                    <a:pt x="34764" y="537"/>
                  </a:moveTo>
                  <a:cubicBezTo>
                    <a:pt x="75658" y="984"/>
                    <a:pt x="116552" y="179"/>
                    <a:pt x="157400" y="0"/>
                  </a:cubicBezTo>
                  <a:cubicBezTo>
                    <a:pt x="493230" y="3445"/>
                    <a:pt x="829104" y="3534"/>
                    <a:pt x="1164933" y="4609"/>
                  </a:cubicBezTo>
                  <a:cubicBezTo>
                    <a:pt x="1218847" y="5145"/>
                    <a:pt x="1272715" y="3803"/>
                    <a:pt x="1326629" y="4206"/>
                  </a:cubicBezTo>
                  <a:cubicBezTo>
                    <a:pt x="1328240" y="4250"/>
                    <a:pt x="1331551" y="4340"/>
                    <a:pt x="1333206" y="4385"/>
                  </a:cubicBezTo>
                  <a:cubicBezTo>
                    <a:pt x="1336606" y="4519"/>
                    <a:pt x="1343452" y="4698"/>
                    <a:pt x="1346852" y="4787"/>
                  </a:cubicBezTo>
                  <a:cubicBezTo>
                    <a:pt x="1368820" y="5369"/>
                    <a:pt x="1390833" y="5190"/>
                    <a:pt x="1412846" y="5145"/>
                  </a:cubicBezTo>
                  <a:cubicBezTo>
                    <a:pt x="1419512" y="26621"/>
                    <a:pt x="1425060" y="48455"/>
                    <a:pt x="1429847" y="70468"/>
                  </a:cubicBezTo>
                  <a:cubicBezTo>
                    <a:pt x="1140773" y="72034"/>
                    <a:pt x="851654" y="69976"/>
                    <a:pt x="562624" y="71631"/>
                  </a:cubicBezTo>
                  <a:cubicBezTo>
                    <a:pt x="474394" y="72794"/>
                    <a:pt x="386163" y="69349"/>
                    <a:pt x="297933" y="71676"/>
                  </a:cubicBezTo>
                  <a:cubicBezTo>
                    <a:pt x="198652" y="68902"/>
                    <a:pt x="99281" y="70736"/>
                    <a:pt x="0" y="69797"/>
                  </a:cubicBezTo>
                  <a:cubicBezTo>
                    <a:pt x="12170" y="46979"/>
                    <a:pt x="22594" y="23310"/>
                    <a:pt x="34764" y="537"/>
                  </a:cubicBezTo>
                  <a:close/>
                </a:path>
              </a:pathLst>
            </a:custGeom>
            <a:solidFill>
              <a:srgbClr val="F5F5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5" name="Freeform: Shape 4394">
              <a:extLst>
                <a:ext uri="{FF2B5EF4-FFF2-40B4-BE49-F238E27FC236}">
                  <a16:creationId xmlns:a16="http://schemas.microsoft.com/office/drawing/2014/main" id="{D117E208-3098-878C-B048-3BD38723838D}"/>
                </a:ext>
              </a:extLst>
            </p:cNvPr>
            <p:cNvSpPr/>
            <p:nvPr/>
          </p:nvSpPr>
          <p:spPr>
            <a:xfrm flipH="1">
              <a:off x="3424118" y="3047154"/>
              <a:ext cx="29938" cy="34100"/>
            </a:xfrm>
            <a:custGeom>
              <a:avLst/>
              <a:gdLst>
                <a:gd name="connsiteX0" fmla="*/ 1208 w 25099"/>
                <a:gd name="connsiteY0" fmla="*/ 0 h 28589"/>
                <a:gd name="connsiteX1" fmla="*/ 25100 w 25099"/>
                <a:gd name="connsiteY1" fmla="*/ 3893 h 28589"/>
                <a:gd name="connsiteX2" fmla="*/ 22729 w 25099"/>
                <a:gd name="connsiteY2" fmla="*/ 26800 h 28589"/>
                <a:gd name="connsiteX3" fmla="*/ 0 w 25099"/>
                <a:gd name="connsiteY3" fmla="*/ 28590 h 28589"/>
                <a:gd name="connsiteX4" fmla="*/ 1208 w 25099"/>
                <a:gd name="connsiteY4" fmla="*/ 0 h 28589"/>
                <a:gd name="connsiteX5" fmla="*/ 10783 w 25099"/>
                <a:gd name="connsiteY5" fmla="*/ 7606 h 28589"/>
                <a:gd name="connsiteX6" fmla="*/ 14094 w 25099"/>
                <a:gd name="connsiteY6" fmla="*/ 16599 h 28589"/>
                <a:gd name="connsiteX7" fmla="*/ 10783 w 25099"/>
                <a:gd name="connsiteY7" fmla="*/ 7606 h 2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99" h="28589">
                  <a:moveTo>
                    <a:pt x="1208" y="0"/>
                  </a:moveTo>
                  <a:cubicBezTo>
                    <a:pt x="9261" y="582"/>
                    <a:pt x="17270" y="1879"/>
                    <a:pt x="25100" y="3893"/>
                  </a:cubicBezTo>
                  <a:cubicBezTo>
                    <a:pt x="24295" y="11499"/>
                    <a:pt x="23534" y="19149"/>
                    <a:pt x="22729" y="26800"/>
                  </a:cubicBezTo>
                  <a:cubicBezTo>
                    <a:pt x="15167" y="27382"/>
                    <a:pt x="7561" y="27963"/>
                    <a:pt x="0" y="28590"/>
                  </a:cubicBezTo>
                  <a:cubicBezTo>
                    <a:pt x="358" y="19060"/>
                    <a:pt x="761" y="9530"/>
                    <a:pt x="1208" y="0"/>
                  </a:cubicBezTo>
                  <a:close/>
                  <a:moveTo>
                    <a:pt x="10783" y="7606"/>
                  </a:moveTo>
                  <a:cubicBezTo>
                    <a:pt x="6801" y="13109"/>
                    <a:pt x="7919" y="16107"/>
                    <a:pt x="14094" y="16599"/>
                  </a:cubicBezTo>
                  <a:cubicBezTo>
                    <a:pt x="18031" y="11051"/>
                    <a:pt x="16912" y="8054"/>
                    <a:pt x="10783" y="7606"/>
                  </a:cubicBezTo>
                  <a:close/>
                </a:path>
              </a:pathLst>
            </a:custGeom>
            <a:solidFill>
              <a:srgbClr val="89BE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6" name="Freeform: Shape 4395">
              <a:extLst>
                <a:ext uri="{FF2B5EF4-FFF2-40B4-BE49-F238E27FC236}">
                  <a16:creationId xmlns:a16="http://schemas.microsoft.com/office/drawing/2014/main" id="{02CED24E-4B4B-E6AE-6356-E89E8ECFB1A8}"/>
                </a:ext>
              </a:extLst>
            </p:cNvPr>
            <p:cNvSpPr/>
            <p:nvPr/>
          </p:nvSpPr>
          <p:spPr>
            <a:xfrm flipH="1">
              <a:off x="3409549" y="3047420"/>
              <a:ext cx="13216" cy="34421"/>
            </a:xfrm>
            <a:custGeom>
              <a:avLst/>
              <a:gdLst>
                <a:gd name="connsiteX0" fmla="*/ 476 w 11080"/>
                <a:gd name="connsiteY0" fmla="*/ 1476 h 28858"/>
                <a:gd name="connsiteX1" fmla="*/ 11080 w 11080"/>
                <a:gd name="connsiteY1" fmla="*/ 0 h 28858"/>
                <a:gd name="connsiteX2" fmla="*/ 9693 w 11080"/>
                <a:gd name="connsiteY2" fmla="*/ 28858 h 28858"/>
                <a:gd name="connsiteX3" fmla="*/ 476 w 11080"/>
                <a:gd name="connsiteY3" fmla="*/ 1476 h 28858"/>
              </a:gdLst>
              <a:ahLst/>
              <a:cxnLst>
                <a:cxn ang="0">
                  <a:pos x="connsiteX0" y="connsiteY0"/>
                </a:cxn>
                <a:cxn ang="0">
                  <a:pos x="connsiteX1" y="connsiteY1"/>
                </a:cxn>
                <a:cxn ang="0">
                  <a:pos x="connsiteX2" y="connsiteY2"/>
                </a:cxn>
                <a:cxn ang="0">
                  <a:pos x="connsiteX3" y="connsiteY3"/>
                </a:cxn>
              </a:cxnLst>
              <a:rect l="l" t="t" r="r" b="b"/>
              <a:pathLst>
                <a:path w="11080" h="28858">
                  <a:moveTo>
                    <a:pt x="476" y="1476"/>
                  </a:moveTo>
                  <a:cubicBezTo>
                    <a:pt x="3116" y="1074"/>
                    <a:pt x="8440" y="358"/>
                    <a:pt x="11080" y="0"/>
                  </a:cubicBezTo>
                  <a:cubicBezTo>
                    <a:pt x="10722" y="9619"/>
                    <a:pt x="10364" y="19239"/>
                    <a:pt x="9693" y="28858"/>
                  </a:cubicBezTo>
                  <a:cubicBezTo>
                    <a:pt x="-1224" y="24384"/>
                    <a:pt x="-419" y="11275"/>
                    <a:pt x="476" y="1476"/>
                  </a:cubicBezTo>
                  <a:close/>
                </a:path>
              </a:pathLst>
            </a:custGeom>
            <a:solidFill>
              <a:srgbClr val="83BB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7" name="Freeform: Shape 4396">
              <a:extLst>
                <a:ext uri="{FF2B5EF4-FFF2-40B4-BE49-F238E27FC236}">
                  <a16:creationId xmlns:a16="http://schemas.microsoft.com/office/drawing/2014/main" id="{E0AA2D2E-B124-7233-B925-E8781DF66BC0}"/>
                </a:ext>
              </a:extLst>
            </p:cNvPr>
            <p:cNvSpPr/>
            <p:nvPr/>
          </p:nvSpPr>
          <p:spPr>
            <a:xfrm flipH="1">
              <a:off x="3356448" y="3044966"/>
              <a:ext cx="47656" cy="35062"/>
            </a:xfrm>
            <a:custGeom>
              <a:avLst/>
              <a:gdLst>
                <a:gd name="connsiteX0" fmla="*/ 6174 w 39954"/>
                <a:gd name="connsiteY0" fmla="*/ 0 h 29395"/>
                <a:gd name="connsiteX1" fmla="*/ 7740 w 39954"/>
                <a:gd name="connsiteY1" fmla="*/ 4519 h 29395"/>
                <a:gd name="connsiteX2" fmla="*/ 13467 w 39954"/>
                <a:gd name="connsiteY2" fmla="*/ 18747 h 29395"/>
                <a:gd name="connsiteX3" fmla="*/ 39194 w 39954"/>
                <a:gd name="connsiteY3" fmla="*/ 3803 h 29395"/>
                <a:gd name="connsiteX4" fmla="*/ 39954 w 39954"/>
                <a:gd name="connsiteY4" fmla="*/ 29395 h 29395"/>
                <a:gd name="connsiteX5" fmla="*/ 0 w 39954"/>
                <a:gd name="connsiteY5" fmla="*/ 29261 h 29395"/>
                <a:gd name="connsiteX6" fmla="*/ 6174 w 39954"/>
                <a:gd name="connsiteY6" fmla="*/ 0 h 2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54" h="29395">
                  <a:moveTo>
                    <a:pt x="6174" y="0"/>
                  </a:moveTo>
                  <a:lnTo>
                    <a:pt x="7740" y="4519"/>
                  </a:lnTo>
                  <a:cubicBezTo>
                    <a:pt x="9575" y="9261"/>
                    <a:pt x="11499" y="14004"/>
                    <a:pt x="13467" y="18747"/>
                  </a:cubicBezTo>
                  <a:cubicBezTo>
                    <a:pt x="24966" y="19149"/>
                    <a:pt x="35212" y="15615"/>
                    <a:pt x="39194" y="3803"/>
                  </a:cubicBezTo>
                  <a:cubicBezTo>
                    <a:pt x="39238" y="12304"/>
                    <a:pt x="39551" y="20849"/>
                    <a:pt x="39954" y="29395"/>
                  </a:cubicBezTo>
                  <a:cubicBezTo>
                    <a:pt x="26621" y="29350"/>
                    <a:pt x="13288" y="29306"/>
                    <a:pt x="0" y="29261"/>
                  </a:cubicBezTo>
                  <a:cubicBezTo>
                    <a:pt x="1834" y="19462"/>
                    <a:pt x="3848" y="9664"/>
                    <a:pt x="6174" y="0"/>
                  </a:cubicBezTo>
                  <a:close/>
                </a:path>
              </a:pathLst>
            </a:custGeom>
            <a:solidFill>
              <a:srgbClr val="80BB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8" name="Freeform: Shape 4397">
              <a:extLst>
                <a:ext uri="{FF2B5EF4-FFF2-40B4-BE49-F238E27FC236}">
                  <a16:creationId xmlns:a16="http://schemas.microsoft.com/office/drawing/2014/main" id="{9522CD3C-052C-67BC-C1F5-2547D9D881C3}"/>
                </a:ext>
              </a:extLst>
            </p:cNvPr>
            <p:cNvSpPr/>
            <p:nvPr/>
          </p:nvSpPr>
          <p:spPr>
            <a:xfrm flipH="1">
              <a:off x="3357355" y="3049395"/>
              <a:ext cx="37517" cy="17969"/>
            </a:xfrm>
            <a:custGeom>
              <a:avLst/>
              <a:gdLst>
                <a:gd name="connsiteX0" fmla="*/ 0 w 31453"/>
                <a:gd name="connsiteY0" fmla="*/ 806 h 15064"/>
                <a:gd name="connsiteX1" fmla="*/ 31453 w 31453"/>
                <a:gd name="connsiteY1" fmla="*/ 90 h 15064"/>
                <a:gd name="connsiteX2" fmla="*/ 5727 w 31453"/>
                <a:gd name="connsiteY2" fmla="*/ 15034 h 15064"/>
                <a:gd name="connsiteX3" fmla="*/ 0 w 31453"/>
                <a:gd name="connsiteY3" fmla="*/ 806 h 15064"/>
              </a:gdLst>
              <a:ahLst/>
              <a:cxnLst>
                <a:cxn ang="0">
                  <a:pos x="connsiteX0" y="connsiteY0"/>
                </a:cxn>
                <a:cxn ang="0">
                  <a:pos x="connsiteX1" y="connsiteY1"/>
                </a:cxn>
                <a:cxn ang="0">
                  <a:pos x="connsiteX2" y="connsiteY2"/>
                </a:cxn>
                <a:cxn ang="0">
                  <a:pos x="connsiteX3" y="connsiteY3"/>
                </a:cxn>
              </a:cxnLst>
              <a:rect l="l" t="t" r="r" b="b"/>
              <a:pathLst>
                <a:path w="31453" h="15064">
                  <a:moveTo>
                    <a:pt x="0" y="806"/>
                  </a:moveTo>
                  <a:cubicBezTo>
                    <a:pt x="10469" y="180"/>
                    <a:pt x="20939" y="-178"/>
                    <a:pt x="31453" y="90"/>
                  </a:cubicBezTo>
                  <a:cubicBezTo>
                    <a:pt x="27471" y="11902"/>
                    <a:pt x="17225" y="15437"/>
                    <a:pt x="5727" y="15034"/>
                  </a:cubicBezTo>
                  <a:cubicBezTo>
                    <a:pt x="3758" y="10291"/>
                    <a:pt x="1834" y="5549"/>
                    <a:pt x="0" y="806"/>
                  </a:cubicBezTo>
                  <a:close/>
                </a:path>
              </a:pathLst>
            </a:custGeom>
            <a:solidFill>
              <a:srgbClr val="D5EB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99" name="Freeform: Shape 4398">
              <a:extLst>
                <a:ext uri="{FF2B5EF4-FFF2-40B4-BE49-F238E27FC236}">
                  <a16:creationId xmlns:a16="http://schemas.microsoft.com/office/drawing/2014/main" id="{BA353BBE-F7E5-D35B-6704-7E3333844530}"/>
                </a:ext>
              </a:extLst>
            </p:cNvPr>
            <p:cNvSpPr/>
            <p:nvPr/>
          </p:nvSpPr>
          <p:spPr>
            <a:xfrm flipH="1">
              <a:off x="3295985" y="3046034"/>
              <a:ext cx="49363" cy="31967"/>
            </a:xfrm>
            <a:custGeom>
              <a:avLst/>
              <a:gdLst>
                <a:gd name="connsiteX0" fmla="*/ 6219 w 41385"/>
                <a:gd name="connsiteY0" fmla="*/ 1790 h 26800"/>
                <a:gd name="connsiteX1" fmla="*/ 26353 w 41385"/>
                <a:gd name="connsiteY1" fmla="*/ 940 h 26800"/>
                <a:gd name="connsiteX2" fmla="*/ 36285 w 41385"/>
                <a:gd name="connsiteY2" fmla="*/ 0 h 26800"/>
                <a:gd name="connsiteX3" fmla="*/ 41386 w 41385"/>
                <a:gd name="connsiteY3" fmla="*/ 26800 h 26800"/>
                <a:gd name="connsiteX4" fmla="*/ 0 w 41385"/>
                <a:gd name="connsiteY4" fmla="*/ 26219 h 26800"/>
                <a:gd name="connsiteX5" fmla="*/ 6219 w 41385"/>
                <a:gd name="connsiteY5" fmla="*/ 1790 h 2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85" h="26800">
                  <a:moveTo>
                    <a:pt x="6219" y="1790"/>
                  </a:moveTo>
                  <a:cubicBezTo>
                    <a:pt x="12930" y="2148"/>
                    <a:pt x="19686" y="1700"/>
                    <a:pt x="26353" y="940"/>
                  </a:cubicBezTo>
                  <a:cubicBezTo>
                    <a:pt x="28858" y="716"/>
                    <a:pt x="33825" y="224"/>
                    <a:pt x="36285" y="0"/>
                  </a:cubicBezTo>
                  <a:cubicBezTo>
                    <a:pt x="39865" y="8501"/>
                    <a:pt x="40894" y="17673"/>
                    <a:pt x="41386" y="26800"/>
                  </a:cubicBezTo>
                  <a:cubicBezTo>
                    <a:pt x="27605" y="26353"/>
                    <a:pt x="13780" y="26174"/>
                    <a:pt x="0" y="26219"/>
                  </a:cubicBezTo>
                  <a:cubicBezTo>
                    <a:pt x="2013" y="18076"/>
                    <a:pt x="4071" y="9888"/>
                    <a:pt x="6219" y="1790"/>
                  </a:cubicBezTo>
                  <a:close/>
                </a:path>
              </a:pathLst>
            </a:custGeom>
            <a:solidFill>
              <a:srgbClr val="A4DA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0" name="Freeform: Shape 4399">
              <a:extLst>
                <a:ext uri="{FF2B5EF4-FFF2-40B4-BE49-F238E27FC236}">
                  <a16:creationId xmlns:a16="http://schemas.microsoft.com/office/drawing/2014/main" id="{96B59945-3A59-8E85-68F3-27330CF61454}"/>
                </a:ext>
              </a:extLst>
            </p:cNvPr>
            <p:cNvSpPr/>
            <p:nvPr/>
          </p:nvSpPr>
          <p:spPr>
            <a:xfrm flipH="1">
              <a:off x="3267859" y="3045927"/>
              <a:ext cx="22092" cy="32928"/>
            </a:xfrm>
            <a:custGeom>
              <a:avLst/>
              <a:gdLst>
                <a:gd name="connsiteX0" fmla="*/ 0 w 18522"/>
                <a:gd name="connsiteY0" fmla="*/ 134 h 27605"/>
                <a:gd name="connsiteX1" fmla="*/ 18523 w 18522"/>
                <a:gd name="connsiteY1" fmla="*/ 0 h 27605"/>
                <a:gd name="connsiteX2" fmla="*/ 13154 w 18522"/>
                <a:gd name="connsiteY2" fmla="*/ 27605 h 27605"/>
                <a:gd name="connsiteX3" fmla="*/ 1163 w 18522"/>
                <a:gd name="connsiteY3" fmla="*/ 20760 h 27605"/>
                <a:gd name="connsiteX4" fmla="*/ 0 w 18522"/>
                <a:gd name="connsiteY4" fmla="*/ 134 h 27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22" h="27605">
                  <a:moveTo>
                    <a:pt x="0" y="134"/>
                  </a:moveTo>
                  <a:cubicBezTo>
                    <a:pt x="4653" y="89"/>
                    <a:pt x="13870" y="0"/>
                    <a:pt x="18523" y="0"/>
                  </a:cubicBezTo>
                  <a:cubicBezTo>
                    <a:pt x="16823" y="9217"/>
                    <a:pt x="14988" y="18389"/>
                    <a:pt x="13154" y="27605"/>
                  </a:cubicBezTo>
                  <a:cubicBezTo>
                    <a:pt x="10156" y="25905"/>
                    <a:pt x="4161" y="22460"/>
                    <a:pt x="1163" y="20760"/>
                  </a:cubicBezTo>
                  <a:cubicBezTo>
                    <a:pt x="761" y="13870"/>
                    <a:pt x="403" y="6980"/>
                    <a:pt x="0" y="134"/>
                  </a:cubicBezTo>
                  <a:close/>
                </a:path>
              </a:pathLst>
            </a:custGeom>
            <a:solidFill>
              <a:srgbClr val="F4F6F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1" name="Freeform: Shape 4400">
              <a:extLst>
                <a:ext uri="{FF2B5EF4-FFF2-40B4-BE49-F238E27FC236}">
                  <a16:creationId xmlns:a16="http://schemas.microsoft.com/office/drawing/2014/main" id="{C841A933-CD40-3974-B6B3-67D841051CAE}"/>
                </a:ext>
              </a:extLst>
            </p:cNvPr>
            <p:cNvSpPr/>
            <p:nvPr/>
          </p:nvSpPr>
          <p:spPr>
            <a:xfrm flipH="1">
              <a:off x="2567042" y="3048037"/>
              <a:ext cx="83571" cy="34553"/>
            </a:xfrm>
            <a:custGeom>
              <a:avLst/>
              <a:gdLst>
                <a:gd name="connsiteX0" fmla="*/ 0 w 70064"/>
                <a:gd name="connsiteY0" fmla="*/ 2035 h 28968"/>
                <a:gd name="connsiteX1" fmla="*/ 70065 w 70064"/>
                <a:gd name="connsiteY1" fmla="*/ 1363 h 28968"/>
                <a:gd name="connsiteX2" fmla="*/ 53108 w 70064"/>
                <a:gd name="connsiteY2" fmla="*/ 27806 h 28968"/>
                <a:gd name="connsiteX3" fmla="*/ 13601 w 70064"/>
                <a:gd name="connsiteY3" fmla="*/ 28969 h 28968"/>
                <a:gd name="connsiteX4" fmla="*/ 0 w 70064"/>
                <a:gd name="connsiteY4" fmla="*/ 2035 h 28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64" h="28968">
                  <a:moveTo>
                    <a:pt x="0" y="2035"/>
                  </a:moveTo>
                  <a:cubicBezTo>
                    <a:pt x="23221" y="-1545"/>
                    <a:pt x="46710" y="513"/>
                    <a:pt x="70065" y="1363"/>
                  </a:cubicBezTo>
                  <a:cubicBezTo>
                    <a:pt x="64472" y="10222"/>
                    <a:pt x="58835" y="19036"/>
                    <a:pt x="53108" y="27806"/>
                  </a:cubicBezTo>
                  <a:cubicBezTo>
                    <a:pt x="39909" y="27806"/>
                    <a:pt x="26711" y="27761"/>
                    <a:pt x="13601" y="28969"/>
                  </a:cubicBezTo>
                  <a:cubicBezTo>
                    <a:pt x="8993" y="20021"/>
                    <a:pt x="4429" y="11028"/>
                    <a:pt x="0" y="2035"/>
                  </a:cubicBezTo>
                  <a:close/>
                </a:path>
              </a:pathLst>
            </a:custGeom>
            <a:solidFill>
              <a:srgbClr val="5C9E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2" name="Freeform: Shape 4401">
              <a:extLst>
                <a:ext uri="{FF2B5EF4-FFF2-40B4-BE49-F238E27FC236}">
                  <a16:creationId xmlns:a16="http://schemas.microsoft.com/office/drawing/2014/main" id="{65E9ABCB-23EC-68CC-DA1B-175DC2737638}"/>
                </a:ext>
              </a:extLst>
            </p:cNvPr>
            <p:cNvSpPr/>
            <p:nvPr/>
          </p:nvSpPr>
          <p:spPr>
            <a:xfrm flipH="1">
              <a:off x="3434501" y="3056226"/>
              <a:ext cx="9480" cy="10727"/>
            </a:xfrm>
            <a:custGeom>
              <a:avLst/>
              <a:gdLst>
                <a:gd name="connsiteX0" fmla="*/ 2334 w 7947"/>
                <a:gd name="connsiteY0" fmla="*/ 0 h 8993"/>
                <a:gd name="connsiteX1" fmla="*/ 5645 w 7947"/>
                <a:gd name="connsiteY1" fmla="*/ 8993 h 8993"/>
                <a:gd name="connsiteX2" fmla="*/ 2334 w 7947"/>
                <a:gd name="connsiteY2" fmla="*/ 0 h 8993"/>
              </a:gdLst>
              <a:ahLst/>
              <a:cxnLst>
                <a:cxn ang="0">
                  <a:pos x="connsiteX0" y="connsiteY0"/>
                </a:cxn>
                <a:cxn ang="0">
                  <a:pos x="connsiteX1" y="connsiteY1"/>
                </a:cxn>
                <a:cxn ang="0">
                  <a:pos x="connsiteX2" y="connsiteY2"/>
                </a:cxn>
              </a:cxnLst>
              <a:rect l="l" t="t" r="r" b="b"/>
              <a:pathLst>
                <a:path w="7947" h="8993">
                  <a:moveTo>
                    <a:pt x="2334" y="0"/>
                  </a:moveTo>
                  <a:cubicBezTo>
                    <a:pt x="8464" y="447"/>
                    <a:pt x="9582" y="3445"/>
                    <a:pt x="5645" y="8993"/>
                  </a:cubicBezTo>
                  <a:cubicBezTo>
                    <a:pt x="-529" y="8501"/>
                    <a:pt x="-1648" y="5503"/>
                    <a:pt x="2334" y="0"/>
                  </a:cubicBezTo>
                  <a:close/>
                </a:path>
              </a:pathLst>
            </a:custGeom>
            <a:solidFill>
              <a:srgbClr val="7491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4" name="Freeform: Shape 4403">
              <a:extLst>
                <a:ext uri="{FF2B5EF4-FFF2-40B4-BE49-F238E27FC236}">
                  <a16:creationId xmlns:a16="http://schemas.microsoft.com/office/drawing/2014/main" id="{727CD5B0-2444-775E-92FE-AF887A74E4E8}"/>
                </a:ext>
              </a:extLst>
            </p:cNvPr>
            <p:cNvSpPr/>
            <p:nvPr/>
          </p:nvSpPr>
          <p:spPr>
            <a:xfrm flipH="1">
              <a:off x="3848619" y="3057400"/>
              <a:ext cx="253050" cy="247569"/>
            </a:xfrm>
            <a:custGeom>
              <a:avLst/>
              <a:gdLst>
                <a:gd name="connsiteX0" fmla="*/ 1119 w 212149"/>
                <a:gd name="connsiteY0" fmla="*/ 7561 h 207555"/>
                <a:gd name="connsiteX1" fmla="*/ 116730 w 212149"/>
                <a:gd name="connsiteY1" fmla="*/ 179 h 207555"/>
                <a:gd name="connsiteX2" fmla="*/ 119415 w 212149"/>
                <a:gd name="connsiteY2" fmla="*/ 0 h 207555"/>
                <a:gd name="connsiteX3" fmla="*/ 210419 w 212149"/>
                <a:gd name="connsiteY3" fmla="*/ 492 h 207555"/>
                <a:gd name="connsiteX4" fmla="*/ 210688 w 212149"/>
                <a:gd name="connsiteY4" fmla="*/ 77537 h 207555"/>
                <a:gd name="connsiteX5" fmla="*/ 205587 w 212149"/>
                <a:gd name="connsiteY5" fmla="*/ 9977 h 207555"/>
                <a:gd name="connsiteX6" fmla="*/ 65099 w 212149"/>
                <a:gd name="connsiteY6" fmla="*/ 10201 h 207555"/>
                <a:gd name="connsiteX7" fmla="*/ 63846 w 212149"/>
                <a:gd name="connsiteY7" fmla="*/ 206348 h 207555"/>
                <a:gd name="connsiteX8" fmla="*/ 59551 w 212149"/>
                <a:gd name="connsiteY8" fmla="*/ 207556 h 207555"/>
                <a:gd name="connsiteX9" fmla="*/ 59372 w 212149"/>
                <a:gd name="connsiteY9" fmla="*/ 183798 h 207555"/>
                <a:gd name="connsiteX10" fmla="*/ 59909 w 212149"/>
                <a:gd name="connsiteY10" fmla="*/ 129079 h 207555"/>
                <a:gd name="connsiteX11" fmla="*/ 59238 w 212149"/>
                <a:gd name="connsiteY11" fmla="*/ 11364 h 207555"/>
                <a:gd name="connsiteX12" fmla="*/ 0 w 212149"/>
                <a:gd name="connsiteY12" fmla="*/ 11588 h 207555"/>
                <a:gd name="connsiteX13" fmla="*/ 1119 w 212149"/>
                <a:gd name="connsiteY13" fmla="*/ 7561 h 20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149" h="207555">
                  <a:moveTo>
                    <a:pt x="1119" y="7561"/>
                  </a:moveTo>
                  <a:cubicBezTo>
                    <a:pt x="39507" y="2908"/>
                    <a:pt x="78342" y="4698"/>
                    <a:pt x="116730" y="179"/>
                  </a:cubicBezTo>
                  <a:lnTo>
                    <a:pt x="119415" y="0"/>
                  </a:lnTo>
                  <a:cubicBezTo>
                    <a:pt x="149705" y="2685"/>
                    <a:pt x="180084" y="2192"/>
                    <a:pt x="210419" y="492"/>
                  </a:cubicBezTo>
                  <a:cubicBezTo>
                    <a:pt x="212969" y="26084"/>
                    <a:pt x="212388" y="51900"/>
                    <a:pt x="210688" y="77537"/>
                  </a:cubicBezTo>
                  <a:cubicBezTo>
                    <a:pt x="210106" y="54943"/>
                    <a:pt x="211180" y="32080"/>
                    <a:pt x="205587" y="9977"/>
                  </a:cubicBezTo>
                  <a:cubicBezTo>
                    <a:pt x="158832" y="6398"/>
                    <a:pt x="111898" y="8232"/>
                    <a:pt x="65099" y="10201"/>
                  </a:cubicBezTo>
                  <a:cubicBezTo>
                    <a:pt x="62996" y="75524"/>
                    <a:pt x="62504" y="140980"/>
                    <a:pt x="63846" y="206348"/>
                  </a:cubicBezTo>
                  <a:lnTo>
                    <a:pt x="59551" y="207556"/>
                  </a:lnTo>
                  <a:cubicBezTo>
                    <a:pt x="59551" y="199592"/>
                    <a:pt x="59461" y="191672"/>
                    <a:pt x="59372" y="183798"/>
                  </a:cubicBezTo>
                  <a:cubicBezTo>
                    <a:pt x="59059" y="165543"/>
                    <a:pt x="59461" y="147289"/>
                    <a:pt x="59909" y="129079"/>
                  </a:cubicBezTo>
                  <a:cubicBezTo>
                    <a:pt x="59954" y="89841"/>
                    <a:pt x="60580" y="50603"/>
                    <a:pt x="59238" y="11364"/>
                  </a:cubicBezTo>
                  <a:cubicBezTo>
                    <a:pt x="39462" y="10738"/>
                    <a:pt x="19731" y="10872"/>
                    <a:pt x="0" y="11588"/>
                  </a:cubicBezTo>
                  <a:cubicBezTo>
                    <a:pt x="268" y="10604"/>
                    <a:pt x="850" y="8590"/>
                    <a:pt x="1119" y="7561"/>
                  </a:cubicBezTo>
                  <a:close/>
                </a:path>
              </a:pathLst>
            </a:cu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5" name="Rectangle: Rounded Corners 4404">
              <a:extLst>
                <a:ext uri="{FF2B5EF4-FFF2-40B4-BE49-F238E27FC236}">
                  <a16:creationId xmlns:a16="http://schemas.microsoft.com/office/drawing/2014/main" id="{165C5DD6-62D8-C214-5637-DAF141B0FA5A}"/>
                </a:ext>
              </a:extLst>
            </p:cNvPr>
            <p:cNvSpPr/>
            <p:nvPr/>
          </p:nvSpPr>
          <p:spPr>
            <a:xfrm flipH="1">
              <a:off x="1722185" y="5121377"/>
              <a:ext cx="930136" cy="162876"/>
            </a:xfrm>
            <a:prstGeom prst="roundRect">
              <a:avLst/>
            </a:prstGeom>
            <a:solidFill>
              <a:srgbClr val="516F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06" name="Freeform: Shape 4405">
              <a:extLst>
                <a:ext uri="{FF2B5EF4-FFF2-40B4-BE49-F238E27FC236}">
                  <a16:creationId xmlns:a16="http://schemas.microsoft.com/office/drawing/2014/main" id="{556DBA22-8BE9-E788-26B9-3D2E44139F88}"/>
                </a:ext>
              </a:extLst>
            </p:cNvPr>
            <p:cNvSpPr/>
            <p:nvPr/>
          </p:nvSpPr>
          <p:spPr>
            <a:xfrm flipH="1">
              <a:off x="2916650" y="3056149"/>
              <a:ext cx="20651" cy="28416"/>
            </a:xfrm>
            <a:custGeom>
              <a:avLst/>
              <a:gdLst>
                <a:gd name="connsiteX0" fmla="*/ 0 w 17314"/>
                <a:gd name="connsiteY0" fmla="*/ 6911 h 23823"/>
                <a:gd name="connsiteX1" fmla="*/ 17315 w 17314"/>
                <a:gd name="connsiteY1" fmla="*/ 21 h 23823"/>
                <a:gd name="connsiteX2" fmla="*/ 4519 w 17314"/>
                <a:gd name="connsiteY2" fmla="*/ 23823 h 23823"/>
                <a:gd name="connsiteX3" fmla="*/ 0 w 17314"/>
                <a:gd name="connsiteY3" fmla="*/ 6911 h 23823"/>
              </a:gdLst>
              <a:ahLst/>
              <a:cxnLst>
                <a:cxn ang="0">
                  <a:pos x="connsiteX0" y="connsiteY0"/>
                </a:cxn>
                <a:cxn ang="0">
                  <a:pos x="connsiteX1" y="connsiteY1"/>
                </a:cxn>
                <a:cxn ang="0">
                  <a:pos x="connsiteX2" y="connsiteY2"/>
                </a:cxn>
                <a:cxn ang="0">
                  <a:pos x="connsiteX3" y="connsiteY3"/>
                </a:cxn>
              </a:cxnLst>
              <a:rect l="l" t="t" r="r" b="b"/>
              <a:pathLst>
                <a:path w="17314" h="23823">
                  <a:moveTo>
                    <a:pt x="0" y="6911"/>
                  </a:moveTo>
                  <a:cubicBezTo>
                    <a:pt x="4564" y="2079"/>
                    <a:pt x="10335" y="-248"/>
                    <a:pt x="17315" y="21"/>
                  </a:cubicBezTo>
                  <a:cubicBezTo>
                    <a:pt x="13199" y="8030"/>
                    <a:pt x="8859" y="15949"/>
                    <a:pt x="4519" y="23823"/>
                  </a:cubicBezTo>
                  <a:cubicBezTo>
                    <a:pt x="2774" y="18231"/>
                    <a:pt x="1298" y="12593"/>
                    <a:pt x="0" y="6911"/>
                  </a:cubicBezTo>
                  <a:close/>
                </a:path>
              </a:pathLst>
            </a:custGeom>
            <a:solidFill>
              <a:srgbClr val="7576A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2" name="Freeform: Shape 4831">
              <a:extLst>
                <a:ext uri="{FF2B5EF4-FFF2-40B4-BE49-F238E27FC236}">
                  <a16:creationId xmlns:a16="http://schemas.microsoft.com/office/drawing/2014/main" id="{2CFFF271-741B-ED63-070E-DF1879C718EF}"/>
                </a:ext>
              </a:extLst>
            </p:cNvPr>
            <p:cNvSpPr/>
            <p:nvPr/>
          </p:nvSpPr>
          <p:spPr>
            <a:xfrm flipH="1">
              <a:off x="2901172" y="3064391"/>
              <a:ext cx="275908" cy="242980"/>
            </a:xfrm>
            <a:custGeom>
              <a:avLst/>
              <a:gdLst>
                <a:gd name="connsiteX0" fmla="*/ 197802 w 231313"/>
                <a:gd name="connsiteY0" fmla="*/ 20223 h 203707"/>
                <a:gd name="connsiteX1" fmla="*/ 201023 w 231313"/>
                <a:gd name="connsiteY1" fmla="*/ 0 h 203707"/>
                <a:gd name="connsiteX2" fmla="*/ 205542 w 231313"/>
                <a:gd name="connsiteY2" fmla="*/ 16912 h 203707"/>
                <a:gd name="connsiteX3" fmla="*/ 211627 w 231313"/>
                <a:gd name="connsiteY3" fmla="*/ 16510 h 203707"/>
                <a:gd name="connsiteX4" fmla="*/ 225765 w 231313"/>
                <a:gd name="connsiteY4" fmla="*/ 134 h 203707"/>
                <a:gd name="connsiteX5" fmla="*/ 231313 w 231313"/>
                <a:gd name="connsiteY5" fmla="*/ 69573 h 203707"/>
                <a:gd name="connsiteX6" fmla="*/ 228718 w 231313"/>
                <a:gd name="connsiteY6" fmla="*/ 94449 h 203707"/>
                <a:gd name="connsiteX7" fmla="*/ 221515 w 231313"/>
                <a:gd name="connsiteY7" fmla="*/ 97268 h 203707"/>
                <a:gd name="connsiteX8" fmla="*/ 229210 w 231313"/>
                <a:gd name="connsiteY8" fmla="*/ 108543 h 203707"/>
                <a:gd name="connsiteX9" fmla="*/ 219233 w 231313"/>
                <a:gd name="connsiteY9" fmla="*/ 142457 h 203707"/>
                <a:gd name="connsiteX10" fmla="*/ 135835 w 231313"/>
                <a:gd name="connsiteY10" fmla="*/ 143217 h 203707"/>
                <a:gd name="connsiteX11" fmla="*/ 104471 w 231313"/>
                <a:gd name="connsiteY11" fmla="*/ 124605 h 203707"/>
                <a:gd name="connsiteX12" fmla="*/ 61967 w 231313"/>
                <a:gd name="connsiteY12" fmla="*/ 144918 h 203707"/>
                <a:gd name="connsiteX13" fmla="*/ 105142 w 231313"/>
                <a:gd name="connsiteY13" fmla="*/ 130600 h 203707"/>
                <a:gd name="connsiteX14" fmla="*/ 136148 w 231313"/>
                <a:gd name="connsiteY14" fmla="*/ 148586 h 203707"/>
                <a:gd name="connsiteX15" fmla="*/ 89304 w 231313"/>
                <a:gd name="connsiteY15" fmla="*/ 172612 h 203707"/>
                <a:gd name="connsiteX16" fmla="*/ 65278 w 231313"/>
                <a:gd name="connsiteY16" fmla="*/ 203708 h 203707"/>
                <a:gd name="connsiteX17" fmla="*/ 46173 w 231313"/>
                <a:gd name="connsiteY17" fmla="*/ 139325 h 203707"/>
                <a:gd name="connsiteX18" fmla="*/ 0 w 231313"/>
                <a:gd name="connsiteY18" fmla="*/ 138251 h 203707"/>
                <a:gd name="connsiteX19" fmla="*/ 2908 w 231313"/>
                <a:gd name="connsiteY19" fmla="*/ 136864 h 203707"/>
                <a:gd name="connsiteX20" fmla="*/ 38075 w 231313"/>
                <a:gd name="connsiteY20" fmla="*/ 116283 h 203707"/>
                <a:gd name="connsiteX21" fmla="*/ 74852 w 231313"/>
                <a:gd name="connsiteY21" fmla="*/ 114896 h 203707"/>
                <a:gd name="connsiteX22" fmla="*/ 124068 w 231313"/>
                <a:gd name="connsiteY22" fmla="*/ 91899 h 203707"/>
                <a:gd name="connsiteX23" fmla="*/ 212432 w 231313"/>
                <a:gd name="connsiteY23" fmla="*/ 87156 h 203707"/>
                <a:gd name="connsiteX24" fmla="*/ 135074 w 231313"/>
                <a:gd name="connsiteY24" fmla="*/ 84427 h 203707"/>
                <a:gd name="connsiteX25" fmla="*/ 161248 w 231313"/>
                <a:gd name="connsiteY25" fmla="*/ 77447 h 203707"/>
                <a:gd name="connsiteX26" fmla="*/ 159145 w 231313"/>
                <a:gd name="connsiteY26" fmla="*/ 50782 h 203707"/>
                <a:gd name="connsiteX27" fmla="*/ 188540 w 231313"/>
                <a:gd name="connsiteY27" fmla="*/ 47113 h 203707"/>
                <a:gd name="connsiteX28" fmla="*/ 197802 w 231313"/>
                <a:gd name="connsiteY28" fmla="*/ 20223 h 203707"/>
                <a:gd name="connsiteX29" fmla="*/ 190285 w 231313"/>
                <a:gd name="connsiteY29" fmla="*/ 94405 h 203707"/>
                <a:gd name="connsiteX30" fmla="*/ 216593 w 231313"/>
                <a:gd name="connsiteY30" fmla="*/ 104650 h 203707"/>
                <a:gd name="connsiteX31" fmla="*/ 217085 w 231313"/>
                <a:gd name="connsiteY31" fmla="*/ 93733 h 203707"/>
                <a:gd name="connsiteX32" fmla="*/ 190285 w 231313"/>
                <a:gd name="connsiteY32" fmla="*/ 94405 h 20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1313" h="203707">
                  <a:moveTo>
                    <a:pt x="197802" y="20223"/>
                  </a:moveTo>
                  <a:cubicBezTo>
                    <a:pt x="198876" y="13467"/>
                    <a:pt x="199726" y="6666"/>
                    <a:pt x="201023" y="0"/>
                  </a:cubicBezTo>
                  <a:cubicBezTo>
                    <a:pt x="202321" y="5682"/>
                    <a:pt x="203797" y="11320"/>
                    <a:pt x="205542" y="16912"/>
                  </a:cubicBezTo>
                  <a:cubicBezTo>
                    <a:pt x="207063" y="16823"/>
                    <a:pt x="210106" y="16599"/>
                    <a:pt x="211627" y="16510"/>
                  </a:cubicBezTo>
                  <a:cubicBezTo>
                    <a:pt x="216504" y="11185"/>
                    <a:pt x="221023" y="5593"/>
                    <a:pt x="225765" y="134"/>
                  </a:cubicBezTo>
                  <a:cubicBezTo>
                    <a:pt x="230060" y="23042"/>
                    <a:pt x="227645" y="46576"/>
                    <a:pt x="231313" y="69573"/>
                  </a:cubicBezTo>
                  <a:cubicBezTo>
                    <a:pt x="230419" y="77850"/>
                    <a:pt x="229568" y="86127"/>
                    <a:pt x="228718" y="94449"/>
                  </a:cubicBezTo>
                  <a:cubicBezTo>
                    <a:pt x="226929" y="95165"/>
                    <a:pt x="223305" y="96552"/>
                    <a:pt x="221515" y="97268"/>
                  </a:cubicBezTo>
                  <a:cubicBezTo>
                    <a:pt x="224065" y="100982"/>
                    <a:pt x="226615" y="104740"/>
                    <a:pt x="229210" y="108543"/>
                  </a:cubicBezTo>
                  <a:cubicBezTo>
                    <a:pt x="225900" y="119818"/>
                    <a:pt x="222723" y="131182"/>
                    <a:pt x="219233" y="142457"/>
                  </a:cubicBezTo>
                  <a:cubicBezTo>
                    <a:pt x="192522" y="128318"/>
                    <a:pt x="163843" y="146797"/>
                    <a:pt x="135835" y="143217"/>
                  </a:cubicBezTo>
                  <a:cubicBezTo>
                    <a:pt x="122413" y="143710"/>
                    <a:pt x="113733" y="132345"/>
                    <a:pt x="104471" y="124605"/>
                  </a:cubicBezTo>
                  <a:cubicBezTo>
                    <a:pt x="92302" y="135119"/>
                    <a:pt x="77805" y="142099"/>
                    <a:pt x="61967" y="144918"/>
                  </a:cubicBezTo>
                  <a:cubicBezTo>
                    <a:pt x="78119" y="153553"/>
                    <a:pt x="91988" y="138072"/>
                    <a:pt x="105142" y="130600"/>
                  </a:cubicBezTo>
                  <a:cubicBezTo>
                    <a:pt x="114583" y="137938"/>
                    <a:pt x="124023" y="146081"/>
                    <a:pt x="136148" y="148586"/>
                  </a:cubicBezTo>
                  <a:cubicBezTo>
                    <a:pt x="119325" y="153642"/>
                    <a:pt x="102458" y="160756"/>
                    <a:pt x="89304" y="172612"/>
                  </a:cubicBezTo>
                  <a:cubicBezTo>
                    <a:pt x="81116" y="182814"/>
                    <a:pt x="74763" y="194491"/>
                    <a:pt x="65278" y="203708"/>
                  </a:cubicBezTo>
                  <a:cubicBezTo>
                    <a:pt x="66844" y="181471"/>
                    <a:pt x="67873" y="152479"/>
                    <a:pt x="46173" y="139325"/>
                  </a:cubicBezTo>
                  <a:cubicBezTo>
                    <a:pt x="31051" y="135790"/>
                    <a:pt x="15346" y="137714"/>
                    <a:pt x="0" y="138251"/>
                  </a:cubicBezTo>
                  <a:lnTo>
                    <a:pt x="2908" y="136864"/>
                  </a:lnTo>
                  <a:cubicBezTo>
                    <a:pt x="15928" y="132301"/>
                    <a:pt x="26532" y="123486"/>
                    <a:pt x="38075" y="116283"/>
                  </a:cubicBezTo>
                  <a:cubicBezTo>
                    <a:pt x="49842" y="111988"/>
                    <a:pt x="62638" y="115701"/>
                    <a:pt x="74852" y="114896"/>
                  </a:cubicBezTo>
                  <a:cubicBezTo>
                    <a:pt x="93957" y="114941"/>
                    <a:pt x="108856" y="101518"/>
                    <a:pt x="124068" y="91899"/>
                  </a:cubicBezTo>
                  <a:cubicBezTo>
                    <a:pt x="153060" y="85590"/>
                    <a:pt x="183037" y="89259"/>
                    <a:pt x="212432" y="87156"/>
                  </a:cubicBezTo>
                  <a:cubicBezTo>
                    <a:pt x="186617" y="86664"/>
                    <a:pt x="160845" y="85098"/>
                    <a:pt x="135074" y="84427"/>
                  </a:cubicBezTo>
                  <a:cubicBezTo>
                    <a:pt x="143799" y="82235"/>
                    <a:pt x="152524" y="79774"/>
                    <a:pt x="161248" y="77447"/>
                  </a:cubicBezTo>
                  <a:cubicBezTo>
                    <a:pt x="160890" y="68499"/>
                    <a:pt x="160667" y="59551"/>
                    <a:pt x="159145" y="50782"/>
                  </a:cubicBezTo>
                  <a:cubicBezTo>
                    <a:pt x="168944" y="50066"/>
                    <a:pt x="179413" y="51497"/>
                    <a:pt x="188540" y="47113"/>
                  </a:cubicBezTo>
                  <a:cubicBezTo>
                    <a:pt x="195744" y="40133"/>
                    <a:pt x="196147" y="29485"/>
                    <a:pt x="197802" y="20223"/>
                  </a:cubicBezTo>
                  <a:close/>
                  <a:moveTo>
                    <a:pt x="190285" y="94405"/>
                  </a:moveTo>
                  <a:cubicBezTo>
                    <a:pt x="195520" y="103934"/>
                    <a:pt x="207466" y="102279"/>
                    <a:pt x="216593" y="104650"/>
                  </a:cubicBezTo>
                  <a:cubicBezTo>
                    <a:pt x="216728" y="101921"/>
                    <a:pt x="216951" y="96463"/>
                    <a:pt x="217085" y="93733"/>
                  </a:cubicBezTo>
                  <a:cubicBezTo>
                    <a:pt x="208137" y="93823"/>
                    <a:pt x="199189" y="93912"/>
                    <a:pt x="190285" y="94405"/>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3" name="Freeform: Shape 4832">
              <a:extLst>
                <a:ext uri="{FF2B5EF4-FFF2-40B4-BE49-F238E27FC236}">
                  <a16:creationId xmlns:a16="http://schemas.microsoft.com/office/drawing/2014/main" id="{587B71B0-52A9-8190-EC65-BDE33AE7F09D}"/>
                </a:ext>
              </a:extLst>
            </p:cNvPr>
            <p:cNvSpPr/>
            <p:nvPr/>
          </p:nvSpPr>
          <p:spPr>
            <a:xfrm flipH="1">
              <a:off x="2478344" y="3064552"/>
              <a:ext cx="26683" cy="1084048"/>
            </a:xfrm>
            <a:custGeom>
              <a:avLst/>
              <a:gdLst>
                <a:gd name="connsiteX0" fmla="*/ 0 w 22370"/>
                <a:gd name="connsiteY0" fmla="*/ 0 h 908833"/>
                <a:gd name="connsiteX1" fmla="*/ 22371 w 22370"/>
                <a:gd name="connsiteY1" fmla="*/ 492 h 908833"/>
                <a:gd name="connsiteX2" fmla="*/ 21252 w 22370"/>
                <a:gd name="connsiteY2" fmla="*/ 895366 h 908833"/>
                <a:gd name="connsiteX3" fmla="*/ 850 w 22370"/>
                <a:gd name="connsiteY3" fmla="*/ 908833 h 908833"/>
                <a:gd name="connsiteX4" fmla="*/ 268 w 22370"/>
                <a:gd name="connsiteY4" fmla="*/ 398288 h 908833"/>
                <a:gd name="connsiteX5" fmla="*/ 0 w 22370"/>
                <a:gd name="connsiteY5" fmla="*/ 0 h 90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70" h="908833">
                  <a:moveTo>
                    <a:pt x="0" y="0"/>
                  </a:moveTo>
                  <a:cubicBezTo>
                    <a:pt x="7427" y="134"/>
                    <a:pt x="14899" y="313"/>
                    <a:pt x="22371" y="492"/>
                  </a:cubicBezTo>
                  <a:cubicBezTo>
                    <a:pt x="20491" y="298783"/>
                    <a:pt x="22013" y="597075"/>
                    <a:pt x="21252" y="895366"/>
                  </a:cubicBezTo>
                  <a:cubicBezTo>
                    <a:pt x="14138" y="899393"/>
                    <a:pt x="7293" y="903867"/>
                    <a:pt x="850" y="908833"/>
                  </a:cubicBezTo>
                  <a:cubicBezTo>
                    <a:pt x="-1387" y="738681"/>
                    <a:pt x="1700" y="568440"/>
                    <a:pt x="268" y="398288"/>
                  </a:cubicBezTo>
                  <a:cubicBezTo>
                    <a:pt x="313" y="265541"/>
                    <a:pt x="1387" y="132748"/>
                    <a:pt x="0" y="0"/>
                  </a:cubicBezTo>
                  <a:close/>
                </a:path>
              </a:pathLst>
            </a:custGeom>
            <a:solidFill>
              <a:srgbClr val="AFD6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6" name="Freeform: Shape 4835">
              <a:extLst>
                <a:ext uri="{FF2B5EF4-FFF2-40B4-BE49-F238E27FC236}">
                  <a16:creationId xmlns:a16="http://schemas.microsoft.com/office/drawing/2014/main" id="{8A92CA23-8369-D0CD-4EEC-953FA06DF120}"/>
                </a:ext>
              </a:extLst>
            </p:cNvPr>
            <p:cNvSpPr/>
            <p:nvPr/>
          </p:nvSpPr>
          <p:spPr>
            <a:xfrm flipH="1">
              <a:off x="4029988" y="3070478"/>
              <a:ext cx="75781" cy="140886"/>
            </a:xfrm>
            <a:custGeom>
              <a:avLst/>
              <a:gdLst>
                <a:gd name="connsiteX0" fmla="*/ 3439 w 63532"/>
                <a:gd name="connsiteY0" fmla="*/ 624 h 118115"/>
                <a:gd name="connsiteX1" fmla="*/ 62676 w 63532"/>
                <a:gd name="connsiteY1" fmla="*/ 400 h 118115"/>
                <a:gd name="connsiteX2" fmla="*/ 63347 w 63532"/>
                <a:gd name="connsiteY2" fmla="*/ 118115 h 118115"/>
                <a:gd name="connsiteX3" fmla="*/ 2946 w 63532"/>
                <a:gd name="connsiteY3" fmla="*/ 117623 h 118115"/>
                <a:gd name="connsiteX4" fmla="*/ 3439 w 63532"/>
                <a:gd name="connsiteY4" fmla="*/ 624 h 118115"/>
                <a:gd name="connsiteX5" fmla="*/ 10821 w 63532"/>
                <a:gd name="connsiteY5" fmla="*/ 19192 h 118115"/>
                <a:gd name="connsiteX6" fmla="*/ 11044 w 63532"/>
                <a:gd name="connsiteY6" fmla="*/ 44068 h 118115"/>
                <a:gd name="connsiteX7" fmla="*/ 20619 w 63532"/>
                <a:gd name="connsiteY7" fmla="*/ 39907 h 118115"/>
                <a:gd name="connsiteX8" fmla="*/ 10821 w 63532"/>
                <a:gd name="connsiteY8" fmla="*/ 19192 h 118115"/>
                <a:gd name="connsiteX9" fmla="*/ 42990 w 63532"/>
                <a:gd name="connsiteY9" fmla="*/ 26798 h 118115"/>
                <a:gd name="connsiteX10" fmla="*/ 49299 w 63532"/>
                <a:gd name="connsiteY10" fmla="*/ 39191 h 118115"/>
                <a:gd name="connsiteX11" fmla="*/ 42990 w 63532"/>
                <a:gd name="connsiteY11" fmla="*/ 26798 h 118115"/>
                <a:gd name="connsiteX12" fmla="*/ 10955 w 63532"/>
                <a:gd name="connsiteY12" fmla="*/ 74268 h 118115"/>
                <a:gd name="connsiteX13" fmla="*/ 10418 w 63532"/>
                <a:gd name="connsiteY13" fmla="*/ 80264 h 118115"/>
                <a:gd name="connsiteX14" fmla="*/ 57218 w 63532"/>
                <a:gd name="connsiteY14" fmla="*/ 79817 h 118115"/>
                <a:gd name="connsiteX15" fmla="*/ 57486 w 63532"/>
                <a:gd name="connsiteY15" fmla="*/ 74000 h 118115"/>
                <a:gd name="connsiteX16" fmla="*/ 10955 w 63532"/>
                <a:gd name="connsiteY16" fmla="*/ 74268 h 11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532" h="118115">
                  <a:moveTo>
                    <a:pt x="3439" y="624"/>
                  </a:moveTo>
                  <a:cubicBezTo>
                    <a:pt x="23170" y="-92"/>
                    <a:pt x="42901" y="-226"/>
                    <a:pt x="62676" y="400"/>
                  </a:cubicBezTo>
                  <a:cubicBezTo>
                    <a:pt x="64018" y="39639"/>
                    <a:pt x="63392" y="78877"/>
                    <a:pt x="63347" y="118115"/>
                  </a:cubicBezTo>
                  <a:cubicBezTo>
                    <a:pt x="43214" y="117713"/>
                    <a:pt x="23080" y="117713"/>
                    <a:pt x="2946" y="117623"/>
                  </a:cubicBezTo>
                  <a:cubicBezTo>
                    <a:pt x="172" y="78787"/>
                    <a:pt x="-2199" y="39281"/>
                    <a:pt x="3439" y="624"/>
                  </a:cubicBezTo>
                  <a:close/>
                  <a:moveTo>
                    <a:pt x="10821" y="19192"/>
                  </a:moveTo>
                  <a:cubicBezTo>
                    <a:pt x="10776" y="27424"/>
                    <a:pt x="10866" y="35746"/>
                    <a:pt x="11044" y="44068"/>
                  </a:cubicBezTo>
                  <a:cubicBezTo>
                    <a:pt x="13416" y="43039"/>
                    <a:pt x="18248" y="40936"/>
                    <a:pt x="20619" y="39907"/>
                  </a:cubicBezTo>
                  <a:cubicBezTo>
                    <a:pt x="18874" y="32256"/>
                    <a:pt x="20664" y="21608"/>
                    <a:pt x="10821" y="19192"/>
                  </a:cubicBezTo>
                  <a:close/>
                  <a:moveTo>
                    <a:pt x="42990" y="26798"/>
                  </a:moveTo>
                  <a:cubicBezTo>
                    <a:pt x="37755" y="30914"/>
                    <a:pt x="42095" y="44560"/>
                    <a:pt x="49299" y="39191"/>
                  </a:cubicBezTo>
                  <a:cubicBezTo>
                    <a:pt x="54354" y="35030"/>
                    <a:pt x="50104" y="21563"/>
                    <a:pt x="42990" y="26798"/>
                  </a:cubicBezTo>
                  <a:close/>
                  <a:moveTo>
                    <a:pt x="10955" y="74268"/>
                  </a:moveTo>
                  <a:lnTo>
                    <a:pt x="10418" y="80264"/>
                  </a:lnTo>
                  <a:cubicBezTo>
                    <a:pt x="25988" y="79235"/>
                    <a:pt x="41603" y="79190"/>
                    <a:pt x="57218" y="79817"/>
                  </a:cubicBezTo>
                  <a:lnTo>
                    <a:pt x="57486" y="74000"/>
                  </a:lnTo>
                  <a:cubicBezTo>
                    <a:pt x="41961" y="74000"/>
                    <a:pt x="26480" y="74134"/>
                    <a:pt x="10955" y="74268"/>
                  </a:cubicBezTo>
                  <a:close/>
                </a:path>
              </a:pathLst>
            </a:custGeom>
            <a:solidFill>
              <a:srgbClr val="FE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1" name="Freeform: Shape 4840">
              <a:extLst>
                <a:ext uri="{FF2B5EF4-FFF2-40B4-BE49-F238E27FC236}">
                  <a16:creationId xmlns:a16="http://schemas.microsoft.com/office/drawing/2014/main" id="{8F473689-2ED0-90BD-F585-FE5E20CB6917}"/>
                </a:ext>
              </a:extLst>
            </p:cNvPr>
            <p:cNvSpPr/>
            <p:nvPr/>
          </p:nvSpPr>
          <p:spPr>
            <a:xfrm flipH="1">
              <a:off x="1959454" y="4547734"/>
              <a:ext cx="289090" cy="85547"/>
            </a:xfrm>
            <a:custGeom>
              <a:avLst/>
              <a:gdLst>
                <a:gd name="connsiteX0" fmla="*/ 0 w 242364"/>
                <a:gd name="connsiteY0" fmla="*/ 0 h 71720"/>
                <a:gd name="connsiteX1" fmla="*/ 235922 w 242364"/>
                <a:gd name="connsiteY1" fmla="*/ 67783 h 71720"/>
                <a:gd name="connsiteX2" fmla="*/ 242364 w 242364"/>
                <a:gd name="connsiteY2" fmla="*/ 69394 h 71720"/>
                <a:gd name="connsiteX3" fmla="*/ 761 w 242364"/>
                <a:gd name="connsiteY3" fmla="*/ 71721 h 71720"/>
                <a:gd name="connsiteX4" fmla="*/ 0 w 242364"/>
                <a:gd name="connsiteY4" fmla="*/ 0 h 71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364" h="71720">
                  <a:moveTo>
                    <a:pt x="0" y="0"/>
                  </a:moveTo>
                  <a:cubicBezTo>
                    <a:pt x="76284" y="29977"/>
                    <a:pt x="155163" y="53511"/>
                    <a:pt x="235922" y="67783"/>
                  </a:cubicBezTo>
                  <a:lnTo>
                    <a:pt x="242364" y="69394"/>
                  </a:lnTo>
                  <a:cubicBezTo>
                    <a:pt x="161919" y="73376"/>
                    <a:pt x="81250" y="69170"/>
                    <a:pt x="761" y="71721"/>
                  </a:cubicBezTo>
                  <a:cubicBezTo>
                    <a:pt x="537" y="47829"/>
                    <a:pt x="626" y="23892"/>
                    <a:pt x="0" y="0"/>
                  </a:cubicBezTo>
                  <a:close/>
                </a:path>
              </a:pathLst>
            </a:custGeom>
            <a:solidFill>
              <a:srgbClr val="FE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2" name="Freeform: Shape 4841">
              <a:extLst>
                <a:ext uri="{FF2B5EF4-FFF2-40B4-BE49-F238E27FC236}">
                  <a16:creationId xmlns:a16="http://schemas.microsoft.com/office/drawing/2014/main" id="{88B47274-4AB2-0644-34E4-5CF7B6B9E89C}"/>
                </a:ext>
              </a:extLst>
            </p:cNvPr>
            <p:cNvSpPr/>
            <p:nvPr/>
          </p:nvSpPr>
          <p:spPr>
            <a:xfrm flipH="1">
              <a:off x="3721656" y="3080700"/>
              <a:ext cx="57424" cy="39246"/>
            </a:xfrm>
            <a:custGeom>
              <a:avLst/>
              <a:gdLst>
                <a:gd name="connsiteX0" fmla="*/ 34108 w 48143"/>
                <a:gd name="connsiteY0" fmla="*/ 18 h 32903"/>
                <a:gd name="connsiteX1" fmla="*/ 42117 w 48143"/>
                <a:gd name="connsiteY1" fmla="*/ 19973 h 32903"/>
                <a:gd name="connsiteX2" fmla="*/ 36300 w 48143"/>
                <a:gd name="connsiteY2" fmla="*/ 9011 h 32903"/>
                <a:gd name="connsiteX3" fmla="*/ 10485 w 48143"/>
                <a:gd name="connsiteY3" fmla="*/ 32903 h 32903"/>
                <a:gd name="connsiteX4" fmla="*/ 283 w 48143"/>
                <a:gd name="connsiteY4" fmla="*/ 13396 h 32903"/>
                <a:gd name="connsiteX5" fmla="*/ 8784 w 48143"/>
                <a:gd name="connsiteY5" fmla="*/ 4403 h 32903"/>
                <a:gd name="connsiteX6" fmla="*/ 29679 w 48143"/>
                <a:gd name="connsiteY6" fmla="*/ 12770 h 32903"/>
                <a:gd name="connsiteX7" fmla="*/ 34108 w 48143"/>
                <a:gd name="connsiteY7" fmla="*/ 18 h 3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43" h="32903">
                  <a:moveTo>
                    <a:pt x="34108" y="18"/>
                  </a:moveTo>
                  <a:cubicBezTo>
                    <a:pt x="44622" y="-608"/>
                    <a:pt x="55092" y="15007"/>
                    <a:pt x="42117" y="19973"/>
                  </a:cubicBezTo>
                  <a:cubicBezTo>
                    <a:pt x="40640" y="17244"/>
                    <a:pt x="37732" y="11785"/>
                    <a:pt x="36300" y="9011"/>
                  </a:cubicBezTo>
                  <a:cubicBezTo>
                    <a:pt x="29992" y="19212"/>
                    <a:pt x="22967" y="29950"/>
                    <a:pt x="10485" y="32903"/>
                  </a:cubicBezTo>
                  <a:cubicBezTo>
                    <a:pt x="7129" y="26595"/>
                    <a:pt x="-1685" y="21405"/>
                    <a:pt x="283" y="13396"/>
                  </a:cubicBezTo>
                  <a:cubicBezTo>
                    <a:pt x="2431" y="11159"/>
                    <a:pt x="6637" y="6685"/>
                    <a:pt x="8784" y="4403"/>
                  </a:cubicBezTo>
                  <a:cubicBezTo>
                    <a:pt x="15719" y="7222"/>
                    <a:pt x="22699" y="9996"/>
                    <a:pt x="29679" y="12770"/>
                  </a:cubicBezTo>
                  <a:cubicBezTo>
                    <a:pt x="30797" y="9593"/>
                    <a:pt x="33034" y="3195"/>
                    <a:pt x="34108" y="18"/>
                  </a:cubicBezTo>
                  <a:close/>
                </a:path>
              </a:pathLst>
            </a:custGeom>
            <a:solidFill>
              <a:srgbClr val="E4EF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3" name="Freeform: Shape 4842">
              <a:extLst>
                <a:ext uri="{FF2B5EF4-FFF2-40B4-BE49-F238E27FC236}">
                  <a16:creationId xmlns:a16="http://schemas.microsoft.com/office/drawing/2014/main" id="{F0635C8F-A9AE-1BFB-8E5C-E544E66C1565}"/>
                </a:ext>
              </a:extLst>
            </p:cNvPr>
            <p:cNvSpPr/>
            <p:nvPr/>
          </p:nvSpPr>
          <p:spPr>
            <a:xfrm flipH="1">
              <a:off x="3310713" y="3082323"/>
              <a:ext cx="152098" cy="33408"/>
            </a:xfrm>
            <a:custGeom>
              <a:avLst/>
              <a:gdLst>
                <a:gd name="connsiteX0" fmla="*/ 1747 w 127514"/>
                <a:gd name="connsiteY0" fmla="*/ 28008 h 28008"/>
                <a:gd name="connsiteX1" fmla="*/ 1210 w 127514"/>
                <a:gd name="connsiteY1" fmla="*/ 0 h 28008"/>
                <a:gd name="connsiteX2" fmla="*/ 127515 w 127514"/>
                <a:gd name="connsiteY2" fmla="*/ 3042 h 28008"/>
                <a:gd name="connsiteX3" fmla="*/ 67561 w 127514"/>
                <a:gd name="connsiteY3" fmla="*/ 7964 h 28008"/>
                <a:gd name="connsiteX4" fmla="*/ 81342 w 127514"/>
                <a:gd name="connsiteY4" fmla="*/ 13557 h 28008"/>
                <a:gd name="connsiteX5" fmla="*/ 84295 w 127514"/>
                <a:gd name="connsiteY5" fmla="*/ 18344 h 28008"/>
                <a:gd name="connsiteX6" fmla="*/ 49217 w 127514"/>
                <a:gd name="connsiteY6" fmla="*/ 25503 h 28008"/>
                <a:gd name="connsiteX7" fmla="*/ 12395 w 127514"/>
                <a:gd name="connsiteY7" fmla="*/ 26576 h 28008"/>
                <a:gd name="connsiteX8" fmla="*/ 1747 w 127514"/>
                <a:gd name="connsiteY8" fmla="*/ 28008 h 2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4" h="28008">
                  <a:moveTo>
                    <a:pt x="1747" y="28008"/>
                  </a:moveTo>
                  <a:cubicBezTo>
                    <a:pt x="-625" y="18791"/>
                    <a:pt x="-356" y="9306"/>
                    <a:pt x="1210" y="0"/>
                  </a:cubicBezTo>
                  <a:cubicBezTo>
                    <a:pt x="43222" y="3982"/>
                    <a:pt x="85592" y="-2908"/>
                    <a:pt x="127515" y="3042"/>
                  </a:cubicBezTo>
                  <a:cubicBezTo>
                    <a:pt x="107739" y="6935"/>
                    <a:pt x="87650" y="8367"/>
                    <a:pt x="67561" y="7964"/>
                  </a:cubicBezTo>
                  <a:cubicBezTo>
                    <a:pt x="72170" y="9754"/>
                    <a:pt x="76778" y="11498"/>
                    <a:pt x="81342" y="13557"/>
                  </a:cubicBezTo>
                  <a:cubicBezTo>
                    <a:pt x="82057" y="14765"/>
                    <a:pt x="83534" y="17136"/>
                    <a:pt x="84295" y="18344"/>
                  </a:cubicBezTo>
                  <a:cubicBezTo>
                    <a:pt x="72214" y="18747"/>
                    <a:pt x="60850" y="22997"/>
                    <a:pt x="49217" y="25503"/>
                  </a:cubicBezTo>
                  <a:cubicBezTo>
                    <a:pt x="37003" y="27113"/>
                    <a:pt x="24654" y="25771"/>
                    <a:pt x="12395" y="26576"/>
                  </a:cubicBezTo>
                  <a:cubicBezTo>
                    <a:pt x="9755" y="26934"/>
                    <a:pt x="4386" y="27650"/>
                    <a:pt x="1747" y="28008"/>
                  </a:cubicBezTo>
                  <a:close/>
                </a:path>
              </a:pathLst>
            </a:custGeom>
            <a:solidFill>
              <a:srgbClr val="3757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4" name="Freeform: Shape 4843">
              <a:extLst>
                <a:ext uri="{FF2B5EF4-FFF2-40B4-BE49-F238E27FC236}">
                  <a16:creationId xmlns:a16="http://schemas.microsoft.com/office/drawing/2014/main" id="{995AF260-74F2-66EF-0BC9-7ACF54F85567}"/>
                </a:ext>
              </a:extLst>
            </p:cNvPr>
            <p:cNvSpPr/>
            <p:nvPr/>
          </p:nvSpPr>
          <p:spPr>
            <a:xfrm flipH="1">
              <a:off x="2544281" y="3080615"/>
              <a:ext cx="126255" cy="370048"/>
            </a:xfrm>
            <a:custGeom>
              <a:avLst/>
              <a:gdLst>
                <a:gd name="connsiteX0" fmla="*/ 30304 w 105849"/>
                <a:gd name="connsiteY0" fmla="*/ 1655 h 310237"/>
                <a:gd name="connsiteX1" fmla="*/ 69811 w 105849"/>
                <a:gd name="connsiteY1" fmla="*/ 492 h 310237"/>
                <a:gd name="connsiteX2" fmla="*/ 76612 w 105849"/>
                <a:gd name="connsiteY2" fmla="*/ 0 h 310237"/>
                <a:gd name="connsiteX3" fmla="*/ 105604 w 105849"/>
                <a:gd name="connsiteY3" fmla="*/ 48947 h 310237"/>
                <a:gd name="connsiteX4" fmla="*/ 72808 w 105849"/>
                <a:gd name="connsiteY4" fmla="*/ 95076 h 310237"/>
                <a:gd name="connsiteX5" fmla="*/ 72764 w 105849"/>
                <a:gd name="connsiteY5" fmla="*/ 232432 h 310237"/>
                <a:gd name="connsiteX6" fmla="*/ 67932 w 105849"/>
                <a:gd name="connsiteY6" fmla="*/ 274265 h 310237"/>
                <a:gd name="connsiteX7" fmla="*/ 39834 w 105849"/>
                <a:gd name="connsiteY7" fmla="*/ 275384 h 310237"/>
                <a:gd name="connsiteX8" fmla="*/ 37239 w 105849"/>
                <a:gd name="connsiteY8" fmla="*/ 304958 h 310237"/>
                <a:gd name="connsiteX9" fmla="*/ 35897 w 105849"/>
                <a:gd name="connsiteY9" fmla="*/ 307553 h 310237"/>
                <a:gd name="connsiteX10" fmla="*/ 29633 w 105849"/>
                <a:gd name="connsiteY10" fmla="*/ 310237 h 310237"/>
                <a:gd name="connsiteX11" fmla="*/ 30036 w 105849"/>
                <a:gd name="connsiteY11" fmla="*/ 94091 h 310237"/>
                <a:gd name="connsiteX12" fmla="*/ 954 w 105849"/>
                <a:gd name="connsiteY12" fmla="*/ 57672 h 310237"/>
                <a:gd name="connsiteX13" fmla="*/ 25785 w 105849"/>
                <a:gd name="connsiteY13" fmla="*/ 2013 h 310237"/>
                <a:gd name="connsiteX14" fmla="*/ 30304 w 105849"/>
                <a:gd name="connsiteY14" fmla="*/ 1655 h 31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849" h="310237">
                  <a:moveTo>
                    <a:pt x="30304" y="1655"/>
                  </a:moveTo>
                  <a:cubicBezTo>
                    <a:pt x="43413" y="447"/>
                    <a:pt x="56612" y="537"/>
                    <a:pt x="69811" y="492"/>
                  </a:cubicBezTo>
                  <a:cubicBezTo>
                    <a:pt x="71511" y="358"/>
                    <a:pt x="74911" y="134"/>
                    <a:pt x="76612" y="0"/>
                  </a:cubicBezTo>
                  <a:cubicBezTo>
                    <a:pt x="90929" y="12751"/>
                    <a:pt x="108109" y="27516"/>
                    <a:pt x="105604" y="48947"/>
                  </a:cubicBezTo>
                  <a:cubicBezTo>
                    <a:pt x="107573" y="70647"/>
                    <a:pt x="90392" y="86038"/>
                    <a:pt x="72808" y="95076"/>
                  </a:cubicBezTo>
                  <a:cubicBezTo>
                    <a:pt x="71958" y="140846"/>
                    <a:pt x="73122" y="186661"/>
                    <a:pt x="72764" y="232432"/>
                  </a:cubicBezTo>
                  <a:cubicBezTo>
                    <a:pt x="72137" y="246346"/>
                    <a:pt x="75090" y="261559"/>
                    <a:pt x="67932" y="274265"/>
                  </a:cubicBezTo>
                  <a:cubicBezTo>
                    <a:pt x="58536" y="274713"/>
                    <a:pt x="49140" y="275070"/>
                    <a:pt x="39834" y="275384"/>
                  </a:cubicBezTo>
                  <a:cubicBezTo>
                    <a:pt x="39073" y="285227"/>
                    <a:pt x="38268" y="295115"/>
                    <a:pt x="37239" y="304958"/>
                  </a:cubicBezTo>
                  <a:cubicBezTo>
                    <a:pt x="36881" y="305629"/>
                    <a:pt x="36210" y="306926"/>
                    <a:pt x="35897" y="307553"/>
                  </a:cubicBezTo>
                  <a:lnTo>
                    <a:pt x="29633" y="310237"/>
                  </a:lnTo>
                  <a:cubicBezTo>
                    <a:pt x="31020" y="238203"/>
                    <a:pt x="30394" y="166125"/>
                    <a:pt x="30036" y="94091"/>
                  </a:cubicBezTo>
                  <a:cubicBezTo>
                    <a:pt x="16926" y="85367"/>
                    <a:pt x="1401" y="75300"/>
                    <a:pt x="954" y="57672"/>
                  </a:cubicBezTo>
                  <a:cubicBezTo>
                    <a:pt x="-3610" y="35525"/>
                    <a:pt x="8783" y="15078"/>
                    <a:pt x="25785" y="2013"/>
                  </a:cubicBezTo>
                  <a:cubicBezTo>
                    <a:pt x="26904" y="1924"/>
                    <a:pt x="29185" y="1745"/>
                    <a:pt x="30304" y="1655"/>
                  </a:cubicBezTo>
                  <a:close/>
                </a:path>
              </a:pathLst>
            </a:custGeom>
            <a:solidFill>
              <a:srgbClr val="2638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5" name="Freeform: Shape 4844">
              <a:extLst>
                <a:ext uri="{FF2B5EF4-FFF2-40B4-BE49-F238E27FC236}">
                  <a16:creationId xmlns:a16="http://schemas.microsoft.com/office/drawing/2014/main" id="{797006BC-FB72-612F-44C8-273DC50806ED}"/>
                </a:ext>
              </a:extLst>
            </p:cNvPr>
            <p:cNvSpPr/>
            <p:nvPr/>
          </p:nvSpPr>
          <p:spPr>
            <a:xfrm flipH="1">
              <a:off x="3291767" y="3085952"/>
              <a:ext cx="90457" cy="27904"/>
            </a:xfrm>
            <a:custGeom>
              <a:avLst/>
              <a:gdLst>
                <a:gd name="connsiteX0" fmla="*/ 59954 w 75836"/>
                <a:gd name="connsiteY0" fmla="*/ 0 h 23394"/>
                <a:gd name="connsiteX1" fmla="*/ 75837 w 75836"/>
                <a:gd name="connsiteY1" fmla="*/ 2148 h 23394"/>
                <a:gd name="connsiteX2" fmla="*/ 63220 w 75836"/>
                <a:gd name="connsiteY2" fmla="*/ 22550 h 23394"/>
                <a:gd name="connsiteX3" fmla="*/ 20850 w 75836"/>
                <a:gd name="connsiteY3" fmla="*/ 22058 h 23394"/>
                <a:gd name="connsiteX4" fmla="*/ 16733 w 75836"/>
                <a:gd name="connsiteY4" fmla="*/ 15302 h 23394"/>
                <a:gd name="connsiteX5" fmla="*/ 13780 w 75836"/>
                <a:gd name="connsiteY5" fmla="*/ 10514 h 23394"/>
                <a:gd name="connsiteX6" fmla="*/ 0 w 75836"/>
                <a:gd name="connsiteY6" fmla="*/ 4922 h 23394"/>
                <a:gd name="connsiteX7" fmla="*/ 59954 w 75836"/>
                <a:gd name="connsiteY7" fmla="*/ 0 h 2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36" h="23394">
                  <a:moveTo>
                    <a:pt x="59954" y="0"/>
                  </a:moveTo>
                  <a:cubicBezTo>
                    <a:pt x="65233" y="582"/>
                    <a:pt x="70557" y="1297"/>
                    <a:pt x="75837" y="2148"/>
                  </a:cubicBezTo>
                  <a:cubicBezTo>
                    <a:pt x="71631" y="8904"/>
                    <a:pt x="67425" y="15749"/>
                    <a:pt x="63220" y="22550"/>
                  </a:cubicBezTo>
                  <a:cubicBezTo>
                    <a:pt x="49081" y="23534"/>
                    <a:pt x="34854" y="23981"/>
                    <a:pt x="20850" y="22058"/>
                  </a:cubicBezTo>
                  <a:lnTo>
                    <a:pt x="16733" y="15302"/>
                  </a:lnTo>
                  <a:cubicBezTo>
                    <a:pt x="15973" y="14094"/>
                    <a:pt x="14496" y="11722"/>
                    <a:pt x="13780" y="10514"/>
                  </a:cubicBezTo>
                  <a:cubicBezTo>
                    <a:pt x="9217" y="8456"/>
                    <a:pt x="4608" y="6711"/>
                    <a:pt x="0" y="4922"/>
                  </a:cubicBezTo>
                  <a:cubicBezTo>
                    <a:pt x="20089" y="5324"/>
                    <a:pt x="40178" y="3892"/>
                    <a:pt x="59954" y="0"/>
                  </a:cubicBezTo>
                  <a:close/>
                </a:path>
              </a:pathLst>
            </a:custGeom>
            <a:solidFill>
              <a:srgbClr val="334D8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6" name="Freeform: Shape 4845">
              <a:extLst>
                <a:ext uri="{FF2B5EF4-FFF2-40B4-BE49-F238E27FC236}">
                  <a16:creationId xmlns:a16="http://schemas.microsoft.com/office/drawing/2014/main" id="{D47B7452-B21E-CAE7-7A8B-F488A32FC066}"/>
                </a:ext>
              </a:extLst>
            </p:cNvPr>
            <p:cNvSpPr/>
            <p:nvPr/>
          </p:nvSpPr>
          <p:spPr>
            <a:xfrm flipH="1">
              <a:off x="2892091" y="3084085"/>
              <a:ext cx="229434" cy="283113"/>
            </a:xfrm>
            <a:custGeom>
              <a:avLst/>
              <a:gdLst>
                <a:gd name="connsiteX0" fmla="*/ 184737 w 192351"/>
                <a:gd name="connsiteY0" fmla="*/ 53063 h 237353"/>
                <a:gd name="connsiteX1" fmla="*/ 191225 w 192351"/>
                <a:gd name="connsiteY1" fmla="*/ 0 h 237353"/>
                <a:gd name="connsiteX2" fmla="*/ 191807 w 192351"/>
                <a:gd name="connsiteY2" fmla="*/ 237353 h 237353"/>
                <a:gd name="connsiteX3" fmla="*/ 0 w 192351"/>
                <a:gd name="connsiteY3" fmla="*/ 235832 h 237353"/>
                <a:gd name="connsiteX4" fmla="*/ 18702 w 192351"/>
                <a:gd name="connsiteY4" fmla="*/ 187198 h 237353"/>
                <a:gd name="connsiteX5" fmla="*/ 42728 w 192351"/>
                <a:gd name="connsiteY5" fmla="*/ 156103 h 237353"/>
                <a:gd name="connsiteX6" fmla="*/ 89572 w 192351"/>
                <a:gd name="connsiteY6" fmla="*/ 132077 h 237353"/>
                <a:gd name="connsiteX7" fmla="*/ 147513 w 192351"/>
                <a:gd name="connsiteY7" fmla="*/ 124337 h 237353"/>
                <a:gd name="connsiteX8" fmla="*/ 171539 w 192351"/>
                <a:gd name="connsiteY8" fmla="*/ 129258 h 237353"/>
                <a:gd name="connsiteX9" fmla="*/ 172657 w 192351"/>
                <a:gd name="connsiteY9" fmla="*/ 125947 h 237353"/>
                <a:gd name="connsiteX10" fmla="*/ 182635 w 192351"/>
                <a:gd name="connsiteY10" fmla="*/ 92033 h 237353"/>
                <a:gd name="connsiteX11" fmla="*/ 174939 w 192351"/>
                <a:gd name="connsiteY11" fmla="*/ 80758 h 237353"/>
                <a:gd name="connsiteX12" fmla="*/ 182142 w 192351"/>
                <a:gd name="connsiteY12" fmla="*/ 77940 h 237353"/>
                <a:gd name="connsiteX13" fmla="*/ 184737 w 192351"/>
                <a:gd name="connsiteY13" fmla="*/ 53063 h 23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51" h="237353">
                  <a:moveTo>
                    <a:pt x="184737" y="53063"/>
                  </a:moveTo>
                  <a:cubicBezTo>
                    <a:pt x="188138" y="35570"/>
                    <a:pt x="190330" y="17807"/>
                    <a:pt x="191225" y="0"/>
                  </a:cubicBezTo>
                  <a:cubicBezTo>
                    <a:pt x="193328" y="79103"/>
                    <a:pt x="191851" y="158206"/>
                    <a:pt x="191807" y="237353"/>
                  </a:cubicBezTo>
                  <a:cubicBezTo>
                    <a:pt x="127871" y="236280"/>
                    <a:pt x="63891" y="237846"/>
                    <a:pt x="0" y="235832"/>
                  </a:cubicBezTo>
                  <a:cubicBezTo>
                    <a:pt x="6219" y="219636"/>
                    <a:pt x="13154" y="203663"/>
                    <a:pt x="18702" y="187198"/>
                  </a:cubicBezTo>
                  <a:cubicBezTo>
                    <a:pt x="28187" y="177982"/>
                    <a:pt x="34540" y="166304"/>
                    <a:pt x="42728" y="156103"/>
                  </a:cubicBezTo>
                  <a:cubicBezTo>
                    <a:pt x="55882" y="144246"/>
                    <a:pt x="72750" y="137133"/>
                    <a:pt x="89572" y="132077"/>
                  </a:cubicBezTo>
                  <a:cubicBezTo>
                    <a:pt x="109035" y="130824"/>
                    <a:pt x="128363" y="128050"/>
                    <a:pt x="147513" y="124337"/>
                  </a:cubicBezTo>
                  <a:cubicBezTo>
                    <a:pt x="155969" y="121965"/>
                    <a:pt x="163709" y="126797"/>
                    <a:pt x="171539" y="129258"/>
                  </a:cubicBezTo>
                  <a:lnTo>
                    <a:pt x="172657" y="125947"/>
                  </a:lnTo>
                  <a:cubicBezTo>
                    <a:pt x="176147" y="114672"/>
                    <a:pt x="179324" y="103308"/>
                    <a:pt x="182635" y="92033"/>
                  </a:cubicBezTo>
                  <a:cubicBezTo>
                    <a:pt x="180040" y="88230"/>
                    <a:pt x="177489" y="84472"/>
                    <a:pt x="174939" y="80758"/>
                  </a:cubicBezTo>
                  <a:cubicBezTo>
                    <a:pt x="176729" y="80042"/>
                    <a:pt x="180353" y="78655"/>
                    <a:pt x="182142" y="77940"/>
                  </a:cubicBezTo>
                  <a:cubicBezTo>
                    <a:pt x="182993" y="69618"/>
                    <a:pt x="183843" y="61340"/>
                    <a:pt x="184737" y="53063"/>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7" name="Freeform: Shape 4846">
              <a:extLst>
                <a:ext uri="{FF2B5EF4-FFF2-40B4-BE49-F238E27FC236}">
                  <a16:creationId xmlns:a16="http://schemas.microsoft.com/office/drawing/2014/main" id="{694124C9-B363-BFC2-EC82-EE22438012FC}"/>
                </a:ext>
              </a:extLst>
            </p:cNvPr>
            <p:cNvSpPr/>
            <p:nvPr/>
          </p:nvSpPr>
          <p:spPr>
            <a:xfrm flipH="1">
              <a:off x="2778001" y="3084778"/>
              <a:ext cx="45597" cy="508323"/>
            </a:xfrm>
            <a:custGeom>
              <a:avLst/>
              <a:gdLst>
                <a:gd name="connsiteX0" fmla="*/ 198 w 38227"/>
                <a:gd name="connsiteY0" fmla="*/ 358 h 426162"/>
                <a:gd name="connsiteX1" fmla="*/ 27266 w 38227"/>
                <a:gd name="connsiteY1" fmla="*/ 0 h 426162"/>
                <a:gd name="connsiteX2" fmla="*/ 26998 w 38227"/>
                <a:gd name="connsiteY2" fmla="*/ 93912 h 426162"/>
                <a:gd name="connsiteX3" fmla="*/ 38228 w 38227"/>
                <a:gd name="connsiteY3" fmla="*/ 99639 h 426162"/>
                <a:gd name="connsiteX4" fmla="*/ 29682 w 38227"/>
                <a:gd name="connsiteY4" fmla="*/ 135432 h 426162"/>
                <a:gd name="connsiteX5" fmla="*/ 30040 w 38227"/>
                <a:gd name="connsiteY5" fmla="*/ 158027 h 426162"/>
                <a:gd name="connsiteX6" fmla="*/ 28832 w 38227"/>
                <a:gd name="connsiteY6" fmla="*/ 271446 h 426162"/>
                <a:gd name="connsiteX7" fmla="*/ 5701 w 38227"/>
                <a:gd name="connsiteY7" fmla="*/ 318022 h 426162"/>
                <a:gd name="connsiteX8" fmla="*/ 5611 w 38227"/>
                <a:gd name="connsiteY8" fmla="*/ 407639 h 426162"/>
                <a:gd name="connsiteX9" fmla="*/ 600 w 38227"/>
                <a:gd name="connsiteY9" fmla="*/ 426162 h 426162"/>
                <a:gd name="connsiteX10" fmla="*/ 1182 w 38227"/>
                <a:gd name="connsiteY10" fmla="*/ 420480 h 426162"/>
                <a:gd name="connsiteX11" fmla="*/ 19 w 38227"/>
                <a:gd name="connsiteY11" fmla="*/ 336321 h 426162"/>
                <a:gd name="connsiteX12" fmla="*/ 198 w 38227"/>
                <a:gd name="connsiteY12" fmla="*/ 358 h 42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27" h="426162">
                  <a:moveTo>
                    <a:pt x="198" y="358"/>
                  </a:moveTo>
                  <a:cubicBezTo>
                    <a:pt x="9191" y="224"/>
                    <a:pt x="18229" y="89"/>
                    <a:pt x="27266" y="0"/>
                  </a:cubicBezTo>
                  <a:cubicBezTo>
                    <a:pt x="25745" y="31274"/>
                    <a:pt x="25790" y="62593"/>
                    <a:pt x="26998" y="93912"/>
                  </a:cubicBezTo>
                  <a:cubicBezTo>
                    <a:pt x="29817" y="95344"/>
                    <a:pt x="35409" y="98207"/>
                    <a:pt x="38228" y="99639"/>
                  </a:cubicBezTo>
                  <a:cubicBezTo>
                    <a:pt x="32188" y="110646"/>
                    <a:pt x="28608" y="122771"/>
                    <a:pt x="29682" y="135432"/>
                  </a:cubicBezTo>
                  <a:cubicBezTo>
                    <a:pt x="29772" y="142949"/>
                    <a:pt x="30085" y="150466"/>
                    <a:pt x="30040" y="158027"/>
                  </a:cubicBezTo>
                  <a:cubicBezTo>
                    <a:pt x="27714" y="195789"/>
                    <a:pt x="29817" y="233640"/>
                    <a:pt x="28832" y="271446"/>
                  </a:cubicBezTo>
                  <a:cubicBezTo>
                    <a:pt x="24627" y="288985"/>
                    <a:pt x="3911" y="298604"/>
                    <a:pt x="5701" y="318022"/>
                  </a:cubicBezTo>
                  <a:cubicBezTo>
                    <a:pt x="4851" y="347909"/>
                    <a:pt x="6819" y="377797"/>
                    <a:pt x="5611" y="407639"/>
                  </a:cubicBezTo>
                  <a:cubicBezTo>
                    <a:pt x="5477" y="414127"/>
                    <a:pt x="3464" y="420391"/>
                    <a:pt x="600" y="426162"/>
                  </a:cubicBezTo>
                  <a:lnTo>
                    <a:pt x="1182" y="420480"/>
                  </a:lnTo>
                  <a:cubicBezTo>
                    <a:pt x="2480" y="392427"/>
                    <a:pt x="-250" y="364374"/>
                    <a:pt x="19" y="336321"/>
                  </a:cubicBezTo>
                  <a:cubicBezTo>
                    <a:pt x="-26" y="224334"/>
                    <a:pt x="3553" y="112301"/>
                    <a:pt x="198" y="358"/>
                  </a:cubicBezTo>
                  <a:close/>
                </a:path>
              </a:pathLst>
            </a:custGeom>
            <a:solidFill>
              <a:srgbClr val="5492C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8" name="Freeform: Shape 4847">
              <a:extLst>
                <a:ext uri="{FF2B5EF4-FFF2-40B4-BE49-F238E27FC236}">
                  <a16:creationId xmlns:a16="http://schemas.microsoft.com/office/drawing/2014/main" id="{BD56228A-4CF1-98BA-329F-AE7436EDBC76}"/>
                </a:ext>
              </a:extLst>
            </p:cNvPr>
            <p:cNvSpPr/>
            <p:nvPr/>
          </p:nvSpPr>
          <p:spPr>
            <a:xfrm flipH="1">
              <a:off x="2074354" y="3082856"/>
              <a:ext cx="340356" cy="239725"/>
            </a:xfrm>
            <a:custGeom>
              <a:avLst/>
              <a:gdLst>
                <a:gd name="connsiteX0" fmla="*/ 1013 w 285345"/>
                <a:gd name="connsiteY0" fmla="*/ 0 h 200978"/>
                <a:gd name="connsiteX1" fmla="*/ 285345 w 285345"/>
                <a:gd name="connsiteY1" fmla="*/ 134 h 200978"/>
                <a:gd name="connsiteX2" fmla="*/ 282795 w 285345"/>
                <a:gd name="connsiteY2" fmla="*/ 38880 h 200978"/>
                <a:gd name="connsiteX3" fmla="*/ 269686 w 285345"/>
                <a:gd name="connsiteY3" fmla="*/ 46800 h 200978"/>
                <a:gd name="connsiteX4" fmla="*/ 269417 w 285345"/>
                <a:gd name="connsiteY4" fmla="*/ 32885 h 200978"/>
                <a:gd name="connsiteX5" fmla="*/ 145349 w 285345"/>
                <a:gd name="connsiteY5" fmla="*/ 32214 h 200978"/>
                <a:gd name="connsiteX6" fmla="*/ 144409 w 285345"/>
                <a:gd name="connsiteY6" fmla="*/ 63891 h 200978"/>
                <a:gd name="connsiteX7" fmla="*/ 120115 w 285345"/>
                <a:gd name="connsiteY7" fmla="*/ 92928 h 200978"/>
                <a:gd name="connsiteX8" fmla="*/ 101100 w 285345"/>
                <a:gd name="connsiteY8" fmla="*/ 93689 h 200978"/>
                <a:gd name="connsiteX9" fmla="*/ 99265 w 285345"/>
                <a:gd name="connsiteY9" fmla="*/ 123800 h 200978"/>
                <a:gd name="connsiteX10" fmla="*/ 121278 w 285345"/>
                <a:gd name="connsiteY10" fmla="*/ 121160 h 200978"/>
                <a:gd name="connsiteX11" fmla="*/ 119846 w 285345"/>
                <a:gd name="connsiteY11" fmla="*/ 141115 h 200978"/>
                <a:gd name="connsiteX12" fmla="*/ 131032 w 285345"/>
                <a:gd name="connsiteY12" fmla="*/ 176281 h 200978"/>
                <a:gd name="connsiteX13" fmla="*/ 105440 w 285345"/>
                <a:gd name="connsiteY13" fmla="*/ 198563 h 200978"/>
                <a:gd name="connsiteX14" fmla="*/ 297 w 285345"/>
                <a:gd name="connsiteY14" fmla="*/ 200979 h 200978"/>
                <a:gd name="connsiteX15" fmla="*/ 1013 w 285345"/>
                <a:gd name="connsiteY15" fmla="*/ 0 h 200978"/>
                <a:gd name="connsiteX16" fmla="*/ 15375 w 285345"/>
                <a:gd name="connsiteY16" fmla="*/ 32214 h 200978"/>
                <a:gd name="connsiteX17" fmla="*/ 15823 w 285345"/>
                <a:gd name="connsiteY17" fmla="*/ 63757 h 200978"/>
                <a:gd name="connsiteX18" fmla="*/ 88080 w 285345"/>
                <a:gd name="connsiteY18" fmla="*/ 64741 h 200978"/>
                <a:gd name="connsiteX19" fmla="*/ 87901 w 285345"/>
                <a:gd name="connsiteY19" fmla="*/ 32706 h 200978"/>
                <a:gd name="connsiteX20" fmla="*/ 15375 w 285345"/>
                <a:gd name="connsiteY20" fmla="*/ 32214 h 200978"/>
                <a:gd name="connsiteX21" fmla="*/ 97476 w 285345"/>
                <a:gd name="connsiteY21" fmla="*/ 63891 h 200978"/>
                <a:gd name="connsiteX22" fmla="*/ 125171 w 285345"/>
                <a:gd name="connsiteY22" fmla="*/ 64293 h 200978"/>
                <a:gd name="connsiteX23" fmla="*/ 124544 w 285345"/>
                <a:gd name="connsiteY23" fmla="*/ 30200 h 200978"/>
                <a:gd name="connsiteX24" fmla="*/ 98773 w 285345"/>
                <a:gd name="connsiteY24" fmla="*/ 30648 h 200978"/>
                <a:gd name="connsiteX25" fmla="*/ 97476 w 285345"/>
                <a:gd name="connsiteY25" fmla="*/ 63891 h 200978"/>
                <a:gd name="connsiteX26" fmla="*/ 14212 w 285345"/>
                <a:gd name="connsiteY26" fmla="*/ 80579 h 200978"/>
                <a:gd name="connsiteX27" fmla="*/ 16673 w 285345"/>
                <a:gd name="connsiteY27" fmla="*/ 94539 h 200978"/>
                <a:gd name="connsiteX28" fmla="*/ 66291 w 285345"/>
                <a:gd name="connsiteY28" fmla="*/ 92302 h 200978"/>
                <a:gd name="connsiteX29" fmla="*/ 86380 w 285345"/>
                <a:gd name="connsiteY29" fmla="*/ 95747 h 200978"/>
                <a:gd name="connsiteX30" fmla="*/ 84948 w 285345"/>
                <a:gd name="connsiteY30" fmla="*/ 80356 h 200978"/>
                <a:gd name="connsiteX31" fmla="*/ 70049 w 285345"/>
                <a:gd name="connsiteY31" fmla="*/ 84427 h 200978"/>
                <a:gd name="connsiteX32" fmla="*/ 14212 w 285345"/>
                <a:gd name="connsiteY32" fmla="*/ 80579 h 200978"/>
                <a:gd name="connsiteX33" fmla="*/ 27232 w 285345"/>
                <a:gd name="connsiteY33" fmla="*/ 107916 h 200978"/>
                <a:gd name="connsiteX34" fmla="*/ 27366 w 285345"/>
                <a:gd name="connsiteY34" fmla="*/ 120086 h 200978"/>
                <a:gd name="connsiteX35" fmla="*/ 74971 w 285345"/>
                <a:gd name="connsiteY35" fmla="*/ 121920 h 200978"/>
                <a:gd name="connsiteX36" fmla="*/ 70899 w 285345"/>
                <a:gd name="connsiteY36" fmla="*/ 108409 h 200978"/>
                <a:gd name="connsiteX37" fmla="*/ 27232 w 285345"/>
                <a:gd name="connsiteY37" fmla="*/ 107916 h 200978"/>
                <a:gd name="connsiteX38" fmla="*/ 27098 w 285345"/>
                <a:gd name="connsiteY38" fmla="*/ 150555 h 200978"/>
                <a:gd name="connsiteX39" fmla="*/ 24726 w 285345"/>
                <a:gd name="connsiteY39" fmla="*/ 155879 h 200978"/>
                <a:gd name="connsiteX40" fmla="*/ 22400 w 285345"/>
                <a:gd name="connsiteY40" fmla="*/ 156192 h 200978"/>
                <a:gd name="connsiteX41" fmla="*/ 25666 w 285345"/>
                <a:gd name="connsiteY41" fmla="*/ 183843 h 200978"/>
                <a:gd name="connsiteX42" fmla="*/ 48081 w 285345"/>
                <a:gd name="connsiteY42" fmla="*/ 184514 h 200978"/>
                <a:gd name="connsiteX43" fmla="*/ 49021 w 285345"/>
                <a:gd name="connsiteY43" fmla="*/ 176237 h 200978"/>
                <a:gd name="connsiteX44" fmla="*/ 52421 w 285345"/>
                <a:gd name="connsiteY44" fmla="*/ 188809 h 200978"/>
                <a:gd name="connsiteX45" fmla="*/ 51168 w 285345"/>
                <a:gd name="connsiteY45" fmla="*/ 193283 h 200978"/>
                <a:gd name="connsiteX46" fmla="*/ 102129 w 285345"/>
                <a:gd name="connsiteY46" fmla="*/ 184514 h 200978"/>
                <a:gd name="connsiteX47" fmla="*/ 124589 w 285345"/>
                <a:gd name="connsiteY47" fmla="*/ 177266 h 200978"/>
                <a:gd name="connsiteX48" fmla="*/ 123784 w 285345"/>
                <a:gd name="connsiteY48" fmla="*/ 154582 h 200978"/>
                <a:gd name="connsiteX49" fmla="*/ 103740 w 285345"/>
                <a:gd name="connsiteY49" fmla="*/ 156908 h 200978"/>
                <a:gd name="connsiteX50" fmla="*/ 97386 w 285345"/>
                <a:gd name="connsiteY50" fmla="*/ 177803 h 200978"/>
                <a:gd name="connsiteX51" fmla="*/ 85530 w 285345"/>
                <a:gd name="connsiteY51" fmla="*/ 163172 h 200978"/>
                <a:gd name="connsiteX52" fmla="*/ 86335 w 285345"/>
                <a:gd name="connsiteY52" fmla="*/ 151808 h 200978"/>
                <a:gd name="connsiteX53" fmla="*/ 66067 w 285345"/>
                <a:gd name="connsiteY53" fmla="*/ 152971 h 200978"/>
                <a:gd name="connsiteX54" fmla="*/ 27098 w 285345"/>
                <a:gd name="connsiteY54" fmla="*/ 150555 h 20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345" h="200978">
                  <a:moveTo>
                    <a:pt x="1013" y="0"/>
                  </a:moveTo>
                  <a:cubicBezTo>
                    <a:pt x="95776" y="1074"/>
                    <a:pt x="190583" y="-134"/>
                    <a:pt x="285345" y="134"/>
                  </a:cubicBezTo>
                  <a:cubicBezTo>
                    <a:pt x="284092" y="13020"/>
                    <a:pt x="283332" y="25950"/>
                    <a:pt x="282795" y="38880"/>
                  </a:cubicBezTo>
                  <a:cubicBezTo>
                    <a:pt x="278410" y="41520"/>
                    <a:pt x="274026" y="44115"/>
                    <a:pt x="269686" y="46800"/>
                  </a:cubicBezTo>
                  <a:cubicBezTo>
                    <a:pt x="269641" y="43310"/>
                    <a:pt x="269507" y="36375"/>
                    <a:pt x="269417" y="32885"/>
                  </a:cubicBezTo>
                  <a:cubicBezTo>
                    <a:pt x="228076" y="32169"/>
                    <a:pt x="186690" y="31811"/>
                    <a:pt x="145349" y="32214"/>
                  </a:cubicBezTo>
                  <a:cubicBezTo>
                    <a:pt x="144991" y="42773"/>
                    <a:pt x="144723" y="53287"/>
                    <a:pt x="144409" y="63891"/>
                  </a:cubicBezTo>
                  <a:cubicBezTo>
                    <a:pt x="130227" y="65099"/>
                    <a:pt x="117744" y="78208"/>
                    <a:pt x="120115" y="92928"/>
                  </a:cubicBezTo>
                  <a:cubicBezTo>
                    <a:pt x="113762" y="93152"/>
                    <a:pt x="107408" y="93420"/>
                    <a:pt x="101100" y="93689"/>
                  </a:cubicBezTo>
                  <a:cubicBezTo>
                    <a:pt x="100429" y="103711"/>
                    <a:pt x="99802" y="113733"/>
                    <a:pt x="99265" y="123800"/>
                  </a:cubicBezTo>
                  <a:cubicBezTo>
                    <a:pt x="106558" y="122905"/>
                    <a:pt x="113896" y="122055"/>
                    <a:pt x="121278" y="121160"/>
                  </a:cubicBezTo>
                  <a:cubicBezTo>
                    <a:pt x="120965" y="127826"/>
                    <a:pt x="120339" y="134448"/>
                    <a:pt x="119846" y="141115"/>
                  </a:cubicBezTo>
                  <a:cubicBezTo>
                    <a:pt x="126513" y="151495"/>
                    <a:pt x="136848" y="163083"/>
                    <a:pt x="131032" y="176281"/>
                  </a:cubicBezTo>
                  <a:cubicBezTo>
                    <a:pt x="125529" y="185945"/>
                    <a:pt x="118101" y="198697"/>
                    <a:pt x="105440" y="198563"/>
                  </a:cubicBezTo>
                  <a:cubicBezTo>
                    <a:pt x="70407" y="200218"/>
                    <a:pt x="35106" y="195073"/>
                    <a:pt x="297" y="200979"/>
                  </a:cubicBezTo>
                  <a:cubicBezTo>
                    <a:pt x="1505" y="134001"/>
                    <a:pt x="-1448" y="66978"/>
                    <a:pt x="1013" y="0"/>
                  </a:cubicBezTo>
                  <a:close/>
                  <a:moveTo>
                    <a:pt x="15375" y="32214"/>
                  </a:moveTo>
                  <a:cubicBezTo>
                    <a:pt x="15286" y="42728"/>
                    <a:pt x="15330" y="53242"/>
                    <a:pt x="15823" y="63757"/>
                  </a:cubicBezTo>
                  <a:cubicBezTo>
                    <a:pt x="39893" y="63712"/>
                    <a:pt x="64009" y="63757"/>
                    <a:pt x="88080" y="64741"/>
                  </a:cubicBezTo>
                  <a:cubicBezTo>
                    <a:pt x="87991" y="54048"/>
                    <a:pt x="87946" y="43354"/>
                    <a:pt x="87901" y="32706"/>
                  </a:cubicBezTo>
                  <a:cubicBezTo>
                    <a:pt x="63696" y="32214"/>
                    <a:pt x="39535" y="32214"/>
                    <a:pt x="15375" y="32214"/>
                  </a:cubicBezTo>
                  <a:close/>
                  <a:moveTo>
                    <a:pt x="97476" y="63891"/>
                  </a:moveTo>
                  <a:cubicBezTo>
                    <a:pt x="106692" y="63891"/>
                    <a:pt x="115909" y="64070"/>
                    <a:pt x="125171" y="64293"/>
                  </a:cubicBezTo>
                  <a:cubicBezTo>
                    <a:pt x="124992" y="52929"/>
                    <a:pt x="124768" y="41565"/>
                    <a:pt x="124544" y="30200"/>
                  </a:cubicBezTo>
                  <a:cubicBezTo>
                    <a:pt x="115909" y="30335"/>
                    <a:pt x="107319" y="30469"/>
                    <a:pt x="98773" y="30648"/>
                  </a:cubicBezTo>
                  <a:cubicBezTo>
                    <a:pt x="98057" y="41699"/>
                    <a:pt x="97744" y="52795"/>
                    <a:pt x="97476" y="63891"/>
                  </a:cubicBezTo>
                  <a:close/>
                  <a:moveTo>
                    <a:pt x="14212" y="80579"/>
                  </a:moveTo>
                  <a:cubicBezTo>
                    <a:pt x="14838" y="84069"/>
                    <a:pt x="16046" y="91049"/>
                    <a:pt x="16673" y="94539"/>
                  </a:cubicBezTo>
                  <a:cubicBezTo>
                    <a:pt x="33227" y="94136"/>
                    <a:pt x="49781" y="94047"/>
                    <a:pt x="66291" y="92302"/>
                  </a:cubicBezTo>
                  <a:cubicBezTo>
                    <a:pt x="72868" y="93957"/>
                    <a:pt x="79624" y="94763"/>
                    <a:pt x="86380" y="95747"/>
                  </a:cubicBezTo>
                  <a:cubicBezTo>
                    <a:pt x="85843" y="90601"/>
                    <a:pt x="85395" y="85456"/>
                    <a:pt x="84948" y="80356"/>
                  </a:cubicBezTo>
                  <a:cubicBezTo>
                    <a:pt x="81235" y="81385"/>
                    <a:pt x="73763" y="83398"/>
                    <a:pt x="70049" y="84427"/>
                  </a:cubicBezTo>
                  <a:cubicBezTo>
                    <a:pt x="51929" y="78879"/>
                    <a:pt x="32824" y="80669"/>
                    <a:pt x="14212" y="80579"/>
                  </a:cubicBezTo>
                  <a:close/>
                  <a:moveTo>
                    <a:pt x="27232" y="107916"/>
                  </a:moveTo>
                  <a:cubicBezTo>
                    <a:pt x="27232" y="111943"/>
                    <a:pt x="27321" y="116015"/>
                    <a:pt x="27366" y="120086"/>
                  </a:cubicBezTo>
                  <a:cubicBezTo>
                    <a:pt x="43204" y="121294"/>
                    <a:pt x="59087" y="121786"/>
                    <a:pt x="74971" y="121920"/>
                  </a:cubicBezTo>
                  <a:cubicBezTo>
                    <a:pt x="73628" y="117402"/>
                    <a:pt x="72241" y="112883"/>
                    <a:pt x="70899" y="108409"/>
                  </a:cubicBezTo>
                  <a:cubicBezTo>
                    <a:pt x="56314" y="108006"/>
                    <a:pt x="41773" y="107782"/>
                    <a:pt x="27232" y="107916"/>
                  </a:cubicBezTo>
                  <a:close/>
                  <a:moveTo>
                    <a:pt x="27098" y="150555"/>
                  </a:moveTo>
                  <a:lnTo>
                    <a:pt x="24726" y="155879"/>
                  </a:lnTo>
                  <a:lnTo>
                    <a:pt x="22400" y="156192"/>
                  </a:lnTo>
                  <a:cubicBezTo>
                    <a:pt x="23071" y="165409"/>
                    <a:pt x="23966" y="174715"/>
                    <a:pt x="25666" y="183843"/>
                  </a:cubicBezTo>
                  <a:cubicBezTo>
                    <a:pt x="33093" y="183977"/>
                    <a:pt x="40565" y="184156"/>
                    <a:pt x="48081" y="184514"/>
                  </a:cubicBezTo>
                  <a:cubicBezTo>
                    <a:pt x="48305" y="182456"/>
                    <a:pt x="48797" y="178295"/>
                    <a:pt x="49021" y="176237"/>
                  </a:cubicBezTo>
                  <a:cubicBezTo>
                    <a:pt x="49871" y="179368"/>
                    <a:pt x="51571" y="185677"/>
                    <a:pt x="52421" y="188809"/>
                  </a:cubicBezTo>
                  <a:lnTo>
                    <a:pt x="51168" y="193283"/>
                  </a:lnTo>
                  <a:cubicBezTo>
                    <a:pt x="68036" y="191672"/>
                    <a:pt x="89422" y="199055"/>
                    <a:pt x="102129" y="184514"/>
                  </a:cubicBezTo>
                  <a:cubicBezTo>
                    <a:pt x="109690" y="182769"/>
                    <a:pt x="120786" y="186348"/>
                    <a:pt x="124589" y="177266"/>
                  </a:cubicBezTo>
                  <a:cubicBezTo>
                    <a:pt x="127631" y="169973"/>
                    <a:pt x="124589" y="162009"/>
                    <a:pt x="123784" y="154582"/>
                  </a:cubicBezTo>
                  <a:cubicBezTo>
                    <a:pt x="117073" y="155253"/>
                    <a:pt x="110048" y="154448"/>
                    <a:pt x="103740" y="156908"/>
                  </a:cubicBezTo>
                  <a:cubicBezTo>
                    <a:pt x="98907" y="162680"/>
                    <a:pt x="96581" y="170286"/>
                    <a:pt x="97386" y="177803"/>
                  </a:cubicBezTo>
                  <a:cubicBezTo>
                    <a:pt x="93673" y="172702"/>
                    <a:pt x="89601" y="167915"/>
                    <a:pt x="85530" y="163172"/>
                  </a:cubicBezTo>
                  <a:cubicBezTo>
                    <a:pt x="85753" y="160353"/>
                    <a:pt x="86156" y="154626"/>
                    <a:pt x="86335" y="151808"/>
                  </a:cubicBezTo>
                  <a:cubicBezTo>
                    <a:pt x="79534" y="152121"/>
                    <a:pt x="72778" y="152479"/>
                    <a:pt x="66067" y="152971"/>
                  </a:cubicBezTo>
                  <a:cubicBezTo>
                    <a:pt x="53137" y="152389"/>
                    <a:pt x="39715" y="146394"/>
                    <a:pt x="27098" y="150555"/>
                  </a:cubicBezTo>
                  <a:close/>
                </a:path>
              </a:pathLst>
            </a:custGeom>
            <a:solidFill>
              <a:srgbClr val="3065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49" name="Freeform: Shape 4848">
              <a:extLst>
                <a:ext uri="{FF2B5EF4-FFF2-40B4-BE49-F238E27FC236}">
                  <a16:creationId xmlns:a16="http://schemas.microsoft.com/office/drawing/2014/main" id="{DC4C4B91-2292-7736-A960-0EA2711087E1}"/>
                </a:ext>
              </a:extLst>
            </p:cNvPr>
            <p:cNvSpPr/>
            <p:nvPr/>
          </p:nvSpPr>
          <p:spPr>
            <a:xfrm flipH="1">
              <a:off x="2071792" y="3083017"/>
              <a:ext cx="342564" cy="242088"/>
            </a:xfrm>
            <a:custGeom>
              <a:avLst/>
              <a:gdLst>
                <a:gd name="connsiteX0" fmla="*/ 285048 w 287195"/>
                <a:gd name="connsiteY0" fmla="*/ 0 h 202959"/>
                <a:gd name="connsiteX1" fmla="*/ 286748 w 287195"/>
                <a:gd name="connsiteY1" fmla="*/ 24026 h 202959"/>
                <a:gd name="connsiteX2" fmla="*/ 287195 w 287195"/>
                <a:gd name="connsiteY2" fmla="*/ 201874 h 202959"/>
                <a:gd name="connsiteX3" fmla="*/ 216683 w 287195"/>
                <a:gd name="connsiteY3" fmla="*/ 202858 h 202959"/>
                <a:gd name="connsiteX4" fmla="*/ 0 w 287195"/>
                <a:gd name="connsiteY4" fmla="*/ 200844 h 202959"/>
                <a:gd name="connsiteX5" fmla="*/ 105142 w 287195"/>
                <a:gd name="connsiteY5" fmla="*/ 198428 h 202959"/>
                <a:gd name="connsiteX6" fmla="*/ 130734 w 287195"/>
                <a:gd name="connsiteY6" fmla="*/ 176147 h 202959"/>
                <a:gd name="connsiteX7" fmla="*/ 119549 w 287195"/>
                <a:gd name="connsiteY7" fmla="*/ 140980 h 202959"/>
                <a:gd name="connsiteX8" fmla="*/ 120981 w 287195"/>
                <a:gd name="connsiteY8" fmla="*/ 121026 h 202959"/>
                <a:gd name="connsiteX9" fmla="*/ 119817 w 287195"/>
                <a:gd name="connsiteY9" fmla="*/ 92794 h 202959"/>
                <a:gd name="connsiteX10" fmla="*/ 144112 w 287195"/>
                <a:gd name="connsiteY10" fmla="*/ 63757 h 202959"/>
                <a:gd name="connsiteX11" fmla="*/ 228450 w 287195"/>
                <a:gd name="connsiteY11" fmla="*/ 64965 h 202959"/>
                <a:gd name="connsiteX12" fmla="*/ 228987 w 287195"/>
                <a:gd name="connsiteY12" fmla="*/ 59372 h 202959"/>
                <a:gd name="connsiteX13" fmla="*/ 230105 w 287195"/>
                <a:gd name="connsiteY13" fmla="*/ 38746 h 202959"/>
                <a:gd name="connsiteX14" fmla="*/ 231805 w 287195"/>
                <a:gd name="connsiteY14" fmla="*/ 64294 h 202959"/>
                <a:gd name="connsiteX15" fmla="*/ 269836 w 287195"/>
                <a:gd name="connsiteY15" fmla="*/ 64383 h 202959"/>
                <a:gd name="connsiteX16" fmla="*/ 269388 w 287195"/>
                <a:gd name="connsiteY16" fmla="*/ 46665 h 202959"/>
                <a:gd name="connsiteX17" fmla="*/ 282497 w 287195"/>
                <a:gd name="connsiteY17" fmla="*/ 38746 h 202959"/>
                <a:gd name="connsiteX18" fmla="*/ 285048 w 287195"/>
                <a:gd name="connsiteY18" fmla="*/ 0 h 202959"/>
                <a:gd name="connsiteX19" fmla="*/ 149213 w 287195"/>
                <a:gd name="connsiteY19" fmla="*/ 97268 h 202959"/>
                <a:gd name="connsiteX20" fmla="*/ 149929 w 287195"/>
                <a:gd name="connsiteY20" fmla="*/ 108677 h 202959"/>
                <a:gd name="connsiteX21" fmla="*/ 256816 w 287195"/>
                <a:gd name="connsiteY21" fmla="*/ 107961 h 202959"/>
                <a:gd name="connsiteX22" fmla="*/ 256100 w 287195"/>
                <a:gd name="connsiteY22" fmla="*/ 98700 h 202959"/>
                <a:gd name="connsiteX23" fmla="*/ 149213 w 287195"/>
                <a:gd name="connsiteY23" fmla="*/ 97268 h 202959"/>
                <a:gd name="connsiteX24" fmla="*/ 150286 w 287195"/>
                <a:gd name="connsiteY24" fmla="*/ 115433 h 202959"/>
                <a:gd name="connsiteX25" fmla="*/ 150331 w 287195"/>
                <a:gd name="connsiteY25" fmla="*/ 126126 h 202959"/>
                <a:gd name="connsiteX26" fmla="*/ 211627 w 287195"/>
                <a:gd name="connsiteY26" fmla="*/ 126082 h 202959"/>
                <a:gd name="connsiteX27" fmla="*/ 210598 w 287195"/>
                <a:gd name="connsiteY27" fmla="*/ 115791 h 202959"/>
                <a:gd name="connsiteX28" fmla="*/ 150286 w 287195"/>
                <a:gd name="connsiteY28" fmla="*/ 115433 h 202959"/>
                <a:gd name="connsiteX29" fmla="*/ 153195 w 287195"/>
                <a:gd name="connsiteY29" fmla="*/ 157177 h 202959"/>
                <a:gd name="connsiteX30" fmla="*/ 166393 w 287195"/>
                <a:gd name="connsiteY30" fmla="*/ 177087 h 202959"/>
                <a:gd name="connsiteX31" fmla="*/ 168138 w 287195"/>
                <a:gd name="connsiteY31" fmla="*/ 163038 h 202959"/>
                <a:gd name="connsiteX32" fmla="*/ 153195 w 287195"/>
                <a:gd name="connsiteY32" fmla="*/ 157177 h 20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87195" h="202959">
                  <a:moveTo>
                    <a:pt x="285048" y="0"/>
                  </a:moveTo>
                  <a:cubicBezTo>
                    <a:pt x="285764" y="7964"/>
                    <a:pt x="286345" y="15973"/>
                    <a:pt x="286748" y="24026"/>
                  </a:cubicBezTo>
                  <a:cubicBezTo>
                    <a:pt x="287285" y="83264"/>
                    <a:pt x="286435" y="142591"/>
                    <a:pt x="287195" y="201874"/>
                  </a:cubicBezTo>
                  <a:cubicBezTo>
                    <a:pt x="263706" y="203484"/>
                    <a:pt x="240172" y="202813"/>
                    <a:pt x="216683" y="202858"/>
                  </a:cubicBezTo>
                  <a:cubicBezTo>
                    <a:pt x="144425" y="202008"/>
                    <a:pt x="72168" y="203395"/>
                    <a:pt x="0" y="200844"/>
                  </a:cubicBezTo>
                  <a:cubicBezTo>
                    <a:pt x="34809" y="194939"/>
                    <a:pt x="70110" y="200084"/>
                    <a:pt x="105142" y="198428"/>
                  </a:cubicBezTo>
                  <a:cubicBezTo>
                    <a:pt x="117804" y="198563"/>
                    <a:pt x="125231" y="185811"/>
                    <a:pt x="130734" y="176147"/>
                  </a:cubicBezTo>
                  <a:cubicBezTo>
                    <a:pt x="136551" y="162948"/>
                    <a:pt x="126215" y="151360"/>
                    <a:pt x="119549" y="140980"/>
                  </a:cubicBezTo>
                  <a:cubicBezTo>
                    <a:pt x="120041" y="134314"/>
                    <a:pt x="120668" y="127692"/>
                    <a:pt x="120981" y="121026"/>
                  </a:cubicBezTo>
                  <a:cubicBezTo>
                    <a:pt x="121115" y="111585"/>
                    <a:pt x="120175" y="102189"/>
                    <a:pt x="119817" y="92794"/>
                  </a:cubicBezTo>
                  <a:cubicBezTo>
                    <a:pt x="117446" y="78074"/>
                    <a:pt x="129929" y="64965"/>
                    <a:pt x="144112" y="63757"/>
                  </a:cubicBezTo>
                  <a:cubicBezTo>
                    <a:pt x="172165" y="65725"/>
                    <a:pt x="200352" y="65725"/>
                    <a:pt x="228450" y="64965"/>
                  </a:cubicBezTo>
                  <a:lnTo>
                    <a:pt x="228987" y="59372"/>
                  </a:lnTo>
                  <a:cubicBezTo>
                    <a:pt x="229479" y="52482"/>
                    <a:pt x="229747" y="45636"/>
                    <a:pt x="230105" y="38746"/>
                  </a:cubicBezTo>
                  <a:cubicBezTo>
                    <a:pt x="230955" y="47247"/>
                    <a:pt x="231224" y="55748"/>
                    <a:pt x="231805" y="64294"/>
                  </a:cubicBezTo>
                  <a:cubicBezTo>
                    <a:pt x="244423" y="64249"/>
                    <a:pt x="257129" y="64294"/>
                    <a:pt x="269836" y="64383"/>
                  </a:cubicBezTo>
                  <a:cubicBezTo>
                    <a:pt x="269657" y="58477"/>
                    <a:pt x="269522" y="52527"/>
                    <a:pt x="269388" y="46665"/>
                  </a:cubicBezTo>
                  <a:cubicBezTo>
                    <a:pt x="273728" y="43981"/>
                    <a:pt x="278113" y="41386"/>
                    <a:pt x="282497" y="38746"/>
                  </a:cubicBezTo>
                  <a:cubicBezTo>
                    <a:pt x="283035" y="25816"/>
                    <a:pt x="283795" y="12886"/>
                    <a:pt x="285048" y="0"/>
                  </a:cubicBezTo>
                  <a:close/>
                  <a:moveTo>
                    <a:pt x="149213" y="97268"/>
                  </a:moveTo>
                  <a:cubicBezTo>
                    <a:pt x="149392" y="100131"/>
                    <a:pt x="149750" y="105814"/>
                    <a:pt x="149929" y="108677"/>
                  </a:cubicBezTo>
                  <a:cubicBezTo>
                    <a:pt x="185543" y="108901"/>
                    <a:pt x="221202" y="105635"/>
                    <a:pt x="256816" y="107961"/>
                  </a:cubicBezTo>
                  <a:cubicBezTo>
                    <a:pt x="256637" y="105635"/>
                    <a:pt x="256279" y="100982"/>
                    <a:pt x="256100" y="98700"/>
                  </a:cubicBezTo>
                  <a:cubicBezTo>
                    <a:pt x="220441" y="98565"/>
                    <a:pt x="184827" y="97536"/>
                    <a:pt x="149213" y="97268"/>
                  </a:cubicBezTo>
                  <a:close/>
                  <a:moveTo>
                    <a:pt x="150286" y="115433"/>
                  </a:moveTo>
                  <a:cubicBezTo>
                    <a:pt x="150331" y="118118"/>
                    <a:pt x="150331" y="123486"/>
                    <a:pt x="150331" y="126126"/>
                  </a:cubicBezTo>
                  <a:cubicBezTo>
                    <a:pt x="170733" y="125992"/>
                    <a:pt x="191180" y="125903"/>
                    <a:pt x="211627" y="126082"/>
                  </a:cubicBezTo>
                  <a:cubicBezTo>
                    <a:pt x="211403" y="123486"/>
                    <a:pt x="210867" y="118386"/>
                    <a:pt x="210598" y="115791"/>
                  </a:cubicBezTo>
                  <a:cubicBezTo>
                    <a:pt x="190509" y="116059"/>
                    <a:pt x="170375" y="116149"/>
                    <a:pt x="150286" y="115433"/>
                  </a:cubicBezTo>
                  <a:close/>
                  <a:moveTo>
                    <a:pt x="153195" y="157177"/>
                  </a:moveTo>
                  <a:cubicBezTo>
                    <a:pt x="152971" y="166572"/>
                    <a:pt x="154805" y="177131"/>
                    <a:pt x="166393" y="177087"/>
                  </a:cubicBezTo>
                  <a:cubicBezTo>
                    <a:pt x="166841" y="173597"/>
                    <a:pt x="167691" y="166528"/>
                    <a:pt x="168138" y="163038"/>
                  </a:cubicBezTo>
                  <a:cubicBezTo>
                    <a:pt x="163127" y="161025"/>
                    <a:pt x="158161" y="159056"/>
                    <a:pt x="153195" y="157177"/>
                  </a:cubicBezTo>
                  <a:close/>
                </a:path>
              </a:pathLst>
            </a:custGeom>
            <a:solidFill>
              <a:srgbClr val="3A6C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0" name="Freeform: Shape 4849">
              <a:extLst>
                <a:ext uri="{FF2B5EF4-FFF2-40B4-BE49-F238E27FC236}">
                  <a16:creationId xmlns:a16="http://schemas.microsoft.com/office/drawing/2014/main" id="{7894F92D-B8E0-9FC5-37CE-3FCBF8890561}"/>
                </a:ext>
              </a:extLst>
            </p:cNvPr>
            <p:cNvSpPr/>
            <p:nvPr/>
          </p:nvSpPr>
          <p:spPr>
            <a:xfrm flipH="1">
              <a:off x="3186100" y="3088728"/>
              <a:ext cx="16810" cy="28444"/>
            </a:xfrm>
            <a:custGeom>
              <a:avLst/>
              <a:gdLst>
                <a:gd name="connsiteX0" fmla="*/ 0 w 14093"/>
                <a:gd name="connsiteY0" fmla="*/ 0 h 23847"/>
                <a:gd name="connsiteX1" fmla="*/ 14094 w 14093"/>
                <a:gd name="connsiteY1" fmla="*/ 671 h 23847"/>
                <a:gd name="connsiteX2" fmla="*/ 13154 w 14093"/>
                <a:gd name="connsiteY2" fmla="*/ 23847 h 23847"/>
                <a:gd name="connsiteX3" fmla="*/ 0 w 14093"/>
                <a:gd name="connsiteY3" fmla="*/ 0 h 23847"/>
              </a:gdLst>
              <a:ahLst/>
              <a:cxnLst>
                <a:cxn ang="0">
                  <a:pos x="connsiteX0" y="connsiteY0"/>
                </a:cxn>
                <a:cxn ang="0">
                  <a:pos x="connsiteX1" y="connsiteY1"/>
                </a:cxn>
                <a:cxn ang="0">
                  <a:pos x="connsiteX2" y="connsiteY2"/>
                </a:cxn>
                <a:cxn ang="0">
                  <a:pos x="connsiteX3" y="connsiteY3"/>
                </a:cxn>
              </a:cxnLst>
              <a:rect l="l" t="t" r="r" b="b"/>
              <a:pathLst>
                <a:path w="14093" h="23847">
                  <a:moveTo>
                    <a:pt x="0" y="0"/>
                  </a:moveTo>
                  <a:cubicBezTo>
                    <a:pt x="3490" y="179"/>
                    <a:pt x="10559" y="492"/>
                    <a:pt x="14094" y="671"/>
                  </a:cubicBezTo>
                  <a:cubicBezTo>
                    <a:pt x="13870" y="8367"/>
                    <a:pt x="13557" y="16107"/>
                    <a:pt x="13154" y="23847"/>
                  </a:cubicBezTo>
                  <a:cubicBezTo>
                    <a:pt x="5145" y="18255"/>
                    <a:pt x="3132" y="8546"/>
                    <a:pt x="0" y="0"/>
                  </a:cubicBezTo>
                  <a:close/>
                </a:path>
              </a:pathLst>
            </a:custGeom>
            <a:solidFill>
              <a:srgbClr val="7987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1" name="Freeform: Shape 4850">
              <a:extLst>
                <a:ext uri="{FF2B5EF4-FFF2-40B4-BE49-F238E27FC236}">
                  <a16:creationId xmlns:a16="http://schemas.microsoft.com/office/drawing/2014/main" id="{180B048A-FCD6-4613-2678-BB8C169950C8}"/>
                </a:ext>
              </a:extLst>
            </p:cNvPr>
            <p:cNvSpPr/>
            <p:nvPr/>
          </p:nvSpPr>
          <p:spPr>
            <a:xfrm flipH="1">
              <a:off x="4081177" y="3093370"/>
              <a:ext cx="11700" cy="29672"/>
            </a:xfrm>
            <a:custGeom>
              <a:avLst/>
              <a:gdLst>
                <a:gd name="connsiteX0" fmla="*/ 11 w 9809"/>
                <a:gd name="connsiteY0" fmla="*/ 0 h 24876"/>
                <a:gd name="connsiteX1" fmla="*/ 9810 w 9809"/>
                <a:gd name="connsiteY1" fmla="*/ 20715 h 24876"/>
                <a:gd name="connsiteX2" fmla="*/ 235 w 9809"/>
                <a:gd name="connsiteY2" fmla="*/ 24876 h 24876"/>
                <a:gd name="connsiteX3" fmla="*/ 11 w 9809"/>
                <a:gd name="connsiteY3" fmla="*/ 0 h 24876"/>
              </a:gdLst>
              <a:ahLst/>
              <a:cxnLst>
                <a:cxn ang="0">
                  <a:pos x="connsiteX0" y="connsiteY0"/>
                </a:cxn>
                <a:cxn ang="0">
                  <a:pos x="connsiteX1" y="connsiteY1"/>
                </a:cxn>
                <a:cxn ang="0">
                  <a:pos x="connsiteX2" y="connsiteY2"/>
                </a:cxn>
                <a:cxn ang="0">
                  <a:pos x="connsiteX3" y="connsiteY3"/>
                </a:cxn>
              </a:cxnLst>
              <a:rect l="l" t="t" r="r" b="b"/>
              <a:pathLst>
                <a:path w="9809" h="24876">
                  <a:moveTo>
                    <a:pt x="11" y="0"/>
                  </a:moveTo>
                  <a:cubicBezTo>
                    <a:pt x="9855" y="2416"/>
                    <a:pt x="8065" y="13065"/>
                    <a:pt x="9810" y="20715"/>
                  </a:cubicBezTo>
                  <a:cubicBezTo>
                    <a:pt x="7439" y="21744"/>
                    <a:pt x="2606" y="23847"/>
                    <a:pt x="235" y="24876"/>
                  </a:cubicBezTo>
                  <a:cubicBezTo>
                    <a:pt x="56" y="16554"/>
                    <a:pt x="-33" y="8232"/>
                    <a:pt x="11" y="0"/>
                  </a:cubicBezTo>
                  <a:close/>
                </a:path>
              </a:pathLst>
            </a:custGeom>
            <a:solidFill>
              <a:srgbClr val="CBC8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2" name="Freeform: Shape 4851">
              <a:extLst>
                <a:ext uri="{FF2B5EF4-FFF2-40B4-BE49-F238E27FC236}">
                  <a16:creationId xmlns:a16="http://schemas.microsoft.com/office/drawing/2014/main" id="{34DEDAF0-31D7-5850-1AC5-FBA6837D81F9}"/>
                </a:ext>
              </a:extLst>
            </p:cNvPr>
            <p:cNvSpPr/>
            <p:nvPr/>
          </p:nvSpPr>
          <p:spPr>
            <a:xfrm flipH="1">
              <a:off x="3904364" y="3093009"/>
              <a:ext cx="53693" cy="38277"/>
            </a:xfrm>
            <a:custGeom>
              <a:avLst/>
              <a:gdLst>
                <a:gd name="connsiteX0" fmla="*/ 0 w 45014"/>
                <a:gd name="connsiteY0" fmla="*/ 23882 h 32091"/>
                <a:gd name="connsiteX1" fmla="*/ 20715 w 45014"/>
                <a:gd name="connsiteY1" fmla="*/ 79 h 32091"/>
                <a:gd name="connsiteX2" fmla="*/ 40625 w 45014"/>
                <a:gd name="connsiteY2" fmla="*/ 31577 h 32091"/>
                <a:gd name="connsiteX3" fmla="*/ 0 w 45014"/>
                <a:gd name="connsiteY3" fmla="*/ 23882 h 32091"/>
              </a:gdLst>
              <a:ahLst/>
              <a:cxnLst>
                <a:cxn ang="0">
                  <a:pos x="connsiteX0" y="connsiteY0"/>
                </a:cxn>
                <a:cxn ang="0">
                  <a:pos x="connsiteX1" y="connsiteY1"/>
                </a:cxn>
                <a:cxn ang="0">
                  <a:pos x="connsiteX2" y="connsiteY2"/>
                </a:cxn>
                <a:cxn ang="0">
                  <a:pos x="connsiteX3" y="connsiteY3"/>
                </a:cxn>
              </a:cxnLst>
              <a:rect l="l" t="t" r="r" b="b"/>
              <a:pathLst>
                <a:path w="45014" h="32091">
                  <a:moveTo>
                    <a:pt x="0" y="23882"/>
                  </a:moveTo>
                  <a:cubicBezTo>
                    <a:pt x="5458" y="15336"/>
                    <a:pt x="7740" y="34"/>
                    <a:pt x="20715" y="79"/>
                  </a:cubicBezTo>
                  <a:cubicBezTo>
                    <a:pt x="37538" y="-1353"/>
                    <a:pt x="52795" y="16947"/>
                    <a:pt x="40625" y="31577"/>
                  </a:cubicBezTo>
                  <a:cubicBezTo>
                    <a:pt x="26890" y="30369"/>
                    <a:pt x="9754" y="36678"/>
                    <a:pt x="0" y="23882"/>
                  </a:cubicBezTo>
                  <a:close/>
                </a:path>
              </a:pathLst>
            </a:custGeom>
            <a:solidFill>
              <a:srgbClr val="F6D2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4" name="Freeform: Shape 4853">
              <a:extLst>
                <a:ext uri="{FF2B5EF4-FFF2-40B4-BE49-F238E27FC236}">
                  <a16:creationId xmlns:a16="http://schemas.microsoft.com/office/drawing/2014/main" id="{C3622094-9AAB-E10E-2FFA-F1C34878072D}"/>
                </a:ext>
              </a:extLst>
            </p:cNvPr>
            <p:cNvSpPr/>
            <p:nvPr/>
          </p:nvSpPr>
          <p:spPr>
            <a:xfrm flipH="1">
              <a:off x="3727136" y="3091449"/>
              <a:ext cx="44722" cy="33941"/>
            </a:xfrm>
            <a:custGeom>
              <a:avLst/>
              <a:gdLst>
                <a:gd name="connsiteX0" fmla="*/ 4429 w 37493"/>
                <a:gd name="connsiteY0" fmla="*/ 23892 h 28455"/>
                <a:gd name="connsiteX1" fmla="*/ 30245 w 37493"/>
                <a:gd name="connsiteY1" fmla="*/ 0 h 28455"/>
                <a:gd name="connsiteX2" fmla="*/ 36062 w 37493"/>
                <a:gd name="connsiteY2" fmla="*/ 10962 h 28455"/>
                <a:gd name="connsiteX3" fmla="*/ 37493 w 37493"/>
                <a:gd name="connsiteY3" fmla="*/ 13915 h 28455"/>
                <a:gd name="connsiteX4" fmla="*/ 18433 w 37493"/>
                <a:gd name="connsiteY4" fmla="*/ 28456 h 28455"/>
                <a:gd name="connsiteX5" fmla="*/ 0 w 37493"/>
                <a:gd name="connsiteY5" fmla="*/ 25726 h 28455"/>
                <a:gd name="connsiteX6" fmla="*/ 4429 w 37493"/>
                <a:gd name="connsiteY6" fmla="*/ 23892 h 2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93" h="28455">
                  <a:moveTo>
                    <a:pt x="4429" y="23892"/>
                  </a:moveTo>
                  <a:cubicBezTo>
                    <a:pt x="16912" y="20939"/>
                    <a:pt x="23937" y="10201"/>
                    <a:pt x="30245" y="0"/>
                  </a:cubicBezTo>
                  <a:cubicBezTo>
                    <a:pt x="31677" y="2774"/>
                    <a:pt x="34585" y="8232"/>
                    <a:pt x="36062" y="10962"/>
                  </a:cubicBezTo>
                  <a:cubicBezTo>
                    <a:pt x="36420" y="11722"/>
                    <a:pt x="37135" y="13154"/>
                    <a:pt x="37493" y="13915"/>
                  </a:cubicBezTo>
                  <a:cubicBezTo>
                    <a:pt x="30961" y="18523"/>
                    <a:pt x="24653" y="23400"/>
                    <a:pt x="18433" y="28456"/>
                  </a:cubicBezTo>
                  <a:cubicBezTo>
                    <a:pt x="12259" y="27516"/>
                    <a:pt x="6130" y="26576"/>
                    <a:pt x="0" y="25726"/>
                  </a:cubicBezTo>
                  <a:lnTo>
                    <a:pt x="4429" y="23892"/>
                  </a:ln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5" name="Freeform: Shape 4854">
              <a:extLst>
                <a:ext uri="{FF2B5EF4-FFF2-40B4-BE49-F238E27FC236}">
                  <a16:creationId xmlns:a16="http://schemas.microsoft.com/office/drawing/2014/main" id="{9B87EBDA-B802-5E82-B36A-8FC1FE9F3580}"/>
                </a:ext>
              </a:extLst>
            </p:cNvPr>
            <p:cNvSpPr/>
            <p:nvPr/>
          </p:nvSpPr>
          <p:spPr>
            <a:xfrm flipH="1">
              <a:off x="3134952" y="3259055"/>
              <a:ext cx="53878" cy="65587"/>
            </a:xfrm>
            <a:custGeom>
              <a:avLst/>
              <a:gdLst>
                <a:gd name="connsiteX0" fmla="*/ 4572 w 45170"/>
                <a:gd name="connsiteY0" fmla="*/ 4133 h 54986"/>
                <a:gd name="connsiteX1" fmla="*/ 40409 w 45170"/>
                <a:gd name="connsiteY1" fmla="*/ 8920 h 54986"/>
                <a:gd name="connsiteX2" fmla="*/ 32311 w 45170"/>
                <a:gd name="connsiteY2" fmla="*/ 53796 h 54986"/>
                <a:gd name="connsiteX3" fmla="*/ 4572 w 45170"/>
                <a:gd name="connsiteY3" fmla="*/ 4133 h 54986"/>
                <a:gd name="connsiteX4" fmla="*/ 4616 w 45170"/>
                <a:gd name="connsiteY4" fmla="*/ 4714 h 54986"/>
                <a:gd name="connsiteX5" fmla="*/ 11283 w 45170"/>
                <a:gd name="connsiteY5" fmla="*/ 51022 h 54986"/>
                <a:gd name="connsiteX6" fmla="*/ 40051 w 45170"/>
                <a:gd name="connsiteY6" fmla="*/ 41850 h 54986"/>
                <a:gd name="connsiteX7" fmla="*/ 34503 w 45170"/>
                <a:gd name="connsiteY7" fmla="*/ 5967 h 54986"/>
                <a:gd name="connsiteX8" fmla="*/ 4616 w 45170"/>
                <a:gd name="connsiteY8" fmla="*/ 4714 h 5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70" h="54986">
                  <a:moveTo>
                    <a:pt x="4572" y="4133"/>
                  </a:moveTo>
                  <a:cubicBezTo>
                    <a:pt x="16025" y="-968"/>
                    <a:pt x="32445" y="-3294"/>
                    <a:pt x="40409" y="8920"/>
                  </a:cubicBezTo>
                  <a:cubicBezTo>
                    <a:pt x="48329" y="23461"/>
                    <a:pt x="46852" y="43774"/>
                    <a:pt x="32311" y="53796"/>
                  </a:cubicBezTo>
                  <a:cubicBezTo>
                    <a:pt x="3856" y="62207"/>
                    <a:pt x="-7017" y="23998"/>
                    <a:pt x="4572" y="4133"/>
                  </a:cubicBezTo>
                  <a:close/>
                  <a:moveTo>
                    <a:pt x="4616" y="4714"/>
                  </a:moveTo>
                  <a:cubicBezTo>
                    <a:pt x="321" y="20687"/>
                    <a:pt x="813" y="37420"/>
                    <a:pt x="11283" y="51022"/>
                  </a:cubicBezTo>
                  <a:cubicBezTo>
                    <a:pt x="21439" y="50574"/>
                    <a:pt x="34011" y="52275"/>
                    <a:pt x="40051" y="41850"/>
                  </a:cubicBezTo>
                  <a:cubicBezTo>
                    <a:pt x="41304" y="30083"/>
                    <a:pt x="45241" y="14513"/>
                    <a:pt x="34503" y="5967"/>
                  </a:cubicBezTo>
                  <a:cubicBezTo>
                    <a:pt x="26763" y="-3115"/>
                    <a:pt x="14280" y="3730"/>
                    <a:pt x="4616" y="4714"/>
                  </a:cubicBez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56" name="Freeform: Shape 4855">
              <a:extLst>
                <a:ext uri="{FF2B5EF4-FFF2-40B4-BE49-F238E27FC236}">
                  <a16:creationId xmlns:a16="http://schemas.microsoft.com/office/drawing/2014/main" id="{5F2674D8-90FF-F5CD-702C-40ECCBD9985D}"/>
                </a:ext>
              </a:extLst>
            </p:cNvPr>
            <p:cNvSpPr/>
            <p:nvPr/>
          </p:nvSpPr>
          <p:spPr>
            <a:xfrm flipH="1">
              <a:off x="3114728" y="3485140"/>
              <a:ext cx="49865" cy="66869"/>
            </a:xfrm>
            <a:custGeom>
              <a:avLst/>
              <a:gdLst>
                <a:gd name="connsiteX0" fmla="*/ 1074 w 41806"/>
                <a:gd name="connsiteY0" fmla="*/ 0 h 56061"/>
                <a:gd name="connsiteX1" fmla="*/ 1834 w 41806"/>
                <a:gd name="connsiteY1" fmla="*/ 3087 h 56061"/>
                <a:gd name="connsiteX2" fmla="*/ 4519 w 41806"/>
                <a:gd name="connsiteY2" fmla="*/ 11141 h 56061"/>
                <a:gd name="connsiteX3" fmla="*/ 8859 w 41806"/>
                <a:gd name="connsiteY3" fmla="*/ 23489 h 56061"/>
                <a:gd name="connsiteX4" fmla="*/ 33377 w 41806"/>
                <a:gd name="connsiteY4" fmla="*/ 28321 h 56061"/>
                <a:gd name="connsiteX5" fmla="*/ 38925 w 41806"/>
                <a:gd name="connsiteY5" fmla="*/ 1924 h 56061"/>
                <a:gd name="connsiteX6" fmla="*/ 36419 w 41806"/>
                <a:gd name="connsiteY6" fmla="*/ 31945 h 56061"/>
                <a:gd name="connsiteX7" fmla="*/ 2729 w 41806"/>
                <a:gd name="connsiteY7" fmla="*/ 39015 h 56061"/>
                <a:gd name="connsiteX8" fmla="*/ 761 w 41806"/>
                <a:gd name="connsiteY8" fmla="*/ 51050 h 56061"/>
                <a:gd name="connsiteX9" fmla="*/ 0 w 41806"/>
                <a:gd name="connsiteY9" fmla="*/ 56061 h 56061"/>
                <a:gd name="connsiteX10" fmla="*/ 1074 w 41806"/>
                <a:gd name="connsiteY10" fmla="*/ 0 h 5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6" h="56061">
                  <a:moveTo>
                    <a:pt x="1074" y="0"/>
                  </a:moveTo>
                  <a:lnTo>
                    <a:pt x="1834" y="3087"/>
                  </a:lnTo>
                  <a:lnTo>
                    <a:pt x="4519" y="11141"/>
                  </a:lnTo>
                  <a:cubicBezTo>
                    <a:pt x="5951" y="15257"/>
                    <a:pt x="7382" y="19328"/>
                    <a:pt x="8859" y="23489"/>
                  </a:cubicBezTo>
                  <a:cubicBezTo>
                    <a:pt x="16733" y="26397"/>
                    <a:pt x="24966" y="28232"/>
                    <a:pt x="33377" y="28321"/>
                  </a:cubicBezTo>
                  <a:cubicBezTo>
                    <a:pt x="35212" y="19507"/>
                    <a:pt x="37225" y="10738"/>
                    <a:pt x="38925" y="1924"/>
                  </a:cubicBezTo>
                  <a:cubicBezTo>
                    <a:pt x="41475" y="11543"/>
                    <a:pt x="44876" y="24071"/>
                    <a:pt x="36419" y="31945"/>
                  </a:cubicBezTo>
                  <a:cubicBezTo>
                    <a:pt x="26040" y="37180"/>
                    <a:pt x="13915" y="37001"/>
                    <a:pt x="2729" y="39015"/>
                  </a:cubicBezTo>
                  <a:cubicBezTo>
                    <a:pt x="2237" y="42012"/>
                    <a:pt x="1253" y="48052"/>
                    <a:pt x="761" y="51050"/>
                  </a:cubicBezTo>
                  <a:cubicBezTo>
                    <a:pt x="582" y="52303"/>
                    <a:pt x="179" y="54808"/>
                    <a:pt x="0" y="56061"/>
                  </a:cubicBezTo>
                  <a:cubicBezTo>
                    <a:pt x="1387" y="37404"/>
                    <a:pt x="2685" y="18657"/>
                    <a:pt x="1074" y="0"/>
                  </a:cubicBezTo>
                  <a:close/>
                </a:path>
              </a:pathLst>
            </a:custGeom>
            <a:solidFill>
              <a:srgbClr val="3346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6" name="Freeform: Shape 4865">
              <a:extLst>
                <a:ext uri="{FF2B5EF4-FFF2-40B4-BE49-F238E27FC236}">
                  <a16:creationId xmlns:a16="http://schemas.microsoft.com/office/drawing/2014/main" id="{344CE502-C918-A0D8-06FE-D81461DABECB}"/>
                </a:ext>
              </a:extLst>
            </p:cNvPr>
            <p:cNvSpPr/>
            <p:nvPr/>
          </p:nvSpPr>
          <p:spPr>
            <a:xfrm flipH="1">
              <a:off x="4044329" y="3101022"/>
              <a:ext cx="12915" cy="17674"/>
            </a:xfrm>
            <a:custGeom>
              <a:avLst/>
              <a:gdLst>
                <a:gd name="connsiteX0" fmla="*/ 2308 w 10828"/>
                <a:gd name="connsiteY0" fmla="*/ 1191 h 14818"/>
                <a:gd name="connsiteX1" fmla="*/ 8617 w 10828"/>
                <a:gd name="connsiteY1" fmla="*/ 13585 h 14818"/>
                <a:gd name="connsiteX2" fmla="*/ 2308 w 10828"/>
                <a:gd name="connsiteY2" fmla="*/ 1191 h 14818"/>
              </a:gdLst>
              <a:ahLst/>
              <a:cxnLst>
                <a:cxn ang="0">
                  <a:pos x="connsiteX0" y="connsiteY0"/>
                </a:cxn>
                <a:cxn ang="0">
                  <a:pos x="connsiteX1" y="connsiteY1"/>
                </a:cxn>
                <a:cxn ang="0">
                  <a:pos x="connsiteX2" y="connsiteY2"/>
                </a:cxn>
              </a:cxnLst>
              <a:rect l="l" t="t" r="r" b="b"/>
              <a:pathLst>
                <a:path w="10828" h="14818">
                  <a:moveTo>
                    <a:pt x="2308" y="1191"/>
                  </a:moveTo>
                  <a:cubicBezTo>
                    <a:pt x="9422" y="-4044"/>
                    <a:pt x="13673" y="9424"/>
                    <a:pt x="8617" y="13585"/>
                  </a:cubicBezTo>
                  <a:cubicBezTo>
                    <a:pt x="1413" y="18954"/>
                    <a:pt x="-2927" y="5307"/>
                    <a:pt x="2308" y="1191"/>
                  </a:cubicBezTo>
                  <a:close/>
                </a:path>
              </a:pathLst>
            </a:custGeom>
            <a:solidFill>
              <a:srgbClr val="CCC9C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7" name="Freeform: Shape 4866">
              <a:extLst>
                <a:ext uri="{FF2B5EF4-FFF2-40B4-BE49-F238E27FC236}">
                  <a16:creationId xmlns:a16="http://schemas.microsoft.com/office/drawing/2014/main" id="{6215F467-43AE-A7D8-D3F9-53040D683F91}"/>
                </a:ext>
              </a:extLst>
            </p:cNvPr>
            <p:cNvSpPr/>
            <p:nvPr/>
          </p:nvSpPr>
          <p:spPr>
            <a:xfrm flipH="1">
              <a:off x="3235410" y="3104204"/>
              <a:ext cx="212615" cy="47573"/>
            </a:xfrm>
            <a:custGeom>
              <a:avLst/>
              <a:gdLst>
                <a:gd name="connsiteX0" fmla="*/ 125500 w 178250"/>
                <a:gd name="connsiteY0" fmla="*/ 5682 h 39884"/>
                <a:gd name="connsiteX1" fmla="*/ 133777 w 178250"/>
                <a:gd name="connsiteY1" fmla="*/ 1208 h 39884"/>
                <a:gd name="connsiteX2" fmla="*/ 138296 w 178250"/>
                <a:gd name="connsiteY2" fmla="*/ 7024 h 39884"/>
                <a:gd name="connsiteX3" fmla="*/ 178250 w 178250"/>
                <a:gd name="connsiteY3" fmla="*/ 7964 h 39884"/>
                <a:gd name="connsiteX4" fmla="*/ 177624 w 178250"/>
                <a:gd name="connsiteY4" fmla="*/ 37807 h 39884"/>
                <a:gd name="connsiteX5" fmla="*/ 42460 w 178250"/>
                <a:gd name="connsiteY5" fmla="*/ 38925 h 39884"/>
                <a:gd name="connsiteX6" fmla="*/ 0 w 178250"/>
                <a:gd name="connsiteY6" fmla="*/ 8232 h 39884"/>
                <a:gd name="connsiteX7" fmla="*/ 36822 w 178250"/>
                <a:gd name="connsiteY7" fmla="*/ 7159 h 39884"/>
                <a:gd name="connsiteX8" fmla="*/ 71900 w 178250"/>
                <a:gd name="connsiteY8" fmla="*/ 0 h 39884"/>
                <a:gd name="connsiteX9" fmla="*/ 76016 w 178250"/>
                <a:gd name="connsiteY9" fmla="*/ 6756 h 39884"/>
                <a:gd name="connsiteX10" fmla="*/ 118386 w 178250"/>
                <a:gd name="connsiteY10" fmla="*/ 7248 h 39884"/>
                <a:gd name="connsiteX11" fmla="*/ 125500 w 178250"/>
                <a:gd name="connsiteY11" fmla="*/ 5682 h 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250" h="39884">
                  <a:moveTo>
                    <a:pt x="125500" y="5682"/>
                  </a:moveTo>
                  <a:cubicBezTo>
                    <a:pt x="128229" y="4206"/>
                    <a:pt x="131003" y="2729"/>
                    <a:pt x="133777" y="1208"/>
                  </a:cubicBezTo>
                  <a:cubicBezTo>
                    <a:pt x="134896" y="2685"/>
                    <a:pt x="137177" y="5593"/>
                    <a:pt x="138296" y="7024"/>
                  </a:cubicBezTo>
                  <a:cubicBezTo>
                    <a:pt x="151629" y="7382"/>
                    <a:pt x="164917" y="7740"/>
                    <a:pt x="178250" y="7964"/>
                  </a:cubicBezTo>
                  <a:cubicBezTo>
                    <a:pt x="178026" y="17897"/>
                    <a:pt x="177803" y="27829"/>
                    <a:pt x="177624" y="37807"/>
                  </a:cubicBezTo>
                  <a:cubicBezTo>
                    <a:pt x="132614" y="40088"/>
                    <a:pt x="87470" y="40536"/>
                    <a:pt x="42460" y="38925"/>
                  </a:cubicBezTo>
                  <a:cubicBezTo>
                    <a:pt x="23668" y="36285"/>
                    <a:pt x="8635" y="24921"/>
                    <a:pt x="0" y="8232"/>
                  </a:cubicBezTo>
                  <a:cubicBezTo>
                    <a:pt x="12259" y="7427"/>
                    <a:pt x="24608" y="8769"/>
                    <a:pt x="36822" y="7159"/>
                  </a:cubicBezTo>
                  <a:cubicBezTo>
                    <a:pt x="48455" y="4653"/>
                    <a:pt x="59819" y="403"/>
                    <a:pt x="71900" y="0"/>
                  </a:cubicBezTo>
                  <a:lnTo>
                    <a:pt x="76016" y="6756"/>
                  </a:lnTo>
                  <a:cubicBezTo>
                    <a:pt x="90020" y="8680"/>
                    <a:pt x="104248" y="8232"/>
                    <a:pt x="118386" y="7248"/>
                  </a:cubicBezTo>
                  <a:cubicBezTo>
                    <a:pt x="120131" y="6845"/>
                    <a:pt x="123710" y="6085"/>
                    <a:pt x="125500" y="5682"/>
                  </a:cubicBezTo>
                  <a:close/>
                </a:path>
              </a:pathLst>
            </a:custGeom>
            <a:solidFill>
              <a:srgbClr val="60BF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9" name="Freeform: Shape 4868">
              <a:extLst>
                <a:ext uri="{FF2B5EF4-FFF2-40B4-BE49-F238E27FC236}">
                  <a16:creationId xmlns:a16="http://schemas.microsoft.com/office/drawing/2014/main" id="{07547F64-CB35-898C-0A28-8F42A3D59ECF}"/>
                </a:ext>
              </a:extLst>
            </p:cNvPr>
            <p:cNvSpPr/>
            <p:nvPr/>
          </p:nvSpPr>
          <p:spPr>
            <a:xfrm flipH="1">
              <a:off x="3957629" y="3110072"/>
              <a:ext cx="34636" cy="30208"/>
            </a:xfrm>
            <a:custGeom>
              <a:avLst/>
              <a:gdLst>
                <a:gd name="connsiteX0" fmla="*/ 0 w 29037"/>
                <a:gd name="connsiteY0" fmla="*/ 14991 h 25326"/>
                <a:gd name="connsiteX1" fmla="*/ 23400 w 29037"/>
                <a:gd name="connsiteY1" fmla="*/ 47 h 25326"/>
                <a:gd name="connsiteX2" fmla="*/ 29037 w 29037"/>
                <a:gd name="connsiteY2" fmla="*/ 25326 h 25326"/>
                <a:gd name="connsiteX3" fmla="*/ 0 w 29037"/>
                <a:gd name="connsiteY3" fmla="*/ 14991 h 25326"/>
              </a:gdLst>
              <a:ahLst/>
              <a:cxnLst>
                <a:cxn ang="0">
                  <a:pos x="connsiteX0" y="connsiteY0"/>
                </a:cxn>
                <a:cxn ang="0">
                  <a:pos x="connsiteX1" y="connsiteY1"/>
                </a:cxn>
                <a:cxn ang="0">
                  <a:pos x="connsiteX2" y="connsiteY2"/>
                </a:cxn>
                <a:cxn ang="0">
                  <a:pos x="connsiteX3" y="connsiteY3"/>
                </a:cxn>
              </a:cxnLst>
              <a:rect l="l" t="t" r="r" b="b"/>
              <a:pathLst>
                <a:path w="29037" h="25326">
                  <a:moveTo>
                    <a:pt x="0" y="14991"/>
                  </a:moveTo>
                  <a:cubicBezTo>
                    <a:pt x="-45" y="2150"/>
                    <a:pt x="13199" y="-400"/>
                    <a:pt x="23400" y="47"/>
                  </a:cubicBezTo>
                  <a:cubicBezTo>
                    <a:pt x="25413" y="8459"/>
                    <a:pt x="27292" y="16825"/>
                    <a:pt x="29037" y="25326"/>
                  </a:cubicBezTo>
                  <a:cubicBezTo>
                    <a:pt x="19418" y="22642"/>
                    <a:pt x="3445" y="27429"/>
                    <a:pt x="0" y="14991"/>
                  </a:cubicBezTo>
                  <a:close/>
                </a:path>
              </a:pathLst>
            </a:custGeom>
            <a:solidFill>
              <a:srgbClr val="95AD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0" name="Freeform: Shape 4869">
              <a:extLst>
                <a:ext uri="{FF2B5EF4-FFF2-40B4-BE49-F238E27FC236}">
                  <a16:creationId xmlns:a16="http://schemas.microsoft.com/office/drawing/2014/main" id="{B1E4B84E-4368-0601-F0A9-C81C8D79100A}"/>
                </a:ext>
              </a:extLst>
            </p:cNvPr>
            <p:cNvSpPr/>
            <p:nvPr/>
          </p:nvSpPr>
          <p:spPr>
            <a:xfrm flipH="1">
              <a:off x="3397381" y="3114023"/>
              <a:ext cx="63347" cy="36609"/>
            </a:xfrm>
            <a:custGeom>
              <a:avLst/>
              <a:gdLst>
                <a:gd name="connsiteX0" fmla="*/ 0 w 53108"/>
                <a:gd name="connsiteY0" fmla="*/ 1432 h 30692"/>
                <a:gd name="connsiteX1" fmla="*/ 10648 w 53108"/>
                <a:gd name="connsiteY1" fmla="*/ 0 h 30692"/>
                <a:gd name="connsiteX2" fmla="*/ 53108 w 53108"/>
                <a:gd name="connsiteY2" fmla="*/ 30693 h 30692"/>
                <a:gd name="connsiteX3" fmla="*/ 3311 w 53108"/>
                <a:gd name="connsiteY3" fmla="*/ 30379 h 30692"/>
                <a:gd name="connsiteX4" fmla="*/ 0 w 53108"/>
                <a:gd name="connsiteY4" fmla="*/ 1432 h 30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08" h="30692">
                  <a:moveTo>
                    <a:pt x="0" y="1432"/>
                  </a:moveTo>
                  <a:cubicBezTo>
                    <a:pt x="2640" y="1074"/>
                    <a:pt x="8009" y="358"/>
                    <a:pt x="10648" y="0"/>
                  </a:cubicBezTo>
                  <a:cubicBezTo>
                    <a:pt x="19284" y="16689"/>
                    <a:pt x="34317" y="28053"/>
                    <a:pt x="53108" y="30693"/>
                  </a:cubicBezTo>
                  <a:cubicBezTo>
                    <a:pt x="36509" y="30290"/>
                    <a:pt x="19910" y="30469"/>
                    <a:pt x="3311" y="30379"/>
                  </a:cubicBezTo>
                  <a:cubicBezTo>
                    <a:pt x="2819" y="20626"/>
                    <a:pt x="2103" y="10917"/>
                    <a:pt x="0" y="1432"/>
                  </a:cubicBezTo>
                  <a:close/>
                </a:path>
              </a:pathLst>
            </a:custGeom>
            <a:solidFill>
              <a:srgbClr val="7ACA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1" name="Freeform: Shape 4870">
              <a:extLst>
                <a:ext uri="{FF2B5EF4-FFF2-40B4-BE49-F238E27FC236}">
                  <a16:creationId xmlns:a16="http://schemas.microsoft.com/office/drawing/2014/main" id="{C38F18DC-B4BD-36C8-B767-823389D02772}"/>
                </a:ext>
              </a:extLst>
            </p:cNvPr>
            <p:cNvSpPr/>
            <p:nvPr/>
          </p:nvSpPr>
          <p:spPr>
            <a:xfrm flipH="1">
              <a:off x="3211677" y="3113862"/>
              <a:ext cx="15623" cy="37357"/>
            </a:xfrm>
            <a:custGeom>
              <a:avLst/>
              <a:gdLst>
                <a:gd name="connsiteX0" fmla="*/ 0 w 13098"/>
                <a:gd name="connsiteY0" fmla="*/ 0 h 31319"/>
                <a:gd name="connsiteX1" fmla="*/ 12662 w 13098"/>
                <a:gd name="connsiteY1" fmla="*/ 403 h 31319"/>
                <a:gd name="connsiteX2" fmla="*/ 12796 w 13098"/>
                <a:gd name="connsiteY2" fmla="*/ 28858 h 31319"/>
                <a:gd name="connsiteX3" fmla="*/ 492 w 13098"/>
                <a:gd name="connsiteY3" fmla="*/ 31319 h 31319"/>
                <a:gd name="connsiteX4" fmla="*/ 0 w 13098"/>
                <a:gd name="connsiteY4" fmla="*/ 0 h 31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8" h="31319">
                  <a:moveTo>
                    <a:pt x="0" y="0"/>
                  </a:moveTo>
                  <a:cubicBezTo>
                    <a:pt x="3177" y="90"/>
                    <a:pt x="9485" y="313"/>
                    <a:pt x="12662" y="403"/>
                  </a:cubicBezTo>
                  <a:cubicBezTo>
                    <a:pt x="12528" y="9888"/>
                    <a:pt x="13601" y="19373"/>
                    <a:pt x="12796" y="28858"/>
                  </a:cubicBezTo>
                  <a:cubicBezTo>
                    <a:pt x="9709" y="29485"/>
                    <a:pt x="3535" y="30737"/>
                    <a:pt x="492" y="31319"/>
                  </a:cubicBezTo>
                  <a:cubicBezTo>
                    <a:pt x="313" y="20894"/>
                    <a:pt x="224" y="10425"/>
                    <a:pt x="0" y="0"/>
                  </a:cubicBezTo>
                  <a:close/>
                </a:path>
              </a:pathLst>
            </a:custGeom>
            <a:solidFill>
              <a:srgbClr val="F9FB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2" name="Freeform: Shape 4871">
              <a:extLst>
                <a:ext uri="{FF2B5EF4-FFF2-40B4-BE49-F238E27FC236}">
                  <a16:creationId xmlns:a16="http://schemas.microsoft.com/office/drawing/2014/main" id="{A45C2393-096A-84C9-D669-899305B38781}"/>
                </a:ext>
              </a:extLst>
            </p:cNvPr>
            <p:cNvSpPr/>
            <p:nvPr/>
          </p:nvSpPr>
          <p:spPr>
            <a:xfrm flipH="1">
              <a:off x="2309652" y="3121281"/>
              <a:ext cx="86765" cy="38796"/>
            </a:xfrm>
            <a:custGeom>
              <a:avLst/>
              <a:gdLst>
                <a:gd name="connsiteX0" fmla="*/ 37 w 72741"/>
                <a:gd name="connsiteY0" fmla="*/ 0 h 32526"/>
                <a:gd name="connsiteX1" fmla="*/ 72563 w 72741"/>
                <a:gd name="connsiteY1" fmla="*/ 492 h 32526"/>
                <a:gd name="connsiteX2" fmla="*/ 72742 w 72741"/>
                <a:gd name="connsiteY2" fmla="*/ 32527 h 32526"/>
                <a:gd name="connsiteX3" fmla="*/ 484 w 72741"/>
                <a:gd name="connsiteY3" fmla="*/ 31543 h 32526"/>
                <a:gd name="connsiteX4" fmla="*/ 37 w 72741"/>
                <a:gd name="connsiteY4" fmla="*/ 0 h 32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41" h="32526">
                  <a:moveTo>
                    <a:pt x="37" y="0"/>
                  </a:moveTo>
                  <a:cubicBezTo>
                    <a:pt x="24197" y="0"/>
                    <a:pt x="48358" y="0"/>
                    <a:pt x="72563" y="492"/>
                  </a:cubicBezTo>
                  <a:cubicBezTo>
                    <a:pt x="72608" y="11141"/>
                    <a:pt x="72652" y="21834"/>
                    <a:pt x="72742" y="32527"/>
                  </a:cubicBezTo>
                  <a:cubicBezTo>
                    <a:pt x="48671" y="31543"/>
                    <a:pt x="24555" y="31498"/>
                    <a:pt x="484" y="31543"/>
                  </a:cubicBezTo>
                  <a:cubicBezTo>
                    <a:pt x="-8" y="21029"/>
                    <a:pt x="-52" y="10514"/>
                    <a:pt x="37" y="0"/>
                  </a:cubicBezTo>
                  <a:close/>
                </a:path>
              </a:pathLst>
            </a:custGeom>
            <a:solidFill>
              <a:srgbClr val="7ABA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3" name="Freeform: Shape 4872">
              <a:extLst>
                <a:ext uri="{FF2B5EF4-FFF2-40B4-BE49-F238E27FC236}">
                  <a16:creationId xmlns:a16="http://schemas.microsoft.com/office/drawing/2014/main" id="{E177B6C1-971F-071C-F704-43E352BBE6E1}"/>
                </a:ext>
              </a:extLst>
            </p:cNvPr>
            <p:cNvSpPr/>
            <p:nvPr/>
          </p:nvSpPr>
          <p:spPr>
            <a:xfrm flipH="1">
              <a:off x="2265410" y="3118880"/>
              <a:ext cx="33033" cy="40665"/>
            </a:xfrm>
            <a:custGeom>
              <a:avLst/>
              <a:gdLst>
                <a:gd name="connsiteX0" fmla="*/ 0 w 27694"/>
                <a:gd name="connsiteY0" fmla="*/ 33690 h 34092"/>
                <a:gd name="connsiteX1" fmla="*/ 1298 w 27694"/>
                <a:gd name="connsiteY1" fmla="*/ 447 h 34092"/>
                <a:gd name="connsiteX2" fmla="*/ 27069 w 27694"/>
                <a:gd name="connsiteY2" fmla="*/ 0 h 34092"/>
                <a:gd name="connsiteX3" fmla="*/ 27695 w 27694"/>
                <a:gd name="connsiteY3" fmla="*/ 34093 h 34092"/>
                <a:gd name="connsiteX4" fmla="*/ 0 w 27694"/>
                <a:gd name="connsiteY4" fmla="*/ 33690 h 3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4" h="34092">
                  <a:moveTo>
                    <a:pt x="0" y="33690"/>
                  </a:moveTo>
                  <a:cubicBezTo>
                    <a:pt x="268" y="22595"/>
                    <a:pt x="582" y="11499"/>
                    <a:pt x="1298" y="447"/>
                  </a:cubicBezTo>
                  <a:cubicBezTo>
                    <a:pt x="9843" y="268"/>
                    <a:pt x="18433" y="134"/>
                    <a:pt x="27069" y="0"/>
                  </a:cubicBezTo>
                  <a:cubicBezTo>
                    <a:pt x="27292" y="11364"/>
                    <a:pt x="27516" y="22729"/>
                    <a:pt x="27695" y="34093"/>
                  </a:cubicBezTo>
                  <a:cubicBezTo>
                    <a:pt x="18433" y="33869"/>
                    <a:pt x="9217" y="33735"/>
                    <a:pt x="0" y="33690"/>
                  </a:cubicBezTo>
                  <a:close/>
                </a:path>
              </a:pathLst>
            </a:custGeom>
            <a:solidFill>
              <a:srgbClr val="F6FA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4" name="Freeform: Shape 4873">
              <a:extLst>
                <a:ext uri="{FF2B5EF4-FFF2-40B4-BE49-F238E27FC236}">
                  <a16:creationId xmlns:a16="http://schemas.microsoft.com/office/drawing/2014/main" id="{A0017FE9-BCD7-482E-01E2-9F222121C323}"/>
                </a:ext>
              </a:extLst>
            </p:cNvPr>
            <p:cNvSpPr/>
            <p:nvPr/>
          </p:nvSpPr>
          <p:spPr>
            <a:xfrm flipH="1">
              <a:off x="2092499" y="3121090"/>
              <a:ext cx="149962" cy="39978"/>
            </a:xfrm>
            <a:custGeom>
              <a:avLst/>
              <a:gdLst>
                <a:gd name="connsiteX0" fmla="*/ 940 w 125723"/>
                <a:gd name="connsiteY0" fmla="*/ 161 h 33516"/>
                <a:gd name="connsiteX1" fmla="*/ 125008 w 125723"/>
                <a:gd name="connsiteY1" fmla="*/ 832 h 33516"/>
                <a:gd name="connsiteX2" fmla="*/ 125276 w 125723"/>
                <a:gd name="connsiteY2" fmla="*/ 14746 h 33516"/>
                <a:gd name="connsiteX3" fmla="*/ 125724 w 125723"/>
                <a:gd name="connsiteY3" fmla="*/ 32464 h 33516"/>
                <a:gd name="connsiteX4" fmla="*/ 87693 w 125723"/>
                <a:gd name="connsiteY4" fmla="*/ 32375 h 33516"/>
                <a:gd name="connsiteX5" fmla="*/ 85993 w 125723"/>
                <a:gd name="connsiteY5" fmla="*/ 6827 h 33516"/>
                <a:gd name="connsiteX6" fmla="*/ 6130 w 125723"/>
                <a:gd name="connsiteY6" fmla="*/ 6827 h 33516"/>
                <a:gd name="connsiteX7" fmla="*/ 6443 w 125723"/>
                <a:gd name="connsiteY7" fmla="*/ 27453 h 33516"/>
                <a:gd name="connsiteX8" fmla="*/ 84875 w 125723"/>
                <a:gd name="connsiteY8" fmla="*/ 27453 h 33516"/>
                <a:gd name="connsiteX9" fmla="*/ 84338 w 125723"/>
                <a:gd name="connsiteY9" fmla="*/ 33046 h 33516"/>
                <a:gd name="connsiteX10" fmla="*/ 0 w 125723"/>
                <a:gd name="connsiteY10" fmla="*/ 31838 h 33516"/>
                <a:gd name="connsiteX11" fmla="*/ 940 w 125723"/>
                <a:gd name="connsiteY11" fmla="*/ 161 h 3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723" h="33516">
                  <a:moveTo>
                    <a:pt x="940" y="161"/>
                  </a:moveTo>
                  <a:cubicBezTo>
                    <a:pt x="42281" y="-242"/>
                    <a:pt x="83667" y="161"/>
                    <a:pt x="125008" y="832"/>
                  </a:cubicBezTo>
                  <a:cubicBezTo>
                    <a:pt x="125097" y="4322"/>
                    <a:pt x="125231" y="11257"/>
                    <a:pt x="125276" y="14746"/>
                  </a:cubicBezTo>
                  <a:cubicBezTo>
                    <a:pt x="125410" y="20608"/>
                    <a:pt x="125545" y="26558"/>
                    <a:pt x="125724" y="32464"/>
                  </a:cubicBezTo>
                  <a:cubicBezTo>
                    <a:pt x="113017" y="32375"/>
                    <a:pt x="100311" y="32330"/>
                    <a:pt x="87693" y="32375"/>
                  </a:cubicBezTo>
                  <a:cubicBezTo>
                    <a:pt x="87112" y="23829"/>
                    <a:pt x="86843" y="15328"/>
                    <a:pt x="85993" y="6827"/>
                  </a:cubicBezTo>
                  <a:cubicBezTo>
                    <a:pt x="59327" y="6424"/>
                    <a:pt x="32706" y="6514"/>
                    <a:pt x="6130" y="6827"/>
                  </a:cubicBezTo>
                  <a:cubicBezTo>
                    <a:pt x="6174" y="13673"/>
                    <a:pt x="6309" y="20563"/>
                    <a:pt x="6443" y="27453"/>
                  </a:cubicBezTo>
                  <a:cubicBezTo>
                    <a:pt x="32572" y="28437"/>
                    <a:pt x="58746" y="27274"/>
                    <a:pt x="84875" y="27453"/>
                  </a:cubicBezTo>
                  <a:lnTo>
                    <a:pt x="84338" y="33046"/>
                  </a:lnTo>
                  <a:cubicBezTo>
                    <a:pt x="56240" y="33806"/>
                    <a:pt x="28053" y="33806"/>
                    <a:pt x="0" y="31838"/>
                  </a:cubicBezTo>
                  <a:cubicBezTo>
                    <a:pt x="313" y="21234"/>
                    <a:pt x="582" y="10720"/>
                    <a:pt x="940" y="161"/>
                  </a:cubicBezTo>
                  <a:close/>
                </a:path>
              </a:pathLst>
            </a:custGeom>
            <a:solidFill>
              <a:srgbClr val="E8E5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5" name="Freeform: Shape 4874">
              <a:extLst>
                <a:ext uri="{FF2B5EF4-FFF2-40B4-BE49-F238E27FC236}">
                  <a16:creationId xmlns:a16="http://schemas.microsoft.com/office/drawing/2014/main" id="{42565554-4D24-45DB-D4E3-51085F299F7E}"/>
                </a:ext>
              </a:extLst>
            </p:cNvPr>
            <p:cNvSpPr/>
            <p:nvPr/>
          </p:nvSpPr>
          <p:spPr>
            <a:xfrm flipH="1">
              <a:off x="2139890" y="3128911"/>
              <a:ext cx="95259" cy="25401"/>
            </a:xfrm>
            <a:custGeom>
              <a:avLst/>
              <a:gdLst>
                <a:gd name="connsiteX0" fmla="*/ 0 w 79863"/>
                <a:gd name="connsiteY0" fmla="*/ 269 h 21295"/>
                <a:gd name="connsiteX1" fmla="*/ 79864 w 79863"/>
                <a:gd name="connsiteY1" fmla="*/ 269 h 21295"/>
                <a:gd name="connsiteX2" fmla="*/ 78745 w 79863"/>
                <a:gd name="connsiteY2" fmla="*/ 20895 h 21295"/>
                <a:gd name="connsiteX3" fmla="*/ 313 w 79863"/>
                <a:gd name="connsiteY3" fmla="*/ 20895 h 21295"/>
                <a:gd name="connsiteX4" fmla="*/ 0 w 79863"/>
                <a:gd name="connsiteY4" fmla="*/ 269 h 21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63" h="21295">
                  <a:moveTo>
                    <a:pt x="0" y="269"/>
                  </a:moveTo>
                  <a:cubicBezTo>
                    <a:pt x="26576" y="-44"/>
                    <a:pt x="53198" y="-133"/>
                    <a:pt x="79864" y="269"/>
                  </a:cubicBezTo>
                  <a:cubicBezTo>
                    <a:pt x="79506" y="7160"/>
                    <a:pt x="79237" y="14005"/>
                    <a:pt x="78745" y="20895"/>
                  </a:cubicBezTo>
                  <a:cubicBezTo>
                    <a:pt x="52616" y="20716"/>
                    <a:pt x="26442" y="21880"/>
                    <a:pt x="313" y="20895"/>
                  </a:cubicBezTo>
                  <a:cubicBezTo>
                    <a:pt x="179" y="14005"/>
                    <a:pt x="45" y="7115"/>
                    <a:pt x="0" y="269"/>
                  </a:cubicBezTo>
                  <a:close/>
                </a:path>
              </a:pathLst>
            </a:custGeom>
            <a:solidFill>
              <a:srgbClr val="F2E5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6" name="Freeform: Shape 4875">
              <a:extLst>
                <a:ext uri="{FF2B5EF4-FFF2-40B4-BE49-F238E27FC236}">
                  <a16:creationId xmlns:a16="http://schemas.microsoft.com/office/drawing/2014/main" id="{3457F8FC-0F55-8EDB-C014-3AC8B6A5A4F8}"/>
                </a:ext>
              </a:extLst>
            </p:cNvPr>
            <p:cNvSpPr/>
            <p:nvPr/>
          </p:nvSpPr>
          <p:spPr>
            <a:xfrm flipH="1">
              <a:off x="2046195" y="3134197"/>
              <a:ext cx="14873" cy="188546"/>
            </a:xfrm>
            <a:custGeom>
              <a:avLst/>
              <a:gdLst>
                <a:gd name="connsiteX0" fmla="*/ 48 w 12470"/>
                <a:gd name="connsiteY0" fmla="*/ 0 h 158071"/>
                <a:gd name="connsiteX1" fmla="*/ 12352 w 12470"/>
                <a:gd name="connsiteY1" fmla="*/ 2058 h 158071"/>
                <a:gd name="connsiteX2" fmla="*/ 11815 w 12470"/>
                <a:gd name="connsiteY2" fmla="*/ 156953 h 158071"/>
                <a:gd name="connsiteX3" fmla="*/ 629 w 12470"/>
                <a:gd name="connsiteY3" fmla="*/ 158072 h 158071"/>
                <a:gd name="connsiteX4" fmla="*/ 48 w 12470"/>
                <a:gd name="connsiteY4" fmla="*/ 0 h 15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0" h="158071">
                  <a:moveTo>
                    <a:pt x="48" y="0"/>
                  </a:moveTo>
                  <a:cubicBezTo>
                    <a:pt x="3135" y="537"/>
                    <a:pt x="9309" y="1566"/>
                    <a:pt x="12352" y="2058"/>
                  </a:cubicBezTo>
                  <a:cubicBezTo>
                    <a:pt x="12396" y="53690"/>
                    <a:pt x="12799" y="105321"/>
                    <a:pt x="11815" y="156953"/>
                  </a:cubicBezTo>
                  <a:cubicBezTo>
                    <a:pt x="9041" y="157222"/>
                    <a:pt x="3448" y="157803"/>
                    <a:pt x="629" y="158072"/>
                  </a:cubicBezTo>
                  <a:cubicBezTo>
                    <a:pt x="-489" y="105411"/>
                    <a:pt x="272" y="52706"/>
                    <a:pt x="48" y="0"/>
                  </a:cubicBezTo>
                  <a:close/>
                </a:path>
              </a:pathLst>
            </a:custGeom>
            <a:solidFill>
              <a:srgbClr val="DE7E6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7" name="Freeform: Shape 4876">
              <a:extLst>
                <a:ext uri="{FF2B5EF4-FFF2-40B4-BE49-F238E27FC236}">
                  <a16:creationId xmlns:a16="http://schemas.microsoft.com/office/drawing/2014/main" id="{9C7AAD87-4F0E-F4CC-B391-F3C584978CDA}"/>
                </a:ext>
              </a:extLst>
            </p:cNvPr>
            <p:cNvSpPr/>
            <p:nvPr/>
          </p:nvSpPr>
          <p:spPr>
            <a:xfrm flipH="1">
              <a:off x="3720360" y="3151647"/>
              <a:ext cx="55366" cy="45714"/>
            </a:xfrm>
            <a:custGeom>
              <a:avLst/>
              <a:gdLst>
                <a:gd name="connsiteX0" fmla="*/ 2482 w 46417"/>
                <a:gd name="connsiteY0" fmla="*/ 16465 h 38325"/>
                <a:gd name="connsiteX1" fmla="*/ 30535 w 46417"/>
                <a:gd name="connsiteY1" fmla="*/ 0 h 38325"/>
                <a:gd name="connsiteX2" fmla="*/ 46418 w 46417"/>
                <a:gd name="connsiteY2" fmla="*/ 25234 h 38325"/>
                <a:gd name="connsiteX3" fmla="*/ 29014 w 46417"/>
                <a:gd name="connsiteY3" fmla="*/ 11722 h 38325"/>
                <a:gd name="connsiteX4" fmla="*/ 18768 w 46417"/>
                <a:gd name="connsiteY4" fmla="*/ 36956 h 38325"/>
                <a:gd name="connsiteX5" fmla="*/ 2482 w 46417"/>
                <a:gd name="connsiteY5" fmla="*/ 16465 h 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7" h="38325">
                  <a:moveTo>
                    <a:pt x="2482" y="16465"/>
                  </a:moveTo>
                  <a:cubicBezTo>
                    <a:pt x="11117" y="9038"/>
                    <a:pt x="26597" y="12975"/>
                    <a:pt x="30535" y="0"/>
                  </a:cubicBezTo>
                  <a:cubicBezTo>
                    <a:pt x="40467" y="4832"/>
                    <a:pt x="43599" y="15436"/>
                    <a:pt x="46418" y="25234"/>
                  </a:cubicBezTo>
                  <a:cubicBezTo>
                    <a:pt x="40467" y="20939"/>
                    <a:pt x="34606" y="16420"/>
                    <a:pt x="29014" y="11722"/>
                  </a:cubicBezTo>
                  <a:cubicBezTo>
                    <a:pt x="28521" y="20984"/>
                    <a:pt x="26463" y="30916"/>
                    <a:pt x="18768" y="36956"/>
                  </a:cubicBezTo>
                  <a:cubicBezTo>
                    <a:pt x="6956" y="43220"/>
                    <a:pt x="-5393" y="26532"/>
                    <a:pt x="2482" y="16465"/>
                  </a:cubicBezTo>
                  <a:close/>
                </a:path>
              </a:pathLst>
            </a:custGeom>
            <a:solidFill>
              <a:srgbClr val="DDE8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8" name="Freeform: Shape 4877">
              <a:extLst>
                <a:ext uri="{FF2B5EF4-FFF2-40B4-BE49-F238E27FC236}">
                  <a16:creationId xmlns:a16="http://schemas.microsoft.com/office/drawing/2014/main" id="{EDC8EF8F-C6EE-6348-910C-0772CA3F715B}"/>
                </a:ext>
              </a:extLst>
            </p:cNvPr>
            <p:cNvSpPr/>
            <p:nvPr/>
          </p:nvSpPr>
          <p:spPr>
            <a:xfrm flipH="1">
              <a:off x="4037202" y="3158745"/>
              <a:ext cx="56141" cy="7471"/>
            </a:xfrm>
            <a:custGeom>
              <a:avLst/>
              <a:gdLst>
                <a:gd name="connsiteX0" fmla="*/ 537 w 47067"/>
                <a:gd name="connsiteY0" fmla="*/ 268 h 6263"/>
                <a:gd name="connsiteX1" fmla="*/ 47068 w 47067"/>
                <a:gd name="connsiteY1" fmla="*/ 0 h 6263"/>
                <a:gd name="connsiteX2" fmla="*/ 46800 w 47067"/>
                <a:gd name="connsiteY2" fmla="*/ 5816 h 6263"/>
                <a:gd name="connsiteX3" fmla="*/ 0 w 47067"/>
                <a:gd name="connsiteY3" fmla="*/ 6264 h 6263"/>
                <a:gd name="connsiteX4" fmla="*/ 537 w 47067"/>
                <a:gd name="connsiteY4" fmla="*/ 268 h 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67" h="6263">
                  <a:moveTo>
                    <a:pt x="537" y="268"/>
                  </a:moveTo>
                  <a:cubicBezTo>
                    <a:pt x="16062" y="134"/>
                    <a:pt x="31543" y="0"/>
                    <a:pt x="47068" y="0"/>
                  </a:cubicBezTo>
                  <a:lnTo>
                    <a:pt x="46800" y="5816"/>
                  </a:lnTo>
                  <a:cubicBezTo>
                    <a:pt x="31185" y="5190"/>
                    <a:pt x="15570" y="5235"/>
                    <a:pt x="0" y="6264"/>
                  </a:cubicBezTo>
                  <a:lnTo>
                    <a:pt x="537" y="268"/>
                  </a:lnTo>
                  <a:close/>
                </a:path>
              </a:pathLst>
            </a:custGeom>
            <a:solidFill>
              <a:srgbClr val="CFCF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79" name="Freeform: Shape 4878">
              <a:extLst>
                <a:ext uri="{FF2B5EF4-FFF2-40B4-BE49-F238E27FC236}">
                  <a16:creationId xmlns:a16="http://schemas.microsoft.com/office/drawing/2014/main" id="{A331FC11-1F5B-1DF1-4873-A1EEC25E4AD1}"/>
                </a:ext>
              </a:extLst>
            </p:cNvPr>
            <p:cNvSpPr/>
            <p:nvPr/>
          </p:nvSpPr>
          <p:spPr>
            <a:xfrm flipH="1">
              <a:off x="3836114" y="3167490"/>
              <a:ext cx="180914" cy="41521"/>
            </a:xfrm>
            <a:custGeom>
              <a:avLst/>
              <a:gdLst>
                <a:gd name="connsiteX0" fmla="*/ 0 w 151673"/>
                <a:gd name="connsiteY0" fmla="*/ 7343 h 34810"/>
                <a:gd name="connsiteX1" fmla="*/ 17002 w 151673"/>
                <a:gd name="connsiteY1" fmla="*/ 51 h 34810"/>
                <a:gd name="connsiteX2" fmla="*/ 123531 w 151673"/>
                <a:gd name="connsiteY2" fmla="*/ 274 h 34810"/>
                <a:gd name="connsiteX3" fmla="*/ 139549 w 151673"/>
                <a:gd name="connsiteY3" fmla="*/ 10789 h 34810"/>
                <a:gd name="connsiteX4" fmla="*/ 119683 w 151673"/>
                <a:gd name="connsiteY4" fmla="*/ 11594 h 34810"/>
                <a:gd name="connsiteX5" fmla="*/ 120265 w 151673"/>
                <a:gd name="connsiteY5" fmla="*/ 25822 h 34810"/>
                <a:gd name="connsiteX6" fmla="*/ 142546 w 151673"/>
                <a:gd name="connsiteY6" fmla="*/ 21437 h 34810"/>
                <a:gd name="connsiteX7" fmla="*/ 151674 w 151673"/>
                <a:gd name="connsiteY7" fmla="*/ 17902 h 34810"/>
                <a:gd name="connsiteX8" fmla="*/ 142323 w 151673"/>
                <a:gd name="connsiteY8" fmla="*/ 34233 h 34810"/>
                <a:gd name="connsiteX9" fmla="*/ 99102 w 151673"/>
                <a:gd name="connsiteY9" fmla="*/ 32622 h 34810"/>
                <a:gd name="connsiteX10" fmla="*/ 114404 w 151673"/>
                <a:gd name="connsiteY10" fmla="*/ 8059 h 34810"/>
                <a:gd name="connsiteX11" fmla="*/ 42952 w 151673"/>
                <a:gd name="connsiteY11" fmla="*/ 12891 h 34810"/>
                <a:gd name="connsiteX12" fmla="*/ 20671 w 151673"/>
                <a:gd name="connsiteY12" fmla="*/ 14994 h 34810"/>
                <a:gd name="connsiteX13" fmla="*/ 11767 w 151673"/>
                <a:gd name="connsiteY13" fmla="*/ 29625 h 34810"/>
                <a:gd name="connsiteX14" fmla="*/ 0 w 151673"/>
                <a:gd name="connsiteY14" fmla="*/ 7343 h 3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673" h="34810">
                  <a:moveTo>
                    <a:pt x="0" y="7343"/>
                  </a:moveTo>
                  <a:cubicBezTo>
                    <a:pt x="5235" y="4033"/>
                    <a:pt x="10335" y="-531"/>
                    <a:pt x="17002" y="51"/>
                  </a:cubicBezTo>
                  <a:cubicBezTo>
                    <a:pt x="52527" y="51"/>
                    <a:pt x="88051" y="-84"/>
                    <a:pt x="123531" y="274"/>
                  </a:cubicBezTo>
                  <a:cubicBezTo>
                    <a:pt x="131048" y="-844"/>
                    <a:pt x="135522" y="5599"/>
                    <a:pt x="139549" y="10789"/>
                  </a:cubicBezTo>
                  <a:cubicBezTo>
                    <a:pt x="132927" y="11012"/>
                    <a:pt x="126305" y="11281"/>
                    <a:pt x="119683" y="11594"/>
                  </a:cubicBezTo>
                  <a:cubicBezTo>
                    <a:pt x="119818" y="15129"/>
                    <a:pt x="120131" y="22287"/>
                    <a:pt x="120265" y="25822"/>
                  </a:cubicBezTo>
                  <a:cubicBezTo>
                    <a:pt x="127737" y="24748"/>
                    <a:pt x="135343" y="23987"/>
                    <a:pt x="142546" y="21437"/>
                  </a:cubicBezTo>
                  <a:cubicBezTo>
                    <a:pt x="144828" y="20542"/>
                    <a:pt x="149392" y="18797"/>
                    <a:pt x="151674" y="17902"/>
                  </a:cubicBezTo>
                  <a:cubicBezTo>
                    <a:pt x="148542" y="23271"/>
                    <a:pt x="147826" y="30743"/>
                    <a:pt x="142323" y="34233"/>
                  </a:cubicBezTo>
                  <a:cubicBezTo>
                    <a:pt x="127916" y="36067"/>
                    <a:pt x="113509" y="32980"/>
                    <a:pt x="99102" y="32622"/>
                  </a:cubicBezTo>
                  <a:cubicBezTo>
                    <a:pt x="111630" y="30385"/>
                    <a:pt x="113285" y="18663"/>
                    <a:pt x="114404" y="8059"/>
                  </a:cubicBezTo>
                  <a:cubicBezTo>
                    <a:pt x="90646" y="10520"/>
                    <a:pt x="66799" y="11325"/>
                    <a:pt x="42952" y="12891"/>
                  </a:cubicBezTo>
                  <a:cubicBezTo>
                    <a:pt x="35480" y="13205"/>
                    <a:pt x="28008" y="13876"/>
                    <a:pt x="20671" y="14994"/>
                  </a:cubicBezTo>
                  <a:cubicBezTo>
                    <a:pt x="17404" y="19692"/>
                    <a:pt x="14586" y="24658"/>
                    <a:pt x="11767" y="29625"/>
                  </a:cubicBezTo>
                  <a:cubicBezTo>
                    <a:pt x="7875" y="22153"/>
                    <a:pt x="3982" y="14726"/>
                    <a:pt x="0" y="7343"/>
                  </a:cubicBezTo>
                  <a:close/>
                </a:path>
              </a:pathLst>
            </a:custGeom>
            <a:solidFill>
              <a:srgbClr val="8DA4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0" name="Oval 4879">
              <a:extLst>
                <a:ext uri="{FF2B5EF4-FFF2-40B4-BE49-F238E27FC236}">
                  <a16:creationId xmlns:a16="http://schemas.microsoft.com/office/drawing/2014/main" id="{6EBC4796-1943-FCAA-B224-AC60B48B868E}"/>
                </a:ext>
              </a:extLst>
            </p:cNvPr>
            <p:cNvSpPr/>
            <p:nvPr/>
          </p:nvSpPr>
          <p:spPr>
            <a:xfrm flipH="1">
              <a:off x="3500444" y="3156626"/>
              <a:ext cx="48283" cy="46615"/>
            </a:xfrm>
            <a:prstGeom prst="ellipse">
              <a:avLst/>
            </a:pr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1" name="Freeform: Shape 4880">
              <a:extLst>
                <a:ext uri="{FF2B5EF4-FFF2-40B4-BE49-F238E27FC236}">
                  <a16:creationId xmlns:a16="http://schemas.microsoft.com/office/drawing/2014/main" id="{88E76A02-168A-A87F-2DAF-FF59D458159B}"/>
                </a:ext>
              </a:extLst>
            </p:cNvPr>
            <p:cNvSpPr/>
            <p:nvPr/>
          </p:nvSpPr>
          <p:spPr>
            <a:xfrm flipH="1">
              <a:off x="3029094" y="3166804"/>
              <a:ext cx="161541" cy="60839"/>
            </a:xfrm>
            <a:custGeom>
              <a:avLst/>
              <a:gdLst>
                <a:gd name="connsiteX0" fmla="*/ 58925 w 135432"/>
                <a:gd name="connsiteY0" fmla="*/ 0 h 51005"/>
                <a:gd name="connsiteX1" fmla="*/ 102279 w 135432"/>
                <a:gd name="connsiteY1" fmla="*/ 11812 h 51005"/>
                <a:gd name="connsiteX2" fmla="*/ 135432 w 135432"/>
                <a:gd name="connsiteY2" fmla="*/ 6040 h 51005"/>
                <a:gd name="connsiteX3" fmla="*/ 86217 w 135432"/>
                <a:gd name="connsiteY3" fmla="*/ 29037 h 51005"/>
                <a:gd name="connsiteX4" fmla="*/ 49439 w 135432"/>
                <a:gd name="connsiteY4" fmla="*/ 30424 h 51005"/>
                <a:gd name="connsiteX5" fmla="*/ 14273 w 135432"/>
                <a:gd name="connsiteY5" fmla="*/ 51005 h 51005"/>
                <a:gd name="connsiteX6" fmla="*/ 1745 w 135432"/>
                <a:gd name="connsiteY6" fmla="*/ 44160 h 51005"/>
                <a:gd name="connsiteX7" fmla="*/ 0 w 135432"/>
                <a:gd name="connsiteY7" fmla="*/ 20268 h 51005"/>
                <a:gd name="connsiteX8" fmla="*/ 58925 w 135432"/>
                <a:gd name="connsiteY8" fmla="*/ 0 h 5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432" h="51005">
                  <a:moveTo>
                    <a:pt x="58925" y="0"/>
                  </a:moveTo>
                  <a:cubicBezTo>
                    <a:pt x="74137" y="582"/>
                    <a:pt x="87156" y="10648"/>
                    <a:pt x="102279" y="11812"/>
                  </a:cubicBezTo>
                  <a:cubicBezTo>
                    <a:pt x="113554" y="11588"/>
                    <a:pt x="124516" y="8546"/>
                    <a:pt x="135432" y="6040"/>
                  </a:cubicBezTo>
                  <a:cubicBezTo>
                    <a:pt x="120220" y="15660"/>
                    <a:pt x="105321" y="29082"/>
                    <a:pt x="86217" y="29037"/>
                  </a:cubicBezTo>
                  <a:cubicBezTo>
                    <a:pt x="74002" y="29843"/>
                    <a:pt x="61206" y="26129"/>
                    <a:pt x="49439" y="30424"/>
                  </a:cubicBezTo>
                  <a:cubicBezTo>
                    <a:pt x="37896" y="37628"/>
                    <a:pt x="27292" y="46442"/>
                    <a:pt x="14273" y="51005"/>
                  </a:cubicBezTo>
                  <a:cubicBezTo>
                    <a:pt x="11141" y="49305"/>
                    <a:pt x="4877" y="45860"/>
                    <a:pt x="1745" y="44160"/>
                  </a:cubicBezTo>
                  <a:cubicBezTo>
                    <a:pt x="1208" y="36151"/>
                    <a:pt x="626" y="28187"/>
                    <a:pt x="0" y="20268"/>
                  </a:cubicBezTo>
                  <a:cubicBezTo>
                    <a:pt x="16375" y="6443"/>
                    <a:pt x="37807" y="671"/>
                    <a:pt x="58925" y="0"/>
                  </a:cubicBezTo>
                  <a:close/>
                </a:path>
              </a:pathLst>
            </a:custGeom>
            <a:solidFill>
              <a:srgbClr val="3858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3" name="Freeform: Shape 4882">
              <a:extLst>
                <a:ext uri="{FF2B5EF4-FFF2-40B4-BE49-F238E27FC236}">
                  <a16:creationId xmlns:a16="http://schemas.microsoft.com/office/drawing/2014/main" id="{45A714F1-A41E-7CF4-F20B-930049B63F58}"/>
                </a:ext>
              </a:extLst>
            </p:cNvPr>
            <p:cNvSpPr/>
            <p:nvPr/>
          </p:nvSpPr>
          <p:spPr>
            <a:xfrm flipH="1">
              <a:off x="3300266" y="3171446"/>
              <a:ext cx="71659" cy="62119"/>
            </a:xfrm>
            <a:custGeom>
              <a:avLst/>
              <a:gdLst>
                <a:gd name="connsiteX0" fmla="*/ 43220 w 60077"/>
                <a:gd name="connsiteY0" fmla="*/ 29932 h 52079"/>
                <a:gd name="connsiteX1" fmla="*/ 59998 w 60077"/>
                <a:gd name="connsiteY1" fmla="*/ 0 h 52079"/>
                <a:gd name="connsiteX2" fmla="*/ 59640 w 60077"/>
                <a:gd name="connsiteY2" fmla="*/ 52079 h 52079"/>
                <a:gd name="connsiteX3" fmla="*/ 55032 w 60077"/>
                <a:gd name="connsiteY3" fmla="*/ 52079 h 52079"/>
                <a:gd name="connsiteX4" fmla="*/ 0 w 60077"/>
                <a:gd name="connsiteY4" fmla="*/ 51408 h 52079"/>
                <a:gd name="connsiteX5" fmla="*/ 1253 w 60077"/>
                <a:gd name="connsiteY5" fmla="*/ 8680 h 52079"/>
                <a:gd name="connsiteX6" fmla="*/ 10827 w 60077"/>
                <a:gd name="connsiteY6" fmla="*/ 11185 h 52079"/>
                <a:gd name="connsiteX7" fmla="*/ 9530 w 60077"/>
                <a:gd name="connsiteY7" fmla="*/ 29798 h 52079"/>
                <a:gd name="connsiteX8" fmla="*/ 43220 w 60077"/>
                <a:gd name="connsiteY8" fmla="*/ 29932 h 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77" h="52079">
                  <a:moveTo>
                    <a:pt x="43220" y="29932"/>
                  </a:moveTo>
                  <a:cubicBezTo>
                    <a:pt x="46307" y="18389"/>
                    <a:pt x="44115" y="984"/>
                    <a:pt x="59998" y="0"/>
                  </a:cubicBezTo>
                  <a:cubicBezTo>
                    <a:pt x="60267" y="17360"/>
                    <a:pt x="59775" y="34719"/>
                    <a:pt x="59640" y="52079"/>
                  </a:cubicBezTo>
                  <a:lnTo>
                    <a:pt x="55032" y="52079"/>
                  </a:lnTo>
                  <a:cubicBezTo>
                    <a:pt x="36688" y="51855"/>
                    <a:pt x="18299" y="51945"/>
                    <a:pt x="0" y="51408"/>
                  </a:cubicBezTo>
                  <a:cubicBezTo>
                    <a:pt x="89" y="37135"/>
                    <a:pt x="671" y="22908"/>
                    <a:pt x="1253" y="8680"/>
                  </a:cubicBezTo>
                  <a:cubicBezTo>
                    <a:pt x="3669" y="9306"/>
                    <a:pt x="8456" y="10559"/>
                    <a:pt x="10827" y="11185"/>
                  </a:cubicBezTo>
                  <a:cubicBezTo>
                    <a:pt x="10380" y="17360"/>
                    <a:pt x="9933" y="23579"/>
                    <a:pt x="9530" y="29798"/>
                  </a:cubicBezTo>
                  <a:cubicBezTo>
                    <a:pt x="20715" y="30066"/>
                    <a:pt x="31945" y="30111"/>
                    <a:pt x="43220" y="29932"/>
                  </a:cubicBezTo>
                  <a:close/>
                </a:path>
              </a:pathLst>
            </a:custGeom>
            <a:solidFill>
              <a:srgbClr val="FE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4" name="Freeform: Shape 4883">
              <a:extLst>
                <a:ext uri="{FF2B5EF4-FFF2-40B4-BE49-F238E27FC236}">
                  <a16:creationId xmlns:a16="http://schemas.microsoft.com/office/drawing/2014/main" id="{1DE81DF9-A409-08B1-E584-A4665500B159}"/>
                </a:ext>
              </a:extLst>
            </p:cNvPr>
            <p:cNvSpPr/>
            <p:nvPr/>
          </p:nvSpPr>
          <p:spPr>
            <a:xfrm flipH="1">
              <a:off x="1847758" y="3913570"/>
              <a:ext cx="240266" cy="155654"/>
            </a:xfrm>
            <a:custGeom>
              <a:avLst/>
              <a:gdLst>
                <a:gd name="connsiteX0" fmla="*/ 28820 w 201432"/>
                <a:gd name="connsiteY0" fmla="*/ 4385 h 130495"/>
                <a:gd name="connsiteX1" fmla="*/ 78975 w 201432"/>
                <a:gd name="connsiteY1" fmla="*/ 3625 h 130495"/>
                <a:gd name="connsiteX2" fmla="*/ 89624 w 201432"/>
                <a:gd name="connsiteY2" fmla="*/ 9307 h 130495"/>
                <a:gd name="connsiteX3" fmla="*/ 141345 w 201432"/>
                <a:gd name="connsiteY3" fmla="*/ 62773 h 130495"/>
                <a:gd name="connsiteX4" fmla="*/ 142419 w 201432"/>
                <a:gd name="connsiteY4" fmla="*/ 68768 h 130495"/>
                <a:gd name="connsiteX5" fmla="*/ 125462 w 201432"/>
                <a:gd name="connsiteY5" fmla="*/ 69439 h 130495"/>
                <a:gd name="connsiteX6" fmla="*/ 126536 w 201432"/>
                <a:gd name="connsiteY6" fmla="*/ 97582 h 130495"/>
                <a:gd name="connsiteX7" fmla="*/ 103717 w 201432"/>
                <a:gd name="connsiteY7" fmla="*/ 119147 h 130495"/>
                <a:gd name="connsiteX8" fmla="*/ 201433 w 201432"/>
                <a:gd name="connsiteY8" fmla="*/ 118476 h 130495"/>
                <a:gd name="connsiteX9" fmla="*/ 200762 w 201432"/>
                <a:gd name="connsiteY9" fmla="*/ 122861 h 130495"/>
                <a:gd name="connsiteX10" fmla="*/ 179107 w 201432"/>
                <a:gd name="connsiteY10" fmla="*/ 129303 h 130495"/>
                <a:gd name="connsiteX11" fmla="*/ 117408 w 201432"/>
                <a:gd name="connsiteY11" fmla="*/ 127738 h 130495"/>
                <a:gd name="connsiteX12" fmla="*/ 69356 w 201432"/>
                <a:gd name="connsiteY12" fmla="*/ 130467 h 130495"/>
                <a:gd name="connsiteX13" fmla="*/ 18709 w 201432"/>
                <a:gd name="connsiteY13" fmla="*/ 129840 h 130495"/>
                <a:gd name="connsiteX14" fmla="*/ 410 w 201432"/>
                <a:gd name="connsiteY14" fmla="*/ 70961 h 130495"/>
                <a:gd name="connsiteX15" fmla="*/ 28820 w 201432"/>
                <a:gd name="connsiteY15" fmla="*/ 4385 h 130495"/>
                <a:gd name="connsiteX16" fmla="*/ 34234 w 201432"/>
                <a:gd name="connsiteY16" fmla="*/ 13826 h 130495"/>
                <a:gd name="connsiteX17" fmla="*/ 9626 w 201432"/>
                <a:gd name="connsiteY17" fmla="*/ 79775 h 130495"/>
                <a:gd name="connsiteX18" fmla="*/ 55218 w 201432"/>
                <a:gd name="connsiteY18" fmla="*/ 93555 h 130495"/>
                <a:gd name="connsiteX19" fmla="*/ 72712 w 201432"/>
                <a:gd name="connsiteY19" fmla="*/ 31007 h 130495"/>
                <a:gd name="connsiteX20" fmla="*/ 34234 w 201432"/>
                <a:gd name="connsiteY20" fmla="*/ 13826 h 130495"/>
                <a:gd name="connsiteX21" fmla="*/ 105373 w 201432"/>
                <a:gd name="connsiteY21" fmla="*/ 77940 h 130495"/>
                <a:gd name="connsiteX22" fmla="*/ 108147 w 201432"/>
                <a:gd name="connsiteY22" fmla="*/ 93823 h 130495"/>
                <a:gd name="connsiteX23" fmla="*/ 105373 w 201432"/>
                <a:gd name="connsiteY23" fmla="*/ 77940 h 13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1432" h="130495">
                  <a:moveTo>
                    <a:pt x="28820" y="4385"/>
                  </a:moveTo>
                  <a:cubicBezTo>
                    <a:pt x="44972" y="-1118"/>
                    <a:pt x="62645" y="-1521"/>
                    <a:pt x="78975" y="3625"/>
                  </a:cubicBezTo>
                  <a:cubicBezTo>
                    <a:pt x="82555" y="5370"/>
                    <a:pt x="86089" y="7294"/>
                    <a:pt x="89624" y="9307"/>
                  </a:cubicBezTo>
                  <a:cubicBezTo>
                    <a:pt x="111726" y="22058"/>
                    <a:pt x="122643" y="46308"/>
                    <a:pt x="141345" y="62773"/>
                  </a:cubicBezTo>
                  <a:cubicBezTo>
                    <a:pt x="141614" y="64249"/>
                    <a:pt x="142150" y="67247"/>
                    <a:pt x="142419" y="68768"/>
                  </a:cubicBezTo>
                  <a:cubicBezTo>
                    <a:pt x="136737" y="68947"/>
                    <a:pt x="131055" y="69171"/>
                    <a:pt x="125462" y="69439"/>
                  </a:cubicBezTo>
                  <a:cubicBezTo>
                    <a:pt x="125730" y="78790"/>
                    <a:pt x="126088" y="88186"/>
                    <a:pt x="126536" y="97582"/>
                  </a:cubicBezTo>
                  <a:cubicBezTo>
                    <a:pt x="119288" y="105143"/>
                    <a:pt x="111413" y="112078"/>
                    <a:pt x="103717" y="119147"/>
                  </a:cubicBezTo>
                  <a:cubicBezTo>
                    <a:pt x="136245" y="117223"/>
                    <a:pt x="169398" y="126529"/>
                    <a:pt x="201433" y="118476"/>
                  </a:cubicBezTo>
                  <a:cubicBezTo>
                    <a:pt x="201254" y="119550"/>
                    <a:pt x="200896" y="121742"/>
                    <a:pt x="200762" y="122861"/>
                  </a:cubicBezTo>
                  <a:cubicBezTo>
                    <a:pt x="193603" y="125277"/>
                    <a:pt x="186355" y="127469"/>
                    <a:pt x="179107" y="129303"/>
                  </a:cubicBezTo>
                  <a:cubicBezTo>
                    <a:pt x="158481" y="131406"/>
                    <a:pt x="137989" y="127648"/>
                    <a:pt x="117408" y="127738"/>
                  </a:cubicBezTo>
                  <a:cubicBezTo>
                    <a:pt x="101301" y="127558"/>
                    <a:pt x="85373" y="130019"/>
                    <a:pt x="69356" y="130467"/>
                  </a:cubicBezTo>
                  <a:cubicBezTo>
                    <a:pt x="52444" y="130646"/>
                    <a:pt x="35576" y="129930"/>
                    <a:pt x="18709" y="129840"/>
                  </a:cubicBezTo>
                  <a:cubicBezTo>
                    <a:pt x="1528" y="115702"/>
                    <a:pt x="3318" y="90960"/>
                    <a:pt x="410" y="70961"/>
                  </a:cubicBezTo>
                  <a:cubicBezTo>
                    <a:pt x="-2454" y="45279"/>
                    <a:pt x="9984" y="21074"/>
                    <a:pt x="28820" y="4385"/>
                  </a:cubicBezTo>
                  <a:close/>
                  <a:moveTo>
                    <a:pt x="34234" y="13826"/>
                  </a:moveTo>
                  <a:cubicBezTo>
                    <a:pt x="11326" y="26085"/>
                    <a:pt x="3183" y="55748"/>
                    <a:pt x="9626" y="79775"/>
                  </a:cubicBezTo>
                  <a:cubicBezTo>
                    <a:pt x="15264" y="98029"/>
                    <a:pt x="40140" y="103532"/>
                    <a:pt x="55218" y="93555"/>
                  </a:cubicBezTo>
                  <a:cubicBezTo>
                    <a:pt x="75530" y="80759"/>
                    <a:pt x="79334" y="52348"/>
                    <a:pt x="72712" y="31007"/>
                  </a:cubicBezTo>
                  <a:cubicBezTo>
                    <a:pt x="67745" y="15660"/>
                    <a:pt x="49178" y="4564"/>
                    <a:pt x="34234" y="13826"/>
                  </a:cubicBezTo>
                  <a:close/>
                  <a:moveTo>
                    <a:pt x="105373" y="77940"/>
                  </a:moveTo>
                  <a:cubicBezTo>
                    <a:pt x="101704" y="82370"/>
                    <a:pt x="102241" y="91363"/>
                    <a:pt x="108147" y="93823"/>
                  </a:cubicBezTo>
                  <a:cubicBezTo>
                    <a:pt x="114903" y="92392"/>
                    <a:pt x="111368" y="77359"/>
                    <a:pt x="105373" y="77940"/>
                  </a:cubicBezTo>
                  <a:close/>
                </a:path>
              </a:pathLst>
            </a:custGeom>
            <a:solidFill>
              <a:srgbClr val="FE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5" name="Freeform: Shape 4884">
              <a:extLst>
                <a:ext uri="{FF2B5EF4-FFF2-40B4-BE49-F238E27FC236}">
                  <a16:creationId xmlns:a16="http://schemas.microsoft.com/office/drawing/2014/main" id="{C61985F2-5C33-E5E4-23D2-76C9966BD572}"/>
                </a:ext>
              </a:extLst>
            </p:cNvPr>
            <p:cNvSpPr/>
            <p:nvPr/>
          </p:nvSpPr>
          <p:spPr>
            <a:xfrm flipH="1">
              <a:off x="2918142" y="3176195"/>
              <a:ext cx="31967" cy="13021"/>
            </a:xfrm>
            <a:custGeom>
              <a:avLst/>
              <a:gdLst>
                <a:gd name="connsiteX0" fmla="*/ 0 w 26800"/>
                <a:gd name="connsiteY0" fmla="*/ 671 h 10916"/>
                <a:gd name="connsiteX1" fmla="*/ 26800 w 26800"/>
                <a:gd name="connsiteY1" fmla="*/ 0 h 10916"/>
                <a:gd name="connsiteX2" fmla="*/ 26308 w 26800"/>
                <a:gd name="connsiteY2" fmla="*/ 10917 h 10916"/>
                <a:gd name="connsiteX3" fmla="*/ 0 w 26800"/>
                <a:gd name="connsiteY3" fmla="*/ 671 h 10916"/>
              </a:gdLst>
              <a:ahLst/>
              <a:cxnLst>
                <a:cxn ang="0">
                  <a:pos x="connsiteX0" y="connsiteY0"/>
                </a:cxn>
                <a:cxn ang="0">
                  <a:pos x="connsiteX1" y="connsiteY1"/>
                </a:cxn>
                <a:cxn ang="0">
                  <a:pos x="connsiteX2" y="connsiteY2"/>
                </a:cxn>
                <a:cxn ang="0">
                  <a:pos x="connsiteX3" y="connsiteY3"/>
                </a:cxn>
              </a:cxnLst>
              <a:rect l="l" t="t" r="r" b="b"/>
              <a:pathLst>
                <a:path w="26800" h="10916">
                  <a:moveTo>
                    <a:pt x="0" y="671"/>
                  </a:moveTo>
                  <a:cubicBezTo>
                    <a:pt x="8904" y="179"/>
                    <a:pt x="17852" y="89"/>
                    <a:pt x="26800" y="0"/>
                  </a:cubicBezTo>
                  <a:cubicBezTo>
                    <a:pt x="26666" y="2729"/>
                    <a:pt x="26442" y="8188"/>
                    <a:pt x="26308" y="10917"/>
                  </a:cubicBezTo>
                  <a:cubicBezTo>
                    <a:pt x="17181" y="8546"/>
                    <a:pt x="5235" y="10201"/>
                    <a:pt x="0" y="671"/>
                  </a:cubicBezTo>
                  <a:close/>
                </a:path>
              </a:pathLst>
            </a:custGeom>
            <a:solidFill>
              <a:srgbClr val="A1B6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6" name="Freeform: Shape 4885">
              <a:extLst>
                <a:ext uri="{FF2B5EF4-FFF2-40B4-BE49-F238E27FC236}">
                  <a16:creationId xmlns:a16="http://schemas.microsoft.com/office/drawing/2014/main" id="{E3A47416-E711-DFF1-409A-E6A3E1DC834A}"/>
                </a:ext>
              </a:extLst>
            </p:cNvPr>
            <p:cNvSpPr/>
            <p:nvPr/>
          </p:nvSpPr>
          <p:spPr>
            <a:xfrm flipH="1">
              <a:off x="3953200" y="3182867"/>
              <a:ext cx="39171" cy="21826"/>
            </a:xfrm>
            <a:custGeom>
              <a:avLst/>
              <a:gdLst>
                <a:gd name="connsiteX0" fmla="*/ 0 w 32840"/>
                <a:gd name="connsiteY0" fmla="*/ 2103 h 18299"/>
                <a:gd name="connsiteX1" fmla="*/ 22281 w 32840"/>
                <a:gd name="connsiteY1" fmla="*/ 0 h 18299"/>
                <a:gd name="connsiteX2" fmla="*/ 32840 w 32840"/>
                <a:gd name="connsiteY2" fmla="*/ 6935 h 18299"/>
                <a:gd name="connsiteX3" fmla="*/ 1566 w 32840"/>
                <a:gd name="connsiteY3" fmla="*/ 18299 h 18299"/>
                <a:gd name="connsiteX4" fmla="*/ 0 w 32840"/>
                <a:gd name="connsiteY4" fmla="*/ 2103 h 1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40" h="18299">
                  <a:moveTo>
                    <a:pt x="0" y="2103"/>
                  </a:moveTo>
                  <a:cubicBezTo>
                    <a:pt x="7338" y="984"/>
                    <a:pt x="14810" y="313"/>
                    <a:pt x="22281" y="0"/>
                  </a:cubicBezTo>
                  <a:cubicBezTo>
                    <a:pt x="25905" y="2148"/>
                    <a:pt x="29395" y="4474"/>
                    <a:pt x="32840" y="6935"/>
                  </a:cubicBezTo>
                  <a:cubicBezTo>
                    <a:pt x="23221" y="12662"/>
                    <a:pt x="12617" y="16465"/>
                    <a:pt x="1566" y="18299"/>
                  </a:cubicBezTo>
                  <a:cubicBezTo>
                    <a:pt x="1163" y="14228"/>
                    <a:pt x="358" y="6174"/>
                    <a:pt x="0" y="2103"/>
                  </a:cubicBezTo>
                  <a:close/>
                </a:path>
              </a:pathLst>
            </a:custGeom>
            <a:solidFill>
              <a:srgbClr val="4777A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7" name="Freeform: Shape 4886">
              <a:extLst>
                <a:ext uri="{FF2B5EF4-FFF2-40B4-BE49-F238E27FC236}">
                  <a16:creationId xmlns:a16="http://schemas.microsoft.com/office/drawing/2014/main" id="{4AFACAEE-F635-D8A8-1E15-6B703FE78F67}"/>
                </a:ext>
              </a:extLst>
            </p:cNvPr>
            <p:cNvSpPr/>
            <p:nvPr/>
          </p:nvSpPr>
          <p:spPr>
            <a:xfrm flipH="1">
              <a:off x="3845612" y="3180145"/>
              <a:ext cx="28657" cy="18145"/>
            </a:xfrm>
            <a:custGeom>
              <a:avLst/>
              <a:gdLst>
                <a:gd name="connsiteX0" fmla="*/ 0 w 24026"/>
                <a:gd name="connsiteY0" fmla="*/ 984 h 15212"/>
                <a:gd name="connsiteX1" fmla="*/ 19865 w 24026"/>
                <a:gd name="connsiteY1" fmla="*/ 179 h 15212"/>
                <a:gd name="connsiteX2" fmla="*/ 24026 w 24026"/>
                <a:gd name="connsiteY2" fmla="*/ 0 h 15212"/>
                <a:gd name="connsiteX3" fmla="*/ 22863 w 24026"/>
                <a:gd name="connsiteY3" fmla="*/ 10827 h 15212"/>
                <a:gd name="connsiteX4" fmla="*/ 582 w 24026"/>
                <a:gd name="connsiteY4" fmla="*/ 15212 h 15212"/>
                <a:gd name="connsiteX5" fmla="*/ 0 w 24026"/>
                <a:gd name="connsiteY5" fmla="*/ 984 h 1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26" h="15212">
                  <a:moveTo>
                    <a:pt x="0" y="984"/>
                  </a:moveTo>
                  <a:cubicBezTo>
                    <a:pt x="6622" y="671"/>
                    <a:pt x="13244" y="403"/>
                    <a:pt x="19865" y="179"/>
                  </a:cubicBezTo>
                  <a:lnTo>
                    <a:pt x="24026" y="0"/>
                  </a:lnTo>
                  <a:cubicBezTo>
                    <a:pt x="23758" y="2729"/>
                    <a:pt x="23131" y="8098"/>
                    <a:pt x="22863" y="10827"/>
                  </a:cubicBezTo>
                  <a:cubicBezTo>
                    <a:pt x="15660" y="13378"/>
                    <a:pt x="8054" y="14138"/>
                    <a:pt x="582" y="15212"/>
                  </a:cubicBezTo>
                  <a:cubicBezTo>
                    <a:pt x="447" y="11677"/>
                    <a:pt x="134" y="4519"/>
                    <a:pt x="0" y="984"/>
                  </a:cubicBezTo>
                  <a:close/>
                </a:path>
              </a:pathLst>
            </a:custGeom>
            <a:solidFill>
              <a:srgbClr val="6384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8" name="Freeform: Shape 4887">
              <a:extLst>
                <a:ext uri="{FF2B5EF4-FFF2-40B4-BE49-F238E27FC236}">
                  <a16:creationId xmlns:a16="http://schemas.microsoft.com/office/drawing/2014/main" id="{8ADDE7FA-E8CA-D047-EC39-0FEC8EC960B6}"/>
                </a:ext>
              </a:extLst>
            </p:cNvPr>
            <p:cNvSpPr/>
            <p:nvPr/>
          </p:nvSpPr>
          <p:spPr>
            <a:xfrm flipH="1">
              <a:off x="3379556" y="3177371"/>
              <a:ext cx="79570" cy="65694"/>
            </a:xfrm>
            <a:custGeom>
              <a:avLst/>
              <a:gdLst>
                <a:gd name="connsiteX0" fmla="*/ 0 w 66709"/>
                <a:gd name="connsiteY0" fmla="*/ 2819 h 55076"/>
                <a:gd name="connsiteX1" fmla="*/ 12886 w 66709"/>
                <a:gd name="connsiteY1" fmla="*/ 1611 h 55076"/>
                <a:gd name="connsiteX2" fmla="*/ 16196 w 66709"/>
                <a:gd name="connsiteY2" fmla="*/ 28814 h 55076"/>
                <a:gd name="connsiteX3" fmla="*/ 48231 w 66709"/>
                <a:gd name="connsiteY3" fmla="*/ 24384 h 55076"/>
                <a:gd name="connsiteX4" fmla="*/ 53198 w 66709"/>
                <a:gd name="connsiteY4" fmla="*/ 0 h 55076"/>
                <a:gd name="connsiteX5" fmla="*/ 66710 w 66709"/>
                <a:gd name="connsiteY5" fmla="*/ 761 h 55076"/>
                <a:gd name="connsiteX6" fmla="*/ 63712 w 66709"/>
                <a:gd name="connsiteY6" fmla="*/ 55077 h 55076"/>
                <a:gd name="connsiteX7" fmla="*/ 1745 w 66709"/>
                <a:gd name="connsiteY7" fmla="*/ 46979 h 55076"/>
                <a:gd name="connsiteX8" fmla="*/ 0 w 66709"/>
                <a:gd name="connsiteY8" fmla="*/ 2819 h 5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709" h="55076">
                  <a:moveTo>
                    <a:pt x="0" y="2819"/>
                  </a:moveTo>
                  <a:cubicBezTo>
                    <a:pt x="3221" y="2550"/>
                    <a:pt x="9664" y="1924"/>
                    <a:pt x="12886" y="1611"/>
                  </a:cubicBezTo>
                  <a:cubicBezTo>
                    <a:pt x="13870" y="10648"/>
                    <a:pt x="14988" y="19731"/>
                    <a:pt x="16196" y="28814"/>
                  </a:cubicBezTo>
                  <a:cubicBezTo>
                    <a:pt x="26755" y="27426"/>
                    <a:pt x="38388" y="29037"/>
                    <a:pt x="48231" y="24384"/>
                  </a:cubicBezTo>
                  <a:cubicBezTo>
                    <a:pt x="50692" y="16420"/>
                    <a:pt x="51766" y="8143"/>
                    <a:pt x="53198" y="0"/>
                  </a:cubicBezTo>
                  <a:cubicBezTo>
                    <a:pt x="56598" y="179"/>
                    <a:pt x="63309" y="582"/>
                    <a:pt x="66710" y="761"/>
                  </a:cubicBezTo>
                  <a:cubicBezTo>
                    <a:pt x="63622" y="18657"/>
                    <a:pt x="60714" y="36912"/>
                    <a:pt x="63712" y="55077"/>
                  </a:cubicBezTo>
                  <a:cubicBezTo>
                    <a:pt x="46486" y="39954"/>
                    <a:pt x="22281" y="50871"/>
                    <a:pt x="1745" y="46979"/>
                  </a:cubicBezTo>
                  <a:cubicBezTo>
                    <a:pt x="1119" y="32259"/>
                    <a:pt x="268" y="17539"/>
                    <a:pt x="0" y="2819"/>
                  </a:cubicBezTo>
                  <a:close/>
                </a:path>
              </a:pathLst>
            </a:custGeom>
            <a:solidFill>
              <a:srgbClr val="FEFE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89" name="Freeform: Shape 4888">
              <a:extLst>
                <a:ext uri="{FF2B5EF4-FFF2-40B4-BE49-F238E27FC236}">
                  <a16:creationId xmlns:a16="http://schemas.microsoft.com/office/drawing/2014/main" id="{8DE94581-FB17-A1FB-5B87-9904ED70661A}"/>
                </a:ext>
              </a:extLst>
            </p:cNvPr>
            <p:cNvSpPr/>
            <p:nvPr/>
          </p:nvSpPr>
          <p:spPr>
            <a:xfrm flipH="1">
              <a:off x="2335639" y="3178972"/>
              <a:ext cx="62119" cy="16649"/>
            </a:xfrm>
            <a:custGeom>
              <a:avLst/>
              <a:gdLst>
                <a:gd name="connsiteX0" fmla="*/ 0 w 52079"/>
                <a:gd name="connsiteY0" fmla="*/ 0 h 13959"/>
                <a:gd name="connsiteX1" fmla="*/ 52079 w 52079"/>
                <a:gd name="connsiteY1" fmla="*/ 11722 h 13959"/>
                <a:gd name="connsiteX2" fmla="*/ 2461 w 52079"/>
                <a:gd name="connsiteY2" fmla="*/ 13959 h 13959"/>
                <a:gd name="connsiteX3" fmla="*/ 0 w 52079"/>
                <a:gd name="connsiteY3" fmla="*/ 0 h 13959"/>
              </a:gdLst>
              <a:ahLst/>
              <a:cxnLst>
                <a:cxn ang="0">
                  <a:pos x="connsiteX0" y="connsiteY0"/>
                </a:cxn>
                <a:cxn ang="0">
                  <a:pos x="connsiteX1" y="connsiteY1"/>
                </a:cxn>
                <a:cxn ang="0">
                  <a:pos x="connsiteX2" y="connsiteY2"/>
                </a:cxn>
                <a:cxn ang="0">
                  <a:pos x="connsiteX3" y="connsiteY3"/>
                </a:cxn>
              </a:cxnLst>
              <a:rect l="l" t="t" r="r" b="b"/>
              <a:pathLst>
                <a:path w="52079" h="13959">
                  <a:moveTo>
                    <a:pt x="0" y="0"/>
                  </a:moveTo>
                  <a:cubicBezTo>
                    <a:pt x="17628" y="2595"/>
                    <a:pt x="34988" y="6711"/>
                    <a:pt x="52079" y="11722"/>
                  </a:cubicBezTo>
                  <a:cubicBezTo>
                    <a:pt x="35570" y="13467"/>
                    <a:pt x="19015" y="13557"/>
                    <a:pt x="2461" y="13959"/>
                  </a:cubicBezTo>
                  <a:cubicBezTo>
                    <a:pt x="1834" y="10469"/>
                    <a:pt x="626" y="3490"/>
                    <a:pt x="0" y="0"/>
                  </a:cubicBezTo>
                  <a:close/>
                </a:path>
              </a:pathLst>
            </a:custGeom>
            <a:solidFill>
              <a:srgbClr val="B2C0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0" name="Freeform: Shape 4889">
              <a:extLst>
                <a:ext uri="{FF2B5EF4-FFF2-40B4-BE49-F238E27FC236}">
                  <a16:creationId xmlns:a16="http://schemas.microsoft.com/office/drawing/2014/main" id="{93A75803-2808-47A2-DD60-15793F399AFE}"/>
                </a:ext>
              </a:extLst>
            </p:cNvPr>
            <p:cNvSpPr/>
            <p:nvPr/>
          </p:nvSpPr>
          <p:spPr>
            <a:xfrm flipH="1">
              <a:off x="3173612" y="3186762"/>
              <a:ext cx="304300" cy="179649"/>
            </a:xfrm>
            <a:custGeom>
              <a:avLst/>
              <a:gdLst>
                <a:gd name="connsiteX0" fmla="*/ 157535 w 255115"/>
                <a:gd name="connsiteY0" fmla="*/ 1298 h 150613"/>
                <a:gd name="connsiteX1" fmla="*/ 164201 w 255115"/>
                <a:gd name="connsiteY1" fmla="*/ 0 h 150613"/>
                <a:gd name="connsiteX2" fmla="*/ 162814 w 255115"/>
                <a:gd name="connsiteY2" fmla="*/ 37762 h 150613"/>
                <a:gd name="connsiteX3" fmla="*/ 193462 w 255115"/>
                <a:gd name="connsiteY3" fmla="*/ 40088 h 150613"/>
                <a:gd name="connsiteX4" fmla="*/ 226526 w 255115"/>
                <a:gd name="connsiteY4" fmla="*/ 48500 h 150613"/>
                <a:gd name="connsiteX5" fmla="*/ 237488 w 255115"/>
                <a:gd name="connsiteY5" fmla="*/ 4071 h 150613"/>
                <a:gd name="connsiteX6" fmla="*/ 243080 w 255115"/>
                <a:gd name="connsiteY6" fmla="*/ 35793 h 150613"/>
                <a:gd name="connsiteX7" fmla="*/ 242588 w 255115"/>
                <a:gd name="connsiteY7" fmla="*/ 27427 h 150613"/>
                <a:gd name="connsiteX8" fmla="*/ 255116 w 255115"/>
                <a:gd name="connsiteY8" fmla="*/ 34272 h 150613"/>
                <a:gd name="connsiteX9" fmla="*/ 252208 w 255115"/>
                <a:gd name="connsiteY9" fmla="*/ 35659 h 150613"/>
                <a:gd name="connsiteX10" fmla="*/ 235564 w 255115"/>
                <a:gd name="connsiteY10" fmla="*/ 112301 h 150613"/>
                <a:gd name="connsiteX11" fmla="*/ 244512 w 255115"/>
                <a:gd name="connsiteY11" fmla="*/ 150510 h 150613"/>
                <a:gd name="connsiteX12" fmla="*/ 0 w 255115"/>
                <a:gd name="connsiteY12" fmla="*/ 150510 h 150613"/>
                <a:gd name="connsiteX13" fmla="*/ 134 w 255115"/>
                <a:gd name="connsiteY13" fmla="*/ 147915 h 150613"/>
                <a:gd name="connsiteX14" fmla="*/ 8411 w 255115"/>
                <a:gd name="connsiteY14" fmla="*/ 147602 h 150613"/>
                <a:gd name="connsiteX15" fmla="*/ 43936 w 255115"/>
                <a:gd name="connsiteY15" fmla="*/ 144068 h 150613"/>
                <a:gd name="connsiteX16" fmla="*/ 117178 w 255115"/>
                <a:gd name="connsiteY16" fmla="*/ 81787 h 150613"/>
                <a:gd name="connsiteX17" fmla="*/ 112391 w 255115"/>
                <a:gd name="connsiteY17" fmla="*/ 68678 h 150613"/>
                <a:gd name="connsiteX18" fmla="*/ 149526 w 255115"/>
                <a:gd name="connsiteY18" fmla="*/ 63712 h 150613"/>
                <a:gd name="connsiteX19" fmla="*/ 143889 w 255115"/>
                <a:gd name="connsiteY19" fmla="*/ 39238 h 150613"/>
                <a:gd name="connsiteX20" fmla="*/ 148497 w 255115"/>
                <a:gd name="connsiteY20" fmla="*/ 39238 h 150613"/>
                <a:gd name="connsiteX21" fmla="*/ 154940 w 255115"/>
                <a:gd name="connsiteY21" fmla="*/ 38388 h 150613"/>
                <a:gd name="connsiteX22" fmla="*/ 157535 w 255115"/>
                <a:gd name="connsiteY22" fmla="*/ 1253 h 15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5115" h="150613">
                  <a:moveTo>
                    <a:pt x="157535" y="1298"/>
                  </a:moveTo>
                  <a:cubicBezTo>
                    <a:pt x="159190" y="984"/>
                    <a:pt x="162501" y="358"/>
                    <a:pt x="164201" y="0"/>
                  </a:cubicBezTo>
                  <a:cubicBezTo>
                    <a:pt x="163217" y="12170"/>
                    <a:pt x="156506" y="26442"/>
                    <a:pt x="162814" y="37762"/>
                  </a:cubicBezTo>
                  <a:cubicBezTo>
                    <a:pt x="172881" y="39686"/>
                    <a:pt x="183216" y="39507"/>
                    <a:pt x="193462" y="40088"/>
                  </a:cubicBezTo>
                  <a:cubicBezTo>
                    <a:pt x="204424" y="42997"/>
                    <a:pt x="215430" y="45994"/>
                    <a:pt x="226526" y="48500"/>
                  </a:cubicBezTo>
                  <a:cubicBezTo>
                    <a:pt x="228405" y="33422"/>
                    <a:pt x="226750" y="16331"/>
                    <a:pt x="237488" y="4071"/>
                  </a:cubicBezTo>
                  <a:cubicBezTo>
                    <a:pt x="239411" y="14631"/>
                    <a:pt x="241201" y="25189"/>
                    <a:pt x="243080" y="35793"/>
                  </a:cubicBezTo>
                  <a:cubicBezTo>
                    <a:pt x="242946" y="33690"/>
                    <a:pt x="242722" y="29529"/>
                    <a:pt x="242588" y="27427"/>
                  </a:cubicBezTo>
                  <a:cubicBezTo>
                    <a:pt x="245720" y="29127"/>
                    <a:pt x="251984" y="32572"/>
                    <a:pt x="255116" y="34272"/>
                  </a:cubicBezTo>
                  <a:lnTo>
                    <a:pt x="252208" y="35659"/>
                  </a:lnTo>
                  <a:cubicBezTo>
                    <a:pt x="230195" y="54629"/>
                    <a:pt x="229300" y="85948"/>
                    <a:pt x="235564" y="112301"/>
                  </a:cubicBezTo>
                  <a:cubicBezTo>
                    <a:pt x="238785" y="124963"/>
                    <a:pt x="242812" y="137491"/>
                    <a:pt x="244512" y="150510"/>
                  </a:cubicBezTo>
                  <a:cubicBezTo>
                    <a:pt x="162993" y="150913"/>
                    <a:pt x="81519" y="149973"/>
                    <a:pt x="0" y="150510"/>
                  </a:cubicBezTo>
                  <a:lnTo>
                    <a:pt x="134" y="147915"/>
                  </a:lnTo>
                  <a:cubicBezTo>
                    <a:pt x="2192" y="147826"/>
                    <a:pt x="6353" y="147692"/>
                    <a:pt x="8411" y="147602"/>
                  </a:cubicBezTo>
                  <a:cubicBezTo>
                    <a:pt x="20134" y="146528"/>
                    <a:pt x="32751" y="147871"/>
                    <a:pt x="43936" y="144068"/>
                  </a:cubicBezTo>
                  <a:cubicBezTo>
                    <a:pt x="65501" y="119952"/>
                    <a:pt x="93644" y="103621"/>
                    <a:pt x="117178" y="81787"/>
                  </a:cubicBezTo>
                  <a:cubicBezTo>
                    <a:pt x="115567" y="77403"/>
                    <a:pt x="113956" y="73018"/>
                    <a:pt x="112391" y="68678"/>
                  </a:cubicBezTo>
                  <a:cubicBezTo>
                    <a:pt x="124918" y="68678"/>
                    <a:pt x="137446" y="67202"/>
                    <a:pt x="149526" y="63712"/>
                  </a:cubicBezTo>
                  <a:cubicBezTo>
                    <a:pt x="147602" y="55569"/>
                    <a:pt x="145723" y="47381"/>
                    <a:pt x="143889" y="39238"/>
                  </a:cubicBezTo>
                  <a:lnTo>
                    <a:pt x="148497" y="39238"/>
                  </a:lnTo>
                  <a:cubicBezTo>
                    <a:pt x="148497" y="39238"/>
                    <a:pt x="154940" y="38388"/>
                    <a:pt x="154940" y="38388"/>
                  </a:cubicBezTo>
                  <a:cubicBezTo>
                    <a:pt x="157042" y="26129"/>
                    <a:pt x="156685" y="13646"/>
                    <a:pt x="157535" y="1253"/>
                  </a:cubicBezTo>
                  <a:close/>
                </a:path>
              </a:pathLst>
            </a:custGeom>
            <a:solidFill>
              <a:srgbClr val="3C57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2" name="Freeform: Shape 4891">
              <a:extLst>
                <a:ext uri="{FF2B5EF4-FFF2-40B4-BE49-F238E27FC236}">
                  <a16:creationId xmlns:a16="http://schemas.microsoft.com/office/drawing/2014/main" id="{F6B9771B-E8A7-48F2-8269-48E7BCD466D2}"/>
                </a:ext>
              </a:extLst>
            </p:cNvPr>
            <p:cNvSpPr/>
            <p:nvPr/>
          </p:nvSpPr>
          <p:spPr>
            <a:xfrm flipH="1">
              <a:off x="2270037" y="3193701"/>
              <a:ext cx="26270" cy="36823"/>
            </a:xfrm>
            <a:custGeom>
              <a:avLst/>
              <a:gdLst>
                <a:gd name="connsiteX0" fmla="*/ 1834 w 22025"/>
                <a:gd name="connsiteY0" fmla="*/ 761 h 30871"/>
                <a:gd name="connsiteX1" fmla="*/ 20849 w 22025"/>
                <a:gd name="connsiteY1" fmla="*/ 0 h 30871"/>
                <a:gd name="connsiteX2" fmla="*/ 22013 w 22025"/>
                <a:gd name="connsiteY2" fmla="*/ 28232 h 30871"/>
                <a:gd name="connsiteX3" fmla="*/ 0 w 22025"/>
                <a:gd name="connsiteY3" fmla="*/ 30872 h 30871"/>
                <a:gd name="connsiteX4" fmla="*/ 1834 w 22025"/>
                <a:gd name="connsiteY4" fmla="*/ 761 h 30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5" h="30871">
                  <a:moveTo>
                    <a:pt x="1834" y="761"/>
                  </a:moveTo>
                  <a:cubicBezTo>
                    <a:pt x="8143" y="492"/>
                    <a:pt x="14496" y="224"/>
                    <a:pt x="20849" y="0"/>
                  </a:cubicBezTo>
                  <a:cubicBezTo>
                    <a:pt x="21207" y="9396"/>
                    <a:pt x="22147" y="18791"/>
                    <a:pt x="22013" y="28232"/>
                  </a:cubicBezTo>
                  <a:cubicBezTo>
                    <a:pt x="14630" y="29127"/>
                    <a:pt x="7293" y="29977"/>
                    <a:pt x="0" y="30872"/>
                  </a:cubicBezTo>
                  <a:cubicBezTo>
                    <a:pt x="537" y="20805"/>
                    <a:pt x="1163" y="10783"/>
                    <a:pt x="1834" y="761"/>
                  </a:cubicBezTo>
                  <a:close/>
                </a:path>
              </a:pathLst>
            </a:custGeom>
            <a:solidFill>
              <a:srgbClr val="A0BB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3" name="Freeform: Shape 4892">
              <a:extLst>
                <a:ext uri="{FF2B5EF4-FFF2-40B4-BE49-F238E27FC236}">
                  <a16:creationId xmlns:a16="http://schemas.microsoft.com/office/drawing/2014/main" id="{7EC81A51-A1B0-2C85-272B-4BF96AAA57C9}"/>
                </a:ext>
              </a:extLst>
            </p:cNvPr>
            <p:cNvSpPr/>
            <p:nvPr/>
          </p:nvSpPr>
          <p:spPr>
            <a:xfrm flipH="1">
              <a:off x="2108027" y="3199037"/>
              <a:ext cx="128349" cy="13622"/>
            </a:xfrm>
            <a:custGeom>
              <a:avLst/>
              <a:gdLst>
                <a:gd name="connsiteX0" fmla="*/ 0 w 107603"/>
                <a:gd name="connsiteY0" fmla="*/ 0 h 11420"/>
                <a:gd name="connsiteX1" fmla="*/ 106887 w 107603"/>
                <a:gd name="connsiteY1" fmla="*/ 1432 h 11420"/>
                <a:gd name="connsiteX2" fmla="*/ 107603 w 107603"/>
                <a:gd name="connsiteY2" fmla="*/ 10693 h 11420"/>
                <a:gd name="connsiteX3" fmla="*/ 716 w 107603"/>
                <a:gd name="connsiteY3" fmla="*/ 11409 h 11420"/>
                <a:gd name="connsiteX4" fmla="*/ 0 w 107603"/>
                <a:gd name="connsiteY4" fmla="*/ 0 h 1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03" h="11420">
                  <a:moveTo>
                    <a:pt x="0" y="0"/>
                  </a:moveTo>
                  <a:cubicBezTo>
                    <a:pt x="35614" y="268"/>
                    <a:pt x="71228" y="1297"/>
                    <a:pt x="106887" y="1432"/>
                  </a:cubicBezTo>
                  <a:cubicBezTo>
                    <a:pt x="107066" y="3713"/>
                    <a:pt x="107424" y="8367"/>
                    <a:pt x="107603" y="10693"/>
                  </a:cubicBezTo>
                  <a:cubicBezTo>
                    <a:pt x="71989" y="8367"/>
                    <a:pt x="36330" y="11633"/>
                    <a:pt x="716" y="11409"/>
                  </a:cubicBezTo>
                  <a:cubicBezTo>
                    <a:pt x="537" y="8546"/>
                    <a:pt x="179" y="2863"/>
                    <a:pt x="0" y="0"/>
                  </a:cubicBezTo>
                  <a:close/>
                </a:path>
              </a:pathLst>
            </a:custGeom>
            <a:solidFill>
              <a:srgbClr val="75A8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4" name="Freeform: Shape 4893">
              <a:extLst>
                <a:ext uri="{FF2B5EF4-FFF2-40B4-BE49-F238E27FC236}">
                  <a16:creationId xmlns:a16="http://schemas.microsoft.com/office/drawing/2014/main" id="{D5721606-A9D1-DF1F-0021-0CEE638A3045}"/>
                </a:ext>
              </a:extLst>
            </p:cNvPr>
            <p:cNvSpPr/>
            <p:nvPr/>
          </p:nvSpPr>
          <p:spPr>
            <a:xfrm flipH="1">
              <a:off x="2729224" y="3203626"/>
              <a:ext cx="59196" cy="42694"/>
            </a:xfrm>
            <a:custGeom>
              <a:avLst/>
              <a:gdLst>
                <a:gd name="connsiteX0" fmla="*/ 8735 w 49628"/>
                <a:gd name="connsiteY0" fmla="*/ 0 h 35793"/>
                <a:gd name="connsiteX1" fmla="*/ 21531 w 49628"/>
                <a:gd name="connsiteY1" fmla="*/ 6085 h 35793"/>
                <a:gd name="connsiteX2" fmla="*/ 44931 w 49628"/>
                <a:gd name="connsiteY2" fmla="*/ 6935 h 35793"/>
                <a:gd name="connsiteX3" fmla="*/ 49629 w 49628"/>
                <a:gd name="connsiteY3" fmla="*/ 31230 h 35793"/>
                <a:gd name="connsiteX4" fmla="*/ 189 w 49628"/>
                <a:gd name="connsiteY4" fmla="*/ 35793 h 35793"/>
                <a:gd name="connsiteX5" fmla="*/ 8735 w 49628"/>
                <a:gd name="connsiteY5" fmla="*/ 0 h 3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28" h="35793">
                  <a:moveTo>
                    <a:pt x="8735" y="0"/>
                  </a:moveTo>
                  <a:cubicBezTo>
                    <a:pt x="12941" y="2103"/>
                    <a:pt x="17191" y="4116"/>
                    <a:pt x="21531" y="6085"/>
                  </a:cubicBezTo>
                  <a:cubicBezTo>
                    <a:pt x="29271" y="6666"/>
                    <a:pt x="37101" y="6756"/>
                    <a:pt x="44931" y="6935"/>
                  </a:cubicBezTo>
                  <a:cubicBezTo>
                    <a:pt x="46497" y="15033"/>
                    <a:pt x="48108" y="23087"/>
                    <a:pt x="49629" y="31230"/>
                  </a:cubicBezTo>
                  <a:cubicBezTo>
                    <a:pt x="33030" y="31409"/>
                    <a:pt x="16475" y="32751"/>
                    <a:pt x="189" y="35793"/>
                  </a:cubicBezTo>
                  <a:cubicBezTo>
                    <a:pt x="-884" y="23131"/>
                    <a:pt x="2695" y="11006"/>
                    <a:pt x="8735" y="0"/>
                  </a:cubicBezTo>
                  <a:close/>
                </a:path>
              </a:pathLst>
            </a:custGeom>
            <a:solidFill>
              <a:srgbClr val="BED8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5" name="Freeform: Shape 4894">
              <a:extLst>
                <a:ext uri="{FF2B5EF4-FFF2-40B4-BE49-F238E27FC236}">
                  <a16:creationId xmlns:a16="http://schemas.microsoft.com/office/drawing/2014/main" id="{E346F813-1304-D6E7-7F1F-F31C593FB25B}"/>
                </a:ext>
              </a:extLst>
            </p:cNvPr>
            <p:cNvSpPr/>
            <p:nvPr/>
          </p:nvSpPr>
          <p:spPr>
            <a:xfrm flipH="1">
              <a:off x="4030211" y="3210779"/>
              <a:ext cx="72044" cy="66303"/>
            </a:xfrm>
            <a:custGeom>
              <a:avLst/>
              <a:gdLst>
                <a:gd name="connsiteX0" fmla="*/ 0 w 60400"/>
                <a:gd name="connsiteY0" fmla="*/ 0 h 55586"/>
                <a:gd name="connsiteX1" fmla="*/ 60401 w 60400"/>
                <a:gd name="connsiteY1" fmla="*/ 492 h 55586"/>
                <a:gd name="connsiteX2" fmla="*/ 59864 w 60400"/>
                <a:gd name="connsiteY2" fmla="*/ 55211 h 55586"/>
                <a:gd name="connsiteX3" fmla="*/ 57269 w 60400"/>
                <a:gd name="connsiteY3" fmla="*/ 55345 h 55586"/>
                <a:gd name="connsiteX4" fmla="*/ 30022 w 60400"/>
                <a:gd name="connsiteY4" fmla="*/ 51095 h 55586"/>
                <a:gd name="connsiteX5" fmla="*/ 30290 w 60400"/>
                <a:gd name="connsiteY5" fmla="*/ 48052 h 55586"/>
                <a:gd name="connsiteX6" fmla="*/ 45189 w 60400"/>
                <a:gd name="connsiteY6" fmla="*/ 43041 h 55586"/>
                <a:gd name="connsiteX7" fmla="*/ 46531 w 60400"/>
                <a:gd name="connsiteY7" fmla="*/ 17673 h 55586"/>
                <a:gd name="connsiteX8" fmla="*/ 12393 w 60400"/>
                <a:gd name="connsiteY8" fmla="*/ 18389 h 55586"/>
                <a:gd name="connsiteX9" fmla="*/ 20089 w 60400"/>
                <a:gd name="connsiteY9" fmla="*/ 51766 h 55586"/>
                <a:gd name="connsiteX10" fmla="*/ 18120 w 60400"/>
                <a:gd name="connsiteY10" fmla="*/ 53690 h 55586"/>
                <a:gd name="connsiteX11" fmla="*/ 2595 w 60400"/>
                <a:gd name="connsiteY11" fmla="*/ 52258 h 55586"/>
                <a:gd name="connsiteX12" fmla="*/ 0 w 60400"/>
                <a:gd name="connsiteY12" fmla="*/ 0 h 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00" h="55586">
                  <a:moveTo>
                    <a:pt x="0" y="0"/>
                  </a:moveTo>
                  <a:cubicBezTo>
                    <a:pt x="20134" y="90"/>
                    <a:pt x="40267" y="90"/>
                    <a:pt x="60401" y="492"/>
                  </a:cubicBezTo>
                  <a:cubicBezTo>
                    <a:pt x="59954" y="18702"/>
                    <a:pt x="59551" y="36956"/>
                    <a:pt x="59864" y="55211"/>
                  </a:cubicBezTo>
                  <a:lnTo>
                    <a:pt x="57269" y="55345"/>
                  </a:lnTo>
                  <a:cubicBezTo>
                    <a:pt x="48679" y="54137"/>
                    <a:pt x="35122" y="58611"/>
                    <a:pt x="30022" y="51095"/>
                  </a:cubicBezTo>
                  <a:lnTo>
                    <a:pt x="30290" y="48052"/>
                  </a:lnTo>
                  <a:cubicBezTo>
                    <a:pt x="34451" y="44965"/>
                    <a:pt x="39417" y="43310"/>
                    <a:pt x="45189" y="43041"/>
                  </a:cubicBezTo>
                  <a:cubicBezTo>
                    <a:pt x="45636" y="34540"/>
                    <a:pt x="46084" y="26129"/>
                    <a:pt x="46531" y="17673"/>
                  </a:cubicBezTo>
                  <a:cubicBezTo>
                    <a:pt x="35122" y="17897"/>
                    <a:pt x="23758" y="18165"/>
                    <a:pt x="12393" y="18389"/>
                  </a:cubicBezTo>
                  <a:cubicBezTo>
                    <a:pt x="15525" y="29216"/>
                    <a:pt x="24653" y="40223"/>
                    <a:pt x="20089" y="51766"/>
                  </a:cubicBezTo>
                  <a:lnTo>
                    <a:pt x="18120" y="53690"/>
                  </a:lnTo>
                  <a:cubicBezTo>
                    <a:pt x="14228" y="53332"/>
                    <a:pt x="6488" y="52616"/>
                    <a:pt x="2595" y="52258"/>
                  </a:cubicBezTo>
                  <a:cubicBezTo>
                    <a:pt x="-447" y="34988"/>
                    <a:pt x="1790" y="17360"/>
                    <a:pt x="0" y="0"/>
                  </a:cubicBezTo>
                  <a:close/>
                </a:path>
              </a:pathLst>
            </a:custGeom>
            <a:solidFill>
              <a:srgbClr val="F5516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6" name="Freeform: Shape 4895">
              <a:extLst>
                <a:ext uri="{FF2B5EF4-FFF2-40B4-BE49-F238E27FC236}">
                  <a16:creationId xmlns:a16="http://schemas.microsoft.com/office/drawing/2014/main" id="{0777A414-514E-8C62-DFDB-82AFF4EF9FD8}"/>
                </a:ext>
              </a:extLst>
            </p:cNvPr>
            <p:cNvSpPr/>
            <p:nvPr/>
          </p:nvSpPr>
          <p:spPr>
            <a:xfrm flipH="1">
              <a:off x="2325287" y="3211533"/>
              <a:ext cx="56942" cy="16750"/>
            </a:xfrm>
            <a:custGeom>
              <a:avLst/>
              <a:gdLst>
                <a:gd name="connsiteX0" fmla="*/ 0 w 47739"/>
                <a:gd name="connsiteY0" fmla="*/ 39 h 14043"/>
                <a:gd name="connsiteX1" fmla="*/ 43668 w 47739"/>
                <a:gd name="connsiteY1" fmla="*/ 531 h 14043"/>
                <a:gd name="connsiteX2" fmla="*/ 47739 w 47739"/>
                <a:gd name="connsiteY2" fmla="*/ 14043 h 14043"/>
                <a:gd name="connsiteX3" fmla="*/ 134 w 47739"/>
                <a:gd name="connsiteY3" fmla="*/ 12209 h 14043"/>
                <a:gd name="connsiteX4" fmla="*/ 0 w 47739"/>
                <a:gd name="connsiteY4" fmla="*/ 39 h 1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39" h="14043">
                  <a:moveTo>
                    <a:pt x="0" y="39"/>
                  </a:moveTo>
                  <a:cubicBezTo>
                    <a:pt x="14541" y="-95"/>
                    <a:pt x="29082" y="129"/>
                    <a:pt x="43668" y="531"/>
                  </a:cubicBezTo>
                  <a:cubicBezTo>
                    <a:pt x="45010" y="5005"/>
                    <a:pt x="46397" y="9524"/>
                    <a:pt x="47739" y="14043"/>
                  </a:cubicBezTo>
                  <a:cubicBezTo>
                    <a:pt x="31856" y="13909"/>
                    <a:pt x="15973" y="13417"/>
                    <a:pt x="134" y="12209"/>
                  </a:cubicBezTo>
                  <a:cubicBezTo>
                    <a:pt x="90" y="8137"/>
                    <a:pt x="45" y="4066"/>
                    <a:pt x="0" y="39"/>
                  </a:cubicBezTo>
                  <a:close/>
                </a:path>
              </a:pathLst>
            </a:custGeom>
            <a:solidFill>
              <a:srgbClr val="C0D6E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8" name="Freeform: Shape 4897">
              <a:extLst>
                <a:ext uri="{FF2B5EF4-FFF2-40B4-BE49-F238E27FC236}">
                  <a16:creationId xmlns:a16="http://schemas.microsoft.com/office/drawing/2014/main" id="{62A83983-6C24-B452-3FBE-1D94C7FBBA97}"/>
                </a:ext>
              </a:extLst>
            </p:cNvPr>
            <p:cNvSpPr/>
            <p:nvPr/>
          </p:nvSpPr>
          <p:spPr>
            <a:xfrm flipH="1">
              <a:off x="2915581" y="3213019"/>
              <a:ext cx="187585" cy="28605"/>
            </a:xfrm>
            <a:custGeom>
              <a:avLst/>
              <a:gdLst>
                <a:gd name="connsiteX0" fmla="*/ 0 w 157266"/>
                <a:gd name="connsiteY0" fmla="*/ 20313 h 23981"/>
                <a:gd name="connsiteX1" fmla="*/ 42504 w 157266"/>
                <a:gd name="connsiteY1" fmla="*/ 0 h 23981"/>
                <a:gd name="connsiteX2" fmla="*/ 73868 w 157266"/>
                <a:gd name="connsiteY2" fmla="*/ 18612 h 23981"/>
                <a:gd name="connsiteX3" fmla="*/ 157266 w 157266"/>
                <a:gd name="connsiteY3" fmla="*/ 17852 h 23981"/>
                <a:gd name="connsiteX4" fmla="*/ 156148 w 157266"/>
                <a:gd name="connsiteY4" fmla="*/ 21163 h 23981"/>
                <a:gd name="connsiteX5" fmla="*/ 132122 w 157266"/>
                <a:gd name="connsiteY5" fmla="*/ 16241 h 23981"/>
                <a:gd name="connsiteX6" fmla="*/ 74181 w 157266"/>
                <a:gd name="connsiteY6" fmla="*/ 23981 h 23981"/>
                <a:gd name="connsiteX7" fmla="*/ 43175 w 157266"/>
                <a:gd name="connsiteY7" fmla="*/ 5995 h 23981"/>
                <a:gd name="connsiteX8" fmla="*/ 0 w 157266"/>
                <a:gd name="connsiteY8" fmla="*/ 20313 h 23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266" h="23981">
                  <a:moveTo>
                    <a:pt x="0" y="20313"/>
                  </a:moveTo>
                  <a:cubicBezTo>
                    <a:pt x="15838" y="17494"/>
                    <a:pt x="30335" y="10514"/>
                    <a:pt x="42504" y="0"/>
                  </a:cubicBezTo>
                  <a:cubicBezTo>
                    <a:pt x="51766" y="7740"/>
                    <a:pt x="60446" y="19105"/>
                    <a:pt x="73868" y="18612"/>
                  </a:cubicBezTo>
                  <a:cubicBezTo>
                    <a:pt x="101876" y="22192"/>
                    <a:pt x="130556" y="3713"/>
                    <a:pt x="157266" y="17852"/>
                  </a:cubicBezTo>
                  <a:lnTo>
                    <a:pt x="156148" y="21163"/>
                  </a:lnTo>
                  <a:cubicBezTo>
                    <a:pt x="148318" y="18702"/>
                    <a:pt x="140578" y="13870"/>
                    <a:pt x="132122" y="16241"/>
                  </a:cubicBezTo>
                  <a:cubicBezTo>
                    <a:pt x="112972" y="19955"/>
                    <a:pt x="93644" y="22729"/>
                    <a:pt x="74181" y="23981"/>
                  </a:cubicBezTo>
                  <a:cubicBezTo>
                    <a:pt x="62056" y="21476"/>
                    <a:pt x="52616" y="13333"/>
                    <a:pt x="43175" y="5995"/>
                  </a:cubicBezTo>
                  <a:cubicBezTo>
                    <a:pt x="30021" y="13467"/>
                    <a:pt x="16152" y="28948"/>
                    <a:pt x="0" y="20313"/>
                  </a:cubicBezTo>
                  <a:close/>
                </a:path>
              </a:pathLst>
            </a:custGeom>
            <a:solidFill>
              <a:srgbClr val="B7C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9" name="Freeform: Shape 4898">
              <a:extLst>
                <a:ext uri="{FF2B5EF4-FFF2-40B4-BE49-F238E27FC236}">
                  <a16:creationId xmlns:a16="http://schemas.microsoft.com/office/drawing/2014/main" id="{24303AC4-AF22-3C89-A657-E85D9A85D2C1}"/>
                </a:ext>
              </a:extLst>
            </p:cNvPr>
            <p:cNvSpPr/>
            <p:nvPr/>
          </p:nvSpPr>
          <p:spPr>
            <a:xfrm flipH="1">
              <a:off x="1642401" y="5176882"/>
              <a:ext cx="1123539" cy="257215"/>
            </a:xfrm>
            <a:custGeom>
              <a:avLst/>
              <a:gdLst>
                <a:gd name="connsiteX0" fmla="*/ 78655 w 941941"/>
                <a:gd name="connsiteY0" fmla="*/ 12705 h 215641"/>
                <a:gd name="connsiteX1" fmla="*/ 104426 w 941941"/>
                <a:gd name="connsiteY1" fmla="*/ 312 h 215641"/>
                <a:gd name="connsiteX2" fmla="*/ 265540 w 941941"/>
                <a:gd name="connsiteY2" fmla="*/ 41026 h 215641"/>
                <a:gd name="connsiteX3" fmla="*/ 467593 w 941941"/>
                <a:gd name="connsiteY3" fmla="*/ 90018 h 215641"/>
                <a:gd name="connsiteX4" fmla="*/ 508755 w 941941"/>
                <a:gd name="connsiteY4" fmla="*/ 100935 h 215641"/>
                <a:gd name="connsiteX5" fmla="*/ 791879 w 941941"/>
                <a:gd name="connsiteY5" fmla="*/ 172924 h 215641"/>
                <a:gd name="connsiteX6" fmla="*/ 941942 w 941941"/>
                <a:gd name="connsiteY6" fmla="*/ 214579 h 215641"/>
                <a:gd name="connsiteX7" fmla="*/ 576136 w 941941"/>
                <a:gd name="connsiteY7" fmla="*/ 215026 h 215641"/>
                <a:gd name="connsiteX8" fmla="*/ 515242 w 941941"/>
                <a:gd name="connsiteY8" fmla="*/ 198293 h 215641"/>
                <a:gd name="connsiteX9" fmla="*/ 390772 w 941941"/>
                <a:gd name="connsiteY9" fmla="*/ 168719 h 215641"/>
                <a:gd name="connsiteX10" fmla="*/ 76105 w 941941"/>
                <a:gd name="connsiteY10" fmla="*/ 89660 h 215641"/>
                <a:gd name="connsiteX11" fmla="*/ 13691 w 941941"/>
                <a:gd name="connsiteY11" fmla="*/ 74448 h 215641"/>
                <a:gd name="connsiteX12" fmla="*/ 4787 w 941941"/>
                <a:gd name="connsiteY12" fmla="*/ 62815 h 215641"/>
                <a:gd name="connsiteX13" fmla="*/ 0 w 941941"/>
                <a:gd name="connsiteY13" fmla="*/ 56597 h 215641"/>
                <a:gd name="connsiteX14" fmla="*/ 47471 w 941941"/>
                <a:gd name="connsiteY14" fmla="*/ 28141 h 215641"/>
                <a:gd name="connsiteX15" fmla="*/ 78655 w 941941"/>
                <a:gd name="connsiteY15" fmla="*/ 12705 h 21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41" h="215641">
                  <a:moveTo>
                    <a:pt x="78655" y="12705"/>
                  </a:moveTo>
                  <a:cubicBezTo>
                    <a:pt x="86306" y="6844"/>
                    <a:pt x="93644" y="-1747"/>
                    <a:pt x="104426" y="312"/>
                  </a:cubicBezTo>
                  <a:cubicBezTo>
                    <a:pt x="158116" y="13958"/>
                    <a:pt x="211851" y="27425"/>
                    <a:pt x="265540" y="41026"/>
                  </a:cubicBezTo>
                  <a:cubicBezTo>
                    <a:pt x="333055" y="56775"/>
                    <a:pt x="399496" y="76954"/>
                    <a:pt x="467593" y="90018"/>
                  </a:cubicBezTo>
                  <a:cubicBezTo>
                    <a:pt x="481284" y="93777"/>
                    <a:pt x="494885" y="97758"/>
                    <a:pt x="508755" y="100935"/>
                  </a:cubicBezTo>
                  <a:cubicBezTo>
                    <a:pt x="603204" y="124603"/>
                    <a:pt x="697519" y="148853"/>
                    <a:pt x="791879" y="172924"/>
                  </a:cubicBezTo>
                  <a:cubicBezTo>
                    <a:pt x="842258" y="185497"/>
                    <a:pt x="891384" y="202632"/>
                    <a:pt x="941942" y="214579"/>
                  </a:cubicBezTo>
                  <a:cubicBezTo>
                    <a:pt x="820021" y="216144"/>
                    <a:pt x="698056" y="215697"/>
                    <a:pt x="576136" y="215026"/>
                  </a:cubicBezTo>
                  <a:cubicBezTo>
                    <a:pt x="556494" y="207286"/>
                    <a:pt x="535913" y="202409"/>
                    <a:pt x="515242" y="198293"/>
                  </a:cubicBezTo>
                  <a:cubicBezTo>
                    <a:pt x="473857" y="187957"/>
                    <a:pt x="432247" y="178517"/>
                    <a:pt x="390772" y="168719"/>
                  </a:cubicBezTo>
                  <a:cubicBezTo>
                    <a:pt x="285719" y="143037"/>
                    <a:pt x="180979" y="116103"/>
                    <a:pt x="76105" y="89660"/>
                  </a:cubicBezTo>
                  <a:cubicBezTo>
                    <a:pt x="55345" y="84470"/>
                    <a:pt x="34540" y="79415"/>
                    <a:pt x="13691" y="74448"/>
                  </a:cubicBezTo>
                  <a:cubicBezTo>
                    <a:pt x="10693" y="70556"/>
                    <a:pt x="7740" y="66663"/>
                    <a:pt x="4787" y="62815"/>
                  </a:cubicBezTo>
                  <a:cubicBezTo>
                    <a:pt x="3176" y="60668"/>
                    <a:pt x="1566" y="58610"/>
                    <a:pt x="0" y="56597"/>
                  </a:cubicBezTo>
                  <a:cubicBezTo>
                    <a:pt x="15391" y="46395"/>
                    <a:pt x="28545" y="31720"/>
                    <a:pt x="47471" y="28141"/>
                  </a:cubicBezTo>
                  <a:cubicBezTo>
                    <a:pt x="58924" y="25501"/>
                    <a:pt x="69797" y="20535"/>
                    <a:pt x="78655" y="12705"/>
                  </a:cubicBezTo>
                  <a:close/>
                </a:path>
              </a:pathLst>
            </a:custGeom>
            <a:solidFill>
              <a:srgbClr val="B7CB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1" name="Freeform: Shape 4900">
              <a:extLst>
                <a:ext uri="{FF2B5EF4-FFF2-40B4-BE49-F238E27FC236}">
                  <a16:creationId xmlns:a16="http://schemas.microsoft.com/office/drawing/2014/main" id="{5ABF575A-A48A-CE42-774A-9F190ED21841}"/>
                </a:ext>
              </a:extLst>
            </p:cNvPr>
            <p:cNvSpPr/>
            <p:nvPr/>
          </p:nvSpPr>
          <p:spPr>
            <a:xfrm flipH="1">
              <a:off x="3952134" y="3219567"/>
              <a:ext cx="50164" cy="37586"/>
            </a:xfrm>
            <a:custGeom>
              <a:avLst/>
              <a:gdLst>
                <a:gd name="connsiteX0" fmla="*/ 0 w 42056"/>
                <a:gd name="connsiteY0" fmla="*/ 282 h 31511"/>
                <a:gd name="connsiteX1" fmla="*/ 42057 w 42056"/>
                <a:gd name="connsiteY1" fmla="*/ 6770 h 31511"/>
                <a:gd name="connsiteX2" fmla="*/ 39507 w 42056"/>
                <a:gd name="connsiteY2" fmla="*/ 30036 h 31511"/>
                <a:gd name="connsiteX3" fmla="*/ 31185 w 42056"/>
                <a:gd name="connsiteY3" fmla="*/ 31512 h 31511"/>
                <a:gd name="connsiteX4" fmla="*/ 7606 w 42056"/>
                <a:gd name="connsiteY4" fmla="*/ 26143 h 31511"/>
                <a:gd name="connsiteX5" fmla="*/ 1163 w 42056"/>
                <a:gd name="connsiteY5" fmla="*/ 24264 h 31511"/>
                <a:gd name="connsiteX6" fmla="*/ 0 w 42056"/>
                <a:gd name="connsiteY6" fmla="*/ 282 h 31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56" h="31511">
                  <a:moveTo>
                    <a:pt x="0" y="282"/>
                  </a:moveTo>
                  <a:cubicBezTo>
                    <a:pt x="14317" y="-299"/>
                    <a:pt x="29216" y="-702"/>
                    <a:pt x="42057" y="6770"/>
                  </a:cubicBezTo>
                  <a:cubicBezTo>
                    <a:pt x="40983" y="14465"/>
                    <a:pt x="40088" y="22250"/>
                    <a:pt x="39507" y="30036"/>
                  </a:cubicBezTo>
                  <a:cubicBezTo>
                    <a:pt x="37404" y="30438"/>
                    <a:pt x="33288" y="31154"/>
                    <a:pt x="31185" y="31512"/>
                  </a:cubicBezTo>
                  <a:cubicBezTo>
                    <a:pt x="23266" y="29857"/>
                    <a:pt x="15436" y="28112"/>
                    <a:pt x="7606" y="26143"/>
                  </a:cubicBezTo>
                  <a:cubicBezTo>
                    <a:pt x="5995" y="25651"/>
                    <a:pt x="2774" y="24711"/>
                    <a:pt x="1163" y="24264"/>
                  </a:cubicBezTo>
                  <a:cubicBezTo>
                    <a:pt x="537" y="16255"/>
                    <a:pt x="268" y="8246"/>
                    <a:pt x="0" y="282"/>
                  </a:cubicBezTo>
                  <a:close/>
                </a:path>
              </a:pathLst>
            </a:custGeom>
            <a:solidFill>
              <a:srgbClr val="86A8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2" name="Freeform: Shape 4901">
              <a:extLst>
                <a:ext uri="{FF2B5EF4-FFF2-40B4-BE49-F238E27FC236}">
                  <a16:creationId xmlns:a16="http://schemas.microsoft.com/office/drawing/2014/main" id="{21D890ED-680C-8B76-E292-CF3FF1D18BAA}"/>
                </a:ext>
              </a:extLst>
            </p:cNvPr>
            <p:cNvSpPr/>
            <p:nvPr/>
          </p:nvSpPr>
          <p:spPr>
            <a:xfrm flipH="1">
              <a:off x="2161929" y="3220705"/>
              <a:ext cx="73166" cy="12755"/>
            </a:xfrm>
            <a:custGeom>
              <a:avLst/>
              <a:gdLst>
                <a:gd name="connsiteX0" fmla="*/ 0 w 61340"/>
                <a:gd name="connsiteY0" fmla="*/ 0 h 10693"/>
                <a:gd name="connsiteX1" fmla="*/ 60312 w 61340"/>
                <a:gd name="connsiteY1" fmla="*/ 358 h 10693"/>
                <a:gd name="connsiteX2" fmla="*/ 61341 w 61340"/>
                <a:gd name="connsiteY2" fmla="*/ 10648 h 10693"/>
                <a:gd name="connsiteX3" fmla="*/ 45 w 61340"/>
                <a:gd name="connsiteY3" fmla="*/ 10693 h 10693"/>
                <a:gd name="connsiteX4" fmla="*/ 0 w 61340"/>
                <a:gd name="connsiteY4" fmla="*/ 0 h 1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0" h="10693">
                  <a:moveTo>
                    <a:pt x="0" y="0"/>
                  </a:moveTo>
                  <a:cubicBezTo>
                    <a:pt x="20089" y="716"/>
                    <a:pt x="40223" y="626"/>
                    <a:pt x="60312" y="358"/>
                  </a:cubicBezTo>
                  <a:cubicBezTo>
                    <a:pt x="60580" y="2953"/>
                    <a:pt x="61117" y="8053"/>
                    <a:pt x="61341" y="10648"/>
                  </a:cubicBezTo>
                  <a:cubicBezTo>
                    <a:pt x="40894" y="10469"/>
                    <a:pt x="20447" y="10559"/>
                    <a:pt x="45" y="10693"/>
                  </a:cubicBezTo>
                  <a:cubicBezTo>
                    <a:pt x="45" y="8053"/>
                    <a:pt x="45" y="2685"/>
                    <a:pt x="0" y="0"/>
                  </a:cubicBezTo>
                  <a:close/>
                </a:path>
              </a:pathLst>
            </a:custGeom>
            <a:solidFill>
              <a:srgbClr val="84B3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5" name="Freeform: Shape 4904">
              <a:extLst>
                <a:ext uri="{FF2B5EF4-FFF2-40B4-BE49-F238E27FC236}">
                  <a16:creationId xmlns:a16="http://schemas.microsoft.com/office/drawing/2014/main" id="{B4086030-3B27-7BAE-0E0E-72976349E2ED}"/>
                </a:ext>
              </a:extLst>
            </p:cNvPr>
            <p:cNvSpPr/>
            <p:nvPr/>
          </p:nvSpPr>
          <p:spPr>
            <a:xfrm flipH="1">
              <a:off x="4033944" y="3231859"/>
              <a:ext cx="53526" cy="46398"/>
            </a:xfrm>
            <a:custGeom>
              <a:avLst/>
              <a:gdLst>
                <a:gd name="connsiteX0" fmla="*/ 0 w 44875"/>
                <a:gd name="connsiteY0" fmla="*/ 716 h 38899"/>
                <a:gd name="connsiteX1" fmla="*/ 34138 w 44875"/>
                <a:gd name="connsiteY1" fmla="*/ 0 h 38899"/>
                <a:gd name="connsiteX2" fmla="*/ 32795 w 44875"/>
                <a:gd name="connsiteY2" fmla="*/ 25368 h 38899"/>
                <a:gd name="connsiteX3" fmla="*/ 17897 w 44875"/>
                <a:gd name="connsiteY3" fmla="*/ 30379 h 38899"/>
                <a:gd name="connsiteX4" fmla="*/ 17628 w 44875"/>
                <a:gd name="connsiteY4" fmla="*/ 33422 h 38899"/>
                <a:gd name="connsiteX5" fmla="*/ 44876 w 44875"/>
                <a:gd name="connsiteY5" fmla="*/ 37672 h 38899"/>
                <a:gd name="connsiteX6" fmla="*/ 4206 w 44875"/>
                <a:gd name="connsiteY6" fmla="*/ 37538 h 38899"/>
                <a:gd name="connsiteX7" fmla="*/ 5727 w 44875"/>
                <a:gd name="connsiteY7" fmla="*/ 36017 h 38899"/>
                <a:gd name="connsiteX8" fmla="*/ 7696 w 44875"/>
                <a:gd name="connsiteY8" fmla="*/ 34093 h 38899"/>
                <a:gd name="connsiteX9" fmla="*/ 0 w 44875"/>
                <a:gd name="connsiteY9" fmla="*/ 716 h 3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75" h="38899">
                  <a:moveTo>
                    <a:pt x="0" y="716"/>
                  </a:moveTo>
                  <a:cubicBezTo>
                    <a:pt x="11364" y="492"/>
                    <a:pt x="22729" y="224"/>
                    <a:pt x="34138" y="0"/>
                  </a:cubicBezTo>
                  <a:cubicBezTo>
                    <a:pt x="33690" y="8456"/>
                    <a:pt x="33243" y="16867"/>
                    <a:pt x="32795" y="25368"/>
                  </a:cubicBezTo>
                  <a:cubicBezTo>
                    <a:pt x="27024" y="25637"/>
                    <a:pt x="22058" y="27292"/>
                    <a:pt x="17897" y="30379"/>
                  </a:cubicBezTo>
                  <a:lnTo>
                    <a:pt x="17628" y="33422"/>
                  </a:lnTo>
                  <a:cubicBezTo>
                    <a:pt x="22729" y="40938"/>
                    <a:pt x="36285" y="36464"/>
                    <a:pt x="44876" y="37672"/>
                  </a:cubicBezTo>
                  <a:cubicBezTo>
                    <a:pt x="31364" y="39104"/>
                    <a:pt x="17673" y="39551"/>
                    <a:pt x="4206" y="37538"/>
                  </a:cubicBezTo>
                  <a:lnTo>
                    <a:pt x="5727" y="36017"/>
                  </a:lnTo>
                  <a:lnTo>
                    <a:pt x="7696" y="34093"/>
                  </a:lnTo>
                  <a:cubicBezTo>
                    <a:pt x="12259" y="22550"/>
                    <a:pt x="3132" y="11543"/>
                    <a:pt x="0" y="716"/>
                  </a:cubicBezTo>
                  <a:close/>
                </a:path>
              </a:pathLst>
            </a:custGeom>
            <a:solidFill>
              <a:srgbClr val="F7C7C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6" name="Freeform: Shape 4905">
              <a:extLst>
                <a:ext uri="{FF2B5EF4-FFF2-40B4-BE49-F238E27FC236}">
                  <a16:creationId xmlns:a16="http://schemas.microsoft.com/office/drawing/2014/main" id="{E0DC55F5-2E0A-ACE1-17DB-777F918C3AA0}"/>
                </a:ext>
              </a:extLst>
            </p:cNvPr>
            <p:cNvSpPr/>
            <p:nvPr/>
          </p:nvSpPr>
          <p:spPr>
            <a:xfrm flipH="1">
              <a:off x="3098351" y="3228097"/>
              <a:ext cx="112514" cy="1079270"/>
            </a:xfrm>
            <a:custGeom>
              <a:avLst/>
              <a:gdLst>
                <a:gd name="connsiteX0" fmla="*/ 11680 w 94329"/>
                <a:gd name="connsiteY0" fmla="*/ 77648 h 904827"/>
                <a:gd name="connsiteX1" fmla="*/ 28324 w 94329"/>
                <a:gd name="connsiteY1" fmla="*/ 1006 h 904827"/>
                <a:gd name="connsiteX2" fmla="*/ 74497 w 94329"/>
                <a:gd name="connsiteY2" fmla="*/ 2080 h 904827"/>
                <a:gd name="connsiteX3" fmla="*/ 93601 w 94329"/>
                <a:gd name="connsiteY3" fmla="*/ 66462 h 904827"/>
                <a:gd name="connsiteX4" fmla="*/ 74900 w 94329"/>
                <a:gd name="connsiteY4" fmla="*/ 115096 h 904827"/>
                <a:gd name="connsiteX5" fmla="*/ 70649 w 94329"/>
                <a:gd name="connsiteY5" fmla="*/ 114873 h 904827"/>
                <a:gd name="connsiteX6" fmla="*/ 67607 w 94329"/>
                <a:gd name="connsiteY6" fmla="*/ 103195 h 904827"/>
                <a:gd name="connsiteX7" fmla="*/ 36780 w 94329"/>
                <a:gd name="connsiteY7" fmla="*/ 100242 h 904827"/>
                <a:gd name="connsiteX8" fmla="*/ 37093 w 94329"/>
                <a:gd name="connsiteY8" fmla="*/ 114694 h 904827"/>
                <a:gd name="connsiteX9" fmla="*/ 37809 w 94329"/>
                <a:gd name="connsiteY9" fmla="*/ 149995 h 904827"/>
                <a:gd name="connsiteX10" fmla="*/ 39867 w 94329"/>
                <a:gd name="connsiteY10" fmla="*/ 215496 h 904827"/>
                <a:gd name="connsiteX11" fmla="*/ 38793 w 94329"/>
                <a:gd name="connsiteY11" fmla="*/ 271557 h 904827"/>
                <a:gd name="connsiteX12" fmla="*/ 36198 w 94329"/>
                <a:gd name="connsiteY12" fmla="*/ 295226 h 904827"/>
                <a:gd name="connsiteX13" fmla="*/ 30740 w 94329"/>
                <a:gd name="connsiteY13" fmla="*/ 359430 h 904827"/>
                <a:gd name="connsiteX14" fmla="*/ 22776 w 94329"/>
                <a:gd name="connsiteY14" fmla="*/ 438845 h 904827"/>
                <a:gd name="connsiteX15" fmla="*/ 17273 w 94329"/>
                <a:gd name="connsiteY15" fmla="*/ 682150 h 904827"/>
                <a:gd name="connsiteX16" fmla="*/ 48323 w 94329"/>
                <a:gd name="connsiteY16" fmla="*/ 838208 h 904827"/>
                <a:gd name="connsiteX17" fmla="*/ 71231 w 94329"/>
                <a:gd name="connsiteY17" fmla="*/ 897401 h 904827"/>
                <a:gd name="connsiteX18" fmla="*/ 74810 w 94329"/>
                <a:gd name="connsiteY18" fmla="*/ 904291 h 904827"/>
                <a:gd name="connsiteX19" fmla="*/ 64475 w 94329"/>
                <a:gd name="connsiteY19" fmla="*/ 904828 h 904827"/>
                <a:gd name="connsiteX20" fmla="*/ 53066 w 94329"/>
                <a:gd name="connsiteY20" fmla="*/ 894716 h 904827"/>
                <a:gd name="connsiteX21" fmla="*/ 897 w 94329"/>
                <a:gd name="connsiteY21" fmla="*/ 645059 h 904827"/>
                <a:gd name="connsiteX22" fmla="*/ 5461 w 94329"/>
                <a:gd name="connsiteY22" fmla="*/ 469046 h 904827"/>
                <a:gd name="connsiteX23" fmla="*/ 14901 w 94329"/>
                <a:gd name="connsiteY23" fmla="*/ 368646 h 904827"/>
                <a:gd name="connsiteX24" fmla="*/ 21076 w 94329"/>
                <a:gd name="connsiteY24" fmla="*/ 296523 h 904827"/>
                <a:gd name="connsiteX25" fmla="*/ 22105 w 94329"/>
                <a:gd name="connsiteY25" fmla="*/ 149637 h 904827"/>
                <a:gd name="connsiteX26" fmla="*/ 20628 w 94329"/>
                <a:gd name="connsiteY26" fmla="*/ 115857 h 904827"/>
                <a:gd name="connsiteX27" fmla="*/ 11680 w 94329"/>
                <a:gd name="connsiteY27" fmla="*/ 77648 h 904827"/>
                <a:gd name="connsiteX28" fmla="*/ 23044 w 94329"/>
                <a:gd name="connsiteY28" fmla="*/ 30088 h 904827"/>
                <a:gd name="connsiteX29" fmla="*/ 50784 w 94329"/>
                <a:gd name="connsiteY29" fmla="*/ 79751 h 904827"/>
                <a:gd name="connsiteX30" fmla="*/ 58882 w 94329"/>
                <a:gd name="connsiteY30" fmla="*/ 34875 h 904827"/>
                <a:gd name="connsiteX31" fmla="*/ 23044 w 94329"/>
                <a:gd name="connsiteY31" fmla="*/ 30088 h 90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329" h="904827">
                  <a:moveTo>
                    <a:pt x="11680" y="77648"/>
                  </a:moveTo>
                  <a:cubicBezTo>
                    <a:pt x="5416" y="51295"/>
                    <a:pt x="6311" y="19976"/>
                    <a:pt x="28324" y="1006"/>
                  </a:cubicBezTo>
                  <a:cubicBezTo>
                    <a:pt x="43670" y="469"/>
                    <a:pt x="59374" y="-1455"/>
                    <a:pt x="74497" y="2080"/>
                  </a:cubicBezTo>
                  <a:cubicBezTo>
                    <a:pt x="96196" y="15233"/>
                    <a:pt x="95167" y="44226"/>
                    <a:pt x="93601" y="66462"/>
                  </a:cubicBezTo>
                  <a:cubicBezTo>
                    <a:pt x="88054" y="82927"/>
                    <a:pt x="81119" y="98900"/>
                    <a:pt x="74900" y="115096"/>
                  </a:cubicBezTo>
                  <a:lnTo>
                    <a:pt x="70649" y="114873"/>
                  </a:lnTo>
                  <a:cubicBezTo>
                    <a:pt x="69889" y="111965"/>
                    <a:pt x="68367" y="106103"/>
                    <a:pt x="67607" y="103195"/>
                  </a:cubicBezTo>
                  <a:cubicBezTo>
                    <a:pt x="57316" y="102256"/>
                    <a:pt x="47026" y="101271"/>
                    <a:pt x="36780" y="100242"/>
                  </a:cubicBezTo>
                  <a:cubicBezTo>
                    <a:pt x="36825" y="103866"/>
                    <a:pt x="37004" y="111070"/>
                    <a:pt x="37093" y="114694"/>
                  </a:cubicBezTo>
                  <a:cubicBezTo>
                    <a:pt x="37317" y="126416"/>
                    <a:pt x="37585" y="138183"/>
                    <a:pt x="37809" y="149995"/>
                  </a:cubicBezTo>
                  <a:cubicBezTo>
                    <a:pt x="38167" y="171828"/>
                    <a:pt x="37451" y="193752"/>
                    <a:pt x="39867" y="215496"/>
                  </a:cubicBezTo>
                  <a:cubicBezTo>
                    <a:pt x="41478" y="234153"/>
                    <a:pt x="40180" y="252900"/>
                    <a:pt x="38793" y="271557"/>
                  </a:cubicBezTo>
                  <a:cubicBezTo>
                    <a:pt x="37809" y="279432"/>
                    <a:pt x="36914" y="287306"/>
                    <a:pt x="36198" y="295226"/>
                  </a:cubicBezTo>
                  <a:cubicBezTo>
                    <a:pt x="34274" y="316612"/>
                    <a:pt x="32932" y="338043"/>
                    <a:pt x="30740" y="359430"/>
                  </a:cubicBezTo>
                  <a:cubicBezTo>
                    <a:pt x="28145" y="385916"/>
                    <a:pt x="25102" y="412314"/>
                    <a:pt x="22776" y="438845"/>
                  </a:cubicBezTo>
                  <a:cubicBezTo>
                    <a:pt x="13962" y="519559"/>
                    <a:pt x="11232" y="601123"/>
                    <a:pt x="17273" y="682150"/>
                  </a:cubicBezTo>
                  <a:cubicBezTo>
                    <a:pt x="21926" y="735079"/>
                    <a:pt x="32261" y="787516"/>
                    <a:pt x="48323" y="838208"/>
                  </a:cubicBezTo>
                  <a:cubicBezTo>
                    <a:pt x="54855" y="858297"/>
                    <a:pt x="60806" y="878833"/>
                    <a:pt x="71231" y="897401"/>
                  </a:cubicBezTo>
                  <a:lnTo>
                    <a:pt x="74810" y="904291"/>
                  </a:lnTo>
                  <a:cubicBezTo>
                    <a:pt x="72215" y="904425"/>
                    <a:pt x="67070" y="904693"/>
                    <a:pt x="64475" y="904828"/>
                  </a:cubicBezTo>
                  <a:cubicBezTo>
                    <a:pt x="61611" y="902278"/>
                    <a:pt x="55929" y="897267"/>
                    <a:pt x="53066" y="894716"/>
                  </a:cubicBezTo>
                  <a:cubicBezTo>
                    <a:pt x="21389" y="815300"/>
                    <a:pt x="4163" y="730470"/>
                    <a:pt x="897" y="645059"/>
                  </a:cubicBezTo>
                  <a:cubicBezTo>
                    <a:pt x="-1071" y="586403"/>
                    <a:pt x="92" y="527523"/>
                    <a:pt x="5461" y="469046"/>
                  </a:cubicBezTo>
                  <a:cubicBezTo>
                    <a:pt x="8637" y="435579"/>
                    <a:pt x="11680" y="402113"/>
                    <a:pt x="14901" y="368646"/>
                  </a:cubicBezTo>
                  <a:cubicBezTo>
                    <a:pt x="17899" y="344710"/>
                    <a:pt x="19778" y="320639"/>
                    <a:pt x="21076" y="296523"/>
                  </a:cubicBezTo>
                  <a:cubicBezTo>
                    <a:pt x="23894" y="247621"/>
                    <a:pt x="22955" y="198584"/>
                    <a:pt x="22105" y="149637"/>
                  </a:cubicBezTo>
                  <a:cubicBezTo>
                    <a:pt x="21926" y="138362"/>
                    <a:pt x="21568" y="127087"/>
                    <a:pt x="20628" y="115857"/>
                  </a:cubicBezTo>
                  <a:cubicBezTo>
                    <a:pt x="18928" y="102837"/>
                    <a:pt x="14901" y="90310"/>
                    <a:pt x="11680" y="77648"/>
                  </a:cubicBezTo>
                  <a:close/>
                  <a:moveTo>
                    <a:pt x="23044" y="30088"/>
                  </a:moveTo>
                  <a:cubicBezTo>
                    <a:pt x="11456" y="49953"/>
                    <a:pt x="22328" y="88162"/>
                    <a:pt x="50784" y="79751"/>
                  </a:cubicBezTo>
                  <a:cubicBezTo>
                    <a:pt x="65325" y="69729"/>
                    <a:pt x="66801" y="49416"/>
                    <a:pt x="58882" y="34875"/>
                  </a:cubicBezTo>
                  <a:cubicBezTo>
                    <a:pt x="50918" y="22660"/>
                    <a:pt x="34498" y="24987"/>
                    <a:pt x="23044" y="30088"/>
                  </a:cubicBezTo>
                  <a:close/>
                </a:path>
              </a:pathLst>
            </a:custGeom>
            <a:solidFill>
              <a:srgbClr val="FBFE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7" name="Freeform: Shape 4906">
              <a:extLst>
                <a:ext uri="{FF2B5EF4-FFF2-40B4-BE49-F238E27FC236}">
                  <a16:creationId xmlns:a16="http://schemas.microsoft.com/office/drawing/2014/main" id="{AA691B6F-B253-CB6B-C804-A2B4BC80BDCD}"/>
                </a:ext>
              </a:extLst>
            </p:cNvPr>
            <p:cNvSpPr/>
            <p:nvPr/>
          </p:nvSpPr>
          <p:spPr>
            <a:xfrm flipH="1">
              <a:off x="3720542" y="3242638"/>
              <a:ext cx="47955" cy="30699"/>
            </a:xfrm>
            <a:custGeom>
              <a:avLst/>
              <a:gdLst>
                <a:gd name="connsiteX0" fmla="*/ 31811 w 40204"/>
                <a:gd name="connsiteY0" fmla="*/ 0 h 25737"/>
                <a:gd name="connsiteX1" fmla="*/ 38970 w 40204"/>
                <a:gd name="connsiteY1" fmla="*/ 761 h 25737"/>
                <a:gd name="connsiteX2" fmla="*/ 89 w 40204"/>
                <a:gd name="connsiteY2" fmla="*/ 16778 h 25737"/>
                <a:gd name="connsiteX3" fmla="*/ 0 w 40204"/>
                <a:gd name="connsiteY3" fmla="*/ 4429 h 25737"/>
                <a:gd name="connsiteX4" fmla="*/ 21297 w 40204"/>
                <a:gd name="connsiteY4" fmla="*/ 14988 h 25737"/>
                <a:gd name="connsiteX5" fmla="*/ 31811 w 40204"/>
                <a:gd name="connsiteY5" fmla="*/ 0 h 2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04" h="25737">
                  <a:moveTo>
                    <a:pt x="31811" y="0"/>
                  </a:moveTo>
                  <a:cubicBezTo>
                    <a:pt x="33601" y="179"/>
                    <a:pt x="37180" y="537"/>
                    <a:pt x="38970" y="761"/>
                  </a:cubicBezTo>
                  <a:cubicBezTo>
                    <a:pt x="47247" y="24339"/>
                    <a:pt x="11633" y="34451"/>
                    <a:pt x="89" y="16778"/>
                  </a:cubicBezTo>
                  <a:cubicBezTo>
                    <a:pt x="45" y="13691"/>
                    <a:pt x="0" y="7517"/>
                    <a:pt x="0" y="4429"/>
                  </a:cubicBezTo>
                  <a:cubicBezTo>
                    <a:pt x="7293" y="7472"/>
                    <a:pt x="14496" y="10827"/>
                    <a:pt x="21297" y="14988"/>
                  </a:cubicBezTo>
                  <a:cubicBezTo>
                    <a:pt x="24697" y="9888"/>
                    <a:pt x="28232" y="4922"/>
                    <a:pt x="31811" y="0"/>
                  </a:cubicBezTo>
                  <a:close/>
                </a:path>
              </a:pathLst>
            </a:custGeom>
            <a:solidFill>
              <a:srgbClr val="E5E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9" name="Freeform: Shape 4908">
              <a:extLst>
                <a:ext uri="{FF2B5EF4-FFF2-40B4-BE49-F238E27FC236}">
                  <a16:creationId xmlns:a16="http://schemas.microsoft.com/office/drawing/2014/main" id="{08D09480-8324-C0EF-4F0D-617F1A51BB17}"/>
                </a:ext>
              </a:extLst>
            </p:cNvPr>
            <p:cNvSpPr/>
            <p:nvPr/>
          </p:nvSpPr>
          <p:spPr>
            <a:xfrm flipH="1">
              <a:off x="3849508" y="3244555"/>
              <a:ext cx="49792" cy="75144"/>
            </a:xfrm>
            <a:custGeom>
              <a:avLst/>
              <a:gdLst>
                <a:gd name="connsiteX0" fmla="*/ 0 w 41743"/>
                <a:gd name="connsiteY0" fmla="*/ 1123 h 62999"/>
                <a:gd name="connsiteX1" fmla="*/ 40178 w 41743"/>
                <a:gd name="connsiteY1" fmla="*/ 407 h 62999"/>
                <a:gd name="connsiteX2" fmla="*/ 41744 w 41743"/>
                <a:gd name="connsiteY2" fmla="*/ 61165 h 62999"/>
                <a:gd name="connsiteX3" fmla="*/ 447 w 41743"/>
                <a:gd name="connsiteY3" fmla="*/ 62866 h 62999"/>
                <a:gd name="connsiteX4" fmla="*/ 0 w 41743"/>
                <a:gd name="connsiteY4" fmla="*/ 1123 h 6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43" h="62999">
                  <a:moveTo>
                    <a:pt x="0" y="1123"/>
                  </a:moveTo>
                  <a:cubicBezTo>
                    <a:pt x="13333" y="-86"/>
                    <a:pt x="26755" y="-309"/>
                    <a:pt x="40178" y="407"/>
                  </a:cubicBezTo>
                  <a:cubicBezTo>
                    <a:pt x="41878" y="20585"/>
                    <a:pt x="41699" y="40898"/>
                    <a:pt x="41744" y="61165"/>
                  </a:cubicBezTo>
                  <a:cubicBezTo>
                    <a:pt x="28008" y="62776"/>
                    <a:pt x="14228" y="63268"/>
                    <a:pt x="447" y="62866"/>
                  </a:cubicBezTo>
                  <a:cubicBezTo>
                    <a:pt x="45" y="42285"/>
                    <a:pt x="0" y="21704"/>
                    <a:pt x="0" y="1123"/>
                  </a:cubicBezTo>
                  <a:close/>
                </a:path>
              </a:pathLst>
            </a:custGeom>
            <a:solidFill>
              <a:srgbClr val="8DB4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0" name="Freeform: Shape 4909">
              <a:extLst>
                <a:ext uri="{FF2B5EF4-FFF2-40B4-BE49-F238E27FC236}">
                  <a16:creationId xmlns:a16="http://schemas.microsoft.com/office/drawing/2014/main" id="{B51F93AE-9399-BDFC-6A68-47CD47B0CD68}"/>
                </a:ext>
              </a:extLst>
            </p:cNvPr>
            <p:cNvSpPr/>
            <p:nvPr/>
          </p:nvSpPr>
          <p:spPr>
            <a:xfrm flipH="1">
              <a:off x="3965100" y="3250750"/>
              <a:ext cx="32341" cy="17718"/>
            </a:xfrm>
            <a:custGeom>
              <a:avLst/>
              <a:gdLst>
                <a:gd name="connsiteX0" fmla="*/ 3535 w 27113"/>
                <a:gd name="connsiteY0" fmla="*/ 0 h 14854"/>
                <a:gd name="connsiteX1" fmla="*/ 27113 w 27113"/>
                <a:gd name="connsiteY1" fmla="*/ 5369 h 14854"/>
                <a:gd name="connsiteX2" fmla="*/ 0 w 27113"/>
                <a:gd name="connsiteY2" fmla="*/ 14854 h 14854"/>
                <a:gd name="connsiteX3" fmla="*/ 3535 w 27113"/>
                <a:gd name="connsiteY3" fmla="*/ 0 h 14854"/>
              </a:gdLst>
              <a:ahLst/>
              <a:cxnLst>
                <a:cxn ang="0">
                  <a:pos x="connsiteX0" y="connsiteY0"/>
                </a:cxn>
                <a:cxn ang="0">
                  <a:pos x="connsiteX1" y="connsiteY1"/>
                </a:cxn>
                <a:cxn ang="0">
                  <a:pos x="connsiteX2" y="connsiteY2"/>
                </a:cxn>
                <a:cxn ang="0">
                  <a:pos x="connsiteX3" y="connsiteY3"/>
                </a:cxn>
              </a:cxnLst>
              <a:rect l="l" t="t" r="r" b="b"/>
              <a:pathLst>
                <a:path w="27113" h="14854">
                  <a:moveTo>
                    <a:pt x="3535" y="0"/>
                  </a:moveTo>
                  <a:cubicBezTo>
                    <a:pt x="11364" y="1969"/>
                    <a:pt x="19194" y="3713"/>
                    <a:pt x="27113" y="5369"/>
                  </a:cubicBezTo>
                  <a:cubicBezTo>
                    <a:pt x="19373" y="11722"/>
                    <a:pt x="9709" y="13825"/>
                    <a:pt x="0" y="14854"/>
                  </a:cubicBezTo>
                  <a:cubicBezTo>
                    <a:pt x="1342" y="9888"/>
                    <a:pt x="2506" y="4966"/>
                    <a:pt x="3535" y="0"/>
                  </a:cubicBezTo>
                  <a:close/>
                </a:path>
              </a:pathLst>
            </a:custGeom>
            <a:solidFill>
              <a:srgbClr val="5983B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3" name="Freeform: Shape 4912">
              <a:extLst>
                <a:ext uri="{FF2B5EF4-FFF2-40B4-BE49-F238E27FC236}">
                  <a16:creationId xmlns:a16="http://schemas.microsoft.com/office/drawing/2014/main" id="{0D738D08-CFA8-3CD5-79DF-F0B7D14EC4FD}"/>
                </a:ext>
              </a:extLst>
            </p:cNvPr>
            <p:cNvSpPr/>
            <p:nvPr/>
          </p:nvSpPr>
          <p:spPr>
            <a:xfrm flipH="1">
              <a:off x="2335906" y="3260696"/>
              <a:ext cx="49311" cy="47371"/>
            </a:xfrm>
            <a:custGeom>
              <a:avLst/>
              <a:gdLst>
                <a:gd name="connsiteX0" fmla="*/ 2371 w 41341"/>
                <a:gd name="connsiteY0" fmla="*/ 1460 h 39714"/>
                <a:gd name="connsiteX1" fmla="*/ 41341 w 41341"/>
                <a:gd name="connsiteY1" fmla="*/ 3876 h 39714"/>
                <a:gd name="connsiteX2" fmla="*/ 39775 w 41341"/>
                <a:gd name="connsiteY2" fmla="*/ 10722 h 39714"/>
                <a:gd name="connsiteX3" fmla="*/ 27695 w 41341"/>
                <a:gd name="connsiteY3" fmla="*/ 39714 h 39714"/>
                <a:gd name="connsiteX4" fmla="*/ 24295 w 41341"/>
                <a:gd name="connsiteY4" fmla="*/ 27142 h 39714"/>
                <a:gd name="connsiteX5" fmla="*/ 25503 w 41341"/>
                <a:gd name="connsiteY5" fmla="*/ 11214 h 39714"/>
                <a:gd name="connsiteX6" fmla="*/ 0 w 41341"/>
                <a:gd name="connsiteY6" fmla="*/ 6784 h 39714"/>
                <a:gd name="connsiteX7" fmla="*/ 2371 w 41341"/>
                <a:gd name="connsiteY7" fmla="*/ 1460 h 3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41" h="39714">
                  <a:moveTo>
                    <a:pt x="2371" y="1460"/>
                  </a:moveTo>
                  <a:cubicBezTo>
                    <a:pt x="14989" y="-2701"/>
                    <a:pt x="28411" y="3294"/>
                    <a:pt x="41341" y="3876"/>
                  </a:cubicBezTo>
                  <a:cubicBezTo>
                    <a:pt x="40939" y="5576"/>
                    <a:pt x="40178" y="9021"/>
                    <a:pt x="39775" y="10722"/>
                  </a:cubicBezTo>
                  <a:cubicBezTo>
                    <a:pt x="34988" y="20072"/>
                    <a:pt x="30335" y="29513"/>
                    <a:pt x="27695" y="39714"/>
                  </a:cubicBezTo>
                  <a:cubicBezTo>
                    <a:pt x="26845" y="36582"/>
                    <a:pt x="25145" y="30274"/>
                    <a:pt x="24295" y="27142"/>
                  </a:cubicBezTo>
                  <a:cubicBezTo>
                    <a:pt x="24608" y="21773"/>
                    <a:pt x="25145" y="16493"/>
                    <a:pt x="25503" y="11214"/>
                  </a:cubicBezTo>
                  <a:cubicBezTo>
                    <a:pt x="17986" y="5397"/>
                    <a:pt x="8904" y="4681"/>
                    <a:pt x="0" y="6784"/>
                  </a:cubicBezTo>
                  <a:lnTo>
                    <a:pt x="2371" y="1460"/>
                  </a:lnTo>
                  <a:close/>
                </a:path>
              </a:pathLst>
            </a:custGeom>
            <a:solidFill>
              <a:srgbClr val="4D60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4" name="Freeform: Shape 4913">
              <a:extLst>
                <a:ext uri="{FF2B5EF4-FFF2-40B4-BE49-F238E27FC236}">
                  <a16:creationId xmlns:a16="http://schemas.microsoft.com/office/drawing/2014/main" id="{26A1ED77-BA46-9DCF-1E8A-27B79DF8F53F}"/>
                </a:ext>
              </a:extLst>
            </p:cNvPr>
            <p:cNvSpPr/>
            <p:nvPr/>
          </p:nvSpPr>
          <p:spPr>
            <a:xfrm flipH="1">
              <a:off x="2311732" y="3263931"/>
              <a:ext cx="26042" cy="26096"/>
            </a:xfrm>
            <a:custGeom>
              <a:avLst/>
              <a:gdLst>
                <a:gd name="connsiteX0" fmla="*/ 1566 w 21833"/>
                <a:gd name="connsiteY0" fmla="*/ 1163 h 21878"/>
                <a:gd name="connsiteX1" fmla="*/ 21834 w 21833"/>
                <a:gd name="connsiteY1" fmla="*/ 0 h 21878"/>
                <a:gd name="connsiteX2" fmla="*/ 21029 w 21833"/>
                <a:gd name="connsiteY2" fmla="*/ 11364 h 21878"/>
                <a:gd name="connsiteX3" fmla="*/ 19820 w 21833"/>
                <a:gd name="connsiteY3" fmla="*/ 21879 h 21878"/>
                <a:gd name="connsiteX4" fmla="*/ 4519 w 21833"/>
                <a:gd name="connsiteY4" fmla="*/ 21879 h 21878"/>
                <a:gd name="connsiteX5" fmla="*/ 0 w 21833"/>
                <a:gd name="connsiteY5" fmla="*/ 8053 h 21878"/>
                <a:gd name="connsiteX6" fmla="*/ 1566 w 21833"/>
                <a:gd name="connsiteY6" fmla="*/ 1208 h 2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3" h="21878">
                  <a:moveTo>
                    <a:pt x="1566" y="1163"/>
                  </a:moveTo>
                  <a:cubicBezTo>
                    <a:pt x="8277" y="671"/>
                    <a:pt x="15033" y="313"/>
                    <a:pt x="21834" y="0"/>
                  </a:cubicBezTo>
                  <a:cubicBezTo>
                    <a:pt x="21655" y="2819"/>
                    <a:pt x="21252" y="8545"/>
                    <a:pt x="21029" y="11364"/>
                  </a:cubicBezTo>
                  <a:cubicBezTo>
                    <a:pt x="20760" y="14004"/>
                    <a:pt x="20134" y="19239"/>
                    <a:pt x="19820" y="21879"/>
                  </a:cubicBezTo>
                  <a:cubicBezTo>
                    <a:pt x="15973" y="21879"/>
                    <a:pt x="8322" y="21879"/>
                    <a:pt x="4519" y="21879"/>
                  </a:cubicBezTo>
                  <a:cubicBezTo>
                    <a:pt x="3356" y="18433"/>
                    <a:pt x="1119" y="11498"/>
                    <a:pt x="0" y="8053"/>
                  </a:cubicBezTo>
                  <a:cubicBezTo>
                    <a:pt x="403" y="6353"/>
                    <a:pt x="1163" y="2908"/>
                    <a:pt x="1566" y="1208"/>
                  </a:cubicBezTo>
                  <a:close/>
                </a:path>
              </a:pathLst>
            </a:custGeom>
            <a:solidFill>
              <a:srgbClr val="D8D9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2" name="Freeform: Shape 4921">
              <a:extLst>
                <a:ext uri="{FF2B5EF4-FFF2-40B4-BE49-F238E27FC236}">
                  <a16:creationId xmlns:a16="http://schemas.microsoft.com/office/drawing/2014/main" id="{C33F7257-7F41-7886-67C7-8FF47419554B}"/>
                </a:ext>
              </a:extLst>
            </p:cNvPr>
            <p:cNvSpPr/>
            <p:nvPr/>
          </p:nvSpPr>
          <p:spPr>
            <a:xfrm flipH="1">
              <a:off x="2207133" y="5057373"/>
              <a:ext cx="1926334" cy="63951"/>
            </a:xfrm>
            <a:custGeom>
              <a:avLst/>
              <a:gdLst>
                <a:gd name="connsiteX0" fmla="*/ 485 w 1614980"/>
                <a:gd name="connsiteY0" fmla="*/ 283 h 53615"/>
                <a:gd name="connsiteX1" fmla="*/ 1542052 w 1614980"/>
                <a:gd name="connsiteY1" fmla="*/ 373 h 53615"/>
                <a:gd name="connsiteX2" fmla="*/ 1614981 w 1614980"/>
                <a:gd name="connsiteY2" fmla="*/ 2386 h 53615"/>
                <a:gd name="connsiteX3" fmla="*/ 1519279 w 1614980"/>
                <a:gd name="connsiteY3" fmla="*/ 16346 h 53615"/>
                <a:gd name="connsiteX4" fmla="*/ 1240047 w 1614980"/>
                <a:gd name="connsiteY4" fmla="*/ 53615 h 53615"/>
                <a:gd name="connsiteX5" fmla="*/ 1239197 w 1614980"/>
                <a:gd name="connsiteY5" fmla="*/ 40953 h 53615"/>
                <a:gd name="connsiteX6" fmla="*/ 1121348 w 1614980"/>
                <a:gd name="connsiteY6" fmla="*/ 39208 h 53615"/>
                <a:gd name="connsiteX7" fmla="*/ 553087 w 1614980"/>
                <a:gd name="connsiteY7" fmla="*/ 41490 h 53615"/>
                <a:gd name="connsiteX8" fmla="*/ 399445 w 1614980"/>
                <a:gd name="connsiteY8" fmla="*/ 45069 h 53615"/>
                <a:gd name="connsiteX9" fmla="*/ 261328 w 1614980"/>
                <a:gd name="connsiteY9" fmla="*/ 45786 h 53615"/>
                <a:gd name="connsiteX10" fmla="*/ 212426 w 1614980"/>
                <a:gd name="connsiteY10" fmla="*/ 41848 h 53615"/>
                <a:gd name="connsiteX11" fmla="*/ 21469 w 1614980"/>
                <a:gd name="connsiteY11" fmla="*/ 17151 h 53615"/>
                <a:gd name="connsiteX12" fmla="*/ 485 w 1614980"/>
                <a:gd name="connsiteY12" fmla="*/ 283 h 53615"/>
                <a:gd name="connsiteX13" fmla="*/ 288486 w 1614980"/>
                <a:gd name="connsiteY13" fmla="*/ 35495 h 53615"/>
                <a:gd name="connsiteX14" fmla="*/ 369871 w 1614980"/>
                <a:gd name="connsiteY14" fmla="*/ 38537 h 53615"/>
                <a:gd name="connsiteX15" fmla="*/ 499263 w 1614980"/>
                <a:gd name="connsiteY15" fmla="*/ 36166 h 53615"/>
                <a:gd name="connsiteX16" fmla="*/ 364860 w 1614980"/>
                <a:gd name="connsiteY16" fmla="*/ 32497 h 53615"/>
                <a:gd name="connsiteX17" fmla="*/ 288486 w 1614980"/>
                <a:gd name="connsiteY17" fmla="*/ 35495 h 5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4980" h="53615">
                  <a:moveTo>
                    <a:pt x="485" y="283"/>
                  </a:moveTo>
                  <a:cubicBezTo>
                    <a:pt x="514341" y="283"/>
                    <a:pt x="1028197" y="149"/>
                    <a:pt x="1542052" y="373"/>
                  </a:cubicBezTo>
                  <a:cubicBezTo>
                    <a:pt x="1566347" y="1044"/>
                    <a:pt x="1590865" y="-1909"/>
                    <a:pt x="1614981" y="2386"/>
                  </a:cubicBezTo>
                  <a:cubicBezTo>
                    <a:pt x="1583617" y="10037"/>
                    <a:pt x="1551135" y="11245"/>
                    <a:pt x="1519279" y="16346"/>
                  </a:cubicBezTo>
                  <a:cubicBezTo>
                    <a:pt x="1426038" y="27352"/>
                    <a:pt x="1333289" y="42385"/>
                    <a:pt x="1240047" y="53615"/>
                  </a:cubicBezTo>
                  <a:cubicBezTo>
                    <a:pt x="1239779" y="49365"/>
                    <a:pt x="1239466" y="45159"/>
                    <a:pt x="1239197" y="40953"/>
                  </a:cubicBezTo>
                  <a:cubicBezTo>
                    <a:pt x="1200004" y="37508"/>
                    <a:pt x="1160631" y="39388"/>
                    <a:pt x="1121348" y="39208"/>
                  </a:cubicBezTo>
                  <a:cubicBezTo>
                    <a:pt x="931913" y="39477"/>
                    <a:pt x="742388" y="34332"/>
                    <a:pt x="553087" y="41490"/>
                  </a:cubicBezTo>
                  <a:cubicBezTo>
                    <a:pt x="501813" y="40730"/>
                    <a:pt x="450719" y="48694"/>
                    <a:pt x="399445" y="45069"/>
                  </a:cubicBezTo>
                  <a:cubicBezTo>
                    <a:pt x="353406" y="43817"/>
                    <a:pt x="306964" y="37150"/>
                    <a:pt x="261328" y="45786"/>
                  </a:cubicBezTo>
                  <a:cubicBezTo>
                    <a:pt x="244908" y="46725"/>
                    <a:pt x="228622" y="43951"/>
                    <a:pt x="212426" y="41848"/>
                  </a:cubicBezTo>
                  <a:cubicBezTo>
                    <a:pt x="148893" y="32900"/>
                    <a:pt x="85226" y="24712"/>
                    <a:pt x="21469" y="17151"/>
                  </a:cubicBezTo>
                  <a:cubicBezTo>
                    <a:pt x="11134" y="15719"/>
                    <a:pt x="-2781" y="14690"/>
                    <a:pt x="485" y="283"/>
                  </a:cubicBezTo>
                  <a:close/>
                  <a:moveTo>
                    <a:pt x="288486" y="35495"/>
                  </a:moveTo>
                  <a:cubicBezTo>
                    <a:pt x="315510" y="38448"/>
                    <a:pt x="342757" y="37598"/>
                    <a:pt x="369871" y="38537"/>
                  </a:cubicBezTo>
                  <a:cubicBezTo>
                    <a:pt x="413002" y="37911"/>
                    <a:pt x="456311" y="41267"/>
                    <a:pt x="499263" y="36166"/>
                  </a:cubicBezTo>
                  <a:cubicBezTo>
                    <a:pt x="454477" y="33929"/>
                    <a:pt x="409691" y="33347"/>
                    <a:pt x="364860" y="32497"/>
                  </a:cubicBezTo>
                  <a:cubicBezTo>
                    <a:pt x="339402" y="32452"/>
                    <a:pt x="313720" y="31245"/>
                    <a:pt x="288486" y="35495"/>
                  </a:cubicBezTo>
                  <a:close/>
                </a:path>
              </a:pathLst>
            </a:custGeom>
            <a:solidFill>
              <a:srgbClr val="657E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3" name="Freeform: Shape 4922">
              <a:extLst>
                <a:ext uri="{FF2B5EF4-FFF2-40B4-BE49-F238E27FC236}">
                  <a16:creationId xmlns:a16="http://schemas.microsoft.com/office/drawing/2014/main" id="{CF73F2D8-A3A4-6ABD-5662-F38CFEE85FD0}"/>
                </a:ext>
              </a:extLst>
            </p:cNvPr>
            <p:cNvSpPr/>
            <p:nvPr/>
          </p:nvSpPr>
          <p:spPr>
            <a:xfrm flipH="1">
              <a:off x="2754893" y="3268916"/>
              <a:ext cx="34314" cy="140974"/>
            </a:xfrm>
            <a:custGeom>
              <a:avLst/>
              <a:gdLst>
                <a:gd name="connsiteX0" fmla="*/ 1208 w 28768"/>
                <a:gd name="connsiteY0" fmla="*/ 3651 h 118189"/>
                <a:gd name="connsiteX1" fmla="*/ 22460 w 28768"/>
                <a:gd name="connsiteY1" fmla="*/ 1280 h 118189"/>
                <a:gd name="connsiteX2" fmla="*/ 27963 w 28768"/>
                <a:gd name="connsiteY2" fmla="*/ 25217 h 118189"/>
                <a:gd name="connsiteX3" fmla="*/ 28769 w 28768"/>
                <a:gd name="connsiteY3" fmla="*/ 112105 h 118189"/>
                <a:gd name="connsiteX4" fmla="*/ 26084 w 28768"/>
                <a:gd name="connsiteY4" fmla="*/ 114342 h 118189"/>
                <a:gd name="connsiteX5" fmla="*/ 6622 w 28768"/>
                <a:gd name="connsiteY5" fmla="*/ 118189 h 118189"/>
                <a:gd name="connsiteX6" fmla="*/ 0 w 28768"/>
                <a:gd name="connsiteY6" fmla="*/ 117071 h 118189"/>
                <a:gd name="connsiteX7" fmla="*/ 1208 w 28768"/>
                <a:gd name="connsiteY7" fmla="*/ 3651 h 11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68" h="118189">
                  <a:moveTo>
                    <a:pt x="1208" y="3651"/>
                  </a:moveTo>
                  <a:cubicBezTo>
                    <a:pt x="8053" y="2533"/>
                    <a:pt x="15525" y="-2255"/>
                    <a:pt x="22460" y="1280"/>
                  </a:cubicBezTo>
                  <a:cubicBezTo>
                    <a:pt x="28813" y="7544"/>
                    <a:pt x="27292" y="17074"/>
                    <a:pt x="27963" y="25217"/>
                  </a:cubicBezTo>
                  <a:cubicBezTo>
                    <a:pt x="27829" y="54164"/>
                    <a:pt x="26979" y="83157"/>
                    <a:pt x="28769" y="112105"/>
                  </a:cubicBezTo>
                  <a:lnTo>
                    <a:pt x="26084" y="114342"/>
                  </a:lnTo>
                  <a:cubicBezTo>
                    <a:pt x="19597" y="115908"/>
                    <a:pt x="13154" y="117205"/>
                    <a:pt x="6622" y="118189"/>
                  </a:cubicBezTo>
                  <a:cubicBezTo>
                    <a:pt x="4966" y="117921"/>
                    <a:pt x="1655" y="117339"/>
                    <a:pt x="0" y="117071"/>
                  </a:cubicBezTo>
                  <a:cubicBezTo>
                    <a:pt x="984" y="79264"/>
                    <a:pt x="-1119" y="41413"/>
                    <a:pt x="1208" y="3651"/>
                  </a:cubicBezTo>
                  <a:close/>
                </a:path>
              </a:pathLst>
            </a:custGeom>
            <a:solidFill>
              <a:srgbClr val="FB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4" name="Freeform: Shape 4923">
              <a:extLst>
                <a:ext uri="{FF2B5EF4-FFF2-40B4-BE49-F238E27FC236}">
                  <a16:creationId xmlns:a16="http://schemas.microsoft.com/office/drawing/2014/main" id="{4E9DE205-2D21-C833-C68F-0BB9A1A49BC9}"/>
                </a:ext>
              </a:extLst>
            </p:cNvPr>
            <p:cNvSpPr/>
            <p:nvPr/>
          </p:nvSpPr>
          <p:spPr>
            <a:xfrm flipH="1">
              <a:off x="2354799" y="3267502"/>
              <a:ext cx="33195" cy="34641"/>
            </a:xfrm>
            <a:custGeom>
              <a:avLst/>
              <a:gdLst>
                <a:gd name="connsiteX0" fmla="*/ 2326 w 27829"/>
                <a:gd name="connsiteY0" fmla="*/ 1079 h 29042"/>
                <a:gd name="connsiteX1" fmla="*/ 27829 w 27829"/>
                <a:gd name="connsiteY1" fmla="*/ 5508 h 29042"/>
                <a:gd name="connsiteX2" fmla="*/ 3266 w 27829"/>
                <a:gd name="connsiteY2" fmla="*/ 29042 h 29042"/>
                <a:gd name="connsiteX3" fmla="*/ 0 w 27829"/>
                <a:gd name="connsiteY3" fmla="*/ 1392 h 29042"/>
                <a:gd name="connsiteX4" fmla="*/ 2326 w 27829"/>
                <a:gd name="connsiteY4" fmla="*/ 1079 h 29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29" h="29042">
                  <a:moveTo>
                    <a:pt x="2326" y="1079"/>
                  </a:moveTo>
                  <a:cubicBezTo>
                    <a:pt x="11230" y="-1024"/>
                    <a:pt x="20313" y="-308"/>
                    <a:pt x="27829" y="5508"/>
                  </a:cubicBezTo>
                  <a:cubicBezTo>
                    <a:pt x="20894" y="14591"/>
                    <a:pt x="12214" y="22063"/>
                    <a:pt x="3266" y="29042"/>
                  </a:cubicBezTo>
                  <a:cubicBezTo>
                    <a:pt x="1566" y="19915"/>
                    <a:pt x="671" y="10609"/>
                    <a:pt x="0" y="1392"/>
                  </a:cubicBezTo>
                  <a:lnTo>
                    <a:pt x="2326" y="1079"/>
                  </a:lnTo>
                  <a:close/>
                </a:path>
              </a:pathLst>
            </a:custGeom>
            <a:solidFill>
              <a:srgbClr val="F1D8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5" name="Freeform: Shape 4924">
              <a:extLst>
                <a:ext uri="{FF2B5EF4-FFF2-40B4-BE49-F238E27FC236}">
                  <a16:creationId xmlns:a16="http://schemas.microsoft.com/office/drawing/2014/main" id="{321EA3BA-B7DE-8379-4CE1-CBCDEFCA78CF}"/>
                </a:ext>
              </a:extLst>
            </p:cNvPr>
            <p:cNvSpPr/>
            <p:nvPr/>
          </p:nvSpPr>
          <p:spPr>
            <a:xfrm flipH="1">
              <a:off x="2264524" y="3267241"/>
              <a:ext cx="34213" cy="35703"/>
            </a:xfrm>
            <a:custGeom>
              <a:avLst/>
              <a:gdLst>
                <a:gd name="connsiteX0" fmla="*/ 6510 w 28683"/>
                <a:gd name="connsiteY0" fmla="*/ 2327 h 29932"/>
                <a:gd name="connsiteX1" fmla="*/ 26554 w 28683"/>
                <a:gd name="connsiteY1" fmla="*/ 0 h 29932"/>
                <a:gd name="connsiteX2" fmla="*/ 27360 w 28683"/>
                <a:gd name="connsiteY2" fmla="*/ 22684 h 29932"/>
                <a:gd name="connsiteX3" fmla="*/ 4900 w 28683"/>
                <a:gd name="connsiteY3" fmla="*/ 29932 h 29932"/>
                <a:gd name="connsiteX4" fmla="*/ 157 w 28683"/>
                <a:gd name="connsiteY4" fmla="*/ 23221 h 29932"/>
                <a:gd name="connsiteX5" fmla="*/ 6510 w 28683"/>
                <a:gd name="connsiteY5" fmla="*/ 2327 h 2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83" h="29932">
                  <a:moveTo>
                    <a:pt x="6510" y="2327"/>
                  </a:moveTo>
                  <a:cubicBezTo>
                    <a:pt x="12819" y="-134"/>
                    <a:pt x="19843" y="671"/>
                    <a:pt x="26554" y="0"/>
                  </a:cubicBezTo>
                  <a:cubicBezTo>
                    <a:pt x="27360" y="7427"/>
                    <a:pt x="30402" y="15391"/>
                    <a:pt x="27360" y="22684"/>
                  </a:cubicBezTo>
                  <a:cubicBezTo>
                    <a:pt x="23557" y="31766"/>
                    <a:pt x="12461" y="28187"/>
                    <a:pt x="4900" y="29932"/>
                  </a:cubicBezTo>
                  <a:cubicBezTo>
                    <a:pt x="3691" y="28232"/>
                    <a:pt x="1320" y="24921"/>
                    <a:pt x="157" y="23221"/>
                  </a:cubicBezTo>
                  <a:cubicBezTo>
                    <a:pt x="-649" y="15704"/>
                    <a:pt x="1678" y="8098"/>
                    <a:pt x="6510" y="2327"/>
                  </a:cubicBezTo>
                  <a:close/>
                </a:path>
              </a:pathLst>
            </a:custGeom>
            <a:solidFill>
              <a:srgbClr val="EEF1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7" name="Freeform: Shape 4926">
              <a:extLst>
                <a:ext uri="{FF2B5EF4-FFF2-40B4-BE49-F238E27FC236}">
                  <a16:creationId xmlns:a16="http://schemas.microsoft.com/office/drawing/2014/main" id="{E87B275E-7E50-1F2D-0A4B-F3512041476F}"/>
                </a:ext>
              </a:extLst>
            </p:cNvPr>
            <p:cNvSpPr/>
            <p:nvPr/>
          </p:nvSpPr>
          <p:spPr>
            <a:xfrm flipH="1">
              <a:off x="3965903" y="3271430"/>
              <a:ext cx="35435" cy="26177"/>
            </a:xfrm>
            <a:custGeom>
              <a:avLst/>
              <a:gdLst>
                <a:gd name="connsiteX0" fmla="*/ 492 w 29708"/>
                <a:gd name="connsiteY0" fmla="*/ 2349 h 21946"/>
                <a:gd name="connsiteX1" fmla="*/ 29708 w 29708"/>
                <a:gd name="connsiteY1" fmla="*/ 1275 h 21946"/>
                <a:gd name="connsiteX2" fmla="*/ 26040 w 29708"/>
                <a:gd name="connsiteY2" fmla="*/ 18098 h 21946"/>
                <a:gd name="connsiteX3" fmla="*/ 1611 w 29708"/>
                <a:gd name="connsiteY3" fmla="*/ 21946 h 21946"/>
                <a:gd name="connsiteX4" fmla="*/ 492 w 29708"/>
                <a:gd name="connsiteY4" fmla="*/ 2349 h 21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8" h="21946">
                  <a:moveTo>
                    <a:pt x="492" y="2349"/>
                  </a:moveTo>
                  <a:cubicBezTo>
                    <a:pt x="9172" y="-2438"/>
                    <a:pt x="20134" y="1633"/>
                    <a:pt x="29708" y="1275"/>
                  </a:cubicBezTo>
                  <a:cubicBezTo>
                    <a:pt x="28500" y="6868"/>
                    <a:pt x="27248" y="12461"/>
                    <a:pt x="26040" y="18098"/>
                  </a:cubicBezTo>
                  <a:cubicBezTo>
                    <a:pt x="17852" y="18859"/>
                    <a:pt x="9709" y="20290"/>
                    <a:pt x="1611" y="21946"/>
                  </a:cubicBezTo>
                  <a:cubicBezTo>
                    <a:pt x="1029" y="15414"/>
                    <a:pt x="-895" y="8792"/>
                    <a:pt x="492" y="2349"/>
                  </a:cubicBezTo>
                  <a:close/>
                </a:path>
              </a:pathLst>
            </a:custGeom>
            <a:solidFill>
              <a:srgbClr val="97B6D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8" name="Freeform: Shape 4927">
              <a:extLst>
                <a:ext uri="{FF2B5EF4-FFF2-40B4-BE49-F238E27FC236}">
                  <a16:creationId xmlns:a16="http://schemas.microsoft.com/office/drawing/2014/main" id="{FFD8FBF1-2B3B-CB1B-79B5-F0402EECC0C9}"/>
                </a:ext>
              </a:extLst>
            </p:cNvPr>
            <p:cNvSpPr/>
            <p:nvPr/>
          </p:nvSpPr>
          <p:spPr>
            <a:xfrm flipH="1">
              <a:off x="2354800" y="3274072"/>
              <a:ext cx="29298" cy="28872"/>
            </a:xfrm>
            <a:custGeom>
              <a:avLst/>
              <a:gdLst>
                <a:gd name="connsiteX0" fmla="*/ 24563 w 24563"/>
                <a:gd name="connsiteY0" fmla="*/ 0 h 24205"/>
                <a:gd name="connsiteX1" fmla="*/ 23355 w 24563"/>
                <a:gd name="connsiteY1" fmla="*/ 15928 h 24205"/>
                <a:gd name="connsiteX2" fmla="*/ 22416 w 24563"/>
                <a:gd name="connsiteY2" fmla="*/ 24205 h 24205"/>
                <a:gd name="connsiteX3" fmla="*/ 0 w 24563"/>
                <a:gd name="connsiteY3" fmla="*/ 23534 h 24205"/>
                <a:gd name="connsiteX4" fmla="*/ 24563 w 24563"/>
                <a:gd name="connsiteY4" fmla="*/ 0 h 24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3" h="24205">
                  <a:moveTo>
                    <a:pt x="24563" y="0"/>
                  </a:moveTo>
                  <a:cubicBezTo>
                    <a:pt x="24205" y="5279"/>
                    <a:pt x="23668" y="10559"/>
                    <a:pt x="23355" y="15928"/>
                  </a:cubicBezTo>
                  <a:cubicBezTo>
                    <a:pt x="23131" y="17986"/>
                    <a:pt x="22639" y="22147"/>
                    <a:pt x="22416" y="24205"/>
                  </a:cubicBezTo>
                  <a:cubicBezTo>
                    <a:pt x="14899" y="23847"/>
                    <a:pt x="7427" y="23668"/>
                    <a:pt x="0" y="23534"/>
                  </a:cubicBezTo>
                  <a:cubicBezTo>
                    <a:pt x="8948" y="16554"/>
                    <a:pt x="17628" y="9083"/>
                    <a:pt x="24563" y="0"/>
                  </a:cubicBezTo>
                  <a:close/>
                </a:path>
              </a:pathLst>
            </a:custGeom>
            <a:solidFill>
              <a:srgbClr val="D79E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9" name="Freeform: Shape 4928">
              <a:extLst>
                <a:ext uri="{FF2B5EF4-FFF2-40B4-BE49-F238E27FC236}">
                  <a16:creationId xmlns:a16="http://schemas.microsoft.com/office/drawing/2014/main" id="{2021B3CF-B08C-6413-500F-E52FF60116CC}"/>
                </a:ext>
              </a:extLst>
            </p:cNvPr>
            <p:cNvSpPr/>
            <p:nvPr/>
          </p:nvSpPr>
          <p:spPr>
            <a:xfrm flipH="1">
              <a:off x="2213803" y="3270495"/>
              <a:ext cx="17844" cy="23748"/>
            </a:xfrm>
            <a:custGeom>
              <a:avLst/>
              <a:gdLst>
                <a:gd name="connsiteX0" fmla="*/ 17 w 14960"/>
                <a:gd name="connsiteY0" fmla="*/ 0 h 19910"/>
                <a:gd name="connsiteX1" fmla="*/ 14961 w 14960"/>
                <a:gd name="connsiteY1" fmla="*/ 5861 h 19910"/>
                <a:gd name="connsiteX2" fmla="*/ 13216 w 14960"/>
                <a:gd name="connsiteY2" fmla="*/ 19910 h 19910"/>
                <a:gd name="connsiteX3" fmla="*/ 17 w 14960"/>
                <a:gd name="connsiteY3" fmla="*/ 0 h 19910"/>
              </a:gdLst>
              <a:ahLst/>
              <a:cxnLst>
                <a:cxn ang="0">
                  <a:pos x="connsiteX0" y="connsiteY0"/>
                </a:cxn>
                <a:cxn ang="0">
                  <a:pos x="connsiteX1" y="connsiteY1"/>
                </a:cxn>
                <a:cxn ang="0">
                  <a:pos x="connsiteX2" y="connsiteY2"/>
                </a:cxn>
                <a:cxn ang="0">
                  <a:pos x="connsiteX3" y="connsiteY3"/>
                </a:cxn>
              </a:cxnLst>
              <a:rect l="l" t="t" r="r" b="b"/>
              <a:pathLst>
                <a:path w="14960" h="19910">
                  <a:moveTo>
                    <a:pt x="17" y="0"/>
                  </a:moveTo>
                  <a:cubicBezTo>
                    <a:pt x="4983" y="1879"/>
                    <a:pt x="9950" y="3848"/>
                    <a:pt x="14961" y="5861"/>
                  </a:cubicBezTo>
                  <a:cubicBezTo>
                    <a:pt x="14513" y="9351"/>
                    <a:pt x="13663" y="16420"/>
                    <a:pt x="13216" y="19910"/>
                  </a:cubicBezTo>
                  <a:cubicBezTo>
                    <a:pt x="1628" y="19910"/>
                    <a:pt x="-207" y="9396"/>
                    <a:pt x="17" y="0"/>
                  </a:cubicBezTo>
                  <a:close/>
                </a:path>
              </a:pathLst>
            </a:custGeom>
            <a:solidFill>
              <a:srgbClr val="8DBB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3" name="Freeform: Shape 4932">
              <a:extLst>
                <a:ext uri="{FF2B5EF4-FFF2-40B4-BE49-F238E27FC236}">
                  <a16:creationId xmlns:a16="http://schemas.microsoft.com/office/drawing/2014/main" id="{A0EE26C9-29A3-39D0-F845-98A7615F5429}"/>
                </a:ext>
              </a:extLst>
            </p:cNvPr>
            <p:cNvSpPr/>
            <p:nvPr/>
          </p:nvSpPr>
          <p:spPr>
            <a:xfrm flipH="1">
              <a:off x="4030637" y="3276633"/>
              <a:ext cx="74340" cy="43980"/>
            </a:xfrm>
            <a:custGeom>
              <a:avLst/>
              <a:gdLst>
                <a:gd name="connsiteX0" fmla="*/ 0 w 62324"/>
                <a:gd name="connsiteY0" fmla="*/ 1387 h 36871"/>
                <a:gd name="connsiteX1" fmla="*/ 18881 w 62324"/>
                <a:gd name="connsiteY1" fmla="*/ 0 h 36871"/>
                <a:gd name="connsiteX2" fmla="*/ 59551 w 62324"/>
                <a:gd name="connsiteY2" fmla="*/ 134 h 36871"/>
                <a:gd name="connsiteX3" fmla="*/ 62146 w 62324"/>
                <a:gd name="connsiteY3" fmla="*/ 0 h 36871"/>
                <a:gd name="connsiteX4" fmla="*/ 62325 w 62324"/>
                <a:gd name="connsiteY4" fmla="*/ 23758 h 36871"/>
                <a:gd name="connsiteX5" fmla="*/ 62325 w 62324"/>
                <a:gd name="connsiteY5" fmla="*/ 36017 h 36871"/>
                <a:gd name="connsiteX6" fmla="*/ 2192 w 62324"/>
                <a:gd name="connsiteY6" fmla="*/ 36420 h 36871"/>
                <a:gd name="connsiteX7" fmla="*/ 0 w 62324"/>
                <a:gd name="connsiteY7" fmla="*/ 1387 h 36871"/>
                <a:gd name="connsiteX8" fmla="*/ 16196 w 62324"/>
                <a:gd name="connsiteY8" fmla="*/ 14899 h 36871"/>
                <a:gd name="connsiteX9" fmla="*/ 27203 w 62324"/>
                <a:gd name="connsiteY9" fmla="*/ 21923 h 36871"/>
                <a:gd name="connsiteX10" fmla="*/ 16196 w 62324"/>
                <a:gd name="connsiteY10" fmla="*/ 14899 h 3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324" h="36871">
                  <a:moveTo>
                    <a:pt x="0" y="1387"/>
                  </a:moveTo>
                  <a:cubicBezTo>
                    <a:pt x="6264" y="940"/>
                    <a:pt x="12572" y="447"/>
                    <a:pt x="18881" y="0"/>
                  </a:cubicBezTo>
                  <a:cubicBezTo>
                    <a:pt x="32348" y="2013"/>
                    <a:pt x="46039" y="1566"/>
                    <a:pt x="59551" y="134"/>
                  </a:cubicBezTo>
                  <a:lnTo>
                    <a:pt x="62146" y="0"/>
                  </a:lnTo>
                  <a:cubicBezTo>
                    <a:pt x="62235" y="7875"/>
                    <a:pt x="62325" y="15794"/>
                    <a:pt x="62325" y="23758"/>
                  </a:cubicBezTo>
                  <a:lnTo>
                    <a:pt x="62325" y="36017"/>
                  </a:lnTo>
                  <a:cubicBezTo>
                    <a:pt x="42281" y="37001"/>
                    <a:pt x="22192" y="37135"/>
                    <a:pt x="2192" y="36420"/>
                  </a:cubicBezTo>
                  <a:cubicBezTo>
                    <a:pt x="1476" y="24697"/>
                    <a:pt x="761" y="13020"/>
                    <a:pt x="0" y="1387"/>
                  </a:cubicBezTo>
                  <a:close/>
                  <a:moveTo>
                    <a:pt x="16196" y="14899"/>
                  </a:moveTo>
                  <a:cubicBezTo>
                    <a:pt x="10693" y="21565"/>
                    <a:pt x="22773" y="27829"/>
                    <a:pt x="27203" y="21923"/>
                  </a:cubicBezTo>
                  <a:cubicBezTo>
                    <a:pt x="32885" y="15167"/>
                    <a:pt x="20581" y="8725"/>
                    <a:pt x="16196" y="14899"/>
                  </a:cubicBezTo>
                  <a:close/>
                </a:path>
              </a:pathLst>
            </a:custGeom>
            <a:solidFill>
              <a:srgbClr val="FCFC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4" name="Freeform: Shape 4933">
              <a:extLst>
                <a:ext uri="{FF2B5EF4-FFF2-40B4-BE49-F238E27FC236}">
                  <a16:creationId xmlns:a16="http://schemas.microsoft.com/office/drawing/2014/main" id="{AC54106B-13C2-D559-AFB0-3B36F7908BC3}"/>
                </a:ext>
              </a:extLst>
            </p:cNvPr>
            <p:cNvSpPr/>
            <p:nvPr/>
          </p:nvSpPr>
          <p:spPr>
            <a:xfrm flipH="1">
              <a:off x="2292893" y="3273485"/>
              <a:ext cx="60785" cy="40435"/>
            </a:xfrm>
            <a:custGeom>
              <a:avLst/>
              <a:gdLst>
                <a:gd name="connsiteX0" fmla="*/ 1253 w 50960"/>
                <a:gd name="connsiteY0" fmla="*/ 28993 h 33900"/>
                <a:gd name="connsiteX1" fmla="*/ 13333 w 50960"/>
                <a:gd name="connsiteY1" fmla="*/ 0 h 33900"/>
                <a:gd name="connsiteX2" fmla="*/ 17852 w 50960"/>
                <a:gd name="connsiteY2" fmla="*/ 13825 h 33900"/>
                <a:gd name="connsiteX3" fmla="*/ 33153 w 50960"/>
                <a:gd name="connsiteY3" fmla="*/ 13825 h 33900"/>
                <a:gd name="connsiteX4" fmla="*/ 34361 w 50960"/>
                <a:gd name="connsiteY4" fmla="*/ 3311 h 33900"/>
                <a:gd name="connsiteX5" fmla="*/ 46218 w 50960"/>
                <a:gd name="connsiteY5" fmla="*/ 17941 h 33900"/>
                <a:gd name="connsiteX6" fmla="*/ 50961 w 50960"/>
                <a:gd name="connsiteY6" fmla="*/ 24653 h 33900"/>
                <a:gd name="connsiteX7" fmla="*/ 0 w 50960"/>
                <a:gd name="connsiteY7" fmla="*/ 33422 h 33900"/>
                <a:gd name="connsiteX8" fmla="*/ 1253 w 50960"/>
                <a:gd name="connsiteY8" fmla="*/ 28948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60" h="33900">
                  <a:moveTo>
                    <a:pt x="1253" y="28993"/>
                  </a:moveTo>
                  <a:cubicBezTo>
                    <a:pt x="3892" y="18791"/>
                    <a:pt x="8545" y="9351"/>
                    <a:pt x="13333" y="0"/>
                  </a:cubicBezTo>
                  <a:cubicBezTo>
                    <a:pt x="14451" y="3445"/>
                    <a:pt x="16688" y="10380"/>
                    <a:pt x="17852" y="13825"/>
                  </a:cubicBezTo>
                  <a:cubicBezTo>
                    <a:pt x="21655" y="13825"/>
                    <a:pt x="29306" y="13825"/>
                    <a:pt x="33153" y="13825"/>
                  </a:cubicBezTo>
                  <a:cubicBezTo>
                    <a:pt x="33467" y="11185"/>
                    <a:pt x="34093" y="5951"/>
                    <a:pt x="34361" y="3311"/>
                  </a:cubicBezTo>
                  <a:cubicBezTo>
                    <a:pt x="38433" y="8054"/>
                    <a:pt x="42504" y="12841"/>
                    <a:pt x="46218" y="17941"/>
                  </a:cubicBezTo>
                  <a:cubicBezTo>
                    <a:pt x="47381" y="19642"/>
                    <a:pt x="49752" y="22952"/>
                    <a:pt x="50961" y="24653"/>
                  </a:cubicBezTo>
                  <a:cubicBezTo>
                    <a:pt x="38254" y="39194"/>
                    <a:pt x="16867" y="31811"/>
                    <a:pt x="0" y="33422"/>
                  </a:cubicBezTo>
                  <a:lnTo>
                    <a:pt x="1253" y="28948"/>
                  </a:lnTo>
                  <a:close/>
                </a:path>
              </a:pathLst>
            </a:custGeom>
            <a:solidFill>
              <a:srgbClr val="447BC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6" name="Freeform: Shape 4935">
              <a:extLst>
                <a:ext uri="{FF2B5EF4-FFF2-40B4-BE49-F238E27FC236}">
                  <a16:creationId xmlns:a16="http://schemas.microsoft.com/office/drawing/2014/main" id="{DB2F1D50-9221-E10B-25DA-7C71D3C67C3A}"/>
                </a:ext>
              </a:extLst>
            </p:cNvPr>
            <p:cNvSpPr/>
            <p:nvPr/>
          </p:nvSpPr>
          <p:spPr>
            <a:xfrm flipH="1">
              <a:off x="4070775" y="3291436"/>
              <a:ext cx="16565" cy="14158"/>
            </a:xfrm>
            <a:custGeom>
              <a:avLst/>
              <a:gdLst>
                <a:gd name="connsiteX0" fmla="*/ 1410 w 13887"/>
                <a:gd name="connsiteY0" fmla="*/ 2489 h 11870"/>
                <a:gd name="connsiteX1" fmla="*/ 12416 w 13887"/>
                <a:gd name="connsiteY1" fmla="*/ 9514 h 11870"/>
                <a:gd name="connsiteX2" fmla="*/ 1410 w 13887"/>
                <a:gd name="connsiteY2" fmla="*/ 2489 h 11870"/>
              </a:gdLst>
              <a:ahLst/>
              <a:cxnLst>
                <a:cxn ang="0">
                  <a:pos x="connsiteX0" y="connsiteY0"/>
                </a:cxn>
                <a:cxn ang="0">
                  <a:pos x="connsiteX1" y="connsiteY1"/>
                </a:cxn>
                <a:cxn ang="0">
                  <a:pos x="connsiteX2" y="connsiteY2"/>
                </a:cxn>
              </a:cxnLst>
              <a:rect l="l" t="t" r="r" b="b"/>
              <a:pathLst>
                <a:path w="13887" h="11870">
                  <a:moveTo>
                    <a:pt x="1410" y="2489"/>
                  </a:moveTo>
                  <a:cubicBezTo>
                    <a:pt x="5794" y="-3685"/>
                    <a:pt x="18098" y="2758"/>
                    <a:pt x="12416" y="9514"/>
                  </a:cubicBezTo>
                  <a:cubicBezTo>
                    <a:pt x="7987" y="15420"/>
                    <a:pt x="-4093" y="9156"/>
                    <a:pt x="1410" y="2489"/>
                  </a:cubicBezTo>
                  <a:close/>
                </a:path>
              </a:pathLst>
            </a:custGeom>
            <a:solidFill>
              <a:srgbClr val="DEDC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9" name="Freeform: Shape 4938">
              <a:extLst>
                <a:ext uri="{FF2B5EF4-FFF2-40B4-BE49-F238E27FC236}">
                  <a16:creationId xmlns:a16="http://schemas.microsoft.com/office/drawing/2014/main" id="{072C8892-42F1-3BE5-641C-1D0C05B41AF8}"/>
                </a:ext>
              </a:extLst>
            </p:cNvPr>
            <p:cNvSpPr/>
            <p:nvPr/>
          </p:nvSpPr>
          <p:spPr>
            <a:xfrm flipH="1">
              <a:off x="3739721" y="3295152"/>
              <a:ext cx="31235" cy="41660"/>
            </a:xfrm>
            <a:custGeom>
              <a:avLst/>
              <a:gdLst>
                <a:gd name="connsiteX0" fmla="*/ 2554 w 26186"/>
                <a:gd name="connsiteY0" fmla="*/ 30245 h 34926"/>
                <a:gd name="connsiteX1" fmla="*/ 11637 w 26186"/>
                <a:gd name="connsiteY1" fmla="*/ 0 h 34926"/>
                <a:gd name="connsiteX2" fmla="*/ 25641 w 26186"/>
                <a:gd name="connsiteY2" fmla="*/ 21431 h 34926"/>
                <a:gd name="connsiteX3" fmla="*/ 2554 w 26186"/>
                <a:gd name="connsiteY3" fmla="*/ 30245 h 34926"/>
              </a:gdLst>
              <a:ahLst/>
              <a:cxnLst>
                <a:cxn ang="0">
                  <a:pos x="connsiteX0" y="connsiteY0"/>
                </a:cxn>
                <a:cxn ang="0">
                  <a:pos x="connsiteX1" y="connsiteY1"/>
                </a:cxn>
                <a:cxn ang="0">
                  <a:pos x="connsiteX2" y="connsiteY2"/>
                </a:cxn>
                <a:cxn ang="0">
                  <a:pos x="connsiteX3" y="connsiteY3"/>
                </a:cxn>
              </a:cxnLst>
              <a:rect l="l" t="t" r="r" b="b"/>
              <a:pathLst>
                <a:path w="26186" h="34926">
                  <a:moveTo>
                    <a:pt x="2554" y="30245"/>
                  </a:moveTo>
                  <a:cubicBezTo>
                    <a:pt x="-3352" y="19418"/>
                    <a:pt x="1525" y="6309"/>
                    <a:pt x="11637" y="0"/>
                  </a:cubicBezTo>
                  <a:cubicBezTo>
                    <a:pt x="17677" y="6085"/>
                    <a:pt x="28773" y="10827"/>
                    <a:pt x="25641" y="21431"/>
                  </a:cubicBezTo>
                  <a:cubicBezTo>
                    <a:pt x="24298" y="31095"/>
                    <a:pt x="8639" y="41028"/>
                    <a:pt x="2554" y="30245"/>
                  </a:cubicBezTo>
                  <a:close/>
                </a:path>
              </a:pathLst>
            </a:custGeom>
            <a:solidFill>
              <a:srgbClr val="A1B8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9" name="Freeform: Shape 4948">
              <a:extLst>
                <a:ext uri="{FF2B5EF4-FFF2-40B4-BE49-F238E27FC236}">
                  <a16:creationId xmlns:a16="http://schemas.microsoft.com/office/drawing/2014/main" id="{36EB7A49-F42E-4B58-164F-F6D625066BD0}"/>
                </a:ext>
              </a:extLst>
            </p:cNvPr>
            <p:cNvSpPr/>
            <p:nvPr/>
          </p:nvSpPr>
          <p:spPr>
            <a:xfrm flipH="1">
              <a:off x="3126596" y="3347664"/>
              <a:ext cx="40399" cy="17451"/>
            </a:xfrm>
            <a:custGeom>
              <a:avLst/>
              <a:gdLst>
                <a:gd name="connsiteX0" fmla="*/ 0 w 33869"/>
                <a:gd name="connsiteY0" fmla="*/ 0 h 14630"/>
                <a:gd name="connsiteX1" fmla="*/ 30827 w 33869"/>
                <a:gd name="connsiteY1" fmla="*/ 2953 h 14630"/>
                <a:gd name="connsiteX2" fmla="*/ 33869 w 33869"/>
                <a:gd name="connsiteY2" fmla="*/ 14631 h 14630"/>
                <a:gd name="connsiteX3" fmla="*/ 313 w 33869"/>
                <a:gd name="connsiteY3" fmla="*/ 14452 h 14630"/>
                <a:gd name="connsiteX4" fmla="*/ 0 w 33869"/>
                <a:gd name="connsiteY4" fmla="*/ 0 h 14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69" h="14630">
                  <a:moveTo>
                    <a:pt x="0" y="0"/>
                  </a:moveTo>
                  <a:cubicBezTo>
                    <a:pt x="10246" y="1029"/>
                    <a:pt x="20536" y="2013"/>
                    <a:pt x="30827" y="2953"/>
                  </a:cubicBezTo>
                  <a:cubicBezTo>
                    <a:pt x="31587" y="5861"/>
                    <a:pt x="33109" y="11722"/>
                    <a:pt x="33869" y="14631"/>
                  </a:cubicBezTo>
                  <a:cubicBezTo>
                    <a:pt x="22684" y="14228"/>
                    <a:pt x="11454" y="14407"/>
                    <a:pt x="313" y="14452"/>
                  </a:cubicBezTo>
                  <a:cubicBezTo>
                    <a:pt x="224" y="10827"/>
                    <a:pt x="45" y="3624"/>
                    <a:pt x="0" y="0"/>
                  </a:cubicBezTo>
                  <a:close/>
                </a:path>
              </a:pathLst>
            </a:custGeom>
            <a:solidFill>
              <a:srgbClr val="9FB2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1" name="Freeform: Shape 4950">
              <a:extLst>
                <a:ext uri="{FF2B5EF4-FFF2-40B4-BE49-F238E27FC236}">
                  <a16:creationId xmlns:a16="http://schemas.microsoft.com/office/drawing/2014/main" id="{10F88240-9D4B-3DAE-84AA-0932EF296A30}"/>
                </a:ext>
              </a:extLst>
            </p:cNvPr>
            <p:cNvSpPr/>
            <p:nvPr/>
          </p:nvSpPr>
          <p:spPr>
            <a:xfrm flipH="1">
              <a:off x="2891566" y="3372213"/>
              <a:ext cx="75141" cy="35116"/>
            </a:xfrm>
            <a:custGeom>
              <a:avLst/>
              <a:gdLst>
                <a:gd name="connsiteX0" fmla="*/ 4653 w 62996"/>
                <a:gd name="connsiteY0" fmla="*/ 1477 h 29440"/>
                <a:gd name="connsiteX1" fmla="*/ 62996 w 62996"/>
                <a:gd name="connsiteY1" fmla="*/ 1119 h 29440"/>
                <a:gd name="connsiteX2" fmla="*/ 62772 w 62996"/>
                <a:gd name="connsiteY2" fmla="*/ 7025 h 29440"/>
                <a:gd name="connsiteX3" fmla="*/ 10738 w 62996"/>
                <a:gd name="connsiteY3" fmla="*/ 8814 h 29440"/>
                <a:gd name="connsiteX4" fmla="*/ 3579 w 62996"/>
                <a:gd name="connsiteY4" fmla="*/ 16420 h 29440"/>
                <a:gd name="connsiteX5" fmla="*/ 62146 w 62996"/>
                <a:gd name="connsiteY5" fmla="*/ 17136 h 29440"/>
                <a:gd name="connsiteX6" fmla="*/ 61251 w 62996"/>
                <a:gd name="connsiteY6" fmla="*/ 27740 h 29440"/>
                <a:gd name="connsiteX7" fmla="*/ 18881 w 62996"/>
                <a:gd name="connsiteY7" fmla="*/ 29440 h 29440"/>
                <a:gd name="connsiteX8" fmla="*/ 0 w 62996"/>
                <a:gd name="connsiteY8" fmla="*/ 26263 h 29440"/>
                <a:gd name="connsiteX9" fmla="*/ 4653 w 62996"/>
                <a:gd name="connsiteY9" fmla="*/ 1477 h 2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6" h="29440">
                  <a:moveTo>
                    <a:pt x="4653" y="1477"/>
                  </a:moveTo>
                  <a:cubicBezTo>
                    <a:pt x="24071" y="45"/>
                    <a:pt x="43578" y="-805"/>
                    <a:pt x="62996" y="1119"/>
                  </a:cubicBezTo>
                  <a:lnTo>
                    <a:pt x="62772" y="7025"/>
                  </a:lnTo>
                  <a:cubicBezTo>
                    <a:pt x="45457" y="7382"/>
                    <a:pt x="27785" y="5280"/>
                    <a:pt x="10738" y="8814"/>
                  </a:cubicBezTo>
                  <a:cubicBezTo>
                    <a:pt x="8948" y="10693"/>
                    <a:pt x="5369" y="14496"/>
                    <a:pt x="3579" y="16420"/>
                  </a:cubicBezTo>
                  <a:cubicBezTo>
                    <a:pt x="23042" y="17494"/>
                    <a:pt x="42594" y="17091"/>
                    <a:pt x="62146" y="17136"/>
                  </a:cubicBezTo>
                  <a:cubicBezTo>
                    <a:pt x="61833" y="20626"/>
                    <a:pt x="61520" y="24160"/>
                    <a:pt x="61251" y="27740"/>
                  </a:cubicBezTo>
                  <a:cubicBezTo>
                    <a:pt x="47113" y="28590"/>
                    <a:pt x="33019" y="29306"/>
                    <a:pt x="18881" y="29440"/>
                  </a:cubicBezTo>
                  <a:cubicBezTo>
                    <a:pt x="12528" y="28456"/>
                    <a:pt x="6264" y="27382"/>
                    <a:pt x="0" y="26263"/>
                  </a:cubicBezTo>
                  <a:cubicBezTo>
                    <a:pt x="1521" y="17986"/>
                    <a:pt x="3087" y="9709"/>
                    <a:pt x="4653" y="1477"/>
                  </a:cubicBezTo>
                  <a:close/>
                </a:path>
              </a:pathLst>
            </a:custGeom>
            <a:solidFill>
              <a:srgbClr val="EDDD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2" name="Freeform: Shape 4951">
              <a:extLst>
                <a:ext uri="{FF2B5EF4-FFF2-40B4-BE49-F238E27FC236}">
                  <a16:creationId xmlns:a16="http://schemas.microsoft.com/office/drawing/2014/main" id="{434791D2-7F88-7A8E-5D4F-D3A4C25E1E00}"/>
                </a:ext>
              </a:extLst>
            </p:cNvPr>
            <p:cNvSpPr/>
            <p:nvPr/>
          </p:nvSpPr>
          <p:spPr>
            <a:xfrm flipH="1">
              <a:off x="2891834" y="3380236"/>
              <a:ext cx="70604" cy="12462"/>
            </a:xfrm>
            <a:custGeom>
              <a:avLst/>
              <a:gdLst>
                <a:gd name="connsiteX0" fmla="*/ 7159 w 59192"/>
                <a:gd name="connsiteY0" fmla="*/ 2089 h 10448"/>
                <a:gd name="connsiteX1" fmla="*/ 59193 w 59192"/>
                <a:gd name="connsiteY1" fmla="*/ 299 h 10448"/>
                <a:gd name="connsiteX2" fmla="*/ 58567 w 59192"/>
                <a:gd name="connsiteY2" fmla="*/ 10411 h 10448"/>
                <a:gd name="connsiteX3" fmla="*/ 0 w 59192"/>
                <a:gd name="connsiteY3" fmla="*/ 9695 h 10448"/>
                <a:gd name="connsiteX4" fmla="*/ 7159 w 59192"/>
                <a:gd name="connsiteY4" fmla="*/ 2089 h 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92" h="10448">
                  <a:moveTo>
                    <a:pt x="7159" y="2089"/>
                  </a:moveTo>
                  <a:cubicBezTo>
                    <a:pt x="24205" y="-1446"/>
                    <a:pt x="41878" y="657"/>
                    <a:pt x="59193" y="299"/>
                  </a:cubicBezTo>
                  <a:cubicBezTo>
                    <a:pt x="59014" y="2805"/>
                    <a:pt x="58701" y="7861"/>
                    <a:pt x="58567" y="10411"/>
                  </a:cubicBezTo>
                  <a:cubicBezTo>
                    <a:pt x="39015" y="10366"/>
                    <a:pt x="19463" y="10769"/>
                    <a:pt x="0" y="9695"/>
                  </a:cubicBezTo>
                  <a:cubicBezTo>
                    <a:pt x="1790" y="7771"/>
                    <a:pt x="5369" y="3968"/>
                    <a:pt x="7159" y="2089"/>
                  </a:cubicBezTo>
                  <a:close/>
                </a:path>
              </a:pathLst>
            </a:custGeom>
            <a:solidFill>
              <a:srgbClr val="D58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9" name="Rectangle 4958">
              <a:extLst>
                <a:ext uri="{FF2B5EF4-FFF2-40B4-BE49-F238E27FC236}">
                  <a16:creationId xmlns:a16="http://schemas.microsoft.com/office/drawing/2014/main" id="{F418BB23-C14E-3DB5-6251-06932700BB58}"/>
                </a:ext>
              </a:extLst>
            </p:cNvPr>
            <p:cNvSpPr/>
            <p:nvPr/>
          </p:nvSpPr>
          <p:spPr>
            <a:xfrm flipH="1">
              <a:off x="3183470" y="3406583"/>
              <a:ext cx="292217" cy="176834"/>
            </a:xfrm>
            <a:prstGeom prst="rect">
              <a:avLst/>
            </a:prstGeom>
            <a:solidFill>
              <a:srgbClr val="99A7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0" name="Rectangle 4959">
              <a:extLst>
                <a:ext uri="{FF2B5EF4-FFF2-40B4-BE49-F238E27FC236}">
                  <a16:creationId xmlns:a16="http://schemas.microsoft.com/office/drawing/2014/main" id="{C8CF76E1-BE5A-A739-FCF1-58FD8B697728}"/>
                </a:ext>
              </a:extLst>
            </p:cNvPr>
            <p:cNvSpPr/>
            <p:nvPr/>
          </p:nvSpPr>
          <p:spPr>
            <a:xfrm flipH="1">
              <a:off x="2890635" y="3405301"/>
              <a:ext cx="275132" cy="179420"/>
            </a:xfrm>
            <a:prstGeom prst="rect">
              <a:avLst/>
            </a:prstGeom>
            <a:solidFill>
              <a:srgbClr val="A0AEC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1" name="Freeform: Shape 4960">
              <a:extLst>
                <a:ext uri="{FF2B5EF4-FFF2-40B4-BE49-F238E27FC236}">
                  <a16:creationId xmlns:a16="http://schemas.microsoft.com/office/drawing/2014/main" id="{0F763C89-A914-8817-F47B-850C302957EA}"/>
                </a:ext>
              </a:extLst>
            </p:cNvPr>
            <p:cNvSpPr/>
            <p:nvPr/>
          </p:nvSpPr>
          <p:spPr>
            <a:xfrm flipH="1">
              <a:off x="2684449" y="3405301"/>
              <a:ext cx="96861" cy="224248"/>
            </a:xfrm>
            <a:custGeom>
              <a:avLst/>
              <a:gdLst>
                <a:gd name="connsiteX0" fmla="*/ 0 w 81205"/>
                <a:gd name="connsiteY0" fmla="*/ 3848 h 188003"/>
                <a:gd name="connsiteX1" fmla="*/ 19462 w 81205"/>
                <a:gd name="connsiteY1" fmla="*/ 0 h 188003"/>
                <a:gd name="connsiteX2" fmla="*/ 10962 w 81205"/>
                <a:gd name="connsiteY2" fmla="*/ 7696 h 188003"/>
                <a:gd name="connsiteX3" fmla="*/ 43936 w 81205"/>
                <a:gd name="connsiteY3" fmla="*/ 100623 h 188003"/>
                <a:gd name="connsiteX4" fmla="*/ 81206 w 81205"/>
                <a:gd name="connsiteY4" fmla="*/ 188004 h 188003"/>
                <a:gd name="connsiteX5" fmla="*/ 13870 w 81205"/>
                <a:gd name="connsiteY5" fmla="*/ 55524 h 188003"/>
                <a:gd name="connsiteX6" fmla="*/ 0 w 81205"/>
                <a:gd name="connsiteY6" fmla="*/ 3848 h 18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05" h="188003">
                  <a:moveTo>
                    <a:pt x="0" y="3848"/>
                  </a:moveTo>
                  <a:cubicBezTo>
                    <a:pt x="6532" y="2863"/>
                    <a:pt x="12975" y="1566"/>
                    <a:pt x="19462" y="0"/>
                  </a:cubicBezTo>
                  <a:cubicBezTo>
                    <a:pt x="17360" y="1924"/>
                    <a:pt x="13109" y="5772"/>
                    <a:pt x="10962" y="7696"/>
                  </a:cubicBezTo>
                  <a:cubicBezTo>
                    <a:pt x="18836" y="39686"/>
                    <a:pt x="30558" y="70557"/>
                    <a:pt x="43936" y="100623"/>
                  </a:cubicBezTo>
                  <a:cubicBezTo>
                    <a:pt x="56464" y="129705"/>
                    <a:pt x="73287" y="157087"/>
                    <a:pt x="81206" y="188004"/>
                  </a:cubicBezTo>
                  <a:cubicBezTo>
                    <a:pt x="61475" y="142457"/>
                    <a:pt x="31006" y="102279"/>
                    <a:pt x="13870" y="55524"/>
                  </a:cubicBezTo>
                  <a:cubicBezTo>
                    <a:pt x="7472" y="38791"/>
                    <a:pt x="4429" y="21118"/>
                    <a:pt x="0" y="3848"/>
                  </a:cubicBezTo>
                  <a:close/>
                </a:path>
              </a:pathLst>
            </a:custGeom>
            <a:solidFill>
              <a:srgbClr val="BEDF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2" name="Freeform: Shape 4961">
              <a:extLst>
                <a:ext uri="{FF2B5EF4-FFF2-40B4-BE49-F238E27FC236}">
                  <a16:creationId xmlns:a16="http://schemas.microsoft.com/office/drawing/2014/main" id="{16D65313-73F0-F805-EA3D-AE84C8AFAB54}"/>
                </a:ext>
              </a:extLst>
            </p:cNvPr>
            <p:cNvSpPr/>
            <p:nvPr/>
          </p:nvSpPr>
          <p:spPr>
            <a:xfrm flipH="1">
              <a:off x="2589508" y="3407757"/>
              <a:ext cx="36609" cy="36609"/>
            </a:xfrm>
            <a:custGeom>
              <a:avLst/>
              <a:gdLst>
                <a:gd name="connsiteX0" fmla="*/ 2595 w 30692"/>
                <a:gd name="connsiteY0" fmla="*/ 1119 h 30692"/>
                <a:gd name="connsiteX1" fmla="*/ 30693 w 30692"/>
                <a:gd name="connsiteY1" fmla="*/ 0 h 30692"/>
                <a:gd name="connsiteX2" fmla="*/ 18926 w 30692"/>
                <a:gd name="connsiteY2" fmla="*/ 30021 h 30692"/>
                <a:gd name="connsiteX3" fmla="*/ 9888 w 30692"/>
                <a:gd name="connsiteY3" fmla="*/ 7964 h 30692"/>
                <a:gd name="connsiteX4" fmla="*/ 0 w 30692"/>
                <a:gd name="connsiteY4" fmla="*/ 30693 h 30692"/>
                <a:gd name="connsiteX5" fmla="*/ 2595 w 30692"/>
                <a:gd name="connsiteY5" fmla="*/ 1119 h 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92" h="30692">
                  <a:moveTo>
                    <a:pt x="2595" y="1119"/>
                  </a:moveTo>
                  <a:cubicBezTo>
                    <a:pt x="11901" y="805"/>
                    <a:pt x="21297" y="447"/>
                    <a:pt x="30693" y="0"/>
                  </a:cubicBezTo>
                  <a:cubicBezTo>
                    <a:pt x="25234" y="9351"/>
                    <a:pt x="21073" y="19373"/>
                    <a:pt x="18926" y="30021"/>
                  </a:cubicBezTo>
                  <a:cubicBezTo>
                    <a:pt x="20268" y="20626"/>
                    <a:pt x="22952" y="8904"/>
                    <a:pt x="9888" y="7964"/>
                  </a:cubicBezTo>
                  <a:cubicBezTo>
                    <a:pt x="7159" y="15749"/>
                    <a:pt x="4116" y="23534"/>
                    <a:pt x="0" y="30693"/>
                  </a:cubicBezTo>
                  <a:cubicBezTo>
                    <a:pt x="1029" y="20850"/>
                    <a:pt x="1834" y="10962"/>
                    <a:pt x="2595" y="1119"/>
                  </a:cubicBezTo>
                  <a:close/>
                </a:path>
              </a:pathLst>
            </a:custGeom>
            <a:solidFill>
              <a:srgbClr val="2638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3" name="Rectangle 4962">
              <a:extLst>
                <a:ext uri="{FF2B5EF4-FFF2-40B4-BE49-F238E27FC236}">
                  <a16:creationId xmlns:a16="http://schemas.microsoft.com/office/drawing/2014/main" id="{B4FB6231-3C97-3B20-82B4-9DB8F60B1D7D}"/>
                </a:ext>
              </a:extLst>
            </p:cNvPr>
            <p:cNvSpPr/>
            <p:nvPr/>
          </p:nvSpPr>
          <p:spPr>
            <a:xfrm flipH="1">
              <a:off x="3263429" y="3408771"/>
              <a:ext cx="255364" cy="130589"/>
            </a:xfrm>
            <a:prstGeom prst="rect">
              <a:avLst/>
            </a:prstGeom>
            <a:solidFill>
              <a:srgbClr val="99A7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5" name="Freeform: Shape 4964">
              <a:extLst>
                <a:ext uri="{FF2B5EF4-FFF2-40B4-BE49-F238E27FC236}">
                  <a16:creationId xmlns:a16="http://schemas.microsoft.com/office/drawing/2014/main" id="{D498A3FF-940B-9AE8-9F46-DCF3283E4B2D}"/>
                </a:ext>
              </a:extLst>
            </p:cNvPr>
            <p:cNvSpPr/>
            <p:nvPr/>
          </p:nvSpPr>
          <p:spPr>
            <a:xfrm flipH="1">
              <a:off x="4019483" y="3434813"/>
              <a:ext cx="60839" cy="16649"/>
            </a:xfrm>
            <a:custGeom>
              <a:avLst/>
              <a:gdLst>
                <a:gd name="connsiteX0" fmla="*/ 0 w 51005"/>
                <a:gd name="connsiteY0" fmla="*/ 0 h 13959"/>
                <a:gd name="connsiteX1" fmla="*/ 51005 w 51005"/>
                <a:gd name="connsiteY1" fmla="*/ 0 h 13959"/>
                <a:gd name="connsiteX2" fmla="*/ 50916 w 51005"/>
                <a:gd name="connsiteY2" fmla="*/ 13601 h 13959"/>
                <a:gd name="connsiteX3" fmla="*/ 313 w 51005"/>
                <a:gd name="connsiteY3" fmla="*/ 13959 h 13959"/>
                <a:gd name="connsiteX4" fmla="*/ 0 w 51005"/>
                <a:gd name="connsiteY4" fmla="*/ 45 h 1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05" h="13959">
                  <a:moveTo>
                    <a:pt x="0" y="0"/>
                  </a:moveTo>
                  <a:cubicBezTo>
                    <a:pt x="17002" y="45"/>
                    <a:pt x="34004" y="45"/>
                    <a:pt x="51005" y="0"/>
                  </a:cubicBezTo>
                  <a:cubicBezTo>
                    <a:pt x="50871" y="4474"/>
                    <a:pt x="50826" y="9038"/>
                    <a:pt x="50916" y="13601"/>
                  </a:cubicBezTo>
                  <a:cubicBezTo>
                    <a:pt x="34048" y="13467"/>
                    <a:pt x="17181" y="13601"/>
                    <a:pt x="313" y="13959"/>
                  </a:cubicBezTo>
                  <a:cubicBezTo>
                    <a:pt x="179" y="9306"/>
                    <a:pt x="89" y="4653"/>
                    <a:pt x="0" y="45"/>
                  </a:cubicBezTo>
                  <a:close/>
                </a:path>
              </a:pathLst>
            </a:custGeom>
            <a:solidFill>
              <a:srgbClr val="7D91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6" name="Freeform: Shape 4965">
              <a:extLst>
                <a:ext uri="{FF2B5EF4-FFF2-40B4-BE49-F238E27FC236}">
                  <a16:creationId xmlns:a16="http://schemas.microsoft.com/office/drawing/2014/main" id="{7FBE364C-26DD-4E07-6515-A4DDF2AA19E3}"/>
                </a:ext>
              </a:extLst>
            </p:cNvPr>
            <p:cNvSpPr/>
            <p:nvPr/>
          </p:nvSpPr>
          <p:spPr>
            <a:xfrm flipH="1">
              <a:off x="3749650" y="3428465"/>
              <a:ext cx="77427" cy="39649"/>
            </a:xfrm>
            <a:custGeom>
              <a:avLst/>
              <a:gdLst>
                <a:gd name="connsiteX0" fmla="*/ 524 w 64913"/>
                <a:gd name="connsiteY0" fmla="*/ 33241 h 33241"/>
                <a:gd name="connsiteX1" fmla="*/ 49069 w 64913"/>
                <a:gd name="connsiteY1" fmla="*/ 4383 h 33241"/>
                <a:gd name="connsiteX2" fmla="*/ 64907 w 64913"/>
                <a:gd name="connsiteY2" fmla="*/ 32212 h 33241"/>
                <a:gd name="connsiteX3" fmla="*/ 45221 w 64913"/>
                <a:gd name="connsiteY3" fmla="*/ 15076 h 33241"/>
                <a:gd name="connsiteX4" fmla="*/ 18868 w 64913"/>
                <a:gd name="connsiteY4" fmla="*/ 16060 h 33241"/>
                <a:gd name="connsiteX5" fmla="*/ 524 w 64913"/>
                <a:gd name="connsiteY5" fmla="*/ 33241 h 3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913" h="33241">
                  <a:moveTo>
                    <a:pt x="524" y="33241"/>
                  </a:moveTo>
                  <a:cubicBezTo>
                    <a:pt x="-4576" y="6665"/>
                    <a:pt x="28711" y="-7832"/>
                    <a:pt x="49069" y="4383"/>
                  </a:cubicBezTo>
                  <a:cubicBezTo>
                    <a:pt x="58912" y="10110"/>
                    <a:pt x="65131" y="20758"/>
                    <a:pt x="64907" y="32212"/>
                  </a:cubicBezTo>
                  <a:cubicBezTo>
                    <a:pt x="57570" y="27425"/>
                    <a:pt x="51037" y="21608"/>
                    <a:pt x="45221" y="15076"/>
                  </a:cubicBezTo>
                  <a:cubicBezTo>
                    <a:pt x="36452" y="14808"/>
                    <a:pt x="27414" y="13465"/>
                    <a:pt x="18868" y="16060"/>
                  </a:cubicBezTo>
                  <a:cubicBezTo>
                    <a:pt x="12068" y="21027"/>
                    <a:pt x="6520" y="27380"/>
                    <a:pt x="524" y="33241"/>
                  </a:cubicBezTo>
                  <a:close/>
                </a:path>
              </a:pathLst>
            </a:custGeom>
            <a:solidFill>
              <a:srgbClr val="E9A3A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69" name="Freeform: Shape 4968">
              <a:extLst>
                <a:ext uri="{FF2B5EF4-FFF2-40B4-BE49-F238E27FC236}">
                  <a16:creationId xmlns:a16="http://schemas.microsoft.com/office/drawing/2014/main" id="{864BE4FB-93E7-16E0-D5F1-540240306198}"/>
                </a:ext>
              </a:extLst>
            </p:cNvPr>
            <p:cNvSpPr/>
            <p:nvPr/>
          </p:nvSpPr>
          <p:spPr>
            <a:xfrm flipH="1">
              <a:off x="2591185" y="3333113"/>
              <a:ext cx="108732" cy="869817"/>
            </a:xfrm>
            <a:custGeom>
              <a:avLst/>
              <a:gdLst>
                <a:gd name="connsiteX0" fmla="*/ 52447 w 69110"/>
                <a:gd name="connsiteY0" fmla="*/ 2685 h 633360"/>
                <a:gd name="connsiteX1" fmla="*/ 58711 w 69110"/>
                <a:gd name="connsiteY1" fmla="*/ 0 h 633360"/>
                <a:gd name="connsiteX2" fmla="*/ 62469 w 69110"/>
                <a:gd name="connsiteY2" fmla="*/ 54316 h 633360"/>
                <a:gd name="connsiteX3" fmla="*/ 55982 w 69110"/>
                <a:gd name="connsiteY3" fmla="*/ 106708 h 633360"/>
                <a:gd name="connsiteX4" fmla="*/ 18354 w 69110"/>
                <a:gd name="connsiteY4" fmla="*/ 265048 h 633360"/>
                <a:gd name="connsiteX5" fmla="*/ 52224 w 69110"/>
                <a:gd name="connsiteY5" fmla="*/ 474081 h 633360"/>
                <a:gd name="connsiteX6" fmla="*/ 54774 w 69110"/>
                <a:gd name="connsiteY6" fmla="*/ 633360 h 633360"/>
                <a:gd name="connsiteX7" fmla="*/ 44438 w 69110"/>
                <a:gd name="connsiteY7" fmla="*/ 625172 h 633360"/>
                <a:gd name="connsiteX8" fmla="*/ 51910 w 69110"/>
                <a:gd name="connsiteY8" fmla="*/ 592556 h 633360"/>
                <a:gd name="connsiteX9" fmla="*/ 36430 w 69110"/>
                <a:gd name="connsiteY9" fmla="*/ 475557 h 633360"/>
                <a:gd name="connsiteX10" fmla="*/ 55 w 69110"/>
                <a:gd name="connsiteY10" fmla="*/ 309611 h 633360"/>
                <a:gd name="connsiteX11" fmla="*/ 29763 w 69110"/>
                <a:gd name="connsiteY11" fmla="*/ 144202 h 633360"/>
                <a:gd name="connsiteX12" fmla="*/ 52447 w 69110"/>
                <a:gd name="connsiteY12" fmla="*/ 2685 h 63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10" h="633360">
                  <a:moveTo>
                    <a:pt x="52447" y="2685"/>
                  </a:moveTo>
                  <a:lnTo>
                    <a:pt x="58711" y="0"/>
                  </a:lnTo>
                  <a:cubicBezTo>
                    <a:pt x="58487" y="18210"/>
                    <a:pt x="63901" y="36062"/>
                    <a:pt x="62469" y="54316"/>
                  </a:cubicBezTo>
                  <a:cubicBezTo>
                    <a:pt x="61172" y="71855"/>
                    <a:pt x="58442" y="89259"/>
                    <a:pt x="55982" y="106708"/>
                  </a:cubicBezTo>
                  <a:cubicBezTo>
                    <a:pt x="43365" y="159414"/>
                    <a:pt x="28153" y="211672"/>
                    <a:pt x="18354" y="265048"/>
                  </a:cubicBezTo>
                  <a:cubicBezTo>
                    <a:pt x="5603" y="336679"/>
                    <a:pt x="28690" y="407371"/>
                    <a:pt x="52224" y="474081"/>
                  </a:cubicBezTo>
                  <a:cubicBezTo>
                    <a:pt x="70926" y="524772"/>
                    <a:pt x="77234" y="582847"/>
                    <a:pt x="54774" y="633360"/>
                  </a:cubicBezTo>
                  <a:cubicBezTo>
                    <a:pt x="52179" y="631302"/>
                    <a:pt x="47033" y="627231"/>
                    <a:pt x="44438" y="625172"/>
                  </a:cubicBezTo>
                  <a:cubicBezTo>
                    <a:pt x="47212" y="614345"/>
                    <a:pt x="49987" y="603562"/>
                    <a:pt x="51910" y="592556"/>
                  </a:cubicBezTo>
                  <a:cubicBezTo>
                    <a:pt x="57816" y="552915"/>
                    <a:pt x="49629" y="512916"/>
                    <a:pt x="36430" y="475557"/>
                  </a:cubicBezTo>
                  <a:cubicBezTo>
                    <a:pt x="17773" y="422091"/>
                    <a:pt x="-1153" y="367014"/>
                    <a:pt x="55" y="309611"/>
                  </a:cubicBezTo>
                  <a:cubicBezTo>
                    <a:pt x="-79" y="253013"/>
                    <a:pt x="18310" y="198965"/>
                    <a:pt x="29763" y="144202"/>
                  </a:cubicBezTo>
                  <a:cubicBezTo>
                    <a:pt x="39562" y="97447"/>
                    <a:pt x="50702" y="50603"/>
                    <a:pt x="52447" y="2685"/>
                  </a:cubicBezTo>
                  <a:close/>
                </a:path>
              </a:pathLst>
            </a:custGeom>
            <a:solidFill>
              <a:srgbClr val="202F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1" name="Freeform: Shape 4970">
              <a:extLst>
                <a:ext uri="{FF2B5EF4-FFF2-40B4-BE49-F238E27FC236}">
                  <a16:creationId xmlns:a16="http://schemas.microsoft.com/office/drawing/2014/main" id="{BFEBD373-25B1-4215-9199-6E9EAC455E57}"/>
                </a:ext>
              </a:extLst>
            </p:cNvPr>
            <p:cNvSpPr/>
            <p:nvPr/>
          </p:nvSpPr>
          <p:spPr>
            <a:xfrm flipH="1">
              <a:off x="4322450" y="3451625"/>
              <a:ext cx="49631" cy="90724"/>
            </a:xfrm>
            <a:custGeom>
              <a:avLst/>
              <a:gdLst>
                <a:gd name="connsiteX0" fmla="*/ 0 w 41609"/>
                <a:gd name="connsiteY0" fmla="*/ 21789 h 76060"/>
                <a:gd name="connsiteX1" fmla="*/ 17449 w 41609"/>
                <a:gd name="connsiteY1" fmla="*/ 0 h 76060"/>
                <a:gd name="connsiteX2" fmla="*/ 41610 w 41609"/>
                <a:gd name="connsiteY2" fmla="*/ 55882 h 76060"/>
                <a:gd name="connsiteX3" fmla="*/ 28008 w 41609"/>
                <a:gd name="connsiteY3" fmla="*/ 76060 h 76060"/>
                <a:gd name="connsiteX4" fmla="*/ 0 w 41609"/>
                <a:gd name="connsiteY4" fmla="*/ 21789 h 76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 h="76060">
                  <a:moveTo>
                    <a:pt x="0" y="21789"/>
                  </a:moveTo>
                  <a:cubicBezTo>
                    <a:pt x="8814" y="17225"/>
                    <a:pt x="13870" y="8859"/>
                    <a:pt x="17449" y="0"/>
                  </a:cubicBezTo>
                  <a:cubicBezTo>
                    <a:pt x="23981" y="19194"/>
                    <a:pt x="32393" y="37762"/>
                    <a:pt x="41610" y="55882"/>
                  </a:cubicBezTo>
                  <a:cubicBezTo>
                    <a:pt x="37314" y="62772"/>
                    <a:pt x="32975" y="69618"/>
                    <a:pt x="28008" y="76060"/>
                  </a:cubicBezTo>
                  <a:cubicBezTo>
                    <a:pt x="16420" y="59193"/>
                    <a:pt x="7919" y="40581"/>
                    <a:pt x="0" y="21789"/>
                  </a:cubicBez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2" name="Oval 4971">
              <a:extLst>
                <a:ext uri="{FF2B5EF4-FFF2-40B4-BE49-F238E27FC236}">
                  <a16:creationId xmlns:a16="http://schemas.microsoft.com/office/drawing/2014/main" id="{16F26BDA-71D0-A0F0-ED34-B2F975B546B5}"/>
                </a:ext>
              </a:extLst>
            </p:cNvPr>
            <p:cNvSpPr/>
            <p:nvPr/>
          </p:nvSpPr>
          <p:spPr>
            <a:xfrm flipH="1">
              <a:off x="3085272" y="3449203"/>
              <a:ext cx="78413" cy="82296"/>
            </a:xfrm>
            <a:prstGeom prst="ellipse">
              <a:avLst/>
            </a:prstGeom>
            <a:solidFill>
              <a:srgbClr val="FBAD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4" name="Freeform: Shape 4973">
              <a:extLst>
                <a:ext uri="{FF2B5EF4-FFF2-40B4-BE49-F238E27FC236}">
                  <a16:creationId xmlns:a16="http://schemas.microsoft.com/office/drawing/2014/main" id="{2520E051-7D47-4BE7-4A52-13E8268EEC90}"/>
                </a:ext>
              </a:extLst>
            </p:cNvPr>
            <p:cNvSpPr/>
            <p:nvPr/>
          </p:nvSpPr>
          <p:spPr>
            <a:xfrm flipH="1">
              <a:off x="3776767" y="3458936"/>
              <a:ext cx="17398" cy="21812"/>
            </a:xfrm>
            <a:custGeom>
              <a:avLst/>
              <a:gdLst>
                <a:gd name="connsiteX0" fmla="*/ 0 w 14586"/>
                <a:gd name="connsiteY0" fmla="*/ 4474 h 18286"/>
                <a:gd name="connsiteX1" fmla="*/ 13378 w 14586"/>
                <a:gd name="connsiteY1" fmla="*/ 0 h 18286"/>
                <a:gd name="connsiteX2" fmla="*/ 805 w 14586"/>
                <a:gd name="connsiteY2" fmla="*/ 18210 h 18286"/>
                <a:gd name="connsiteX3" fmla="*/ 0 w 14586"/>
                <a:gd name="connsiteY3" fmla="*/ 4474 h 18286"/>
              </a:gdLst>
              <a:ahLst/>
              <a:cxnLst>
                <a:cxn ang="0">
                  <a:pos x="connsiteX0" y="connsiteY0"/>
                </a:cxn>
                <a:cxn ang="0">
                  <a:pos x="connsiteX1" y="connsiteY1"/>
                </a:cxn>
                <a:cxn ang="0">
                  <a:pos x="connsiteX2" y="connsiteY2"/>
                </a:cxn>
                <a:cxn ang="0">
                  <a:pos x="connsiteX3" y="connsiteY3"/>
                </a:cxn>
              </a:cxnLst>
              <a:rect l="l" t="t" r="r" b="b"/>
              <a:pathLst>
                <a:path w="14586" h="18286">
                  <a:moveTo>
                    <a:pt x="0" y="4474"/>
                  </a:moveTo>
                  <a:cubicBezTo>
                    <a:pt x="4429" y="2998"/>
                    <a:pt x="8904" y="1477"/>
                    <a:pt x="13378" y="0"/>
                  </a:cubicBezTo>
                  <a:cubicBezTo>
                    <a:pt x="16867" y="10604"/>
                    <a:pt x="12841" y="19194"/>
                    <a:pt x="805" y="18210"/>
                  </a:cubicBezTo>
                  <a:cubicBezTo>
                    <a:pt x="626" y="14765"/>
                    <a:pt x="224" y="7919"/>
                    <a:pt x="0" y="4474"/>
                  </a:cubicBezTo>
                  <a:close/>
                </a:path>
              </a:pathLst>
            </a:custGeom>
            <a:solidFill>
              <a:srgbClr val="BFA7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9" name="Freeform: Shape 4978">
              <a:extLst>
                <a:ext uri="{FF2B5EF4-FFF2-40B4-BE49-F238E27FC236}">
                  <a16:creationId xmlns:a16="http://schemas.microsoft.com/office/drawing/2014/main" id="{F563A790-E534-6015-D5C2-B97D445F40FC}"/>
                </a:ext>
              </a:extLst>
            </p:cNvPr>
            <p:cNvSpPr/>
            <p:nvPr/>
          </p:nvSpPr>
          <p:spPr>
            <a:xfrm flipH="1">
              <a:off x="4015230" y="3473397"/>
              <a:ext cx="110898" cy="69028"/>
            </a:xfrm>
            <a:custGeom>
              <a:avLst/>
              <a:gdLst>
                <a:gd name="connsiteX0" fmla="*/ 865 w 92973"/>
                <a:gd name="connsiteY0" fmla="*/ 807 h 57871"/>
                <a:gd name="connsiteX1" fmla="*/ 92227 w 92973"/>
                <a:gd name="connsiteY1" fmla="*/ 46 h 57871"/>
                <a:gd name="connsiteX2" fmla="*/ 92540 w 92973"/>
                <a:gd name="connsiteY2" fmla="*/ 57181 h 57871"/>
                <a:gd name="connsiteX3" fmla="*/ 238 w 92973"/>
                <a:gd name="connsiteY3" fmla="*/ 57718 h 57871"/>
                <a:gd name="connsiteX4" fmla="*/ 865 w 92973"/>
                <a:gd name="connsiteY4" fmla="*/ 807 h 57871"/>
                <a:gd name="connsiteX5" fmla="*/ 36971 w 92973"/>
                <a:gd name="connsiteY5" fmla="*/ 11366 h 57871"/>
                <a:gd name="connsiteX6" fmla="*/ 36568 w 92973"/>
                <a:gd name="connsiteY6" fmla="*/ 47875 h 57871"/>
                <a:gd name="connsiteX7" fmla="*/ 54778 w 92973"/>
                <a:gd name="connsiteY7" fmla="*/ 46130 h 57871"/>
                <a:gd name="connsiteX8" fmla="*/ 55225 w 92973"/>
                <a:gd name="connsiteY8" fmla="*/ 11008 h 57871"/>
                <a:gd name="connsiteX9" fmla="*/ 36971 w 92973"/>
                <a:gd name="connsiteY9" fmla="*/ 11366 h 5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57871">
                  <a:moveTo>
                    <a:pt x="865" y="807"/>
                  </a:moveTo>
                  <a:cubicBezTo>
                    <a:pt x="31289" y="-670"/>
                    <a:pt x="61758" y="404"/>
                    <a:pt x="92227" y="46"/>
                  </a:cubicBezTo>
                  <a:cubicBezTo>
                    <a:pt x="93211" y="19061"/>
                    <a:pt x="93121" y="38121"/>
                    <a:pt x="92540" y="57181"/>
                  </a:cubicBezTo>
                  <a:cubicBezTo>
                    <a:pt x="61758" y="56823"/>
                    <a:pt x="31020" y="58344"/>
                    <a:pt x="238" y="57718"/>
                  </a:cubicBezTo>
                  <a:cubicBezTo>
                    <a:pt x="-164" y="38748"/>
                    <a:pt x="-120" y="19777"/>
                    <a:pt x="865" y="807"/>
                  </a:cubicBezTo>
                  <a:close/>
                  <a:moveTo>
                    <a:pt x="36971" y="11366"/>
                  </a:moveTo>
                  <a:cubicBezTo>
                    <a:pt x="36345" y="23536"/>
                    <a:pt x="36210" y="35705"/>
                    <a:pt x="36568" y="47875"/>
                  </a:cubicBezTo>
                  <a:cubicBezTo>
                    <a:pt x="42608" y="47293"/>
                    <a:pt x="48693" y="46712"/>
                    <a:pt x="54778" y="46130"/>
                  </a:cubicBezTo>
                  <a:cubicBezTo>
                    <a:pt x="55762" y="34453"/>
                    <a:pt x="55897" y="22685"/>
                    <a:pt x="55225" y="11008"/>
                  </a:cubicBezTo>
                  <a:cubicBezTo>
                    <a:pt x="49141" y="11097"/>
                    <a:pt x="43056" y="11232"/>
                    <a:pt x="36971" y="11366"/>
                  </a:cubicBezTo>
                  <a:close/>
                </a:path>
              </a:pathLst>
            </a:custGeom>
            <a:solidFill>
              <a:srgbClr val="7E93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0" name="Freeform: Shape 4979">
              <a:extLst>
                <a:ext uri="{FF2B5EF4-FFF2-40B4-BE49-F238E27FC236}">
                  <a16:creationId xmlns:a16="http://schemas.microsoft.com/office/drawing/2014/main" id="{0B2CB0F0-C665-5613-FA70-2F178A5C48D3}"/>
                </a:ext>
              </a:extLst>
            </p:cNvPr>
            <p:cNvSpPr/>
            <p:nvPr/>
          </p:nvSpPr>
          <p:spPr>
            <a:xfrm flipH="1">
              <a:off x="3862155" y="3471780"/>
              <a:ext cx="56942" cy="38387"/>
            </a:xfrm>
            <a:custGeom>
              <a:avLst/>
              <a:gdLst>
                <a:gd name="connsiteX0" fmla="*/ 0 w 47739"/>
                <a:gd name="connsiteY0" fmla="*/ 29276 h 32183"/>
                <a:gd name="connsiteX1" fmla="*/ 16062 w 47739"/>
                <a:gd name="connsiteY1" fmla="*/ 1670 h 32183"/>
                <a:gd name="connsiteX2" fmla="*/ 47739 w 47739"/>
                <a:gd name="connsiteY2" fmla="*/ 5249 h 32183"/>
                <a:gd name="connsiteX3" fmla="*/ 45994 w 47739"/>
                <a:gd name="connsiteY3" fmla="*/ 13169 h 32183"/>
                <a:gd name="connsiteX4" fmla="*/ 10783 w 47739"/>
                <a:gd name="connsiteY4" fmla="*/ 32184 h 32183"/>
                <a:gd name="connsiteX5" fmla="*/ 0 w 47739"/>
                <a:gd name="connsiteY5" fmla="*/ 2927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39" h="32183">
                  <a:moveTo>
                    <a:pt x="0" y="29276"/>
                  </a:moveTo>
                  <a:cubicBezTo>
                    <a:pt x="3579" y="19343"/>
                    <a:pt x="5593" y="6905"/>
                    <a:pt x="16062" y="1670"/>
                  </a:cubicBezTo>
                  <a:cubicBezTo>
                    <a:pt x="26576" y="-2759"/>
                    <a:pt x="37449" y="2744"/>
                    <a:pt x="47739" y="5249"/>
                  </a:cubicBezTo>
                  <a:cubicBezTo>
                    <a:pt x="47292" y="7218"/>
                    <a:pt x="46397" y="11200"/>
                    <a:pt x="45994" y="13169"/>
                  </a:cubicBezTo>
                  <a:cubicBezTo>
                    <a:pt x="32035" y="15182"/>
                    <a:pt x="21700" y="24354"/>
                    <a:pt x="10783" y="32184"/>
                  </a:cubicBezTo>
                  <a:cubicBezTo>
                    <a:pt x="8098" y="31468"/>
                    <a:pt x="2685" y="29991"/>
                    <a:pt x="0" y="29276"/>
                  </a:cubicBezTo>
                  <a:close/>
                </a:path>
              </a:pathLst>
            </a:custGeom>
            <a:solidFill>
              <a:srgbClr val="6E88C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2" name="Oval 4981">
              <a:extLst>
                <a:ext uri="{FF2B5EF4-FFF2-40B4-BE49-F238E27FC236}">
                  <a16:creationId xmlns:a16="http://schemas.microsoft.com/office/drawing/2014/main" id="{45AF43B0-0292-7025-3A44-58DC51D7C7C7}"/>
                </a:ext>
              </a:extLst>
            </p:cNvPr>
            <p:cNvSpPr/>
            <p:nvPr/>
          </p:nvSpPr>
          <p:spPr>
            <a:xfrm flipH="1">
              <a:off x="3001769" y="3478403"/>
              <a:ext cx="46051" cy="45720"/>
            </a:xfrm>
            <a:prstGeom prst="ellipse">
              <a:avLst/>
            </a:prstGeom>
            <a:solidFill>
              <a:srgbClr val="8FA7B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4" name="Freeform: Shape 4983">
              <a:extLst>
                <a:ext uri="{FF2B5EF4-FFF2-40B4-BE49-F238E27FC236}">
                  <a16:creationId xmlns:a16="http://schemas.microsoft.com/office/drawing/2014/main" id="{6C8F733C-4AF8-39E7-FB7D-848C860F2968}"/>
                </a:ext>
              </a:extLst>
            </p:cNvPr>
            <p:cNvSpPr/>
            <p:nvPr/>
          </p:nvSpPr>
          <p:spPr>
            <a:xfrm flipH="1">
              <a:off x="4059759" y="3486527"/>
              <a:ext cx="22982" cy="43973"/>
            </a:xfrm>
            <a:custGeom>
              <a:avLst/>
              <a:gdLst>
                <a:gd name="connsiteX0" fmla="*/ 598 w 19268"/>
                <a:gd name="connsiteY0" fmla="*/ 358 h 36866"/>
                <a:gd name="connsiteX1" fmla="*/ 18852 w 19268"/>
                <a:gd name="connsiteY1" fmla="*/ 0 h 36866"/>
                <a:gd name="connsiteX2" fmla="*/ 18405 w 19268"/>
                <a:gd name="connsiteY2" fmla="*/ 35122 h 36866"/>
                <a:gd name="connsiteX3" fmla="*/ 195 w 19268"/>
                <a:gd name="connsiteY3" fmla="*/ 36867 h 36866"/>
                <a:gd name="connsiteX4" fmla="*/ 598 w 19268"/>
                <a:gd name="connsiteY4" fmla="*/ 358 h 36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8" h="36866">
                  <a:moveTo>
                    <a:pt x="598" y="358"/>
                  </a:moveTo>
                  <a:cubicBezTo>
                    <a:pt x="6683" y="224"/>
                    <a:pt x="12768" y="89"/>
                    <a:pt x="18852" y="0"/>
                  </a:cubicBezTo>
                  <a:cubicBezTo>
                    <a:pt x="19524" y="11677"/>
                    <a:pt x="19389" y="23444"/>
                    <a:pt x="18405" y="35122"/>
                  </a:cubicBezTo>
                  <a:cubicBezTo>
                    <a:pt x="12320" y="35704"/>
                    <a:pt x="6235" y="36285"/>
                    <a:pt x="195" y="36867"/>
                  </a:cubicBezTo>
                  <a:cubicBezTo>
                    <a:pt x="-163" y="24697"/>
                    <a:pt x="-28" y="12528"/>
                    <a:pt x="598" y="358"/>
                  </a:cubicBezTo>
                  <a:close/>
                </a:path>
              </a:pathLst>
            </a:custGeom>
            <a:solidFill>
              <a:srgbClr val="F4F6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5" name="Oval 4984">
              <a:extLst>
                <a:ext uri="{FF2B5EF4-FFF2-40B4-BE49-F238E27FC236}">
                  <a16:creationId xmlns:a16="http://schemas.microsoft.com/office/drawing/2014/main" id="{430EB58B-B96B-334D-EE4C-EDD57364FC35}"/>
                </a:ext>
              </a:extLst>
            </p:cNvPr>
            <p:cNvSpPr/>
            <p:nvPr/>
          </p:nvSpPr>
          <p:spPr>
            <a:xfrm flipH="1">
              <a:off x="3800999" y="3481028"/>
              <a:ext cx="70835" cy="73152"/>
            </a:xfrm>
            <a:prstGeom prst="ellipse">
              <a:avLst/>
            </a:prstGeom>
            <a:solidFill>
              <a:srgbClr val="3865D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8" name="Freeform: Shape 4987">
              <a:extLst>
                <a:ext uri="{FF2B5EF4-FFF2-40B4-BE49-F238E27FC236}">
                  <a16:creationId xmlns:a16="http://schemas.microsoft.com/office/drawing/2014/main" id="{DE53F787-4C61-7E22-699B-788394AD3EAE}"/>
                </a:ext>
              </a:extLst>
            </p:cNvPr>
            <p:cNvSpPr/>
            <p:nvPr/>
          </p:nvSpPr>
          <p:spPr>
            <a:xfrm flipH="1">
              <a:off x="3858582" y="3487487"/>
              <a:ext cx="211866" cy="172001"/>
            </a:xfrm>
            <a:custGeom>
              <a:avLst/>
              <a:gdLst>
                <a:gd name="connsiteX0" fmla="*/ 137669 w 177623"/>
                <a:gd name="connsiteY0" fmla="*/ 19015 h 144201"/>
                <a:gd name="connsiteX1" fmla="*/ 172881 w 177623"/>
                <a:gd name="connsiteY1" fmla="*/ 0 h 144201"/>
                <a:gd name="connsiteX2" fmla="*/ 170554 w 177623"/>
                <a:gd name="connsiteY2" fmla="*/ 8277 h 144201"/>
                <a:gd name="connsiteX3" fmla="*/ 173463 w 177623"/>
                <a:gd name="connsiteY3" fmla="*/ 49395 h 144201"/>
                <a:gd name="connsiteX4" fmla="*/ 177624 w 177623"/>
                <a:gd name="connsiteY4" fmla="*/ 58298 h 144201"/>
                <a:gd name="connsiteX5" fmla="*/ 153195 w 177623"/>
                <a:gd name="connsiteY5" fmla="*/ 51408 h 144201"/>
                <a:gd name="connsiteX6" fmla="*/ 136148 w 177623"/>
                <a:gd name="connsiteY6" fmla="*/ 29843 h 144201"/>
                <a:gd name="connsiteX7" fmla="*/ 128408 w 177623"/>
                <a:gd name="connsiteY7" fmla="*/ 47829 h 144201"/>
                <a:gd name="connsiteX8" fmla="*/ 102234 w 177623"/>
                <a:gd name="connsiteY8" fmla="*/ 81922 h 144201"/>
                <a:gd name="connsiteX9" fmla="*/ 31543 w 177623"/>
                <a:gd name="connsiteY9" fmla="*/ 138117 h 144201"/>
                <a:gd name="connsiteX10" fmla="*/ 13378 w 177623"/>
                <a:gd name="connsiteY10" fmla="*/ 144202 h 144201"/>
                <a:gd name="connsiteX11" fmla="*/ 0 w 177623"/>
                <a:gd name="connsiteY11" fmla="*/ 139057 h 144201"/>
                <a:gd name="connsiteX12" fmla="*/ 23579 w 177623"/>
                <a:gd name="connsiteY12" fmla="*/ 115209 h 144201"/>
                <a:gd name="connsiteX13" fmla="*/ 69439 w 177623"/>
                <a:gd name="connsiteY13" fmla="*/ 82056 h 144201"/>
                <a:gd name="connsiteX14" fmla="*/ 76866 w 177623"/>
                <a:gd name="connsiteY14" fmla="*/ 75121 h 144201"/>
                <a:gd name="connsiteX15" fmla="*/ 73197 w 177623"/>
                <a:gd name="connsiteY15" fmla="*/ 47650 h 144201"/>
                <a:gd name="connsiteX16" fmla="*/ 102592 w 177623"/>
                <a:gd name="connsiteY16" fmla="*/ 43712 h 144201"/>
                <a:gd name="connsiteX17" fmla="*/ 109706 w 177623"/>
                <a:gd name="connsiteY17" fmla="*/ 19597 h 144201"/>
                <a:gd name="connsiteX18" fmla="*/ 118923 w 177623"/>
                <a:gd name="connsiteY18" fmla="*/ 13199 h 144201"/>
                <a:gd name="connsiteX19" fmla="*/ 126887 w 177623"/>
                <a:gd name="connsiteY19" fmla="*/ 16107 h 144201"/>
                <a:gd name="connsiteX20" fmla="*/ 137669 w 177623"/>
                <a:gd name="connsiteY20" fmla="*/ 19015 h 1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623" h="144201">
                  <a:moveTo>
                    <a:pt x="137669" y="19015"/>
                  </a:moveTo>
                  <a:cubicBezTo>
                    <a:pt x="148586" y="11185"/>
                    <a:pt x="158922" y="2013"/>
                    <a:pt x="172881" y="0"/>
                  </a:cubicBezTo>
                  <a:cubicBezTo>
                    <a:pt x="172299" y="2058"/>
                    <a:pt x="171136" y="6219"/>
                    <a:pt x="170554" y="8277"/>
                  </a:cubicBezTo>
                  <a:cubicBezTo>
                    <a:pt x="164514" y="21879"/>
                    <a:pt x="165051" y="36867"/>
                    <a:pt x="173463" y="49395"/>
                  </a:cubicBezTo>
                  <a:cubicBezTo>
                    <a:pt x="174492" y="51632"/>
                    <a:pt x="176595" y="56061"/>
                    <a:pt x="177624" y="58298"/>
                  </a:cubicBezTo>
                  <a:cubicBezTo>
                    <a:pt x="169481" y="56195"/>
                    <a:pt x="160488" y="55927"/>
                    <a:pt x="153195" y="51408"/>
                  </a:cubicBezTo>
                  <a:cubicBezTo>
                    <a:pt x="146394" y="45144"/>
                    <a:pt x="141517" y="37225"/>
                    <a:pt x="136148" y="29843"/>
                  </a:cubicBezTo>
                  <a:cubicBezTo>
                    <a:pt x="133553" y="35838"/>
                    <a:pt x="130958" y="41789"/>
                    <a:pt x="128408" y="47829"/>
                  </a:cubicBezTo>
                  <a:cubicBezTo>
                    <a:pt x="121652" y="60580"/>
                    <a:pt x="112212" y="71586"/>
                    <a:pt x="102234" y="81922"/>
                  </a:cubicBezTo>
                  <a:cubicBezTo>
                    <a:pt x="81966" y="104471"/>
                    <a:pt x="57403" y="122502"/>
                    <a:pt x="31543" y="138117"/>
                  </a:cubicBezTo>
                  <a:cubicBezTo>
                    <a:pt x="25458" y="140085"/>
                    <a:pt x="19373" y="142099"/>
                    <a:pt x="13378" y="144202"/>
                  </a:cubicBezTo>
                  <a:cubicBezTo>
                    <a:pt x="8904" y="142457"/>
                    <a:pt x="4429" y="140757"/>
                    <a:pt x="0" y="139057"/>
                  </a:cubicBezTo>
                  <a:cubicBezTo>
                    <a:pt x="7964" y="131182"/>
                    <a:pt x="15615" y="123084"/>
                    <a:pt x="23579" y="115209"/>
                  </a:cubicBezTo>
                  <a:cubicBezTo>
                    <a:pt x="39283" y="104785"/>
                    <a:pt x="55614" y="95031"/>
                    <a:pt x="69439" y="82056"/>
                  </a:cubicBezTo>
                  <a:cubicBezTo>
                    <a:pt x="71944" y="79774"/>
                    <a:pt x="74360" y="77403"/>
                    <a:pt x="76866" y="75121"/>
                  </a:cubicBezTo>
                  <a:cubicBezTo>
                    <a:pt x="75479" y="65994"/>
                    <a:pt x="74226" y="56822"/>
                    <a:pt x="73197" y="47650"/>
                  </a:cubicBezTo>
                  <a:cubicBezTo>
                    <a:pt x="82772" y="46844"/>
                    <a:pt x="96641" y="54540"/>
                    <a:pt x="102592" y="43712"/>
                  </a:cubicBezTo>
                  <a:cubicBezTo>
                    <a:pt x="108319" y="37046"/>
                    <a:pt x="107872" y="27695"/>
                    <a:pt x="109706" y="19597"/>
                  </a:cubicBezTo>
                  <a:cubicBezTo>
                    <a:pt x="112748" y="17404"/>
                    <a:pt x="115836" y="15302"/>
                    <a:pt x="118923" y="13199"/>
                  </a:cubicBezTo>
                  <a:cubicBezTo>
                    <a:pt x="120891" y="13915"/>
                    <a:pt x="124873" y="15391"/>
                    <a:pt x="126887" y="16107"/>
                  </a:cubicBezTo>
                  <a:cubicBezTo>
                    <a:pt x="129571" y="16823"/>
                    <a:pt x="134985" y="18299"/>
                    <a:pt x="137669" y="19015"/>
                  </a:cubicBezTo>
                  <a:close/>
                </a:path>
              </a:pathLst>
            </a:custGeom>
            <a:solidFill>
              <a:srgbClr val="DEE4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1" name="Freeform: Shape 4990">
              <a:extLst>
                <a:ext uri="{FF2B5EF4-FFF2-40B4-BE49-F238E27FC236}">
                  <a16:creationId xmlns:a16="http://schemas.microsoft.com/office/drawing/2014/main" id="{BF29BDED-63D8-914A-C9CF-003FDB59429F}"/>
                </a:ext>
              </a:extLst>
            </p:cNvPr>
            <p:cNvSpPr/>
            <p:nvPr/>
          </p:nvSpPr>
          <p:spPr>
            <a:xfrm flipH="1">
              <a:off x="3939593" y="3498334"/>
              <a:ext cx="46255" cy="48262"/>
            </a:xfrm>
            <a:custGeom>
              <a:avLst/>
              <a:gdLst>
                <a:gd name="connsiteX0" fmla="*/ 7550 w 38779"/>
                <a:gd name="connsiteY0" fmla="*/ 1868 h 40461"/>
                <a:gd name="connsiteX1" fmla="*/ 38779 w 38779"/>
                <a:gd name="connsiteY1" fmla="*/ 10503 h 40461"/>
                <a:gd name="connsiteX2" fmla="*/ 31665 w 38779"/>
                <a:gd name="connsiteY2" fmla="*/ 34619 h 40461"/>
                <a:gd name="connsiteX3" fmla="*/ 2270 w 38779"/>
                <a:gd name="connsiteY3" fmla="*/ 38556 h 40461"/>
                <a:gd name="connsiteX4" fmla="*/ 7550 w 38779"/>
                <a:gd name="connsiteY4" fmla="*/ 1868 h 40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79" h="40461">
                  <a:moveTo>
                    <a:pt x="7550" y="1868"/>
                  </a:moveTo>
                  <a:cubicBezTo>
                    <a:pt x="18511" y="-4261"/>
                    <a:pt x="29160" y="6298"/>
                    <a:pt x="38779" y="10503"/>
                  </a:cubicBezTo>
                  <a:cubicBezTo>
                    <a:pt x="36945" y="18602"/>
                    <a:pt x="37392" y="27953"/>
                    <a:pt x="31665" y="34619"/>
                  </a:cubicBezTo>
                  <a:cubicBezTo>
                    <a:pt x="25715" y="45446"/>
                    <a:pt x="11845" y="37751"/>
                    <a:pt x="2270" y="38556"/>
                  </a:cubicBezTo>
                  <a:cubicBezTo>
                    <a:pt x="78" y="26431"/>
                    <a:pt x="-3278" y="10951"/>
                    <a:pt x="7550" y="1868"/>
                  </a:cubicBezTo>
                  <a:close/>
                </a:path>
              </a:pathLst>
            </a:custGeom>
            <a:solidFill>
              <a:srgbClr val="6281B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2" name="Freeform: Shape 4991">
              <a:extLst>
                <a:ext uri="{FF2B5EF4-FFF2-40B4-BE49-F238E27FC236}">
                  <a16:creationId xmlns:a16="http://schemas.microsoft.com/office/drawing/2014/main" id="{EE7D4409-2645-A3F4-763C-8A4850019659}"/>
                </a:ext>
              </a:extLst>
            </p:cNvPr>
            <p:cNvSpPr/>
            <p:nvPr/>
          </p:nvSpPr>
          <p:spPr>
            <a:xfrm flipH="1">
              <a:off x="3388466" y="3490101"/>
              <a:ext cx="174856" cy="216511"/>
            </a:xfrm>
            <a:custGeom>
              <a:avLst/>
              <a:gdLst>
                <a:gd name="connsiteX0" fmla="*/ 0 w 88738"/>
                <a:gd name="connsiteY0" fmla="*/ 137625 h 181516"/>
                <a:gd name="connsiteX1" fmla="*/ 60759 w 88738"/>
                <a:gd name="connsiteY1" fmla="*/ 0 h 181516"/>
                <a:gd name="connsiteX2" fmla="*/ 58611 w 88738"/>
                <a:gd name="connsiteY2" fmla="*/ 71094 h 181516"/>
                <a:gd name="connsiteX3" fmla="*/ 80758 w 88738"/>
                <a:gd name="connsiteY3" fmla="*/ 74987 h 181516"/>
                <a:gd name="connsiteX4" fmla="*/ 88722 w 88738"/>
                <a:gd name="connsiteY4" fmla="*/ 181516 h 181516"/>
                <a:gd name="connsiteX5" fmla="*/ 84785 w 88738"/>
                <a:gd name="connsiteY5" fmla="*/ 137267 h 181516"/>
                <a:gd name="connsiteX6" fmla="*/ 50737 w 88738"/>
                <a:gd name="connsiteY6" fmla="*/ 137804 h 181516"/>
                <a:gd name="connsiteX7" fmla="*/ 0 w 88738"/>
                <a:gd name="connsiteY7" fmla="*/ 137625 h 18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38" h="181516">
                  <a:moveTo>
                    <a:pt x="0" y="137625"/>
                  </a:moveTo>
                  <a:cubicBezTo>
                    <a:pt x="15928" y="90065"/>
                    <a:pt x="32482" y="41878"/>
                    <a:pt x="60759" y="0"/>
                  </a:cubicBezTo>
                  <a:cubicBezTo>
                    <a:pt x="69528" y="23176"/>
                    <a:pt x="63085" y="47739"/>
                    <a:pt x="58611" y="71094"/>
                  </a:cubicBezTo>
                  <a:cubicBezTo>
                    <a:pt x="65949" y="72347"/>
                    <a:pt x="73376" y="73645"/>
                    <a:pt x="80758" y="74987"/>
                  </a:cubicBezTo>
                  <a:cubicBezTo>
                    <a:pt x="81966" y="110601"/>
                    <a:pt x="89125" y="145813"/>
                    <a:pt x="88722" y="181516"/>
                  </a:cubicBezTo>
                  <a:cubicBezTo>
                    <a:pt x="87067" y="166796"/>
                    <a:pt x="85680" y="152032"/>
                    <a:pt x="84785" y="137267"/>
                  </a:cubicBezTo>
                  <a:cubicBezTo>
                    <a:pt x="73421" y="137535"/>
                    <a:pt x="62056" y="137804"/>
                    <a:pt x="50737" y="137804"/>
                  </a:cubicBezTo>
                  <a:cubicBezTo>
                    <a:pt x="33825" y="137625"/>
                    <a:pt x="16912" y="137088"/>
                    <a:pt x="0" y="137625"/>
                  </a:cubicBezTo>
                  <a:close/>
                </a:path>
              </a:pathLst>
            </a:custGeom>
            <a:solidFill>
              <a:srgbClr val="93A2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4" name="Freeform: Shape 4993">
              <a:extLst>
                <a:ext uri="{FF2B5EF4-FFF2-40B4-BE49-F238E27FC236}">
                  <a16:creationId xmlns:a16="http://schemas.microsoft.com/office/drawing/2014/main" id="{F799A40E-AF1E-B77B-EB4C-1E0F29144336}"/>
                </a:ext>
              </a:extLst>
            </p:cNvPr>
            <p:cNvSpPr/>
            <p:nvPr/>
          </p:nvSpPr>
          <p:spPr>
            <a:xfrm flipH="1">
              <a:off x="3245089" y="3501257"/>
              <a:ext cx="37221" cy="47378"/>
            </a:xfrm>
            <a:custGeom>
              <a:avLst/>
              <a:gdLst>
                <a:gd name="connsiteX0" fmla="*/ 30147 w 31205"/>
                <a:gd name="connsiteY0" fmla="*/ 0 h 39721"/>
                <a:gd name="connsiteX1" fmla="*/ 23839 w 31205"/>
                <a:gd name="connsiteY1" fmla="*/ 37091 h 39721"/>
                <a:gd name="connsiteX2" fmla="*/ 752 w 31205"/>
                <a:gd name="connsiteY2" fmla="*/ 25547 h 39721"/>
                <a:gd name="connsiteX3" fmla="*/ 21333 w 31205"/>
                <a:gd name="connsiteY3" fmla="*/ 24966 h 39721"/>
                <a:gd name="connsiteX4" fmla="*/ 30147 w 31205"/>
                <a:gd name="connsiteY4" fmla="*/ 0 h 3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5" h="39721">
                  <a:moveTo>
                    <a:pt x="30147" y="0"/>
                  </a:moveTo>
                  <a:cubicBezTo>
                    <a:pt x="29611" y="12214"/>
                    <a:pt x="35606" y="28545"/>
                    <a:pt x="23839" y="37091"/>
                  </a:cubicBezTo>
                  <a:cubicBezTo>
                    <a:pt x="14891" y="42460"/>
                    <a:pt x="-3990" y="40088"/>
                    <a:pt x="752" y="25547"/>
                  </a:cubicBezTo>
                  <a:cubicBezTo>
                    <a:pt x="7598" y="25503"/>
                    <a:pt x="14488" y="25861"/>
                    <a:pt x="21333" y="24966"/>
                  </a:cubicBezTo>
                  <a:cubicBezTo>
                    <a:pt x="29790" y="19552"/>
                    <a:pt x="28447" y="8590"/>
                    <a:pt x="30147" y="0"/>
                  </a:cubicBezTo>
                  <a:close/>
                </a:path>
              </a:pathLst>
            </a:custGeom>
            <a:solidFill>
              <a:srgbClr val="87ACA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5" name="Freeform: Shape 4994">
              <a:extLst>
                <a:ext uri="{FF2B5EF4-FFF2-40B4-BE49-F238E27FC236}">
                  <a16:creationId xmlns:a16="http://schemas.microsoft.com/office/drawing/2014/main" id="{0383E51D-C653-5F28-D5E8-8778674B6EB4}"/>
                </a:ext>
              </a:extLst>
            </p:cNvPr>
            <p:cNvSpPr/>
            <p:nvPr/>
          </p:nvSpPr>
          <p:spPr>
            <a:xfrm flipH="1">
              <a:off x="4204240" y="3518280"/>
              <a:ext cx="135285" cy="126213"/>
            </a:xfrm>
            <a:custGeom>
              <a:avLst/>
              <a:gdLst>
                <a:gd name="connsiteX0" fmla="*/ 716 w 113419"/>
                <a:gd name="connsiteY0" fmla="*/ 20178 h 105813"/>
                <a:gd name="connsiteX1" fmla="*/ 14317 w 113419"/>
                <a:gd name="connsiteY1" fmla="*/ 0 h 105813"/>
                <a:gd name="connsiteX2" fmla="*/ 45144 w 113419"/>
                <a:gd name="connsiteY2" fmla="*/ 43220 h 105813"/>
                <a:gd name="connsiteX3" fmla="*/ 113420 w 113419"/>
                <a:gd name="connsiteY3" fmla="*/ 96955 h 105813"/>
                <a:gd name="connsiteX4" fmla="*/ 82324 w 113419"/>
                <a:gd name="connsiteY4" fmla="*/ 105814 h 105813"/>
                <a:gd name="connsiteX5" fmla="*/ 49887 w 113419"/>
                <a:gd name="connsiteY5" fmla="*/ 82816 h 105813"/>
                <a:gd name="connsiteX6" fmla="*/ 0 w 113419"/>
                <a:gd name="connsiteY6" fmla="*/ 20939 h 105813"/>
                <a:gd name="connsiteX7" fmla="*/ 716 w 113419"/>
                <a:gd name="connsiteY7" fmla="*/ 20178 h 10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19" h="105813">
                  <a:moveTo>
                    <a:pt x="716" y="20178"/>
                  </a:moveTo>
                  <a:cubicBezTo>
                    <a:pt x="5682" y="13736"/>
                    <a:pt x="10022" y="6890"/>
                    <a:pt x="14317" y="0"/>
                  </a:cubicBezTo>
                  <a:cubicBezTo>
                    <a:pt x="22326" y="15883"/>
                    <a:pt x="33422" y="29887"/>
                    <a:pt x="45144" y="43220"/>
                  </a:cubicBezTo>
                  <a:cubicBezTo>
                    <a:pt x="63667" y="65859"/>
                    <a:pt x="87738" y="83264"/>
                    <a:pt x="113420" y="96955"/>
                  </a:cubicBezTo>
                  <a:cubicBezTo>
                    <a:pt x="102547" y="97715"/>
                    <a:pt x="92123" y="101161"/>
                    <a:pt x="82324" y="105814"/>
                  </a:cubicBezTo>
                  <a:cubicBezTo>
                    <a:pt x="70692" y="99326"/>
                    <a:pt x="59730" y="91720"/>
                    <a:pt x="49887" y="82816"/>
                  </a:cubicBezTo>
                  <a:cubicBezTo>
                    <a:pt x="30737" y="64338"/>
                    <a:pt x="14630" y="43086"/>
                    <a:pt x="0" y="20939"/>
                  </a:cubicBezTo>
                  <a:lnTo>
                    <a:pt x="716" y="20178"/>
                  </a:lnTo>
                  <a:close/>
                </a:path>
              </a:pathLst>
            </a:custGeom>
            <a:solidFill>
              <a:srgbClr val="4C94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7" name="Freeform: Shape 4996">
              <a:extLst>
                <a:ext uri="{FF2B5EF4-FFF2-40B4-BE49-F238E27FC236}">
                  <a16:creationId xmlns:a16="http://schemas.microsoft.com/office/drawing/2014/main" id="{F4E0FC60-92A3-199B-C496-1ABAD373DECF}"/>
                </a:ext>
              </a:extLst>
            </p:cNvPr>
            <p:cNvSpPr/>
            <p:nvPr/>
          </p:nvSpPr>
          <p:spPr>
            <a:xfrm flipH="1">
              <a:off x="3849027" y="3523084"/>
              <a:ext cx="68256" cy="39332"/>
            </a:xfrm>
            <a:custGeom>
              <a:avLst/>
              <a:gdLst>
                <a:gd name="connsiteX0" fmla="*/ 0 w 57224"/>
                <a:gd name="connsiteY0" fmla="*/ 17986 h 32974"/>
                <a:gd name="connsiteX1" fmla="*/ 7740 w 57224"/>
                <a:gd name="connsiteY1" fmla="*/ 0 h 32974"/>
                <a:gd name="connsiteX2" fmla="*/ 24787 w 57224"/>
                <a:gd name="connsiteY2" fmla="*/ 21565 h 32974"/>
                <a:gd name="connsiteX3" fmla="*/ 49216 w 57224"/>
                <a:gd name="connsiteY3" fmla="*/ 28456 h 32974"/>
                <a:gd name="connsiteX4" fmla="*/ 45055 w 57224"/>
                <a:gd name="connsiteY4" fmla="*/ 19552 h 32974"/>
                <a:gd name="connsiteX5" fmla="*/ 57224 w 57224"/>
                <a:gd name="connsiteY5" fmla="*/ 21655 h 32974"/>
                <a:gd name="connsiteX6" fmla="*/ 55658 w 57224"/>
                <a:gd name="connsiteY6" fmla="*/ 32974 h 32974"/>
                <a:gd name="connsiteX7" fmla="*/ 716 w 57224"/>
                <a:gd name="connsiteY7" fmla="*/ 26084 h 32974"/>
                <a:gd name="connsiteX8" fmla="*/ 0 w 57224"/>
                <a:gd name="connsiteY8" fmla="*/ 17986 h 3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24" h="32974">
                  <a:moveTo>
                    <a:pt x="0" y="17986"/>
                  </a:moveTo>
                  <a:cubicBezTo>
                    <a:pt x="2550" y="11946"/>
                    <a:pt x="5145" y="5995"/>
                    <a:pt x="7740" y="0"/>
                  </a:cubicBezTo>
                  <a:cubicBezTo>
                    <a:pt x="13109" y="7382"/>
                    <a:pt x="17986" y="15302"/>
                    <a:pt x="24787" y="21565"/>
                  </a:cubicBezTo>
                  <a:cubicBezTo>
                    <a:pt x="32080" y="26084"/>
                    <a:pt x="41073" y="26353"/>
                    <a:pt x="49216" y="28456"/>
                  </a:cubicBezTo>
                  <a:cubicBezTo>
                    <a:pt x="48187" y="26218"/>
                    <a:pt x="46084" y="21789"/>
                    <a:pt x="45055" y="19552"/>
                  </a:cubicBezTo>
                  <a:cubicBezTo>
                    <a:pt x="49037" y="20402"/>
                    <a:pt x="53108" y="21073"/>
                    <a:pt x="57224" y="21655"/>
                  </a:cubicBezTo>
                  <a:cubicBezTo>
                    <a:pt x="56822" y="24518"/>
                    <a:pt x="56061" y="30156"/>
                    <a:pt x="55658" y="32974"/>
                  </a:cubicBezTo>
                  <a:cubicBezTo>
                    <a:pt x="37583" y="28903"/>
                    <a:pt x="19060" y="28232"/>
                    <a:pt x="716" y="26084"/>
                  </a:cubicBezTo>
                  <a:cubicBezTo>
                    <a:pt x="537" y="24071"/>
                    <a:pt x="179" y="19999"/>
                    <a:pt x="0" y="17986"/>
                  </a:cubicBezTo>
                  <a:close/>
                </a:path>
              </a:pathLst>
            </a:custGeom>
            <a:solidFill>
              <a:srgbClr val="7E9A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8" name="Freeform: Shape 4997">
              <a:extLst>
                <a:ext uri="{FF2B5EF4-FFF2-40B4-BE49-F238E27FC236}">
                  <a16:creationId xmlns:a16="http://schemas.microsoft.com/office/drawing/2014/main" id="{C98BCDCA-4779-F049-06FA-431FDAFEFA5F}"/>
                </a:ext>
              </a:extLst>
            </p:cNvPr>
            <p:cNvSpPr/>
            <p:nvPr/>
          </p:nvSpPr>
          <p:spPr>
            <a:xfrm flipH="1">
              <a:off x="3742401" y="3510260"/>
              <a:ext cx="142564" cy="587265"/>
            </a:xfrm>
            <a:custGeom>
              <a:avLst/>
              <a:gdLst>
                <a:gd name="connsiteX0" fmla="*/ 32169 w 119521"/>
                <a:gd name="connsiteY0" fmla="*/ 20357 h 492345"/>
                <a:gd name="connsiteX1" fmla="*/ 43444 w 119521"/>
                <a:gd name="connsiteY1" fmla="*/ 0 h 492345"/>
                <a:gd name="connsiteX2" fmla="*/ 44294 w 119521"/>
                <a:gd name="connsiteY2" fmla="*/ 20402 h 492345"/>
                <a:gd name="connsiteX3" fmla="*/ 43847 w 119521"/>
                <a:gd name="connsiteY3" fmla="*/ 54450 h 492345"/>
                <a:gd name="connsiteX4" fmla="*/ 55927 w 119521"/>
                <a:gd name="connsiteY4" fmla="*/ 123934 h 492345"/>
                <a:gd name="connsiteX5" fmla="*/ 117894 w 119521"/>
                <a:gd name="connsiteY5" fmla="*/ 382718 h 492345"/>
                <a:gd name="connsiteX6" fmla="*/ 111809 w 119521"/>
                <a:gd name="connsiteY6" fmla="*/ 458600 h 492345"/>
                <a:gd name="connsiteX7" fmla="*/ 42370 w 119521"/>
                <a:gd name="connsiteY7" fmla="*/ 488711 h 492345"/>
                <a:gd name="connsiteX8" fmla="*/ 6712 w 119521"/>
                <a:gd name="connsiteY8" fmla="*/ 445893 h 492345"/>
                <a:gd name="connsiteX9" fmla="*/ 358 w 119521"/>
                <a:gd name="connsiteY9" fmla="*/ 374441 h 492345"/>
                <a:gd name="connsiteX10" fmla="*/ 761 w 119521"/>
                <a:gd name="connsiteY10" fmla="*/ 367775 h 492345"/>
                <a:gd name="connsiteX11" fmla="*/ 3759 w 119521"/>
                <a:gd name="connsiteY11" fmla="*/ 336814 h 492345"/>
                <a:gd name="connsiteX12" fmla="*/ 16197 w 119521"/>
                <a:gd name="connsiteY12" fmla="*/ 201694 h 492345"/>
                <a:gd name="connsiteX13" fmla="*/ 23669 w 119521"/>
                <a:gd name="connsiteY13" fmla="*/ 115746 h 492345"/>
                <a:gd name="connsiteX14" fmla="*/ 28680 w 119521"/>
                <a:gd name="connsiteY14" fmla="*/ 54406 h 492345"/>
                <a:gd name="connsiteX15" fmla="*/ 32169 w 119521"/>
                <a:gd name="connsiteY15" fmla="*/ 20357 h 492345"/>
                <a:gd name="connsiteX16" fmla="*/ 37449 w 119521"/>
                <a:gd name="connsiteY16" fmla="*/ 117088 h 492345"/>
                <a:gd name="connsiteX17" fmla="*/ 34899 w 119521"/>
                <a:gd name="connsiteY17" fmla="*/ 167557 h 492345"/>
                <a:gd name="connsiteX18" fmla="*/ 23087 w 119521"/>
                <a:gd name="connsiteY18" fmla="*/ 308358 h 492345"/>
                <a:gd name="connsiteX19" fmla="*/ 15347 w 119521"/>
                <a:gd name="connsiteY19" fmla="*/ 378110 h 492345"/>
                <a:gd name="connsiteX20" fmla="*/ 32751 w 119521"/>
                <a:gd name="connsiteY20" fmla="*/ 462493 h 492345"/>
                <a:gd name="connsiteX21" fmla="*/ 71989 w 119521"/>
                <a:gd name="connsiteY21" fmla="*/ 476004 h 492345"/>
                <a:gd name="connsiteX22" fmla="*/ 103398 w 119521"/>
                <a:gd name="connsiteY22" fmla="*/ 432158 h 492345"/>
                <a:gd name="connsiteX23" fmla="*/ 88633 w 119521"/>
                <a:gd name="connsiteY23" fmla="*/ 299186 h 492345"/>
                <a:gd name="connsiteX24" fmla="*/ 49977 w 119521"/>
                <a:gd name="connsiteY24" fmla="*/ 157758 h 492345"/>
                <a:gd name="connsiteX25" fmla="*/ 37449 w 119521"/>
                <a:gd name="connsiteY25" fmla="*/ 117088 h 49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521" h="492345">
                  <a:moveTo>
                    <a:pt x="32169" y="20357"/>
                  </a:moveTo>
                  <a:cubicBezTo>
                    <a:pt x="33288" y="12170"/>
                    <a:pt x="36375" y="4743"/>
                    <a:pt x="43444" y="0"/>
                  </a:cubicBezTo>
                  <a:cubicBezTo>
                    <a:pt x="43892" y="6756"/>
                    <a:pt x="44205" y="13557"/>
                    <a:pt x="44294" y="20402"/>
                  </a:cubicBezTo>
                  <a:cubicBezTo>
                    <a:pt x="44160" y="31722"/>
                    <a:pt x="43623" y="43086"/>
                    <a:pt x="43847" y="54450"/>
                  </a:cubicBezTo>
                  <a:cubicBezTo>
                    <a:pt x="43892" y="78163"/>
                    <a:pt x="48545" y="101474"/>
                    <a:pt x="55927" y="123934"/>
                  </a:cubicBezTo>
                  <a:cubicBezTo>
                    <a:pt x="80624" y="209122"/>
                    <a:pt x="107514" y="294309"/>
                    <a:pt x="117894" y="382718"/>
                  </a:cubicBezTo>
                  <a:cubicBezTo>
                    <a:pt x="119907" y="407953"/>
                    <a:pt x="121876" y="434708"/>
                    <a:pt x="111809" y="458600"/>
                  </a:cubicBezTo>
                  <a:cubicBezTo>
                    <a:pt x="100982" y="484282"/>
                    <a:pt x="68634" y="499807"/>
                    <a:pt x="42370" y="488711"/>
                  </a:cubicBezTo>
                  <a:cubicBezTo>
                    <a:pt x="24384" y="481060"/>
                    <a:pt x="13512" y="463432"/>
                    <a:pt x="6712" y="445893"/>
                  </a:cubicBezTo>
                  <a:cubicBezTo>
                    <a:pt x="90" y="422717"/>
                    <a:pt x="-626" y="398378"/>
                    <a:pt x="358" y="374441"/>
                  </a:cubicBezTo>
                  <a:cubicBezTo>
                    <a:pt x="448" y="372786"/>
                    <a:pt x="627" y="369475"/>
                    <a:pt x="761" y="367775"/>
                  </a:cubicBezTo>
                  <a:cubicBezTo>
                    <a:pt x="1611" y="357439"/>
                    <a:pt x="2685" y="347149"/>
                    <a:pt x="3759" y="336814"/>
                  </a:cubicBezTo>
                  <a:cubicBezTo>
                    <a:pt x="7785" y="291759"/>
                    <a:pt x="14228" y="246883"/>
                    <a:pt x="16197" y="201694"/>
                  </a:cubicBezTo>
                  <a:cubicBezTo>
                    <a:pt x="19060" y="173105"/>
                    <a:pt x="20447" y="144336"/>
                    <a:pt x="23669" y="115746"/>
                  </a:cubicBezTo>
                  <a:cubicBezTo>
                    <a:pt x="26487" y="95389"/>
                    <a:pt x="27337" y="74853"/>
                    <a:pt x="28680" y="54406"/>
                  </a:cubicBezTo>
                  <a:cubicBezTo>
                    <a:pt x="29574" y="43041"/>
                    <a:pt x="30693" y="31677"/>
                    <a:pt x="32169" y="20357"/>
                  </a:cubicBezTo>
                  <a:close/>
                  <a:moveTo>
                    <a:pt x="37449" y="117088"/>
                  </a:moveTo>
                  <a:cubicBezTo>
                    <a:pt x="35704" y="133822"/>
                    <a:pt x="35704" y="150734"/>
                    <a:pt x="34899" y="167557"/>
                  </a:cubicBezTo>
                  <a:cubicBezTo>
                    <a:pt x="31722" y="214535"/>
                    <a:pt x="23669" y="261335"/>
                    <a:pt x="23087" y="308358"/>
                  </a:cubicBezTo>
                  <a:cubicBezTo>
                    <a:pt x="18792" y="331355"/>
                    <a:pt x="17047" y="354755"/>
                    <a:pt x="15347" y="378110"/>
                  </a:cubicBezTo>
                  <a:cubicBezTo>
                    <a:pt x="13691" y="406834"/>
                    <a:pt x="15168" y="438287"/>
                    <a:pt x="32751" y="462493"/>
                  </a:cubicBezTo>
                  <a:cubicBezTo>
                    <a:pt x="40983" y="474886"/>
                    <a:pt x="57762" y="481508"/>
                    <a:pt x="71989" y="476004"/>
                  </a:cubicBezTo>
                  <a:cubicBezTo>
                    <a:pt x="90244" y="469696"/>
                    <a:pt x="101832" y="450904"/>
                    <a:pt x="103398" y="432158"/>
                  </a:cubicBezTo>
                  <a:cubicBezTo>
                    <a:pt x="107961" y="387282"/>
                    <a:pt x="98253" y="342720"/>
                    <a:pt x="88633" y="299186"/>
                  </a:cubicBezTo>
                  <a:cubicBezTo>
                    <a:pt x="78701" y="251268"/>
                    <a:pt x="64741" y="204334"/>
                    <a:pt x="49977" y="157758"/>
                  </a:cubicBezTo>
                  <a:cubicBezTo>
                    <a:pt x="46308" y="144023"/>
                    <a:pt x="43668" y="129929"/>
                    <a:pt x="37449" y="117088"/>
                  </a:cubicBezTo>
                  <a:close/>
                </a:path>
              </a:pathLst>
            </a:custGeom>
            <a:solidFill>
              <a:srgbClr val="FAFF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1" name="Freeform: Shape 5000">
              <a:extLst>
                <a:ext uri="{FF2B5EF4-FFF2-40B4-BE49-F238E27FC236}">
                  <a16:creationId xmlns:a16="http://schemas.microsoft.com/office/drawing/2014/main" id="{1D4EF5E9-5DFF-3281-2A5F-A96E1169D058}"/>
                </a:ext>
              </a:extLst>
            </p:cNvPr>
            <p:cNvSpPr/>
            <p:nvPr/>
          </p:nvSpPr>
          <p:spPr>
            <a:xfrm flipH="1">
              <a:off x="3841771" y="3544537"/>
              <a:ext cx="106734" cy="41388"/>
            </a:xfrm>
            <a:custGeom>
              <a:avLst/>
              <a:gdLst>
                <a:gd name="connsiteX0" fmla="*/ 0 w 89482"/>
                <a:gd name="connsiteY0" fmla="*/ 34093 h 34699"/>
                <a:gd name="connsiteX1" fmla="*/ 26174 w 89482"/>
                <a:gd name="connsiteY1" fmla="*/ 0 h 34699"/>
                <a:gd name="connsiteX2" fmla="*/ 26890 w 89482"/>
                <a:gd name="connsiteY2" fmla="*/ 8098 h 34699"/>
                <a:gd name="connsiteX3" fmla="*/ 81832 w 89482"/>
                <a:gd name="connsiteY3" fmla="*/ 14988 h 34699"/>
                <a:gd name="connsiteX4" fmla="*/ 83398 w 89482"/>
                <a:gd name="connsiteY4" fmla="*/ 3669 h 34699"/>
                <a:gd name="connsiteX5" fmla="*/ 89483 w 89482"/>
                <a:gd name="connsiteY5" fmla="*/ 45 h 34699"/>
                <a:gd name="connsiteX6" fmla="*/ 85993 w 89482"/>
                <a:gd name="connsiteY6" fmla="*/ 34093 h 34699"/>
                <a:gd name="connsiteX7" fmla="*/ 0 w 89482"/>
                <a:gd name="connsiteY7" fmla="*/ 34093 h 3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82" h="34699">
                  <a:moveTo>
                    <a:pt x="0" y="34093"/>
                  </a:moveTo>
                  <a:cubicBezTo>
                    <a:pt x="9977" y="23758"/>
                    <a:pt x="19418" y="12751"/>
                    <a:pt x="26174" y="0"/>
                  </a:cubicBezTo>
                  <a:cubicBezTo>
                    <a:pt x="26353" y="2013"/>
                    <a:pt x="26711" y="6085"/>
                    <a:pt x="26890" y="8098"/>
                  </a:cubicBezTo>
                  <a:cubicBezTo>
                    <a:pt x="45234" y="10246"/>
                    <a:pt x="63757" y="10917"/>
                    <a:pt x="81832" y="14988"/>
                  </a:cubicBezTo>
                  <a:cubicBezTo>
                    <a:pt x="82235" y="12170"/>
                    <a:pt x="82995" y="6532"/>
                    <a:pt x="83398" y="3669"/>
                  </a:cubicBezTo>
                  <a:cubicBezTo>
                    <a:pt x="84919" y="2774"/>
                    <a:pt x="87962" y="984"/>
                    <a:pt x="89483" y="45"/>
                  </a:cubicBezTo>
                  <a:cubicBezTo>
                    <a:pt x="88007" y="11364"/>
                    <a:pt x="86888" y="22729"/>
                    <a:pt x="85993" y="34093"/>
                  </a:cubicBezTo>
                  <a:cubicBezTo>
                    <a:pt x="57359" y="34585"/>
                    <a:pt x="28635" y="35167"/>
                    <a:pt x="0" y="34093"/>
                  </a:cubicBezTo>
                  <a:close/>
                </a:path>
              </a:pathLst>
            </a:custGeom>
            <a:solidFill>
              <a:srgbClr val="CDD7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4" name="Freeform: Shape 5003">
              <a:extLst>
                <a:ext uri="{FF2B5EF4-FFF2-40B4-BE49-F238E27FC236}">
                  <a16:creationId xmlns:a16="http://schemas.microsoft.com/office/drawing/2014/main" id="{21BA327A-7414-D3F4-6185-683CCB013BDA}"/>
                </a:ext>
              </a:extLst>
            </p:cNvPr>
            <p:cNvSpPr/>
            <p:nvPr/>
          </p:nvSpPr>
          <p:spPr>
            <a:xfrm flipH="1">
              <a:off x="3185727" y="3577625"/>
              <a:ext cx="237964" cy="90190"/>
            </a:xfrm>
            <a:custGeom>
              <a:avLst/>
              <a:gdLst>
                <a:gd name="connsiteX0" fmla="*/ 0 w 199502"/>
                <a:gd name="connsiteY0" fmla="*/ 0 h 75613"/>
                <a:gd name="connsiteX1" fmla="*/ 38657 w 199502"/>
                <a:gd name="connsiteY1" fmla="*/ 4832 h 75613"/>
                <a:gd name="connsiteX2" fmla="*/ 199502 w 199502"/>
                <a:gd name="connsiteY2" fmla="*/ 3490 h 75613"/>
                <a:gd name="connsiteX3" fmla="*/ 193328 w 199502"/>
                <a:gd name="connsiteY3" fmla="*/ 75613 h 75613"/>
                <a:gd name="connsiteX4" fmla="*/ 190375 w 199502"/>
                <a:gd name="connsiteY4" fmla="*/ 66844 h 75613"/>
                <a:gd name="connsiteX5" fmla="*/ 4966 w 199502"/>
                <a:gd name="connsiteY5" fmla="*/ 65144 h 75613"/>
                <a:gd name="connsiteX6" fmla="*/ 0 w 199502"/>
                <a:gd name="connsiteY6" fmla="*/ 0 h 7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502" h="75613">
                  <a:moveTo>
                    <a:pt x="0" y="0"/>
                  </a:moveTo>
                  <a:cubicBezTo>
                    <a:pt x="12528" y="3758"/>
                    <a:pt x="25637" y="5056"/>
                    <a:pt x="38657" y="4832"/>
                  </a:cubicBezTo>
                  <a:cubicBezTo>
                    <a:pt x="92302" y="4206"/>
                    <a:pt x="145902" y="4966"/>
                    <a:pt x="199502" y="3490"/>
                  </a:cubicBezTo>
                  <a:cubicBezTo>
                    <a:pt x="198205" y="27605"/>
                    <a:pt x="196325" y="51676"/>
                    <a:pt x="193328" y="75613"/>
                  </a:cubicBezTo>
                  <a:cubicBezTo>
                    <a:pt x="192612" y="73421"/>
                    <a:pt x="191091" y="69036"/>
                    <a:pt x="190375" y="66844"/>
                  </a:cubicBezTo>
                  <a:cubicBezTo>
                    <a:pt x="128632" y="64428"/>
                    <a:pt x="66754" y="65546"/>
                    <a:pt x="4966" y="65144"/>
                  </a:cubicBezTo>
                  <a:cubicBezTo>
                    <a:pt x="2416" y="43489"/>
                    <a:pt x="1879" y="21699"/>
                    <a:pt x="0" y="0"/>
                  </a:cubicBezTo>
                  <a:close/>
                </a:path>
              </a:pathLst>
            </a:custGeom>
            <a:solidFill>
              <a:srgbClr val="92A0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5" name="Freeform: Shape 5004">
              <a:extLst>
                <a:ext uri="{FF2B5EF4-FFF2-40B4-BE49-F238E27FC236}">
                  <a16:creationId xmlns:a16="http://schemas.microsoft.com/office/drawing/2014/main" id="{EFE635D9-DC53-3978-CB4A-A3119C289B80}"/>
                </a:ext>
              </a:extLst>
            </p:cNvPr>
            <p:cNvSpPr/>
            <p:nvPr/>
          </p:nvSpPr>
          <p:spPr>
            <a:xfrm flipH="1">
              <a:off x="3650128" y="3585257"/>
              <a:ext cx="177712" cy="82879"/>
            </a:xfrm>
            <a:custGeom>
              <a:avLst/>
              <a:gdLst>
                <a:gd name="connsiteX0" fmla="*/ 0 w 148988"/>
                <a:gd name="connsiteY0" fmla="*/ 0 h 69483"/>
                <a:gd name="connsiteX1" fmla="*/ 148989 w 148988"/>
                <a:gd name="connsiteY1" fmla="*/ 358 h 69483"/>
                <a:gd name="connsiteX2" fmla="*/ 148721 w 148988"/>
                <a:gd name="connsiteY2" fmla="*/ 10604 h 69483"/>
                <a:gd name="connsiteX3" fmla="*/ 116283 w 148988"/>
                <a:gd name="connsiteY3" fmla="*/ 58253 h 69483"/>
                <a:gd name="connsiteX4" fmla="*/ 63220 w 148988"/>
                <a:gd name="connsiteY4" fmla="*/ 58074 h 69483"/>
                <a:gd name="connsiteX5" fmla="*/ 51900 w 148988"/>
                <a:gd name="connsiteY5" fmla="*/ 57716 h 69483"/>
                <a:gd name="connsiteX6" fmla="*/ 16196 w 148988"/>
                <a:gd name="connsiteY6" fmla="*/ 60893 h 69483"/>
                <a:gd name="connsiteX7" fmla="*/ 12080 w 148988"/>
                <a:gd name="connsiteY7" fmla="*/ 69483 h 69483"/>
                <a:gd name="connsiteX8" fmla="*/ 0 w 148988"/>
                <a:gd name="connsiteY8" fmla="*/ 0 h 6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988" h="69483">
                  <a:moveTo>
                    <a:pt x="0" y="0"/>
                  </a:moveTo>
                  <a:cubicBezTo>
                    <a:pt x="49663" y="537"/>
                    <a:pt x="99326" y="-179"/>
                    <a:pt x="148989" y="358"/>
                  </a:cubicBezTo>
                  <a:cubicBezTo>
                    <a:pt x="148900" y="2908"/>
                    <a:pt x="148765" y="8009"/>
                    <a:pt x="148721" y="10604"/>
                  </a:cubicBezTo>
                  <a:cubicBezTo>
                    <a:pt x="137177" y="25905"/>
                    <a:pt x="129258" y="44205"/>
                    <a:pt x="116283" y="58253"/>
                  </a:cubicBezTo>
                  <a:cubicBezTo>
                    <a:pt x="98879" y="62280"/>
                    <a:pt x="80803" y="58477"/>
                    <a:pt x="63220" y="58074"/>
                  </a:cubicBezTo>
                  <a:cubicBezTo>
                    <a:pt x="59417" y="57851"/>
                    <a:pt x="55658" y="57672"/>
                    <a:pt x="51900" y="57716"/>
                  </a:cubicBezTo>
                  <a:cubicBezTo>
                    <a:pt x="39909" y="57985"/>
                    <a:pt x="28008" y="58969"/>
                    <a:pt x="16196" y="60893"/>
                  </a:cubicBezTo>
                  <a:lnTo>
                    <a:pt x="12080" y="69483"/>
                  </a:lnTo>
                  <a:cubicBezTo>
                    <a:pt x="4698" y="47023"/>
                    <a:pt x="45" y="23713"/>
                    <a:pt x="0" y="0"/>
                  </a:cubicBezTo>
                  <a:close/>
                </a:path>
              </a:pathLst>
            </a:custGeom>
            <a:solidFill>
              <a:srgbClr val="92A0B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7" name="Freeform: Shape 5006">
              <a:extLst>
                <a:ext uri="{FF2B5EF4-FFF2-40B4-BE49-F238E27FC236}">
                  <a16:creationId xmlns:a16="http://schemas.microsoft.com/office/drawing/2014/main" id="{072C6F78-1B8B-2F15-C153-B06E84536C72}"/>
                </a:ext>
              </a:extLst>
            </p:cNvPr>
            <p:cNvSpPr/>
            <p:nvPr/>
          </p:nvSpPr>
          <p:spPr>
            <a:xfrm flipH="1">
              <a:off x="2822190" y="3580240"/>
              <a:ext cx="352010" cy="77742"/>
            </a:xfrm>
            <a:custGeom>
              <a:avLst/>
              <a:gdLst>
                <a:gd name="connsiteX0" fmla="*/ 0 w 295114"/>
                <a:gd name="connsiteY0" fmla="*/ 64204 h 65176"/>
                <a:gd name="connsiteX1" fmla="*/ 5458 w 295114"/>
                <a:gd name="connsiteY1" fmla="*/ 0 h 65176"/>
                <a:gd name="connsiteX2" fmla="*/ 25100 w 295114"/>
                <a:gd name="connsiteY2" fmla="*/ 895 h 65176"/>
                <a:gd name="connsiteX3" fmla="*/ 236816 w 295114"/>
                <a:gd name="connsiteY3" fmla="*/ 3758 h 65176"/>
                <a:gd name="connsiteX4" fmla="*/ 295115 w 295114"/>
                <a:gd name="connsiteY4" fmla="*/ 5100 h 65176"/>
                <a:gd name="connsiteX5" fmla="*/ 294533 w 295114"/>
                <a:gd name="connsiteY5" fmla="*/ 10783 h 65176"/>
                <a:gd name="connsiteX6" fmla="*/ 261648 w 295114"/>
                <a:gd name="connsiteY6" fmla="*/ 61699 h 65176"/>
                <a:gd name="connsiteX7" fmla="*/ 166393 w 295114"/>
                <a:gd name="connsiteY7" fmla="*/ 64965 h 65176"/>
                <a:gd name="connsiteX8" fmla="*/ 0 w 295114"/>
                <a:gd name="connsiteY8" fmla="*/ 64204 h 6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114" h="65176">
                  <a:moveTo>
                    <a:pt x="0" y="64204"/>
                  </a:moveTo>
                  <a:cubicBezTo>
                    <a:pt x="2192" y="42818"/>
                    <a:pt x="3534" y="21386"/>
                    <a:pt x="5458" y="0"/>
                  </a:cubicBezTo>
                  <a:cubicBezTo>
                    <a:pt x="11946" y="313"/>
                    <a:pt x="18523" y="582"/>
                    <a:pt x="25100" y="895"/>
                  </a:cubicBezTo>
                  <a:cubicBezTo>
                    <a:pt x="95657" y="1924"/>
                    <a:pt x="166304" y="716"/>
                    <a:pt x="236816" y="3758"/>
                  </a:cubicBezTo>
                  <a:cubicBezTo>
                    <a:pt x="256234" y="4608"/>
                    <a:pt x="275652" y="4608"/>
                    <a:pt x="295115" y="5100"/>
                  </a:cubicBezTo>
                  <a:lnTo>
                    <a:pt x="294533" y="10783"/>
                  </a:lnTo>
                  <a:cubicBezTo>
                    <a:pt x="283482" y="27650"/>
                    <a:pt x="274399" y="46039"/>
                    <a:pt x="261648" y="61699"/>
                  </a:cubicBezTo>
                  <a:cubicBezTo>
                    <a:pt x="230060" y="65591"/>
                    <a:pt x="198026" y="60625"/>
                    <a:pt x="166393" y="64965"/>
                  </a:cubicBezTo>
                  <a:cubicBezTo>
                    <a:pt x="110914" y="66083"/>
                    <a:pt x="55435" y="62325"/>
                    <a:pt x="0" y="64204"/>
                  </a:cubicBezTo>
                  <a:close/>
                </a:path>
              </a:pathLst>
            </a:custGeom>
            <a:solidFill>
              <a:srgbClr val="91A0B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9" name="Freeform: Shape 5008">
              <a:extLst>
                <a:ext uri="{FF2B5EF4-FFF2-40B4-BE49-F238E27FC236}">
                  <a16:creationId xmlns:a16="http://schemas.microsoft.com/office/drawing/2014/main" id="{B1F805EE-21B3-095E-2ACD-574FD80960BD}"/>
                </a:ext>
              </a:extLst>
            </p:cNvPr>
            <p:cNvSpPr/>
            <p:nvPr/>
          </p:nvSpPr>
          <p:spPr>
            <a:xfrm flipH="1">
              <a:off x="3987624" y="3585045"/>
              <a:ext cx="207063" cy="63349"/>
            </a:xfrm>
            <a:custGeom>
              <a:avLst/>
              <a:gdLst>
                <a:gd name="connsiteX0" fmla="*/ 0 w 173596"/>
                <a:gd name="connsiteY0" fmla="*/ 2146 h 53110"/>
                <a:gd name="connsiteX1" fmla="*/ 173597 w 173596"/>
                <a:gd name="connsiteY1" fmla="*/ 266 h 53110"/>
                <a:gd name="connsiteX2" fmla="*/ 127737 w 173596"/>
                <a:gd name="connsiteY2" fmla="*/ 33420 h 53110"/>
                <a:gd name="connsiteX3" fmla="*/ 33243 w 173596"/>
                <a:gd name="connsiteY3" fmla="*/ 52882 h 53110"/>
                <a:gd name="connsiteX4" fmla="*/ 0 w 173596"/>
                <a:gd name="connsiteY4" fmla="*/ 2146 h 53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6" h="53110">
                  <a:moveTo>
                    <a:pt x="0" y="2146"/>
                  </a:moveTo>
                  <a:cubicBezTo>
                    <a:pt x="57851" y="311"/>
                    <a:pt x="115746" y="-450"/>
                    <a:pt x="173597" y="266"/>
                  </a:cubicBezTo>
                  <a:cubicBezTo>
                    <a:pt x="159772" y="13241"/>
                    <a:pt x="143441" y="22995"/>
                    <a:pt x="127737" y="33420"/>
                  </a:cubicBezTo>
                  <a:cubicBezTo>
                    <a:pt x="98297" y="47111"/>
                    <a:pt x="65815" y="54538"/>
                    <a:pt x="33243" y="52882"/>
                  </a:cubicBezTo>
                  <a:cubicBezTo>
                    <a:pt x="20984" y="36820"/>
                    <a:pt x="8053" y="20892"/>
                    <a:pt x="0" y="2146"/>
                  </a:cubicBezTo>
                  <a:close/>
                </a:path>
              </a:pathLst>
            </a:custGeom>
            <a:solidFill>
              <a:srgbClr val="8D9F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10" name="Freeform: Shape 5009">
              <a:extLst>
                <a:ext uri="{FF2B5EF4-FFF2-40B4-BE49-F238E27FC236}">
                  <a16:creationId xmlns:a16="http://schemas.microsoft.com/office/drawing/2014/main" id="{AAFB4913-F509-F076-4DA7-640AF2052B13}"/>
                </a:ext>
              </a:extLst>
            </p:cNvPr>
            <p:cNvSpPr/>
            <p:nvPr/>
          </p:nvSpPr>
          <p:spPr>
            <a:xfrm flipH="1">
              <a:off x="3845932" y="3585203"/>
              <a:ext cx="186891" cy="73166"/>
            </a:xfrm>
            <a:custGeom>
              <a:avLst/>
              <a:gdLst>
                <a:gd name="connsiteX0" fmla="*/ 0 w 156684"/>
                <a:gd name="connsiteY0" fmla="*/ 56195 h 61340"/>
                <a:gd name="connsiteX1" fmla="*/ 70691 w 156684"/>
                <a:gd name="connsiteY1" fmla="*/ 0 h 61340"/>
                <a:gd name="connsiteX2" fmla="*/ 156685 w 156684"/>
                <a:gd name="connsiteY2" fmla="*/ 0 h 61340"/>
                <a:gd name="connsiteX3" fmla="*/ 151674 w 156684"/>
                <a:gd name="connsiteY3" fmla="*/ 61340 h 61340"/>
                <a:gd name="connsiteX4" fmla="*/ 116149 w 156684"/>
                <a:gd name="connsiteY4" fmla="*/ 60401 h 61340"/>
                <a:gd name="connsiteX5" fmla="*/ 0 w 156684"/>
                <a:gd name="connsiteY5" fmla="*/ 56195 h 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684" h="61340">
                  <a:moveTo>
                    <a:pt x="0" y="56195"/>
                  </a:moveTo>
                  <a:cubicBezTo>
                    <a:pt x="25861" y="40581"/>
                    <a:pt x="50424" y="22550"/>
                    <a:pt x="70691" y="0"/>
                  </a:cubicBezTo>
                  <a:cubicBezTo>
                    <a:pt x="99326" y="1074"/>
                    <a:pt x="128050" y="492"/>
                    <a:pt x="156685" y="0"/>
                  </a:cubicBezTo>
                  <a:cubicBezTo>
                    <a:pt x="155342" y="20447"/>
                    <a:pt x="154492" y="40983"/>
                    <a:pt x="151674" y="61340"/>
                  </a:cubicBezTo>
                  <a:cubicBezTo>
                    <a:pt x="139817" y="60938"/>
                    <a:pt x="128005" y="60401"/>
                    <a:pt x="116149" y="60401"/>
                  </a:cubicBezTo>
                  <a:cubicBezTo>
                    <a:pt x="77447" y="59103"/>
                    <a:pt x="38522" y="61385"/>
                    <a:pt x="0" y="56195"/>
                  </a:cubicBezTo>
                  <a:close/>
                </a:path>
              </a:pathLst>
            </a:custGeom>
            <a:solidFill>
              <a:srgbClr val="8FA2C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11" name="Freeform: Shape 5010">
              <a:extLst>
                <a:ext uri="{FF2B5EF4-FFF2-40B4-BE49-F238E27FC236}">
                  <a16:creationId xmlns:a16="http://schemas.microsoft.com/office/drawing/2014/main" id="{7B4AB58C-8DAE-2A67-B850-452E002A0077}"/>
                </a:ext>
              </a:extLst>
            </p:cNvPr>
            <p:cNvSpPr/>
            <p:nvPr/>
          </p:nvSpPr>
          <p:spPr>
            <a:xfrm flipH="1">
              <a:off x="3531919" y="3587871"/>
              <a:ext cx="44775" cy="53207"/>
            </a:xfrm>
            <a:custGeom>
              <a:avLst/>
              <a:gdLst>
                <a:gd name="connsiteX0" fmla="*/ 0 w 37538"/>
                <a:gd name="connsiteY0" fmla="*/ 1253 h 44607"/>
                <a:gd name="connsiteX1" fmla="*/ 37538 w 37538"/>
                <a:gd name="connsiteY1" fmla="*/ 0 h 44607"/>
                <a:gd name="connsiteX2" fmla="*/ 21207 w 37538"/>
                <a:gd name="connsiteY2" fmla="*/ 44607 h 44607"/>
                <a:gd name="connsiteX3" fmla="*/ 0 w 37538"/>
                <a:gd name="connsiteY3" fmla="*/ 1253 h 44607"/>
              </a:gdLst>
              <a:ahLst/>
              <a:cxnLst>
                <a:cxn ang="0">
                  <a:pos x="connsiteX0" y="connsiteY0"/>
                </a:cxn>
                <a:cxn ang="0">
                  <a:pos x="connsiteX1" y="connsiteY1"/>
                </a:cxn>
                <a:cxn ang="0">
                  <a:pos x="connsiteX2" y="connsiteY2"/>
                </a:cxn>
                <a:cxn ang="0">
                  <a:pos x="connsiteX3" y="connsiteY3"/>
                </a:cxn>
              </a:cxnLst>
              <a:rect l="l" t="t" r="r" b="b"/>
              <a:pathLst>
                <a:path w="37538" h="44607">
                  <a:moveTo>
                    <a:pt x="0" y="1253"/>
                  </a:moveTo>
                  <a:cubicBezTo>
                    <a:pt x="12483" y="716"/>
                    <a:pt x="25010" y="268"/>
                    <a:pt x="37538" y="0"/>
                  </a:cubicBezTo>
                  <a:cubicBezTo>
                    <a:pt x="31364" y="14586"/>
                    <a:pt x="26621" y="29708"/>
                    <a:pt x="21207" y="44607"/>
                  </a:cubicBezTo>
                  <a:cubicBezTo>
                    <a:pt x="14944" y="29753"/>
                    <a:pt x="7293" y="15570"/>
                    <a:pt x="0" y="1253"/>
                  </a:cubicBezTo>
                  <a:close/>
                </a:path>
              </a:pathLst>
            </a:custGeom>
            <a:solidFill>
              <a:srgbClr val="8E99B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20" name="Freeform: Shape 5019">
              <a:extLst>
                <a:ext uri="{FF2B5EF4-FFF2-40B4-BE49-F238E27FC236}">
                  <a16:creationId xmlns:a16="http://schemas.microsoft.com/office/drawing/2014/main" id="{A5B62274-69B3-A228-E36A-98B119808D71}"/>
                </a:ext>
              </a:extLst>
            </p:cNvPr>
            <p:cNvSpPr/>
            <p:nvPr/>
          </p:nvSpPr>
          <p:spPr>
            <a:xfrm flipH="1">
              <a:off x="4042324" y="3624907"/>
              <a:ext cx="199005" cy="51422"/>
            </a:xfrm>
            <a:custGeom>
              <a:avLst/>
              <a:gdLst>
                <a:gd name="connsiteX0" fmla="*/ 72347 w 166840"/>
                <a:gd name="connsiteY0" fmla="*/ 19463 h 43110"/>
                <a:gd name="connsiteX1" fmla="*/ 166841 w 166840"/>
                <a:gd name="connsiteY1" fmla="*/ 0 h 43110"/>
                <a:gd name="connsiteX2" fmla="*/ 143262 w 166840"/>
                <a:gd name="connsiteY2" fmla="*/ 23847 h 43110"/>
                <a:gd name="connsiteX3" fmla="*/ 156640 w 166840"/>
                <a:gd name="connsiteY3" fmla="*/ 28993 h 43110"/>
                <a:gd name="connsiteX4" fmla="*/ 98118 w 166840"/>
                <a:gd name="connsiteY4" fmla="*/ 42683 h 43110"/>
                <a:gd name="connsiteX5" fmla="*/ 0 w 166840"/>
                <a:gd name="connsiteY5" fmla="*/ 16420 h 43110"/>
                <a:gd name="connsiteX6" fmla="*/ 31095 w 166840"/>
                <a:gd name="connsiteY6" fmla="*/ 7561 h 43110"/>
                <a:gd name="connsiteX7" fmla="*/ 72347 w 166840"/>
                <a:gd name="connsiteY7" fmla="*/ 19463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840" h="43110">
                  <a:moveTo>
                    <a:pt x="72347" y="19463"/>
                  </a:moveTo>
                  <a:cubicBezTo>
                    <a:pt x="104919" y="21118"/>
                    <a:pt x="137401" y="13691"/>
                    <a:pt x="166841" y="0"/>
                  </a:cubicBezTo>
                  <a:cubicBezTo>
                    <a:pt x="158877" y="7875"/>
                    <a:pt x="151226" y="15973"/>
                    <a:pt x="143262" y="23847"/>
                  </a:cubicBezTo>
                  <a:cubicBezTo>
                    <a:pt x="147692" y="25547"/>
                    <a:pt x="152166" y="27248"/>
                    <a:pt x="156640" y="28993"/>
                  </a:cubicBezTo>
                  <a:cubicBezTo>
                    <a:pt x="137759" y="35748"/>
                    <a:pt x="118296" y="41878"/>
                    <a:pt x="98118" y="42683"/>
                  </a:cubicBezTo>
                  <a:cubicBezTo>
                    <a:pt x="63443" y="45547"/>
                    <a:pt x="29529" y="33690"/>
                    <a:pt x="0" y="16420"/>
                  </a:cubicBezTo>
                  <a:cubicBezTo>
                    <a:pt x="9798" y="11767"/>
                    <a:pt x="20223" y="8322"/>
                    <a:pt x="31095" y="7561"/>
                  </a:cubicBezTo>
                  <a:cubicBezTo>
                    <a:pt x="44384" y="12930"/>
                    <a:pt x="58164" y="17225"/>
                    <a:pt x="72347" y="19463"/>
                  </a:cubicBezTo>
                  <a:close/>
                </a:path>
              </a:pathLst>
            </a:custGeom>
            <a:solidFill>
              <a:srgbClr val="CEE1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44" name="Freeform: Shape 5043">
              <a:extLst>
                <a:ext uri="{FF2B5EF4-FFF2-40B4-BE49-F238E27FC236}">
                  <a16:creationId xmlns:a16="http://schemas.microsoft.com/office/drawing/2014/main" id="{C106A053-EF03-EDD1-124D-EF7DBCE43A49}"/>
                </a:ext>
              </a:extLst>
            </p:cNvPr>
            <p:cNvSpPr/>
            <p:nvPr/>
          </p:nvSpPr>
          <p:spPr>
            <a:xfrm flipH="1">
              <a:off x="1634608" y="3778392"/>
              <a:ext cx="323884" cy="426776"/>
            </a:xfrm>
            <a:custGeom>
              <a:avLst/>
              <a:gdLst>
                <a:gd name="connsiteX0" fmla="*/ 66173 w 271535"/>
                <a:gd name="connsiteY0" fmla="*/ 5369 h 357797"/>
                <a:gd name="connsiteX1" fmla="*/ 134538 w 271535"/>
                <a:gd name="connsiteY1" fmla="*/ 0 h 357797"/>
                <a:gd name="connsiteX2" fmla="*/ 203260 w 271535"/>
                <a:gd name="connsiteY2" fmla="*/ 38746 h 357797"/>
                <a:gd name="connsiteX3" fmla="*/ 263080 w 271535"/>
                <a:gd name="connsiteY3" fmla="*/ 98655 h 357797"/>
                <a:gd name="connsiteX4" fmla="*/ 271536 w 271535"/>
                <a:gd name="connsiteY4" fmla="*/ 115388 h 357797"/>
                <a:gd name="connsiteX5" fmla="*/ 266256 w 271535"/>
                <a:gd name="connsiteY5" fmla="*/ 153463 h 357797"/>
                <a:gd name="connsiteX6" fmla="*/ 214893 w 271535"/>
                <a:gd name="connsiteY6" fmla="*/ 75166 h 357797"/>
                <a:gd name="connsiteX7" fmla="*/ 246570 w 271535"/>
                <a:gd name="connsiteY7" fmla="*/ 130690 h 357797"/>
                <a:gd name="connsiteX8" fmla="*/ 229703 w 271535"/>
                <a:gd name="connsiteY8" fmla="*/ 221202 h 357797"/>
                <a:gd name="connsiteX9" fmla="*/ 146081 w 271535"/>
                <a:gd name="connsiteY9" fmla="*/ 307776 h 357797"/>
                <a:gd name="connsiteX10" fmla="*/ 65054 w 271535"/>
                <a:gd name="connsiteY10" fmla="*/ 357797 h 357797"/>
                <a:gd name="connsiteX11" fmla="*/ 61251 w 271535"/>
                <a:gd name="connsiteY11" fmla="*/ 275473 h 357797"/>
                <a:gd name="connsiteX12" fmla="*/ 82772 w 271535"/>
                <a:gd name="connsiteY12" fmla="*/ 248047 h 357797"/>
                <a:gd name="connsiteX13" fmla="*/ 70513 w 271535"/>
                <a:gd name="connsiteY13" fmla="*/ 242633 h 357797"/>
                <a:gd name="connsiteX14" fmla="*/ 92167 w 271535"/>
                <a:gd name="connsiteY14" fmla="*/ 236190 h 357797"/>
                <a:gd name="connsiteX15" fmla="*/ 92839 w 271535"/>
                <a:gd name="connsiteY15" fmla="*/ 231805 h 357797"/>
                <a:gd name="connsiteX16" fmla="*/ 94002 w 271535"/>
                <a:gd name="connsiteY16" fmla="*/ 221202 h 357797"/>
                <a:gd name="connsiteX17" fmla="*/ 96149 w 271535"/>
                <a:gd name="connsiteY17" fmla="*/ 191493 h 357797"/>
                <a:gd name="connsiteX18" fmla="*/ 48410 w 271535"/>
                <a:gd name="connsiteY18" fmla="*/ 191493 h 357797"/>
                <a:gd name="connsiteX19" fmla="*/ 20536 w 271535"/>
                <a:gd name="connsiteY19" fmla="*/ 183216 h 357797"/>
                <a:gd name="connsiteX20" fmla="*/ 17941 w 271535"/>
                <a:gd name="connsiteY20" fmla="*/ 210911 h 357797"/>
                <a:gd name="connsiteX21" fmla="*/ 16868 w 271535"/>
                <a:gd name="connsiteY21" fmla="*/ 182769 h 357797"/>
                <a:gd name="connsiteX22" fmla="*/ 33825 w 271535"/>
                <a:gd name="connsiteY22" fmla="*/ 182098 h 357797"/>
                <a:gd name="connsiteX23" fmla="*/ 32751 w 271535"/>
                <a:gd name="connsiteY23" fmla="*/ 176102 h 357797"/>
                <a:gd name="connsiteX24" fmla="*/ 74852 w 271535"/>
                <a:gd name="connsiteY24" fmla="*/ 178518 h 357797"/>
                <a:gd name="connsiteX25" fmla="*/ 111272 w 271535"/>
                <a:gd name="connsiteY25" fmla="*/ 79640 h 357797"/>
                <a:gd name="connsiteX26" fmla="*/ 70423 w 271535"/>
                <a:gd name="connsiteY26" fmla="*/ 53824 h 357797"/>
                <a:gd name="connsiteX27" fmla="*/ 63085 w 271535"/>
                <a:gd name="connsiteY27" fmla="*/ 19820 h 357797"/>
                <a:gd name="connsiteX28" fmla="*/ 60669 w 271535"/>
                <a:gd name="connsiteY28" fmla="*/ 52795 h 357797"/>
                <a:gd name="connsiteX29" fmla="*/ 39194 w 271535"/>
                <a:gd name="connsiteY29" fmla="*/ 38791 h 357797"/>
                <a:gd name="connsiteX30" fmla="*/ 9217 w 271535"/>
                <a:gd name="connsiteY30" fmla="*/ 52437 h 357797"/>
                <a:gd name="connsiteX31" fmla="*/ 14765 w 271535"/>
                <a:gd name="connsiteY31" fmla="*/ 72481 h 357797"/>
                <a:gd name="connsiteX32" fmla="*/ 0 w 271535"/>
                <a:gd name="connsiteY32" fmla="*/ 81027 h 357797"/>
                <a:gd name="connsiteX33" fmla="*/ 4250 w 271535"/>
                <a:gd name="connsiteY33" fmla="*/ 74002 h 357797"/>
                <a:gd name="connsiteX34" fmla="*/ 2327 w 271535"/>
                <a:gd name="connsiteY34" fmla="*/ 47337 h 357797"/>
                <a:gd name="connsiteX35" fmla="*/ 27740 w 271535"/>
                <a:gd name="connsiteY35" fmla="*/ 26979 h 357797"/>
                <a:gd name="connsiteX36" fmla="*/ 66173 w 271535"/>
                <a:gd name="connsiteY36" fmla="*/ 5369 h 357797"/>
                <a:gd name="connsiteX37" fmla="*/ 152031 w 271535"/>
                <a:gd name="connsiteY37" fmla="*/ 93733 h 357797"/>
                <a:gd name="connsiteX38" fmla="*/ 153150 w 271535"/>
                <a:gd name="connsiteY38" fmla="*/ 173015 h 357797"/>
                <a:gd name="connsiteX39" fmla="*/ 160935 w 271535"/>
                <a:gd name="connsiteY39" fmla="*/ 157311 h 357797"/>
                <a:gd name="connsiteX40" fmla="*/ 156774 w 271535"/>
                <a:gd name="connsiteY40" fmla="*/ 93644 h 357797"/>
                <a:gd name="connsiteX41" fmla="*/ 152031 w 271535"/>
                <a:gd name="connsiteY41" fmla="*/ 93733 h 357797"/>
                <a:gd name="connsiteX42" fmla="*/ 181024 w 271535"/>
                <a:gd name="connsiteY42" fmla="*/ 176013 h 357797"/>
                <a:gd name="connsiteX43" fmla="*/ 188943 w 271535"/>
                <a:gd name="connsiteY43" fmla="*/ 121473 h 357797"/>
                <a:gd name="connsiteX44" fmla="*/ 181024 w 271535"/>
                <a:gd name="connsiteY44" fmla="*/ 176013 h 357797"/>
                <a:gd name="connsiteX45" fmla="*/ 118520 w 271535"/>
                <a:gd name="connsiteY45" fmla="*/ 127468 h 357797"/>
                <a:gd name="connsiteX46" fmla="*/ 106977 w 271535"/>
                <a:gd name="connsiteY46" fmla="*/ 181292 h 357797"/>
                <a:gd name="connsiteX47" fmla="*/ 118520 w 271535"/>
                <a:gd name="connsiteY47" fmla="*/ 127468 h 357797"/>
                <a:gd name="connsiteX48" fmla="*/ 77492 w 271535"/>
                <a:gd name="connsiteY48" fmla="*/ 310327 h 357797"/>
                <a:gd name="connsiteX49" fmla="*/ 87291 w 271535"/>
                <a:gd name="connsiteY49" fmla="*/ 302228 h 357797"/>
                <a:gd name="connsiteX50" fmla="*/ 93017 w 271535"/>
                <a:gd name="connsiteY50" fmla="*/ 245944 h 357797"/>
                <a:gd name="connsiteX51" fmla="*/ 77492 w 271535"/>
                <a:gd name="connsiteY51" fmla="*/ 310327 h 35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1535" h="357797">
                  <a:moveTo>
                    <a:pt x="66173" y="5369"/>
                  </a:moveTo>
                  <a:cubicBezTo>
                    <a:pt x="89214" y="7382"/>
                    <a:pt x="111988" y="4250"/>
                    <a:pt x="134538" y="0"/>
                  </a:cubicBezTo>
                  <a:cubicBezTo>
                    <a:pt x="159145" y="9440"/>
                    <a:pt x="180487" y="25682"/>
                    <a:pt x="203260" y="38746"/>
                  </a:cubicBezTo>
                  <a:cubicBezTo>
                    <a:pt x="227555" y="53869"/>
                    <a:pt x="246436" y="75702"/>
                    <a:pt x="263080" y="98655"/>
                  </a:cubicBezTo>
                  <a:cubicBezTo>
                    <a:pt x="266256" y="103890"/>
                    <a:pt x="270417" y="109080"/>
                    <a:pt x="271536" y="115388"/>
                  </a:cubicBezTo>
                  <a:cubicBezTo>
                    <a:pt x="270551" y="128184"/>
                    <a:pt x="268314" y="140801"/>
                    <a:pt x="266256" y="153463"/>
                  </a:cubicBezTo>
                  <a:cubicBezTo>
                    <a:pt x="254489" y="124739"/>
                    <a:pt x="245586" y="89438"/>
                    <a:pt x="214893" y="75166"/>
                  </a:cubicBezTo>
                  <a:cubicBezTo>
                    <a:pt x="227018" y="92615"/>
                    <a:pt x="242007" y="109214"/>
                    <a:pt x="246570" y="130690"/>
                  </a:cubicBezTo>
                  <a:cubicBezTo>
                    <a:pt x="254803" y="161651"/>
                    <a:pt x="244109" y="193820"/>
                    <a:pt x="229703" y="221202"/>
                  </a:cubicBezTo>
                  <a:cubicBezTo>
                    <a:pt x="211090" y="257621"/>
                    <a:pt x="178697" y="284287"/>
                    <a:pt x="146081" y="307776"/>
                  </a:cubicBezTo>
                  <a:cubicBezTo>
                    <a:pt x="118610" y="323704"/>
                    <a:pt x="91273" y="339811"/>
                    <a:pt x="65054" y="357797"/>
                  </a:cubicBezTo>
                  <a:cubicBezTo>
                    <a:pt x="58701" y="331534"/>
                    <a:pt x="42326" y="300081"/>
                    <a:pt x="61251" y="275473"/>
                  </a:cubicBezTo>
                  <a:cubicBezTo>
                    <a:pt x="69081" y="266883"/>
                    <a:pt x="76463" y="257845"/>
                    <a:pt x="82772" y="248047"/>
                  </a:cubicBezTo>
                  <a:cubicBezTo>
                    <a:pt x="79729" y="246704"/>
                    <a:pt x="73555" y="244020"/>
                    <a:pt x="70513" y="242633"/>
                  </a:cubicBezTo>
                  <a:cubicBezTo>
                    <a:pt x="77761" y="240799"/>
                    <a:pt x="85009" y="238606"/>
                    <a:pt x="92167" y="236190"/>
                  </a:cubicBezTo>
                  <a:cubicBezTo>
                    <a:pt x="92302" y="235072"/>
                    <a:pt x="92660" y="232879"/>
                    <a:pt x="92839" y="231805"/>
                  </a:cubicBezTo>
                  <a:cubicBezTo>
                    <a:pt x="93152" y="229166"/>
                    <a:pt x="93733" y="223841"/>
                    <a:pt x="94002" y="221202"/>
                  </a:cubicBezTo>
                  <a:cubicBezTo>
                    <a:pt x="94718" y="211269"/>
                    <a:pt x="95389" y="201381"/>
                    <a:pt x="96149" y="191493"/>
                  </a:cubicBezTo>
                  <a:cubicBezTo>
                    <a:pt x="80266" y="192120"/>
                    <a:pt x="64293" y="192791"/>
                    <a:pt x="48410" y="191493"/>
                  </a:cubicBezTo>
                  <a:cubicBezTo>
                    <a:pt x="39149" y="188585"/>
                    <a:pt x="29842" y="185767"/>
                    <a:pt x="20536" y="183216"/>
                  </a:cubicBezTo>
                  <a:cubicBezTo>
                    <a:pt x="19731" y="192388"/>
                    <a:pt x="19418" y="201739"/>
                    <a:pt x="17941" y="210911"/>
                  </a:cubicBezTo>
                  <a:cubicBezTo>
                    <a:pt x="17494" y="201515"/>
                    <a:pt x="17136" y="192120"/>
                    <a:pt x="16868" y="182769"/>
                  </a:cubicBezTo>
                  <a:cubicBezTo>
                    <a:pt x="22460" y="182500"/>
                    <a:pt x="28142" y="182277"/>
                    <a:pt x="33825" y="182098"/>
                  </a:cubicBezTo>
                  <a:cubicBezTo>
                    <a:pt x="33556" y="180576"/>
                    <a:pt x="33019" y="177579"/>
                    <a:pt x="32751" y="176102"/>
                  </a:cubicBezTo>
                  <a:cubicBezTo>
                    <a:pt x="45726" y="182411"/>
                    <a:pt x="61475" y="185990"/>
                    <a:pt x="74852" y="178518"/>
                  </a:cubicBezTo>
                  <a:cubicBezTo>
                    <a:pt x="107961" y="159011"/>
                    <a:pt x="123621" y="115880"/>
                    <a:pt x="111272" y="79640"/>
                  </a:cubicBezTo>
                  <a:cubicBezTo>
                    <a:pt x="100489" y="67202"/>
                    <a:pt x="86485" y="57716"/>
                    <a:pt x="70423" y="53824"/>
                  </a:cubicBezTo>
                  <a:cubicBezTo>
                    <a:pt x="69081" y="42460"/>
                    <a:pt x="74360" y="27471"/>
                    <a:pt x="63085" y="19820"/>
                  </a:cubicBezTo>
                  <a:cubicBezTo>
                    <a:pt x="62012" y="30782"/>
                    <a:pt x="61341" y="41788"/>
                    <a:pt x="60669" y="52795"/>
                  </a:cubicBezTo>
                  <a:cubicBezTo>
                    <a:pt x="53421" y="48187"/>
                    <a:pt x="46263" y="43578"/>
                    <a:pt x="39194" y="38791"/>
                  </a:cubicBezTo>
                  <a:cubicBezTo>
                    <a:pt x="30200" y="45368"/>
                    <a:pt x="19820" y="49350"/>
                    <a:pt x="9217" y="52437"/>
                  </a:cubicBezTo>
                  <a:cubicBezTo>
                    <a:pt x="11051" y="59104"/>
                    <a:pt x="12886" y="65770"/>
                    <a:pt x="14765" y="72481"/>
                  </a:cubicBezTo>
                  <a:cubicBezTo>
                    <a:pt x="9843" y="75389"/>
                    <a:pt x="4877" y="78119"/>
                    <a:pt x="0" y="81027"/>
                  </a:cubicBezTo>
                  <a:cubicBezTo>
                    <a:pt x="1074" y="79282"/>
                    <a:pt x="3177" y="75792"/>
                    <a:pt x="4250" y="74002"/>
                  </a:cubicBezTo>
                  <a:cubicBezTo>
                    <a:pt x="2908" y="65322"/>
                    <a:pt x="-2371" y="55748"/>
                    <a:pt x="2327" y="47337"/>
                  </a:cubicBezTo>
                  <a:cubicBezTo>
                    <a:pt x="9798" y="39417"/>
                    <a:pt x="19194" y="33646"/>
                    <a:pt x="27740" y="26979"/>
                  </a:cubicBezTo>
                  <a:cubicBezTo>
                    <a:pt x="39328" y="17852"/>
                    <a:pt x="51900" y="9619"/>
                    <a:pt x="66173" y="5369"/>
                  </a:cubicBezTo>
                  <a:close/>
                  <a:moveTo>
                    <a:pt x="152031" y="93733"/>
                  </a:moveTo>
                  <a:cubicBezTo>
                    <a:pt x="152524" y="120175"/>
                    <a:pt x="151405" y="146618"/>
                    <a:pt x="153150" y="173015"/>
                  </a:cubicBezTo>
                  <a:cubicBezTo>
                    <a:pt x="157266" y="168631"/>
                    <a:pt x="161293" y="163754"/>
                    <a:pt x="160935" y="157311"/>
                  </a:cubicBezTo>
                  <a:cubicBezTo>
                    <a:pt x="162948" y="136014"/>
                    <a:pt x="159369" y="114717"/>
                    <a:pt x="156774" y="93644"/>
                  </a:cubicBezTo>
                  <a:lnTo>
                    <a:pt x="152031" y="93733"/>
                  </a:lnTo>
                  <a:close/>
                  <a:moveTo>
                    <a:pt x="181024" y="176013"/>
                  </a:moveTo>
                  <a:cubicBezTo>
                    <a:pt x="192254" y="160666"/>
                    <a:pt x="192612" y="139459"/>
                    <a:pt x="188943" y="121473"/>
                  </a:cubicBezTo>
                  <a:cubicBezTo>
                    <a:pt x="178787" y="137535"/>
                    <a:pt x="182411" y="157848"/>
                    <a:pt x="181024" y="176013"/>
                  </a:cubicBezTo>
                  <a:close/>
                  <a:moveTo>
                    <a:pt x="118520" y="127468"/>
                  </a:moveTo>
                  <a:cubicBezTo>
                    <a:pt x="116059" y="145678"/>
                    <a:pt x="112435" y="163709"/>
                    <a:pt x="106977" y="181292"/>
                  </a:cubicBezTo>
                  <a:cubicBezTo>
                    <a:pt x="123352" y="169167"/>
                    <a:pt x="124829" y="145365"/>
                    <a:pt x="118520" y="127468"/>
                  </a:cubicBezTo>
                  <a:close/>
                  <a:moveTo>
                    <a:pt x="77492" y="310327"/>
                  </a:moveTo>
                  <a:cubicBezTo>
                    <a:pt x="82772" y="309969"/>
                    <a:pt x="86038" y="307240"/>
                    <a:pt x="87291" y="302228"/>
                  </a:cubicBezTo>
                  <a:cubicBezTo>
                    <a:pt x="92839" y="284063"/>
                    <a:pt x="94047" y="264825"/>
                    <a:pt x="93017" y="245944"/>
                  </a:cubicBezTo>
                  <a:cubicBezTo>
                    <a:pt x="83756" y="266256"/>
                    <a:pt x="82995" y="288940"/>
                    <a:pt x="77492" y="310327"/>
                  </a:cubicBezTo>
                  <a:close/>
                </a:path>
              </a:pathLst>
            </a:custGeom>
            <a:solidFill>
              <a:srgbClr val="E4EB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48" name="Freeform: Shape 5047">
              <a:extLst>
                <a:ext uri="{FF2B5EF4-FFF2-40B4-BE49-F238E27FC236}">
                  <a16:creationId xmlns:a16="http://schemas.microsoft.com/office/drawing/2014/main" id="{A5998A1F-98F5-C925-0950-6CEFB39E58DE}"/>
                </a:ext>
              </a:extLst>
            </p:cNvPr>
            <p:cNvSpPr/>
            <p:nvPr/>
          </p:nvSpPr>
          <p:spPr>
            <a:xfrm flipH="1">
              <a:off x="1874375" y="3802034"/>
              <a:ext cx="73124" cy="62812"/>
            </a:xfrm>
            <a:custGeom>
              <a:avLst/>
              <a:gdLst>
                <a:gd name="connsiteX0" fmla="*/ 53869 w 61306"/>
                <a:gd name="connsiteY0" fmla="*/ 0 h 52660"/>
                <a:gd name="connsiteX1" fmla="*/ 61206 w 61306"/>
                <a:gd name="connsiteY1" fmla="*/ 34003 h 52660"/>
                <a:gd name="connsiteX2" fmla="*/ 35480 w 61306"/>
                <a:gd name="connsiteY2" fmla="*/ 32796 h 52660"/>
                <a:gd name="connsiteX3" fmla="*/ 5548 w 61306"/>
                <a:gd name="connsiteY3" fmla="*/ 52661 h 52660"/>
                <a:gd name="connsiteX4" fmla="*/ 0 w 61306"/>
                <a:gd name="connsiteY4" fmla="*/ 32616 h 52660"/>
                <a:gd name="connsiteX5" fmla="*/ 29977 w 61306"/>
                <a:gd name="connsiteY5" fmla="*/ 18970 h 52660"/>
                <a:gd name="connsiteX6" fmla="*/ 51453 w 61306"/>
                <a:gd name="connsiteY6" fmla="*/ 32974 h 52660"/>
                <a:gd name="connsiteX7" fmla="*/ 53869 w 61306"/>
                <a:gd name="connsiteY7" fmla="*/ 0 h 5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6" h="52660">
                  <a:moveTo>
                    <a:pt x="53869" y="0"/>
                  </a:moveTo>
                  <a:cubicBezTo>
                    <a:pt x="65144" y="7651"/>
                    <a:pt x="59864" y="22639"/>
                    <a:pt x="61206" y="34003"/>
                  </a:cubicBezTo>
                  <a:cubicBezTo>
                    <a:pt x="52661" y="33064"/>
                    <a:pt x="44026" y="32080"/>
                    <a:pt x="35480" y="32796"/>
                  </a:cubicBezTo>
                  <a:cubicBezTo>
                    <a:pt x="24429" y="37627"/>
                    <a:pt x="15704" y="46307"/>
                    <a:pt x="5548" y="52661"/>
                  </a:cubicBezTo>
                  <a:cubicBezTo>
                    <a:pt x="3669" y="45950"/>
                    <a:pt x="1834" y="39283"/>
                    <a:pt x="0" y="32616"/>
                  </a:cubicBezTo>
                  <a:cubicBezTo>
                    <a:pt x="10604" y="29529"/>
                    <a:pt x="20984" y="25547"/>
                    <a:pt x="29977" y="18970"/>
                  </a:cubicBezTo>
                  <a:cubicBezTo>
                    <a:pt x="37046" y="23758"/>
                    <a:pt x="44205" y="28366"/>
                    <a:pt x="51453" y="32974"/>
                  </a:cubicBezTo>
                  <a:cubicBezTo>
                    <a:pt x="52124" y="21968"/>
                    <a:pt x="52795" y="10962"/>
                    <a:pt x="53869" y="0"/>
                  </a:cubicBezTo>
                  <a:close/>
                </a:path>
              </a:pathLst>
            </a:custGeom>
            <a:solidFill>
              <a:srgbClr val="AEC2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0" name="Freeform: Shape 5049">
              <a:extLst>
                <a:ext uri="{FF2B5EF4-FFF2-40B4-BE49-F238E27FC236}">
                  <a16:creationId xmlns:a16="http://schemas.microsoft.com/office/drawing/2014/main" id="{B3448EF6-A0EE-C26C-2AC1-9C7C42228652}"/>
                </a:ext>
              </a:extLst>
            </p:cNvPr>
            <p:cNvSpPr/>
            <p:nvPr/>
          </p:nvSpPr>
          <p:spPr>
            <a:xfrm flipH="1">
              <a:off x="1825771" y="3840859"/>
              <a:ext cx="168052" cy="83812"/>
            </a:xfrm>
            <a:custGeom>
              <a:avLst/>
              <a:gdLst>
                <a:gd name="connsiteX0" fmla="*/ 44383 w 140890"/>
                <a:gd name="connsiteY0" fmla="*/ 20111 h 70266"/>
                <a:gd name="connsiteX1" fmla="*/ 74315 w 140890"/>
                <a:gd name="connsiteY1" fmla="*/ 246 h 70266"/>
                <a:gd name="connsiteX2" fmla="*/ 100042 w 140890"/>
                <a:gd name="connsiteY2" fmla="*/ 1454 h 70266"/>
                <a:gd name="connsiteX3" fmla="*/ 140891 w 140890"/>
                <a:gd name="connsiteY3" fmla="*/ 27270 h 70266"/>
                <a:gd name="connsiteX4" fmla="*/ 80266 w 140890"/>
                <a:gd name="connsiteY4" fmla="*/ 17113 h 70266"/>
                <a:gd name="connsiteX5" fmla="*/ 10648 w 140890"/>
                <a:gd name="connsiteY5" fmla="*/ 70266 h 70266"/>
                <a:gd name="connsiteX6" fmla="*/ 0 w 140890"/>
                <a:gd name="connsiteY6" fmla="*/ 64584 h 70266"/>
                <a:gd name="connsiteX7" fmla="*/ 29619 w 140890"/>
                <a:gd name="connsiteY7" fmla="*/ 28657 h 70266"/>
                <a:gd name="connsiteX8" fmla="*/ 44383 w 140890"/>
                <a:gd name="connsiteY8" fmla="*/ 20111 h 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90" h="70266">
                  <a:moveTo>
                    <a:pt x="44383" y="20111"/>
                  </a:moveTo>
                  <a:cubicBezTo>
                    <a:pt x="54540" y="13758"/>
                    <a:pt x="63264" y="5078"/>
                    <a:pt x="74315" y="246"/>
                  </a:cubicBezTo>
                  <a:cubicBezTo>
                    <a:pt x="82861" y="-470"/>
                    <a:pt x="91496" y="514"/>
                    <a:pt x="100042" y="1454"/>
                  </a:cubicBezTo>
                  <a:cubicBezTo>
                    <a:pt x="116104" y="5346"/>
                    <a:pt x="130108" y="14832"/>
                    <a:pt x="140891" y="27270"/>
                  </a:cubicBezTo>
                  <a:cubicBezTo>
                    <a:pt x="119952" y="27851"/>
                    <a:pt x="101429" y="13265"/>
                    <a:pt x="80266" y="17113"/>
                  </a:cubicBezTo>
                  <a:cubicBezTo>
                    <a:pt x="48455" y="19977"/>
                    <a:pt x="32169" y="50893"/>
                    <a:pt x="10648" y="70266"/>
                  </a:cubicBezTo>
                  <a:cubicBezTo>
                    <a:pt x="7114" y="68253"/>
                    <a:pt x="3579" y="66329"/>
                    <a:pt x="0" y="64584"/>
                  </a:cubicBezTo>
                  <a:cubicBezTo>
                    <a:pt x="9396" y="52191"/>
                    <a:pt x="18970" y="39976"/>
                    <a:pt x="29619" y="28657"/>
                  </a:cubicBezTo>
                  <a:cubicBezTo>
                    <a:pt x="34496" y="25749"/>
                    <a:pt x="39462" y="23019"/>
                    <a:pt x="44383" y="20111"/>
                  </a:cubicBezTo>
                  <a:close/>
                </a:path>
              </a:pathLst>
            </a:custGeom>
            <a:solidFill>
              <a:srgbClr val="EA96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1" name="Freeform: Shape 5050">
              <a:extLst>
                <a:ext uri="{FF2B5EF4-FFF2-40B4-BE49-F238E27FC236}">
                  <a16:creationId xmlns:a16="http://schemas.microsoft.com/office/drawing/2014/main" id="{BD188462-C4EC-685B-4B15-244B44DA0709}"/>
                </a:ext>
              </a:extLst>
            </p:cNvPr>
            <p:cNvSpPr/>
            <p:nvPr/>
          </p:nvSpPr>
          <p:spPr>
            <a:xfrm flipH="1">
              <a:off x="1294499" y="3852839"/>
              <a:ext cx="47763" cy="116713"/>
            </a:xfrm>
            <a:custGeom>
              <a:avLst/>
              <a:gdLst>
                <a:gd name="connsiteX0" fmla="*/ 0 w 40043"/>
                <a:gd name="connsiteY0" fmla="*/ 805 h 97849"/>
                <a:gd name="connsiteX1" fmla="*/ 20671 w 40043"/>
                <a:gd name="connsiteY1" fmla="*/ 0 h 97849"/>
                <a:gd name="connsiteX2" fmla="*/ 24026 w 40043"/>
                <a:gd name="connsiteY2" fmla="*/ 9306 h 97849"/>
                <a:gd name="connsiteX3" fmla="*/ 40044 w 40043"/>
                <a:gd name="connsiteY3" fmla="*/ 96373 h 97849"/>
                <a:gd name="connsiteX4" fmla="*/ 31230 w 40043"/>
                <a:gd name="connsiteY4" fmla="*/ 97850 h 97849"/>
                <a:gd name="connsiteX5" fmla="*/ 12080 w 40043"/>
                <a:gd name="connsiteY5" fmla="*/ 11141 h 97849"/>
                <a:gd name="connsiteX6" fmla="*/ 2774 w 40043"/>
                <a:gd name="connsiteY6" fmla="*/ 13333 h 97849"/>
                <a:gd name="connsiteX7" fmla="*/ 0 w 40043"/>
                <a:gd name="connsiteY7" fmla="*/ 805 h 9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43" h="97849">
                  <a:moveTo>
                    <a:pt x="0" y="805"/>
                  </a:moveTo>
                  <a:cubicBezTo>
                    <a:pt x="6846" y="582"/>
                    <a:pt x="13736" y="313"/>
                    <a:pt x="20671" y="0"/>
                  </a:cubicBezTo>
                  <a:cubicBezTo>
                    <a:pt x="21521" y="2326"/>
                    <a:pt x="23176" y="6980"/>
                    <a:pt x="24026" y="9306"/>
                  </a:cubicBezTo>
                  <a:cubicBezTo>
                    <a:pt x="34272" y="37180"/>
                    <a:pt x="37628" y="66933"/>
                    <a:pt x="40044" y="96373"/>
                  </a:cubicBezTo>
                  <a:cubicBezTo>
                    <a:pt x="37851" y="96731"/>
                    <a:pt x="33422" y="97492"/>
                    <a:pt x="31230" y="97850"/>
                  </a:cubicBezTo>
                  <a:cubicBezTo>
                    <a:pt x="29843" y="68231"/>
                    <a:pt x="28187" y="37046"/>
                    <a:pt x="12080" y="11141"/>
                  </a:cubicBezTo>
                  <a:cubicBezTo>
                    <a:pt x="9754" y="11677"/>
                    <a:pt x="5101" y="12796"/>
                    <a:pt x="2774" y="13333"/>
                  </a:cubicBezTo>
                  <a:cubicBezTo>
                    <a:pt x="2058" y="10201"/>
                    <a:pt x="671" y="3937"/>
                    <a:pt x="0" y="805"/>
                  </a:cubicBezTo>
                  <a:close/>
                </a:path>
              </a:pathLst>
            </a:custGeom>
            <a:solidFill>
              <a:srgbClr val="9AB3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2" name="Freeform: Shape 5051">
              <a:extLst>
                <a:ext uri="{FF2B5EF4-FFF2-40B4-BE49-F238E27FC236}">
                  <a16:creationId xmlns:a16="http://schemas.microsoft.com/office/drawing/2014/main" id="{F8AC2B46-C84C-C0D0-09D9-9C62743E866C}"/>
                </a:ext>
              </a:extLst>
            </p:cNvPr>
            <p:cNvSpPr/>
            <p:nvPr/>
          </p:nvSpPr>
          <p:spPr>
            <a:xfrm flipH="1">
              <a:off x="1140535" y="3856469"/>
              <a:ext cx="169013" cy="204716"/>
            </a:xfrm>
            <a:custGeom>
              <a:avLst/>
              <a:gdLst>
                <a:gd name="connsiteX0" fmla="*/ 0 w 141696"/>
                <a:gd name="connsiteY0" fmla="*/ 0 h 171628"/>
                <a:gd name="connsiteX1" fmla="*/ 16062 w 141696"/>
                <a:gd name="connsiteY1" fmla="*/ 3266 h 171628"/>
                <a:gd name="connsiteX2" fmla="*/ 141696 w 141696"/>
                <a:gd name="connsiteY2" fmla="*/ 22326 h 171628"/>
                <a:gd name="connsiteX3" fmla="*/ 122055 w 141696"/>
                <a:gd name="connsiteY3" fmla="*/ 88006 h 171628"/>
                <a:gd name="connsiteX4" fmla="*/ 127692 w 141696"/>
                <a:gd name="connsiteY4" fmla="*/ 171628 h 171628"/>
                <a:gd name="connsiteX5" fmla="*/ 94002 w 141696"/>
                <a:gd name="connsiteY5" fmla="*/ 171136 h 171628"/>
                <a:gd name="connsiteX6" fmla="*/ 92615 w 141696"/>
                <a:gd name="connsiteY6" fmla="*/ 119907 h 171628"/>
                <a:gd name="connsiteX7" fmla="*/ 88991 w 141696"/>
                <a:gd name="connsiteY7" fmla="*/ 89707 h 171628"/>
                <a:gd name="connsiteX8" fmla="*/ 25861 w 141696"/>
                <a:gd name="connsiteY8" fmla="*/ 91004 h 171628"/>
                <a:gd name="connsiteX9" fmla="*/ 0 w 141696"/>
                <a:gd name="connsiteY9" fmla="*/ 0 h 1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6" h="171628">
                  <a:moveTo>
                    <a:pt x="0" y="0"/>
                  </a:moveTo>
                  <a:cubicBezTo>
                    <a:pt x="5369" y="939"/>
                    <a:pt x="10604" y="2148"/>
                    <a:pt x="16062" y="3266"/>
                  </a:cubicBezTo>
                  <a:cubicBezTo>
                    <a:pt x="57582" y="11767"/>
                    <a:pt x="99908" y="15257"/>
                    <a:pt x="141696" y="22326"/>
                  </a:cubicBezTo>
                  <a:cubicBezTo>
                    <a:pt x="134985" y="43981"/>
                    <a:pt x="115836" y="64159"/>
                    <a:pt x="122055" y="88006"/>
                  </a:cubicBezTo>
                  <a:cubicBezTo>
                    <a:pt x="128184" y="115478"/>
                    <a:pt x="125052" y="143799"/>
                    <a:pt x="127692" y="171628"/>
                  </a:cubicBezTo>
                  <a:cubicBezTo>
                    <a:pt x="116417" y="171360"/>
                    <a:pt x="105187" y="171225"/>
                    <a:pt x="94002" y="171136"/>
                  </a:cubicBezTo>
                  <a:cubicBezTo>
                    <a:pt x="93599" y="154045"/>
                    <a:pt x="93689" y="136954"/>
                    <a:pt x="92615" y="119907"/>
                  </a:cubicBezTo>
                  <a:cubicBezTo>
                    <a:pt x="91631" y="109751"/>
                    <a:pt x="90288" y="99729"/>
                    <a:pt x="88991" y="89707"/>
                  </a:cubicBezTo>
                  <a:cubicBezTo>
                    <a:pt x="67962" y="89259"/>
                    <a:pt x="46800" y="88275"/>
                    <a:pt x="25861" y="91004"/>
                  </a:cubicBezTo>
                  <a:cubicBezTo>
                    <a:pt x="19507" y="60267"/>
                    <a:pt x="18836" y="26487"/>
                    <a:pt x="0" y="0"/>
                  </a:cubicBezTo>
                  <a:close/>
                </a:path>
              </a:pathLst>
            </a:custGeom>
            <a:solidFill>
              <a:srgbClr val="B9979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4" name="Freeform: Shape 5053">
              <a:extLst>
                <a:ext uri="{FF2B5EF4-FFF2-40B4-BE49-F238E27FC236}">
                  <a16:creationId xmlns:a16="http://schemas.microsoft.com/office/drawing/2014/main" id="{241FB734-208F-17CF-7918-644E772D6D37}"/>
                </a:ext>
              </a:extLst>
            </p:cNvPr>
            <p:cNvSpPr/>
            <p:nvPr/>
          </p:nvSpPr>
          <p:spPr>
            <a:xfrm flipH="1">
              <a:off x="1820755" y="3860499"/>
              <a:ext cx="160366" cy="135830"/>
            </a:xfrm>
            <a:custGeom>
              <a:avLst/>
              <a:gdLst>
                <a:gd name="connsiteX0" fmla="*/ 69618 w 134446"/>
                <a:gd name="connsiteY0" fmla="*/ 647 h 113876"/>
                <a:gd name="connsiteX1" fmla="*/ 130242 w 134446"/>
                <a:gd name="connsiteY1" fmla="*/ 10804 h 113876"/>
                <a:gd name="connsiteX2" fmla="*/ 93823 w 134446"/>
                <a:gd name="connsiteY2" fmla="*/ 109682 h 113876"/>
                <a:gd name="connsiteX3" fmla="*/ 51721 w 134446"/>
                <a:gd name="connsiteY3" fmla="*/ 107266 h 113876"/>
                <a:gd name="connsiteX4" fmla="*/ 0 w 134446"/>
                <a:gd name="connsiteY4" fmla="*/ 53800 h 113876"/>
                <a:gd name="connsiteX5" fmla="*/ 69618 w 134446"/>
                <a:gd name="connsiteY5" fmla="*/ 647 h 113876"/>
                <a:gd name="connsiteX6" fmla="*/ 64696 w 134446"/>
                <a:gd name="connsiteY6" fmla="*/ 40109 h 113876"/>
                <a:gd name="connsiteX7" fmla="*/ 51005 w 134446"/>
                <a:gd name="connsiteY7" fmla="*/ 69863 h 113876"/>
                <a:gd name="connsiteX8" fmla="*/ 81787 w 134446"/>
                <a:gd name="connsiteY8" fmla="*/ 87043 h 113876"/>
                <a:gd name="connsiteX9" fmla="*/ 87022 w 134446"/>
                <a:gd name="connsiteY9" fmla="*/ 70489 h 113876"/>
                <a:gd name="connsiteX10" fmla="*/ 59461 w 134446"/>
                <a:gd name="connsiteY10" fmla="*/ 68520 h 113876"/>
                <a:gd name="connsiteX11" fmla="*/ 60177 w 134446"/>
                <a:gd name="connsiteY11" fmla="*/ 53442 h 113876"/>
                <a:gd name="connsiteX12" fmla="*/ 96060 w 134446"/>
                <a:gd name="connsiteY12" fmla="*/ 46507 h 113876"/>
                <a:gd name="connsiteX13" fmla="*/ 96060 w 134446"/>
                <a:gd name="connsiteY13" fmla="*/ 34069 h 113876"/>
                <a:gd name="connsiteX14" fmla="*/ 64696 w 134446"/>
                <a:gd name="connsiteY14" fmla="*/ 40109 h 11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446" h="113876">
                  <a:moveTo>
                    <a:pt x="69618" y="647"/>
                  </a:moveTo>
                  <a:cubicBezTo>
                    <a:pt x="90780" y="-3200"/>
                    <a:pt x="109303" y="11385"/>
                    <a:pt x="130242" y="10804"/>
                  </a:cubicBezTo>
                  <a:cubicBezTo>
                    <a:pt x="142591" y="47044"/>
                    <a:pt x="126931" y="90175"/>
                    <a:pt x="93823" y="109682"/>
                  </a:cubicBezTo>
                  <a:cubicBezTo>
                    <a:pt x="80445" y="117154"/>
                    <a:pt x="64696" y="113575"/>
                    <a:pt x="51721" y="107266"/>
                  </a:cubicBezTo>
                  <a:cubicBezTo>
                    <a:pt x="33019" y="90801"/>
                    <a:pt x="22102" y="66552"/>
                    <a:pt x="0" y="53800"/>
                  </a:cubicBezTo>
                  <a:cubicBezTo>
                    <a:pt x="21521" y="34427"/>
                    <a:pt x="37807" y="3511"/>
                    <a:pt x="69618" y="647"/>
                  </a:cubicBezTo>
                  <a:close/>
                  <a:moveTo>
                    <a:pt x="64696" y="40109"/>
                  </a:moveTo>
                  <a:cubicBezTo>
                    <a:pt x="56061" y="46865"/>
                    <a:pt x="45815" y="58051"/>
                    <a:pt x="51005" y="69863"/>
                  </a:cubicBezTo>
                  <a:cubicBezTo>
                    <a:pt x="58298" y="79750"/>
                    <a:pt x="70557" y="83464"/>
                    <a:pt x="81787" y="87043"/>
                  </a:cubicBezTo>
                  <a:cubicBezTo>
                    <a:pt x="83487" y="81495"/>
                    <a:pt x="85232" y="75992"/>
                    <a:pt x="87022" y="70489"/>
                  </a:cubicBezTo>
                  <a:cubicBezTo>
                    <a:pt x="78656" y="64091"/>
                    <a:pt x="68812" y="65970"/>
                    <a:pt x="59461" y="68520"/>
                  </a:cubicBezTo>
                  <a:cubicBezTo>
                    <a:pt x="57359" y="63599"/>
                    <a:pt x="55390" y="57603"/>
                    <a:pt x="60177" y="53442"/>
                  </a:cubicBezTo>
                  <a:cubicBezTo>
                    <a:pt x="68857" y="42391"/>
                    <a:pt x="83801" y="41362"/>
                    <a:pt x="96060" y="46507"/>
                  </a:cubicBezTo>
                  <a:lnTo>
                    <a:pt x="96060" y="34069"/>
                  </a:lnTo>
                  <a:cubicBezTo>
                    <a:pt x="85367" y="33846"/>
                    <a:pt x="73287" y="32190"/>
                    <a:pt x="64696" y="40109"/>
                  </a:cubicBezTo>
                  <a:close/>
                </a:path>
              </a:pathLst>
            </a:custGeom>
            <a:solidFill>
              <a:srgbClr val="F6B28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5" name="Freeform: Shape 5054">
              <a:extLst>
                <a:ext uri="{FF2B5EF4-FFF2-40B4-BE49-F238E27FC236}">
                  <a16:creationId xmlns:a16="http://schemas.microsoft.com/office/drawing/2014/main" id="{F3FD39E5-DB13-9948-2713-2378A3E98413}"/>
                </a:ext>
              </a:extLst>
            </p:cNvPr>
            <p:cNvSpPr/>
            <p:nvPr/>
          </p:nvSpPr>
          <p:spPr>
            <a:xfrm flipH="1">
              <a:off x="1278703" y="3856469"/>
              <a:ext cx="34902" cy="111323"/>
            </a:xfrm>
            <a:custGeom>
              <a:avLst/>
              <a:gdLst>
                <a:gd name="connsiteX0" fmla="*/ 3400 w 29260"/>
                <a:gd name="connsiteY0" fmla="*/ 0 h 93330"/>
                <a:gd name="connsiteX1" fmla="*/ 29261 w 29260"/>
                <a:gd name="connsiteY1" fmla="*/ 91004 h 93330"/>
                <a:gd name="connsiteX2" fmla="*/ 26039 w 29260"/>
                <a:gd name="connsiteY2" fmla="*/ 91586 h 93330"/>
                <a:gd name="connsiteX3" fmla="*/ 16017 w 29260"/>
                <a:gd name="connsiteY3" fmla="*/ 93331 h 93330"/>
                <a:gd name="connsiteX4" fmla="*/ 0 w 29260"/>
                <a:gd name="connsiteY4" fmla="*/ 6264 h 93330"/>
                <a:gd name="connsiteX5" fmla="*/ 3400 w 29260"/>
                <a:gd name="connsiteY5" fmla="*/ 0 h 9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60" h="93330">
                  <a:moveTo>
                    <a:pt x="3400" y="0"/>
                  </a:moveTo>
                  <a:cubicBezTo>
                    <a:pt x="22236" y="26487"/>
                    <a:pt x="22908" y="60267"/>
                    <a:pt x="29261" y="91004"/>
                  </a:cubicBezTo>
                  <a:lnTo>
                    <a:pt x="26039" y="91586"/>
                  </a:lnTo>
                  <a:cubicBezTo>
                    <a:pt x="23534" y="92033"/>
                    <a:pt x="18523" y="92883"/>
                    <a:pt x="16017" y="93331"/>
                  </a:cubicBezTo>
                  <a:cubicBezTo>
                    <a:pt x="13601" y="63891"/>
                    <a:pt x="10246" y="34138"/>
                    <a:pt x="0" y="6264"/>
                  </a:cubicBezTo>
                  <a:lnTo>
                    <a:pt x="3400" y="0"/>
                  </a:lnTo>
                  <a:close/>
                </a:path>
              </a:pathLst>
            </a:custGeom>
            <a:solidFill>
              <a:srgbClr val="EAF4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6" name="Freeform: Shape 5055">
              <a:extLst>
                <a:ext uri="{FF2B5EF4-FFF2-40B4-BE49-F238E27FC236}">
                  <a16:creationId xmlns:a16="http://schemas.microsoft.com/office/drawing/2014/main" id="{8F7E5D5A-AD0A-D6EF-BA35-9DB3825FF888}"/>
                </a:ext>
              </a:extLst>
            </p:cNvPr>
            <p:cNvSpPr/>
            <p:nvPr/>
          </p:nvSpPr>
          <p:spPr>
            <a:xfrm flipH="1">
              <a:off x="1221813" y="3866128"/>
              <a:ext cx="117140" cy="312090"/>
            </a:xfrm>
            <a:custGeom>
              <a:avLst/>
              <a:gdLst>
                <a:gd name="connsiteX0" fmla="*/ 0 w 98207"/>
                <a:gd name="connsiteY0" fmla="*/ 2192 h 261647"/>
                <a:gd name="connsiteX1" fmla="*/ 9306 w 98207"/>
                <a:gd name="connsiteY1" fmla="*/ 0 h 261647"/>
                <a:gd name="connsiteX2" fmla="*/ 28456 w 98207"/>
                <a:gd name="connsiteY2" fmla="*/ 86709 h 261647"/>
                <a:gd name="connsiteX3" fmla="*/ 37269 w 98207"/>
                <a:gd name="connsiteY3" fmla="*/ 85232 h 261647"/>
                <a:gd name="connsiteX4" fmla="*/ 47291 w 98207"/>
                <a:gd name="connsiteY4" fmla="*/ 83487 h 261647"/>
                <a:gd name="connsiteX5" fmla="*/ 27919 w 98207"/>
                <a:gd name="connsiteY5" fmla="*/ 91004 h 261647"/>
                <a:gd name="connsiteX6" fmla="*/ 28545 w 98207"/>
                <a:gd name="connsiteY6" fmla="*/ 108856 h 261647"/>
                <a:gd name="connsiteX7" fmla="*/ 98207 w 98207"/>
                <a:gd name="connsiteY7" fmla="*/ 110959 h 261647"/>
                <a:gd name="connsiteX8" fmla="*/ 25816 w 98207"/>
                <a:gd name="connsiteY8" fmla="*/ 110153 h 261647"/>
                <a:gd name="connsiteX9" fmla="*/ 25726 w 98207"/>
                <a:gd name="connsiteY9" fmla="*/ 165185 h 261647"/>
                <a:gd name="connsiteX10" fmla="*/ 45547 w 98207"/>
                <a:gd name="connsiteY10" fmla="*/ 165588 h 261647"/>
                <a:gd name="connsiteX11" fmla="*/ 32616 w 98207"/>
                <a:gd name="connsiteY11" fmla="*/ 167959 h 261647"/>
                <a:gd name="connsiteX12" fmla="*/ 32930 w 98207"/>
                <a:gd name="connsiteY12" fmla="*/ 176729 h 261647"/>
                <a:gd name="connsiteX13" fmla="*/ 31364 w 98207"/>
                <a:gd name="connsiteY13" fmla="*/ 257532 h 261647"/>
                <a:gd name="connsiteX14" fmla="*/ 23086 w 98207"/>
                <a:gd name="connsiteY14" fmla="*/ 252029 h 261647"/>
                <a:gd name="connsiteX15" fmla="*/ 12035 w 98207"/>
                <a:gd name="connsiteY15" fmla="*/ 261648 h 261647"/>
                <a:gd name="connsiteX16" fmla="*/ 10111 w 98207"/>
                <a:gd name="connsiteY16" fmla="*/ 245988 h 261647"/>
                <a:gd name="connsiteX17" fmla="*/ 12617 w 98207"/>
                <a:gd name="connsiteY17" fmla="*/ 85232 h 261647"/>
                <a:gd name="connsiteX18" fmla="*/ 671 w 98207"/>
                <a:gd name="connsiteY18" fmla="*/ 5279 h 261647"/>
                <a:gd name="connsiteX19" fmla="*/ 0 w 98207"/>
                <a:gd name="connsiteY19" fmla="*/ 2192 h 2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207" h="261647">
                  <a:moveTo>
                    <a:pt x="0" y="2192"/>
                  </a:moveTo>
                  <a:cubicBezTo>
                    <a:pt x="2326" y="1655"/>
                    <a:pt x="6980" y="537"/>
                    <a:pt x="9306" y="0"/>
                  </a:cubicBezTo>
                  <a:cubicBezTo>
                    <a:pt x="25413" y="25905"/>
                    <a:pt x="27069" y="57090"/>
                    <a:pt x="28456" y="86709"/>
                  </a:cubicBezTo>
                  <a:cubicBezTo>
                    <a:pt x="30648" y="86351"/>
                    <a:pt x="35077" y="85590"/>
                    <a:pt x="37269" y="85232"/>
                  </a:cubicBezTo>
                  <a:cubicBezTo>
                    <a:pt x="39775" y="84785"/>
                    <a:pt x="44786" y="83935"/>
                    <a:pt x="47291" y="83487"/>
                  </a:cubicBezTo>
                  <a:cubicBezTo>
                    <a:pt x="40715" y="85769"/>
                    <a:pt x="34272" y="88409"/>
                    <a:pt x="27919" y="91004"/>
                  </a:cubicBezTo>
                  <a:cubicBezTo>
                    <a:pt x="28053" y="95478"/>
                    <a:pt x="28411" y="104382"/>
                    <a:pt x="28545" y="108856"/>
                  </a:cubicBezTo>
                  <a:cubicBezTo>
                    <a:pt x="51766" y="108990"/>
                    <a:pt x="75031" y="109259"/>
                    <a:pt x="98207" y="110959"/>
                  </a:cubicBezTo>
                  <a:cubicBezTo>
                    <a:pt x="74092" y="109975"/>
                    <a:pt x="49931" y="109975"/>
                    <a:pt x="25816" y="110153"/>
                  </a:cubicBezTo>
                  <a:cubicBezTo>
                    <a:pt x="25234" y="128497"/>
                    <a:pt x="25145" y="146841"/>
                    <a:pt x="25726" y="165185"/>
                  </a:cubicBezTo>
                  <a:cubicBezTo>
                    <a:pt x="32303" y="165320"/>
                    <a:pt x="38880" y="165454"/>
                    <a:pt x="45547" y="165588"/>
                  </a:cubicBezTo>
                  <a:cubicBezTo>
                    <a:pt x="41162" y="166259"/>
                    <a:pt x="36867" y="167064"/>
                    <a:pt x="32616" y="167959"/>
                  </a:cubicBezTo>
                  <a:cubicBezTo>
                    <a:pt x="32661" y="170152"/>
                    <a:pt x="32840" y="174536"/>
                    <a:pt x="32930" y="176729"/>
                  </a:cubicBezTo>
                  <a:cubicBezTo>
                    <a:pt x="31856" y="203618"/>
                    <a:pt x="31990" y="230597"/>
                    <a:pt x="31364" y="257532"/>
                  </a:cubicBezTo>
                  <a:cubicBezTo>
                    <a:pt x="28545" y="255653"/>
                    <a:pt x="25816" y="253818"/>
                    <a:pt x="23086" y="252029"/>
                  </a:cubicBezTo>
                  <a:cubicBezTo>
                    <a:pt x="19373" y="255205"/>
                    <a:pt x="15660" y="258382"/>
                    <a:pt x="12035" y="261648"/>
                  </a:cubicBezTo>
                  <a:cubicBezTo>
                    <a:pt x="11275" y="256413"/>
                    <a:pt x="10514" y="251179"/>
                    <a:pt x="10111" y="245988"/>
                  </a:cubicBezTo>
                  <a:cubicBezTo>
                    <a:pt x="13646" y="192478"/>
                    <a:pt x="11051" y="138788"/>
                    <a:pt x="12617" y="85232"/>
                  </a:cubicBezTo>
                  <a:cubicBezTo>
                    <a:pt x="14541" y="58030"/>
                    <a:pt x="13870" y="29842"/>
                    <a:pt x="671" y="5279"/>
                  </a:cubicBezTo>
                  <a:lnTo>
                    <a:pt x="0" y="2192"/>
                  </a:lnTo>
                  <a:close/>
                </a:path>
              </a:pathLst>
            </a:custGeom>
            <a:solidFill>
              <a:srgbClr val="B6CA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7" name="Freeform: Shape 5056">
              <a:extLst>
                <a:ext uri="{FF2B5EF4-FFF2-40B4-BE49-F238E27FC236}">
                  <a16:creationId xmlns:a16="http://schemas.microsoft.com/office/drawing/2014/main" id="{0D428980-7D56-ACDF-4405-7541084BF0CD}"/>
                </a:ext>
              </a:extLst>
            </p:cNvPr>
            <p:cNvSpPr/>
            <p:nvPr/>
          </p:nvSpPr>
          <p:spPr>
            <a:xfrm flipH="1">
              <a:off x="1609722" y="3868048"/>
              <a:ext cx="271174" cy="376986"/>
            </a:xfrm>
            <a:custGeom>
              <a:avLst/>
              <a:gdLst>
                <a:gd name="connsiteX0" fmla="*/ 149839 w 227344"/>
                <a:gd name="connsiteY0" fmla="*/ 0 h 316053"/>
                <a:gd name="connsiteX1" fmla="*/ 201202 w 227344"/>
                <a:gd name="connsiteY1" fmla="*/ 78298 h 316053"/>
                <a:gd name="connsiteX2" fmla="*/ 206482 w 227344"/>
                <a:gd name="connsiteY2" fmla="*/ 40223 h 316053"/>
                <a:gd name="connsiteX3" fmla="*/ 211359 w 227344"/>
                <a:gd name="connsiteY3" fmla="*/ 70334 h 316053"/>
                <a:gd name="connsiteX4" fmla="*/ 227197 w 227344"/>
                <a:gd name="connsiteY4" fmla="*/ 91541 h 316053"/>
                <a:gd name="connsiteX5" fmla="*/ 208182 w 227344"/>
                <a:gd name="connsiteY5" fmla="*/ 134582 h 316053"/>
                <a:gd name="connsiteX6" fmla="*/ 212253 w 227344"/>
                <a:gd name="connsiteY6" fmla="*/ 153776 h 316053"/>
                <a:gd name="connsiteX7" fmla="*/ 170152 w 227344"/>
                <a:gd name="connsiteY7" fmla="*/ 199502 h 316053"/>
                <a:gd name="connsiteX8" fmla="*/ 121518 w 227344"/>
                <a:gd name="connsiteY8" fmla="*/ 269120 h 316053"/>
                <a:gd name="connsiteX9" fmla="*/ 83980 w 227344"/>
                <a:gd name="connsiteY9" fmla="*/ 271223 h 316053"/>
                <a:gd name="connsiteX10" fmla="*/ 77179 w 227344"/>
                <a:gd name="connsiteY10" fmla="*/ 304555 h 316053"/>
                <a:gd name="connsiteX11" fmla="*/ 50200 w 227344"/>
                <a:gd name="connsiteY11" fmla="*/ 316054 h 316053"/>
                <a:gd name="connsiteX12" fmla="*/ 716 w 227344"/>
                <a:gd name="connsiteY12" fmla="*/ 287643 h 316053"/>
                <a:gd name="connsiteX13" fmla="*/ 0 w 227344"/>
                <a:gd name="connsiteY13" fmla="*/ 282632 h 316053"/>
                <a:gd name="connsiteX14" fmla="*/ 81027 w 227344"/>
                <a:gd name="connsiteY14" fmla="*/ 232611 h 316053"/>
                <a:gd name="connsiteX15" fmla="*/ 164649 w 227344"/>
                <a:gd name="connsiteY15" fmla="*/ 146036 h 316053"/>
                <a:gd name="connsiteX16" fmla="*/ 181516 w 227344"/>
                <a:gd name="connsiteY16" fmla="*/ 55524 h 316053"/>
                <a:gd name="connsiteX17" fmla="*/ 149839 w 227344"/>
                <a:gd name="connsiteY17" fmla="*/ 0 h 31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7344" h="316053">
                  <a:moveTo>
                    <a:pt x="149839" y="0"/>
                  </a:moveTo>
                  <a:cubicBezTo>
                    <a:pt x="180532" y="14273"/>
                    <a:pt x="189435" y="49574"/>
                    <a:pt x="201202" y="78298"/>
                  </a:cubicBezTo>
                  <a:cubicBezTo>
                    <a:pt x="203260" y="65636"/>
                    <a:pt x="205497" y="53019"/>
                    <a:pt x="206482" y="40223"/>
                  </a:cubicBezTo>
                  <a:cubicBezTo>
                    <a:pt x="208137" y="50200"/>
                    <a:pt x="208451" y="60535"/>
                    <a:pt x="211359" y="70334"/>
                  </a:cubicBezTo>
                  <a:cubicBezTo>
                    <a:pt x="215833" y="77940"/>
                    <a:pt x="222320" y="84114"/>
                    <a:pt x="227197" y="91541"/>
                  </a:cubicBezTo>
                  <a:cubicBezTo>
                    <a:pt x="228897" y="108096"/>
                    <a:pt x="215430" y="120892"/>
                    <a:pt x="208182" y="134582"/>
                  </a:cubicBezTo>
                  <a:cubicBezTo>
                    <a:pt x="209659" y="140891"/>
                    <a:pt x="211493" y="147244"/>
                    <a:pt x="212253" y="153776"/>
                  </a:cubicBezTo>
                  <a:cubicBezTo>
                    <a:pt x="205855" y="174492"/>
                    <a:pt x="188764" y="189614"/>
                    <a:pt x="170152" y="199502"/>
                  </a:cubicBezTo>
                  <a:cubicBezTo>
                    <a:pt x="165857" y="229210"/>
                    <a:pt x="142457" y="249970"/>
                    <a:pt x="121518" y="269120"/>
                  </a:cubicBezTo>
                  <a:cubicBezTo>
                    <a:pt x="111138" y="279232"/>
                    <a:pt x="96328" y="272744"/>
                    <a:pt x="83980" y="271223"/>
                  </a:cubicBezTo>
                  <a:cubicBezTo>
                    <a:pt x="82146" y="282318"/>
                    <a:pt x="82458" y="294309"/>
                    <a:pt x="77179" y="304555"/>
                  </a:cubicBezTo>
                  <a:cubicBezTo>
                    <a:pt x="70378" y="312027"/>
                    <a:pt x="59372" y="313145"/>
                    <a:pt x="50200" y="316054"/>
                  </a:cubicBezTo>
                  <a:cubicBezTo>
                    <a:pt x="31767" y="310416"/>
                    <a:pt x="15973" y="299007"/>
                    <a:pt x="716" y="287643"/>
                  </a:cubicBezTo>
                  <a:lnTo>
                    <a:pt x="0" y="282632"/>
                  </a:lnTo>
                  <a:cubicBezTo>
                    <a:pt x="26219" y="264646"/>
                    <a:pt x="53556" y="248539"/>
                    <a:pt x="81027" y="232611"/>
                  </a:cubicBezTo>
                  <a:cubicBezTo>
                    <a:pt x="113643" y="209122"/>
                    <a:pt x="146036" y="182456"/>
                    <a:pt x="164649" y="146036"/>
                  </a:cubicBezTo>
                  <a:cubicBezTo>
                    <a:pt x="179055" y="118654"/>
                    <a:pt x="189749" y="86485"/>
                    <a:pt x="181516" y="55524"/>
                  </a:cubicBezTo>
                  <a:cubicBezTo>
                    <a:pt x="176953" y="34048"/>
                    <a:pt x="161964" y="17449"/>
                    <a:pt x="149839" y="0"/>
                  </a:cubicBezTo>
                  <a:close/>
                </a:path>
              </a:pathLst>
            </a:custGeom>
            <a:solidFill>
              <a:srgbClr val="BACEE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58" name="Freeform: Shape 5057">
              <a:extLst>
                <a:ext uri="{FF2B5EF4-FFF2-40B4-BE49-F238E27FC236}">
                  <a16:creationId xmlns:a16="http://schemas.microsoft.com/office/drawing/2014/main" id="{F49F2A78-372F-88CD-70A3-C52D67F01DD0}"/>
                </a:ext>
              </a:extLst>
            </p:cNvPr>
            <p:cNvSpPr/>
            <p:nvPr/>
          </p:nvSpPr>
          <p:spPr>
            <a:xfrm flipH="1">
              <a:off x="1322949" y="3872425"/>
              <a:ext cx="442568" cy="508962"/>
            </a:xfrm>
            <a:custGeom>
              <a:avLst/>
              <a:gdLst>
                <a:gd name="connsiteX0" fmla="*/ 358290 w 371036"/>
                <a:gd name="connsiteY0" fmla="*/ 0 h 426699"/>
                <a:gd name="connsiteX1" fmla="*/ 370236 w 371036"/>
                <a:gd name="connsiteY1" fmla="*/ 79953 h 426699"/>
                <a:gd name="connsiteX2" fmla="*/ 343525 w 371036"/>
                <a:gd name="connsiteY2" fmla="*/ 91183 h 426699"/>
                <a:gd name="connsiteX3" fmla="*/ 88454 w 371036"/>
                <a:gd name="connsiteY3" fmla="*/ 368983 h 426699"/>
                <a:gd name="connsiteX4" fmla="*/ 37001 w 371036"/>
                <a:gd name="connsiteY4" fmla="*/ 426699 h 426699"/>
                <a:gd name="connsiteX5" fmla="*/ 0 w 371036"/>
                <a:gd name="connsiteY5" fmla="*/ 412113 h 426699"/>
                <a:gd name="connsiteX6" fmla="*/ 18478 w 371036"/>
                <a:gd name="connsiteY6" fmla="*/ 401510 h 426699"/>
                <a:gd name="connsiteX7" fmla="*/ 273639 w 371036"/>
                <a:gd name="connsiteY7" fmla="*/ 124336 h 426699"/>
                <a:gd name="connsiteX8" fmla="*/ 358290 w 371036"/>
                <a:gd name="connsiteY8" fmla="*/ 0 h 42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36" h="426699">
                  <a:moveTo>
                    <a:pt x="358290" y="0"/>
                  </a:moveTo>
                  <a:cubicBezTo>
                    <a:pt x="371488" y="24563"/>
                    <a:pt x="372160" y="52750"/>
                    <a:pt x="370236" y="79953"/>
                  </a:cubicBezTo>
                  <a:cubicBezTo>
                    <a:pt x="359990" y="79729"/>
                    <a:pt x="350057" y="82951"/>
                    <a:pt x="343525" y="91183"/>
                  </a:cubicBezTo>
                  <a:cubicBezTo>
                    <a:pt x="258113" y="183440"/>
                    <a:pt x="174044" y="276905"/>
                    <a:pt x="88454" y="368983"/>
                  </a:cubicBezTo>
                  <a:cubicBezTo>
                    <a:pt x="71407" y="388311"/>
                    <a:pt x="52840" y="406342"/>
                    <a:pt x="37001" y="426699"/>
                  </a:cubicBezTo>
                  <a:cubicBezTo>
                    <a:pt x="25234" y="420480"/>
                    <a:pt x="12751" y="415648"/>
                    <a:pt x="0" y="412113"/>
                  </a:cubicBezTo>
                  <a:cubicBezTo>
                    <a:pt x="7293" y="410995"/>
                    <a:pt x="13512" y="406879"/>
                    <a:pt x="18478" y="401510"/>
                  </a:cubicBezTo>
                  <a:cubicBezTo>
                    <a:pt x="104785" y="310282"/>
                    <a:pt x="189435" y="217488"/>
                    <a:pt x="273639" y="124336"/>
                  </a:cubicBezTo>
                  <a:cubicBezTo>
                    <a:pt x="307329" y="87201"/>
                    <a:pt x="346567" y="50826"/>
                    <a:pt x="358290" y="0"/>
                  </a:cubicBezTo>
                  <a:close/>
                </a:path>
              </a:pathLst>
            </a:custGeom>
            <a:solidFill>
              <a:srgbClr val="CCD4E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2" name="Freeform: Shape 5061">
              <a:extLst>
                <a:ext uri="{FF2B5EF4-FFF2-40B4-BE49-F238E27FC236}">
                  <a16:creationId xmlns:a16="http://schemas.microsoft.com/office/drawing/2014/main" id="{F70B3B93-9BCB-BE16-3C41-67C53CE70057}"/>
                </a:ext>
              </a:extLst>
            </p:cNvPr>
            <p:cNvSpPr/>
            <p:nvPr/>
          </p:nvSpPr>
          <p:spPr>
            <a:xfrm flipH="1">
              <a:off x="1765828" y="3890091"/>
              <a:ext cx="11323" cy="94673"/>
            </a:xfrm>
            <a:custGeom>
              <a:avLst/>
              <a:gdLst>
                <a:gd name="connsiteX0" fmla="*/ 0 w 9493"/>
                <a:gd name="connsiteY0" fmla="*/ 90 h 79371"/>
                <a:gd name="connsiteX1" fmla="*/ 4743 w 9493"/>
                <a:gd name="connsiteY1" fmla="*/ 0 h 79371"/>
                <a:gd name="connsiteX2" fmla="*/ 8904 w 9493"/>
                <a:gd name="connsiteY2" fmla="*/ 63667 h 79371"/>
                <a:gd name="connsiteX3" fmla="*/ 1119 w 9493"/>
                <a:gd name="connsiteY3" fmla="*/ 79371 h 79371"/>
                <a:gd name="connsiteX4" fmla="*/ 0 w 9493"/>
                <a:gd name="connsiteY4" fmla="*/ 90 h 79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3" h="79371">
                  <a:moveTo>
                    <a:pt x="0" y="90"/>
                  </a:moveTo>
                  <a:lnTo>
                    <a:pt x="4743" y="0"/>
                  </a:lnTo>
                  <a:cubicBezTo>
                    <a:pt x="7338" y="21073"/>
                    <a:pt x="10917" y="42370"/>
                    <a:pt x="8904" y="63667"/>
                  </a:cubicBezTo>
                  <a:cubicBezTo>
                    <a:pt x="9262" y="70110"/>
                    <a:pt x="5235" y="74987"/>
                    <a:pt x="1119" y="79371"/>
                  </a:cubicBezTo>
                  <a:cubicBezTo>
                    <a:pt x="-626" y="52974"/>
                    <a:pt x="492" y="26532"/>
                    <a:pt x="0" y="90"/>
                  </a:cubicBezTo>
                  <a:close/>
                </a:path>
              </a:pathLst>
            </a:custGeom>
            <a:solidFill>
              <a:srgbClr val="B8C7E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4" name="Freeform: Shape 5063">
              <a:extLst>
                <a:ext uri="{FF2B5EF4-FFF2-40B4-BE49-F238E27FC236}">
                  <a16:creationId xmlns:a16="http://schemas.microsoft.com/office/drawing/2014/main" id="{B2FDD344-2317-3019-BB2D-E553904AFEF2}"/>
                </a:ext>
              </a:extLst>
            </p:cNvPr>
            <p:cNvSpPr/>
            <p:nvPr/>
          </p:nvSpPr>
          <p:spPr>
            <a:xfrm flipH="1">
              <a:off x="1866542" y="3900786"/>
              <a:ext cx="55414" cy="63536"/>
            </a:xfrm>
            <a:custGeom>
              <a:avLst/>
              <a:gdLst>
                <a:gd name="connsiteX0" fmla="*/ 15095 w 46458"/>
                <a:gd name="connsiteY0" fmla="*/ 6334 h 53267"/>
                <a:gd name="connsiteX1" fmla="*/ 46458 w 46458"/>
                <a:gd name="connsiteY1" fmla="*/ 294 h 53267"/>
                <a:gd name="connsiteX2" fmla="*/ 46458 w 46458"/>
                <a:gd name="connsiteY2" fmla="*/ 12732 h 53267"/>
                <a:gd name="connsiteX3" fmla="*/ 10576 w 46458"/>
                <a:gd name="connsiteY3" fmla="*/ 19667 h 53267"/>
                <a:gd name="connsiteX4" fmla="*/ 9860 w 46458"/>
                <a:gd name="connsiteY4" fmla="*/ 34745 h 53267"/>
                <a:gd name="connsiteX5" fmla="*/ 37421 w 46458"/>
                <a:gd name="connsiteY5" fmla="*/ 36714 h 53267"/>
                <a:gd name="connsiteX6" fmla="*/ 32186 w 46458"/>
                <a:gd name="connsiteY6" fmla="*/ 53268 h 53267"/>
                <a:gd name="connsiteX7" fmla="*/ 1404 w 46458"/>
                <a:gd name="connsiteY7" fmla="*/ 36087 h 53267"/>
                <a:gd name="connsiteX8" fmla="*/ 15095 w 46458"/>
                <a:gd name="connsiteY8" fmla="*/ 6334 h 5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8" h="53267">
                  <a:moveTo>
                    <a:pt x="15095" y="6334"/>
                  </a:moveTo>
                  <a:cubicBezTo>
                    <a:pt x="23685" y="-1585"/>
                    <a:pt x="35765" y="70"/>
                    <a:pt x="46458" y="294"/>
                  </a:cubicBezTo>
                  <a:lnTo>
                    <a:pt x="46458" y="12732"/>
                  </a:lnTo>
                  <a:cubicBezTo>
                    <a:pt x="34199" y="7587"/>
                    <a:pt x="19256" y="8616"/>
                    <a:pt x="10576" y="19667"/>
                  </a:cubicBezTo>
                  <a:cubicBezTo>
                    <a:pt x="5789" y="23828"/>
                    <a:pt x="7757" y="29823"/>
                    <a:pt x="9860" y="34745"/>
                  </a:cubicBezTo>
                  <a:cubicBezTo>
                    <a:pt x="19211" y="32195"/>
                    <a:pt x="29054" y="30316"/>
                    <a:pt x="37421" y="36714"/>
                  </a:cubicBezTo>
                  <a:cubicBezTo>
                    <a:pt x="35631" y="42217"/>
                    <a:pt x="33886" y="47720"/>
                    <a:pt x="32186" y="53268"/>
                  </a:cubicBezTo>
                  <a:cubicBezTo>
                    <a:pt x="20956" y="49688"/>
                    <a:pt x="8697" y="45975"/>
                    <a:pt x="1404" y="36087"/>
                  </a:cubicBezTo>
                  <a:cubicBezTo>
                    <a:pt x="-3786" y="24275"/>
                    <a:pt x="6460" y="13090"/>
                    <a:pt x="15095" y="6334"/>
                  </a:cubicBezTo>
                  <a:close/>
                </a:path>
              </a:pathLst>
            </a:custGeom>
            <a:solidFill>
              <a:srgbClr val="C1868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7" name="Freeform: Shape 5066">
              <a:extLst>
                <a:ext uri="{FF2B5EF4-FFF2-40B4-BE49-F238E27FC236}">
                  <a16:creationId xmlns:a16="http://schemas.microsoft.com/office/drawing/2014/main" id="{D9E48E63-C5E7-ACFD-B8BA-8CC9C33D2700}"/>
                </a:ext>
              </a:extLst>
            </p:cNvPr>
            <p:cNvSpPr/>
            <p:nvPr/>
          </p:nvSpPr>
          <p:spPr>
            <a:xfrm flipH="1">
              <a:off x="1997738" y="3926029"/>
              <a:ext cx="81348" cy="104999"/>
            </a:xfrm>
            <a:custGeom>
              <a:avLst/>
              <a:gdLst>
                <a:gd name="connsiteX0" fmla="*/ 26740 w 68200"/>
                <a:gd name="connsiteY0" fmla="*/ 3381 h 88028"/>
                <a:gd name="connsiteX1" fmla="*/ 65218 w 68200"/>
                <a:gd name="connsiteY1" fmla="*/ 20562 h 88028"/>
                <a:gd name="connsiteX2" fmla="*/ 47724 w 68200"/>
                <a:gd name="connsiteY2" fmla="*/ 83110 h 88028"/>
                <a:gd name="connsiteX3" fmla="*/ 2132 w 68200"/>
                <a:gd name="connsiteY3" fmla="*/ 69330 h 88028"/>
                <a:gd name="connsiteX4" fmla="*/ 26740 w 68200"/>
                <a:gd name="connsiteY4" fmla="*/ 3381 h 88028"/>
                <a:gd name="connsiteX5" fmla="*/ 35420 w 68200"/>
                <a:gd name="connsiteY5" fmla="*/ 21815 h 88028"/>
                <a:gd name="connsiteX6" fmla="*/ 18911 w 68200"/>
                <a:gd name="connsiteY6" fmla="*/ 62708 h 88028"/>
                <a:gd name="connsiteX7" fmla="*/ 45487 w 68200"/>
                <a:gd name="connsiteY7" fmla="*/ 52865 h 88028"/>
                <a:gd name="connsiteX8" fmla="*/ 35420 w 68200"/>
                <a:gd name="connsiteY8" fmla="*/ 21815 h 8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0" h="88028">
                  <a:moveTo>
                    <a:pt x="26740" y="3381"/>
                  </a:moveTo>
                  <a:cubicBezTo>
                    <a:pt x="41684" y="-5880"/>
                    <a:pt x="60252" y="5216"/>
                    <a:pt x="65218" y="20562"/>
                  </a:cubicBezTo>
                  <a:cubicBezTo>
                    <a:pt x="71840" y="41903"/>
                    <a:pt x="68037" y="70314"/>
                    <a:pt x="47724" y="83110"/>
                  </a:cubicBezTo>
                  <a:cubicBezTo>
                    <a:pt x="32646" y="93088"/>
                    <a:pt x="7770" y="87585"/>
                    <a:pt x="2132" y="69330"/>
                  </a:cubicBezTo>
                  <a:cubicBezTo>
                    <a:pt x="-4310" y="45304"/>
                    <a:pt x="3833" y="15640"/>
                    <a:pt x="26740" y="3381"/>
                  </a:cubicBezTo>
                  <a:close/>
                  <a:moveTo>
                    <a:pt x="35420" y="21815"/>
                  </a:moveTo>
                  <a:cubicBezTo>
                    <a:pt x="17568" y="24544"/>
                    <a:pt x="13497" y="48436"/>
                    <a:pt x="18911" y="62708"/>
                  </a:cubicBezTo>
                  <a:cubicBezTo>
                    <a:pt x="26606" y="74028"/>
                    <a:pt x="45263" y="65661"/>
                    <a:pt x="45487" y="52865"/>
                  </a:cubicBezTo>
                  <a:cubicBezTo>
                    <a:pt x="47187" y="42575"/>
                    <a:pt x="51169" y="21591"/>
                    <a:pt x="35420" y="21815"/>
                  </a:cubicBezTo>
                  <a:close/>
                </a:path>
              </a:pathLst>
            </a:custGeom>
            <a:solidFill>
              <a:srgbClr val="9AD1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8" name="Freeform: Shape 5067">
              <a:extLst>
                <a:ext uri="{FF2B5EF4-FFF2-40B4-BE49-F238E27FC236}">
                  <a16:creationId xmlns:a16="http://schemas.microsoft.com/office/drawing/2014/main" id="{36F81D6F-AECF-5EF9-1DAE-85897109A0A3}"/>
                </a:ext>
              </a:extLst>
            </p:cNvPr>
            <p:cNvSpPr/>
            <p:nvPr/>
          </p:nvSpPr>
          <p:spPr>
            <a:xfrm flipH="1">
              <a:off x="1730644" y="3923284"/>
              <a:ext cx="11925" cy="65054"/>
            </a:xfrm>
            <a:custGeom>
              <a:avLst/>
              <a:gdLst>
                <a:gd name="connsiteX0" fmla="*/ 0 w 9997"/>
                <a:gd name="connsiteY0" fmla="*/ 54540 h 54539"/>
                <a:gd name="connsiteX1" fmla="*/ 7919 w 9997"/>
                <a:gd name="connsiteY1" fmla="*/ 0 h 54539"/>
                <a:gd name="connsiteX2" fmla="*/ 0 w 9997"/>
                <a:gd name="connsiteY2" fmla="*/ 54540 h 54539"/>
              </a:gdLst>
              <a:ahLst/>
              <a:cxnLst>
                <a:cxn ang="0">
                  <a:pos x="connsiteX0" y="connsiteY0"/>
                </a:cxn>
                <a:cxn ang="0">
                  <a:pos x="connsiteX1" y="connsiteY1"/>
                </a:cxn>
                <a:cxn ang="0">
                  <a:pos x="connsiteX2" y="connsiteY2"/>
                </a:cxn>
              </a:cxnLst>
              <a:rect l="l" t="t" r="r" b="b"/>
              <a:pathLst>
                <a:path w="9997" h="54539">
                  <a:moveTo>
                    <a:pt x="0" y="54540"/>
                  </a:moveTo>
                  <a:cubicBezTo>
                    <a:pt x="1387" y="36375"/>
                    <a:pt x="-2237" y="16062"/>
                    <a:pt x="7919" y="0"/>
                  </a:cubicBezTo>
                  <a:cubicBezTo>
                    <a:pt x="11588" y="17986"/>
                    <a:pt x="11230" y="39194"/>
                    <a:pt x="0" y="54540"/>
                  </a:cubicBezTo>
                  <a:close/>
                </a:path>
              </a:pathLst>
            </a:custGeom>
            <a:solidFill>
              <a:srgbClr val="BCC9E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9" name="Freeform: Shape 5068">
              <a:extLst>
                <a:ext uri="{FF2B5EF4-FFF2-40B4-BE49-F238E27FC236}">
                  <a16:creationId xmlns:a16="http://schemas.microsoft.com/office/drawing/2014/main" id="{F5B99C71-7FB8-E123-A1B5-EC3C69044474}"/>
                </a:ext>
              </a:extLst>
            </p:cNvPr>
            <p:cNvSpPr/>
            <p:nvPr/>
          </p:nvSpPr>
          <p:spPr>
            <a:xfrm flipH="1">
              <a:off x="1813000" y="3930435"/>
              <a:ext cx="17893" cy="64201"/>
            </a:xfrm>
            <a:custGeom>
              <a:avLst/>
              <a:gdLst>
                <a:gd name="connsiteX0" fmla="*/ 11543 w 15001"/>
                <a:gd name="connsiteY0" fmla="*/ 0 h 53824"/>
                <a:gd name="connsiteX1" fmla="*/ 0 w 15001"/>
                <a:gd name="connsiteY1" fmla="*/ 53824 h 53824"/>
                <a:gd name="connsiteX2" fmla="*/ 11543 w 15001"/>
                <a:gd name="connsiteY2" fmla="*/ 0 h 53824"/>
              </a:gdLst>
              <a:ahLst/>
              <a:cxnLst>
                <a:cxn ang="0">
                  <a:pos x="connsiteX0" y="connsiteY0"/>
                </a:cxn>
                <a:cxn ang="0">
                  <a:pos x="connsiteX1" y="connsiteY1"/>
                </a:cxn>
                <a:cxn ang="0">
                  <a:pos x="connsiteX2" y="connsiteY2"/>
                </a:cxn>
              </a:cxnLst>
              <a:rect l="l" t="t" r="r" b="b"/>
              <a:pathLst>
                <a:path w="15001" h="53824">
                  <a:moveTo>
                    <a:pt x="11543" y="0"/>
                  </a:moveTo>
                  <a:cubicBezTo>
                    <a:pt x="17852" y="17897"/>
                    <a:pt x="16376" y="41699"/>
                    <a:pt x="0" y="53824"/>
                  </a:cubicBezTo>
                  <a:cubicBezTo>
                    <a:pt x="5459" y="36240"/>
                    <a:pt x="9083" y="18210"/>
                    <a:pt x="11543" y="0"/>
                  </a:cubicBezTo>
                  <a:close/>
                </a:path>
              </a:pathLst>
            </a:custGeom>
            <a:solidFill>
              <a:srgbClr val="C7CC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8" name="Freeform: Shape 5087">
              <a:extLst>
                <a:ext uri="{FF2B5EF4-FFF2-40B4-BE49-F238E27FC236}">
                  <a16:creationId xmlns:a16="http://schemas.microsoft.com/office/drawing/2014/main" id="{D1442CDB-17D7-5D3B-810F-176B59C5334F}"/>
                </a:ext>
              </a:extLst>
            </p:cNvPr>
            <p:cNvSpPr/>
            <p:nvPr/>
          </p:nvSpPr>
          <p:spPr>
            <a:xfrm flipH="1">
              <a:off x="1954644" y="4006517"/>
              <a:ext cx="10448" cy="18964"/>
            </a:xfrm>
            <a:custGeom>
              <a:avLst/>
              <a:gdLst>
                <a:gd name="connsiteX0" fmla="*/ 2311 w 8759"/>
                <a:gd name="connsiteY0" fmla="*/ 16 h 15899"/>
                <a:gd name="connsiteX1" fmla="*/ 5086 w 8759"/>
                <a:gd name="connsiteY1" fmla="*/ 15900 h 15899"/>
                <a:gd name="connsiteX2" fmla="*/ 2311 w 8759"/>
                <a:gd name="connsiteY2" fmla="*/ 16 h 15899"/>
              </a:gdLst>
              <a:ahLst/>
              <a:cxnLst>
                <a:cxn ang="0">
                  <a:pos x="connsiteX0" y="connsiteY0"/>
                </a:cxn>
                <a:cxn ang="0">
                  <a:pos x="connsiteX1" y="connsiteY1"/>
                </a:cxn>
                <a:cxn ang="0">
                  <a:pos x="connsiteX2" y="connsiteY2"/>
                </a:cxn>
              </a:cxnLst>
              <a:rect l="l" t="t" r="r" b="b"/>
              <a:pathLst>
                <a:path w="8759" h="15899">
                  <a:moveTo>
                    <a:pt x="2311" y="16"/>
                  </a:moveTo>
                  <a:cubicBezTo>
                    <a:pt x="8307" y="-565"/>
                    <a:pt x="11841" y="14468"/>
                    <a:pt x="5086" y="15900"/>
                  </a:cubicBezTo>
                  <a:cubicBezTo>
                    <a:pt x="-820" y="13439"/>
                    <a:pt x="-1357" y="4446"/>
                    <a:pt x="2311" y="16"/>
                  </a:cubicBezTo>
                  <a:close/>
                </a:path>
              </a:pathLst>
            </a:custGeom>
            <a:solidFill>
              <a:srgbClr val="AFA9A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9" name="Freeform: Shape 5088">
              <a:extLst>
                <a:ext uri="{FF2B5EF4-FFF2-40B4-BE49-F238E27FC236}">
                  <a16:creationId xmlns:a16="http://schemas.microsoft.com/office/drawing/2014/main" id="{1632CE0E-52D6-7734-6DCC-8E29249FD520}"/>
                </a:ext>
              </a:extLst>
            </p:cNvPr>
            <p:cNvSpPr/>
            <p:nvPr/>
          </p:nvSpPr>
          <p:spPr>
            <a:xfrm flipH="1">
              <a:off x="1846370" y="3996930"/>
              <a:ext cx="117941" cy="61935"/>
            </a:xfrm>
            <a:custGeom>
              <a:avLst/>
              <a:gdLst>
                <a:gd name="connsiteX0" fmla="*/ 25413 w 98878"/>
                <a:gd name="connsiteY0" fmla="*/ 0 h 51925"/>
                <a:gd name="connsiteX1" fmla="*/ 53287 w 98878"/>
                <a:gd name="connsiteY1" fmla="*/ 8277 h 51925"/>
                <a:gd name="connsiteX2" fmla="*/ 93599 w 98878"/>
                <a:gd name="connsiteY2" fmla="*/ 39328 h 51925"/>
                <a:gd name="connsiteX3" fmla="*/ 98879 w 98878"/>
                <a:gd name="connsiteY3" fmla="*/ 37985 h 51925"/>
                <a:gd name="connsiteX4" fmla="*/ 97715 w 98878"/>
                <a:gd name="connsiteY4" fmla="*/ 48589 h 51925"/>
                <a:gd name="connsiteX5" fmla="*/ 0 w 98878"/>
                <a:gd name="connsiteY5" fmla="*/ 49260 h 51925"/>
                <a:gd name="connsiteX6" fmla="*/ 22818 w 98878"/>
                <a:gd name="connsiteY6" fmla="*/ 27695 h 51925"/>
                <a:gd name="connsiteX7" fmla="*/ 25413 w 98878"/>
                <a:gd name="connsiteY7" fmla="*/ 0 h 5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878" h="51925">
                  <a:moveTo>
                    <a:pt x="25413" y="0"/>
                  </a:moveTo>
                  <a:cubicBezTo>
                    <a:pt x="34719" y="2550"/>
                    <a:pt x="44026" y="5369"/>
                    <a:pt x="53287" y="8277"/>
                  </a:cubicBezTo>
                  <a:cubicBezTo>
                    <a:pt x="68992" y="15167"/>
                    <a:pt x="91049" y="18926"/>
                    <a:pt x="93599" y="39328"/>
                  </a:cubicBezTo>
                  <a:cubicBezTo>
                    <a:pt x="94942" y="39014"/>
                    <a:pt x="97581" y="38299"/>
                    <a:pt x="98879" y="37985"/>
                  </a:cubicBezTo>
                  <a:cubicBezTo>
                    <a:pt x="98610" y="40625"/>
                    <a:pt x="98029" y="45949"/>
                    <a:pt x="97715" y="48589"/>
                  </a:cubicBezTo>
                  <a:cubicBezTo>
                    <a:pt x="65681" y="56643"/>
                    <a:pt x="32527" y="47336"/>
                    <a:pt x="0" y="49260"/>
                  </a:cubicBezTo>
                  <a:cubicBezTo>
                    <a:pt x="7696" y="42191"/>
                    <a:pt x="15570" y="35256"/>
                    <a:pt x="22818" y="27695"/>
                  </a:cubicBezTo>
                  <a:cubicBezTo>
                    <a:pt x="24295" y="18523"/>
                    <a:pt x="24608" y="9172"/>
                    <a:pt x="25413" y="0"/>
                  </a:cubicBezTo>
                  <a:close/>
                </a:path>
              </a:pathLst>
            </a:custGeom>
            <a:solidFill>
              <a:srgbClr val="F7B5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91" name="Freeform: Shape 5090">
              <a:extLst>
                <a:ext uri="{FF2B5EF4-FFF2-40B4-BE49-F238E27FC236}">
                  <a16:creationId xmlns:a16="http://schemas.microsoft.com/office/drawing/2014/main" id="{FB80B9E3-C869-9387-F790-8E8292A67704}"/>
                </a:ext>
              </a:extLst>
            </p:cNvPr>
            <p:cNvSpPr/>
            <p:nvPr/>
          </p:nvSpPr>
          <p:spPr>
            <a:xfrm flipH="1">
              <a:off x="1843807" y="4006803"/>
              <a:ext cx="56942" cy="37037"/>
            </a:xfrm>
            <a:custGeom>
              <a:avLst/>
              <a:gdLst>
                <a:gd name="connsiteX0" fmla="*/ 0 w 47739"/>
                <a:gd name="connsiteY0" fmla="*/ 0 h 31050"/>
                <a:gd name="connsiteX1" fmla="*/ 47739 w 47739"/>
                <a:gd name="connsiteY1" fmla="*/ 0 h 31050"/>
                <a:gd name="connsiteX2" fmla="*/ 45592 w 47739"/>
                <a:gd name="connsiteY2" fmla="*/ 29708 h 31050"/>
                <a:gd name="connsiteX3" fmla="*/ 40312 w 47739"/>
                <a:gd name="connsiteY3" fmla="*/ 31051 h 31050"/>
                <a:gd name="connsiteX4" fmla="*/ 0 w 47739"/>
                <a:gd name="connsiteY4" fmla="*/ 0 h 3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39" h="31050">
                  <a:moveTo>
                    <a:pt x="0" y="0"/>
                  </a:moveTo>
                  <a:cubicBezTo>
                    <a:pt x="15883" y="1297"/>
                    <a:pt x="31856" y="626"/>
                    <a:pt x="47739" y="0"/>
                  </a:cubicBezTo>
                  <a:cubicBezTo>
                    <a:pt x="46979" y="9888"/>
                    <a:pt x="46307" y="19776"/>
                    <a:pt x="45592" y="29708"/>
                  </a:cubicBezTo>
                  <a:cubicBezTo>
                    <a:pt x="44294" y="30022"/>
                    <a:pt x="41654" y="30737"/>
                    <a:pt x="40312" y="31051"/>
                  </a:cubicBezTo>
                  <a:cubicBezTo>
                    <a:pt x="37762" y="10648"/>
                    <a:pt x="15704" y="6890"/>
                    <a:pt x="0" y="0"/>
                  </a:cubicBezTo>
                  <a:close/>
                </a:path>
              </a:pathLst>
            </a:custGeom>
            <a:solidFill>
              <a:srgbClr val="E1A8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1" name="Freeform: Shape 5100">
              <a:extLst>
                <a:ext uri="{FF2B5EF4-FFF2-40B4-BE49-F238E27FC236}">
                  <a16:creationId xmlns:a16="http://schemas.microsoft.com/office/drawing/2014/main" id="{2E4F4A4E-6020-58F0-D687-9E3CB33341E2}"/>
                </a:ext>
              </a:extLst>
            </p:cNvPr>
            <p:cNvSpPr/>
            <p:nvPr/>
          </p:nvSpPr>
          <p:spPr>
            <a:xfrm flipH="1">
              <a:off x="1964151" y="4068443"/>
              <a:ext cx="152523" cy="61158"/>
            </a:xfrm>
            <a:custGeom>
              <a:avLst/>
              <a:gdLst>
                <a:gd name="connsiteX0" fmla="*/ 42728 w 127871"/>
                <a:gd name="connsiteY0" fmla="*/ 0 h 51273"/>
                <a:gd name="connsiteX1" fmla="*/ 93375 w 127871"/>
                <a:gd name="connsiteY1" fmla="*/ 626 h 51273"/>
                <a:gd name="connsiteX2" fmla="*/ 115478 w 127871"/>
                <a:gd name="connsiteY2" fmla="*/ 24250 h 51273"/>
                <a:gd name="connsiteX3" fmla="*/ 127871 w 127871"/>
                <a:gd name="connsiteY3" fmla="*/ 39417 h 51273"/>
                <a:gd name="connsiteX4" fmla="*/ 124337 w 127871"/>
                <a:gd name="connsiteY4" fmla="*/ 49260 h 51273"/>
                <a:gd name="connsiteX5" fmla="*/ 117267 w 127871"/>
                <a:gd name="connsiteY5" fmla="*/ 51274 h 51273"/>
                <a:gd name="connsiteX6" fmla="*/ 0 w 127871"/>
                <a:gd name="connsiteY6" fmla="*/ 43534 h 51273"/>
                <a:gd name="connsiteX7" fmla="*/ 71989 w 127871"/>
                <a:gd name="connsiteY7" fmla="*/ 40894 h 51273"/>
                <a:gd name="connsiteX8" fmla="*/ 122771 w 127871"/>
                <a:gd name="connsiteY8" fmla="*/ 40312 h 51273"/>
                <a:gd name="connsiteX9" fmla="*/ 42728 w 127871"/>
                <a:gd name="connsiteY9" fmla="*/ 0 h 5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871" h="51273">
                  <a:moveTo>
                    <a:pt x="42728" y="0"/>
                  </a:moveTo>
                  <a:cubicBezTo>
                    <a:pt x="59596" y="90"/>
                    <a:pt x="76463" y="805"/>
                    <a:pt x="93375" y="626"/>
                  </a:cubicBezTo>
                  <a:cubicBezTo>
                    <a:pt x="100982" y="8233"/>
                    <a:pt x="108543" y="15928"/>
                    <a:pt x="115478" y="24250"/>
                  </a:cubicBezTo>
                  <a:cubicBezTo>
                    <a:pt x="119505" y="29261"/>
                    <a:pt x="123576" y="34496"/>
                    <a:pt x="127871" y="39417"/>
                  </a:cubicBezTo>
                  <a:cubicBezTo>
                    <a:pt x="126976" y="41878"/>
                    <a:pt x="125231" y="46800"/>
                    <a:pt x="124337" y="49260"/>
                  </a:cubicBezTo>
                  <a:cubicBezTo>
                    <a:pt x="122592" y="49797"/>
                    <a:pt x="119057" y="50782"/>
                    <a:pt x="117267" y="51274"/>
                  </a:cubicBezTo>
                  <a:cubicBezTo>
                    <a:pt x="78208" y="49126"/>
                    <a:pt x="37941" y="55480"/>
                    <a:pt x="0" y="43534"/>
                  </a:cubicBezTo>
                  <a:cubicBezTo>
                    <a:pt x="22908" y="33198"/>
                    <a:pt x="47963" y="42997"/>
                    <a:pt x="71989" y="40894"/>
                  </a:cubicBezTo>
                  <a:cubicBezTo>
                    <a:pt x="88812" y="42549"/>
                    <a:pt x="106932" y="49752"/>
                    <a:pt x="122771" y="40312"/>
                  </a:cubicBezTo>
                  <a:cubicBezTo>
                    <a:pt x="96865" y="25234"/>
                    <a:pt x="66396" y="19194"/>
                    <a:pt x="42728" y="0"/>
                  </a:cubicBezTo>
                  <a:close/>
                </a:path>
              </a:pathLst>
            </a:custGeom>
            <a:solidFill>
              <a:srgbClr val="C5E2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2" name="Freeform: Shape 5101">
              <a:extLst>
                <a:ext uri="{FF2B5EF4-FFF2-40B4-BE49-F238E27FC236}">
                  <a16:creationId xmlns:a16="http://schemas.microsoft.com/office/drawing/2014/main" id="{61078B51-55D0-4283-43E5-52F3F4733172}"/>
                </a:ext>
              </a:extLst>
            </p:cNvPr>
            <p:cNvSpPr/>
            <p:nvPr/>
          </p:nvSpPr>
          <p:spPr>
            <a:xfrm flipH="1">
              <a:off x="1859765" y="4065924"/>
              <a:ext cx="145533" cy="41050"/>
            </a:xfrm>
            <a:custGeom>
              <a:avLst/>
              <a:gdLst>
                <a:gd name="connsiteX0" fmla="*/ 0 w 122010"/>
                <a:gd name="connsiteY0" fmla="*/ 2738 h 34415"/>
                <a:gd name="connsiteX1" fmla="*/ 48052 w 122010"/>
                <a:gd name="connsiteY1" fmla="*/ 9 h 34415"/>
                <a:gd name="connsiteX2" fmla="*/ 109751 w 122010"/>
                <a:gd name="connsiteY2" fmla="*/ 1575 h 34415"/>
                <a:gd name="connsiteX3" fmla="*/ 122010 w 122010"/>
                <a:gd name="connsiteY3" fmla="*/ 6989 h 34415"/>
                <a:gd name="connsiteX4" fmla="*/ 100489 w 122010"/>
                <a:gd name="connsiteY4" fmla="*/ 34415 h 34415"/>
                <a:gd name="connsiteX5" fmla="*/ 22102 w 122010"/>
                <a:gd name="connsiteY5" fmla="*/ 26362 h 34415"/>
                <a:gd name="connsiteX6" fmla="*/ 0 w 122010"/>
                <a:gd name="connsiteY6" fmla="*/ 2738 h 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10" h="34415">
                  <a:moveTo>
                    <a:pt x="0" y="2738"/>
                  </a:moveTo>
                  <a:cubicBezTo>
                    <a:pt x="16018" y="2291"/>
                    <a:pt x="31945" y="-170"/>
                    <a:pt x="48052" y="9"/>
                  </a:cubicBezTo>
                  <a:cubicBezTo>
                    <a:pt x="68634" y="-80"/>
                    <a:pt x="89125" y="3678"/>
                    <a:pt x="109751" y="1575"/>
                  </a:cubicBezTo>
                  <a:cubicBezTo>
                    <a:pt x="112793" y="2962"/>
                    <a:pt x="118968" y="5647"/>
                    <a:pt x="122010" y="6989"/>
                  </a:cubicBezTo>
                  <a:cubicBezTo>
                    <a:pt x="115702" y="16787"/>
                    <a:pt x="108319" y="25825"/>
                    <a:pt x="100489" y="34415"/>
                  </a:cubicBezTo>
                  <a:cubicBezTo>
                    <a:pt x="76508" y="21888"/>
                    <a:pt x="48187" y="25780"/>
                    <a:pt x="22102" y="26362"/>
                  </a:cubicBezTo>
                  <a:cubicBezTo>
                    <a:pt x="15167" y="18040"/>
                    <a:pt x="7606" y="10345"/>
                    <a:pt x="0" y="2738"/>
                  </a:cubicBezTo>
                  <a:close/>
                </a:path>
              </a:pathLst>
            </a:custGeom>
            <a:solidFill>
              <a:srgbClr val="F5A9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3" name="Freeform: Shape 5102">
              <a:extLst>
                <a:ext uri="{FF2B5EF4-FFF2-40B4-BE49-F238E27FC236}">
                  <a16:creationId xmlns:a16="http://schemas.microsoft.com/office/drawing/2014/main" id="{B4DB84F8-D8A1-C480-B8DC-C55CA17390F3}"/>
                </a:ext>
              </a:extLst>
            </p:cNvPr>
            <p:cNvSpPr/>
            <p:nvPr/>
          </p:nvSpPr>
          <p:spPr>
            <a:xfrm flipH="1">
              <a:off x="1847146" y="4071752"/>
              <a:ext cx="18916" cy="76796"/>
            </a:xfrm>
            <a:custGeom>
              <a:avLst/>
              <a:gdLst>
                <a:gd name="connsiteX0" fmla="*/ 0 w 15858"/>
                <a:gd name="connsiteY0" fmla="*/ 64383 h 64383"/>
                <a:gd name="connsiteX1" fmla="*/ 15525 w 15858"/>
                <a:gd name="connsiteY1" fmla="*/ 0 h 64383"/>
                <a:gd name="connsiteX2" fmla="*/ 9798 w 15858"/>
                <a:gd name="connsiteY2" fmla="*/ 56285 h 64383"/>
                <a:gd name="connsiteX3" fmla="*/ 0 w 15858"/>
                <a:gd name="connsiteY3" fmla="*/ 64383 h 64383"/>
              </a:gdLst>
              <a:ahLst/>
              <a:cxnLst>
                <a:cxn ang="0">
                  <a:pos x="connsiteX0" y="connsiteY0"/>
                </a:cxn>
                <a:cxn ang="0">
                  <a:pos x="connsiteX1" y="connsiteY1"/>
                </a:cxn>
                <a:cxn ang="0">
                  <a:pos x="connsiteX2" y="connsiteY2"/>
                </a:cxn>
                <a:cxn ang="0">
                  <a:pos x="connsiteX3" y="connsiteY3"/>
                </a:cxn>
              </a:cxnLst>
              <a:rect l="l" t="t" r="r" b="b"/>
              <a:pathLst>
                <a:path w="15858" h="64383">
                  <a:moveTo>
                    <a:pt x="0" y="64383"/>
                  </a:moveTo>
                  <a:cubicBezTo>
                    <a:pt x="5503" y="42997"/>
                    <a:pt x="6264" y="20313"/>
                    <a:pt x="15525" y="0"/>
                  </a:cubicBezTo>
                  <a:cubicBezTo>
                    <a:pt x="16554" y="18881"/>
                    <a:pt x="15346" y="38120"/>
                    <a:pt x="9798" y="56285"/>
                  </a:cubicBezTo>
                  <a:cubicBezTo>
                    <a:pt x="8545" y="61296"/>
                    <a:pt x="5279" y="64025"/>
                    <a:pt x="0" y="64383"/>
                  </a:cubicBezTo>
                  <a:close/>
                </a:path>
              </a:pathLst>
            </a:custGeom>
            <a:solidFill>
              <a:srgbClr val="C6D4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4" name="Freeform: Shape 5103">
              <a:extLst>
                <a:ext uri="{FF2B5EF4-FFF2-40B4-BE49-F238E27FC236}">
                  <a16:creationId xmlns:a16="http://schemas.microsoft.com/office/drawing/2014/main" id="{96114128-0051-81B9-BAB4-AEBD2AF454B1}"/>
                </a:ext>
              </a:extLst>
            </p:cNvPr>
            <p:cNvSpPr/>
            <p:nvPr/>
          </p:nvSpPr>
          <p:spPr>
            <a:xfrm flipH="1">
              <a:off x="1296508" y="4076928"/>
              <a:ext cx="343757" cy="463867"/>
            </a:xfrm>
            <a:custGeom>
              <a:avLst/>
              <a:gdLst>
                <a:gd name="connsiteX0" fmla="*/ 285540 w 288196"/>
                <a:gd name="connsiteY0" fmla="*/ 0 h 388892"/>
                <a:gd name="connsiteX1" fmla="*/ 287419 w 288196"/>
                <a:gd name="connsiteY1" fmla="*/ 86843 h 388892"/>
                <a:gd name="connsiteX2" fmla="*/ 276010 w 288196"/>
                <a:gd name="connsiteY2" fmla="*/ 90467 h 388892"/>
                <a:gd name="connsiteX3" fmla="*/ 277084 w 288196"/>
                <a:gd name="connsiteY3" fmla="*/ 103666 h 388892"/>
                <a:gd name="connsiteX4" fmla="*/ 263706 w 288196"/>
                <a:gd name="connsiteY4" fmla="*/ 116015 h 388892"/>
                <a:gd name="connsiteX5" fmla="*/ 3937 w 288196"/>
                <a:gd name="connsiteY5" fmla="*/ 388893 h 388892"/>
                <a:gd name="connsiteX6" fmla="*/ 0 w 288196"/>
                <a:gd name="connsiteY6" fmla="*/ 361600 h 388892"/>
                <a:gd name="connsiteX7" fmla="*/ 167333 w 288196"/>
                <a:gd name="connsiteY7" fmla="*/ 184693 h 388892"/>
                <a:gd name="connsiteX8" fmla="*/ 264646 w 288196"/>
                <a:gd name="connsiteY8" fmla="*/ 84919 h 388892"/>
                <a:gd name="connsiteX9" fmla="*/ 275697 w 288196"/>
                <a:gd name="connsiteY9" fmla="*/ 75300 h 388892"/>
                <a:gd name="connsiteX10" fmla="*/ 283974 w 288196"/>
                <a:gd name="connsiteY10" fmla="*/ 80803 h 388892"/>
                <a:gd name="connsiteX11" fmla="*/ 285540 w 288196"/>
                <a:gd name="connsiteY11" fmla="*/ 0 h 38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96" h="388892">
                  <a:moveTo>
                    <a:pt x="285540" y="0"/>
                  </a:moveTo>
                  <a:cubicBezTo>
                    <a:pt x="288269" y="28858"/>
                    <a:pt x="288896" y="57895"/>
                    <a:pt x="287419" y="86843"/>
                  </a:cubicBezTo>
                  <a:cubicBezTo>
                    <a:pt x="283571" y="88051"/>
                    <a:pt x="279768" y="89259"/>
                    <a:pt x="276010" y="90467"/>
                  </a:cubicBezTo>
                  <a:cubicBezTo>
                    <a:pt x="276279" y="93778"/>
                    <a:pt x="276815" y="100400"/>
                    <a:pt x="277084" y="103666"/>
                  </a:cubicBezTo>
                  <a:cubicBezTo>
                    <a:pt x="272520" y="107738"/>
                    <a:pt x="268091" y="111809"/>
                    <a:pt x="263706" y="116015"/>
                  </a:cubicBezTo>
                  <a:cubicBezTo>
                    <a:pt x="176192" y="206034"/>
                    <a:pt x="91899" y="299231"/>
                    <a:pt x="3937" y="388893"/>
                  </a:cubicBezTo>
                  <a:cubicBezTo>
                    <a:pt x="2819" y="379721"/>
                    <a:pt x="1611" y="370594"/>
                    <a:pt x="0" y="361600"/>
                  </a:cubicBezTo>
                  <a:cubicBezTo>
                    <a:pt x="57537" y="304331"/>
                    <a:pt x="111317" y="243438"/>
                    <a:pt x="167333" y="184693"/>
                  </a:cubicBezTo>
                  <a:cubicBezTo>
                    <a:pt x="199860" y="151539"/>
                    <a:pt x="230105" y="116059"/>
                    <a:pt x="264646" y="84919"/>
                  </a:cubicBezTo>
                  <a:cubicBezTo>
                    <a:pt x="268270" y="81653"/>
                    <a:pt x="271983" y="78476"/>
                    <a:pt x="275697" y="75300"/>
                  </a:cubicBezTo>
                  <a:cubicBezTo>
                    <a:pt x="278426" y="77089"/>
                    <a:pt x="281155" y="78924"/>
                    <a:pt x="283974" y="80803"/>
                  </a:cubicBezTo>
                  <a:cubicBezTo>
                    <a:pt x="284600" y="53869"/>
                    <a:pt x="284466" y="26890"/>
                    <a:pt x="285540" y="0"/>
                  </a:cubicBezTo>
                  <a:close/>
                </a:path>
              </a:pathLst>
            </a:custGeom>
            <a:solidFill>
              <a:srgbClr val="CED7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0" name="Freeform: Shape 4859">
              <a:extLst>
                <a:ext uri="{FF2B5EF4-FFF2-40B4-BE49-F238E27FC236}">
                  <a16:creationId xmlns:a16="http://schemas.microsoft.com/office/drawing/2014/main" id="{9486B602-679C-386C-2D72-3678D46637C6}"/>
                </a:ext>
              </a:extLst>
            </p:cNvPr>
            <p:cNvSpPr/>
            <p:nvPr/>
          </p:nvSpPr>
          <p:spPr>
            <a:xfrm flipH="1">
              <a:off x="672290" y="3094759"/>
              <a:ext cx="264274" cy="219992"/>
            </a:xfrm>
            <a:custGeom>
              <a:avLst/>
              <a:gdLst>
                <a:gd name="connsiteX0" fmla="*/ 0 w 221559"/>
                <a:gd name="connsiteY0" fmla="*/ 72345 h 184434"/>
                <a:gd name="connsiteX1" fmla="*/ 82458 w 221559"/>
                <a:gd name="connsiteY1" fmla="*/ 312 h 184434"/>
                <a:gd name="connsiteX2" fmla="*/ 149794 w 221559"/>
                <a:gd name="connsiteY2" fmla="*/ 10423 h 184434"/>
                <a:gd name="connsiteX3" fmla="*/ 221560 w 221559"/>
                <a:gd name="connsiteY3" fmla="*/ 100846 h 184434"/>
                <a:gd name="connsiteX4" fmla="*/ 181113 w 221559"/>
                <a:gd name="connsiteY4" fmla="*/ 166392 h 184434"/>
                <a:gd name="connsiteX5" fmla="*/ 135522 w 221559"/>
                <a:gd name="connsiteY5" fmla="*/ 183886 h 184434"/>
                <a:gd name="connsiteX6" fmla="*/ 109751 w 221559"/>
                <a:gd name="connsiteY6" fmla="*/ 182499 h 184434"/>
                <a:gd name="connsiteX7" fmla="*/ 90780 w 221559"/>
                <a:gd name="connsiteY7" fmla="*/ 178383 h 184434"/>
                <a:gd name="connsiteX8" fmla="*/ 68589 w 221559"/>
                <a:gd name="connsiteY8" fmla="*/ 136683 h 184434"/>
                <a:gd name="connsiteX9" fmla="*/ 27069 w 221559"/>
                <a:gd name="connsiteY9" fmla="*/ 110868 h 184434"/>
                <a:gd name="connsiteX10" fmla="*/ 0 w 221559"/>
                <a:gd name="connsiteY10" fmla="*/ 72345 h 18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559" h="184434">
                  <a:moveTo>
                    <a:pt x="0" y="72345"/>
                  </a:moveTo>
                  <a:cubicBezTo>
                    <a:pt x="12170" y="35299"/>
                    <a:pt x="44965" y="8857"/>
                    <a:pt x="82458" y="312"/>
                  </a:cubicBezTo>
                  <a:cubicBezTo>
                    <a:pt x="105187" y="-807"/>
                    <a:pt x="128766" y="759"/>
                    <a:pt x="149794" y="10423"/>
                  </a:cubicBezTo>
                  <a:cubicBezTo>
                    <a:pt x="186169" y="27156"/>
                    <a:pt x="212656" y="62010"/>
                    <a:pt x="221560" y="100846"/>
                  </a:cubicBezTo>
                  <a:cubicBezTo>
                    <a:pt x="208361" y="122858"/>
                    <a:pt x="201426" y="149301"/>
                    <a:pt x="181113" y="166392"/>
                  </a:cubicBezTo>
                  <a:cubicBezTo>
                    <a:pt x="168944" y="178025"/>
                    <a:pt x="152881" y="186749"/>
                    <a:pt x="135522" y="183886"/>
                  </a:cubicBezTo>
                  <a:cubicBezTo>
                    <a:pt x="126931" y="183438"/>
                    <a:pt x="118296" y="182857"/>
                    <a:pt x="109751" y="182499"/>
                  </a:cubicBezTo>
                  <a:cubicBezTo>
                    <a:pt x="103577" y="180396"/>
                    <a:pt x="97313" y="177801"/>
                    <a:pt x="90780" y="178383"/>
                  </a:cubicBezTo>
                  <a:cubicBezTo>
                    <a:pt x="85412" y="163663"/>
                    <a:pt x="80848" y="147287"/>
                    <a:pt x="68589" y="136683"/>
                  </a:cubicBezTo>
                  <a:cubicBezTo>
                    <a:pt x="55703" y="126572"/>
                    <a:pt x="39686" y="121337"/>
                    <a:pt x="27069" y="110868"/>
                  </a:cubicBezTo>
                  <a:cubicBezTo>
                    <a:pt x="14586" y="100801"/>
                    <a:pt x="7919" y="85812"/>
                    <a:pt x="0" y="72345"/>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63" name="Freeform: Shape 4862">
              <a:extLst>
                <a:ext uri="{FF2B5EF4-FFF2-40B4-BE49-F238E27FC236}">
                  <a16:creationId xmlns:a16="http://schemas.microsoft.com/office/drawing/2014/main" id="{1548E341-012C-10E6-53AD-6597AE3EEB90}"/>
                </a:ext>
              </a:extLst>
            </p:cNvPr>
            <p:cNvSpPr/>
            <p:nvPr/>
          </p:nvSpPr>
          <p:spPr>
            <a:xfrm flipH="1">
              <a:off x="770064" y="3312443"/>
              <a:ext cx="133574" cy="90243"/>
            </a:xfrm>
            <a:custGeom>
              <a:avLst/>
              <a:gdLst>
                <a:gd name="connsiteX0" fmla="*/ 82146 w 111985"/>
                <a:gd name="connsiteY0" fmla="*/ 0 h 75657"/>
                <a:gd name="connsiteX1" fmla="*/ 107916 w 111985"/>
                <a:gd name="connsiteY1" fmla="*/ 1387 h 75657"/>
                <a:gd name="connsiteX2" fmla="*/ 111854 w 111985"/>
                <a:gd name="connsiteY2" fmla="*/ 33735 h 75657"/>
                <a:gd name="connsiteX3" fmla="*/ 71005 w 111985"/>
                <a:gd name="connsiteY3" fmla="*/ 64920 h 75657"/>
                <a:gd name="connsiteX4" fmla="*/ 68365 w 111985"/>
                <a:gd name="connsiteY4" fmla="*/ 66217 h 75657"/>
                <a:gd name="connsiteX5" fmla="*/ 65591 w 111985"/>
                <a:gd name="connsiteY5" fmla="*/ 75658 h 75657"/>
                <a:gd name="connsiteX6" fmla="*/ 62504 w 111985"/>
                <a:gd name="connsiteY6" fmla="*/ 70289 h 75657"/>
                <a:gd name="connsiteX7" fmla="*/ 59819 w 111985"/>
                <a:gd name="connsiteY7" fmla="*/ 70423 h 75657"/>
                <a:gd name="connsiteX8" fmla="*/ 49752 w 111985"/>
                <a:gd name="connsiteY8" fmla="*/ 70602 h 75657"/>
                <a:gd name="connsiteX9" fmla="*/ 69528 w 111985"/>
                <a:gd name="connsiteY9" fmla="*/ 46084 h 75657"/>
                <a:gd name="connsiteX10" fmla="*/ 71318 w 111985"/>
                <a:gd name="connsiteY10" fmla="*/ 59819 h 75657"/>
                <a:gd name="connsiteX11" fmla="*/ 106261 w 111985"/>
                <a:gd name="connsiteY11" fmla="*/ 46039 h 75657"/>
                <a:gd name="connsiteX12" fmla="*/ 106753 w 111985"/>
                <a:gd name="connsiteY12" fmla="*/ 3266 h 75657"/>
                <a:gd name="connsiteX13" fmla="*/ 80356 w 111985"/>
                <a:gd name="connsiteY13" fmla="*/ 11767 h 75657"/>
                <a:gd name="connsiteX14" fmla="*/ 7024 w 111985"/>
                <a:gd name="connsiteY14" fmla="*/ 33377 h 75657"/>
                <a:gd name="connsiteX15" fmla="*/ 0 w 111985"/>
                <a:gd name="connsiteY15" fmla="*/ 27963 h 75657"/>
                <a:gd name="connsiteX16" fmla="*/ 68857 w 111985"/>
                <a:gd name="connsiteY16" fmla="*/ 5458 h 75657"/>
                <a:gd name="connsiteX17" fmla="*/ 82146 w 111985"/>
                <a:gd name="connsiteY1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985" h="75657">
                  <a:moveTo>
                    <a:pt x="82146" y="0"/>
                  </a:moveTo>
                  <a:cubicBezTo>
                    <a:pt x="90691" y="358"/>
                    <a:pt x="99326" y="940"/>
                    <a:pt x="107916" y="1387"/>
                  </a:cubicBezTo>
                  <a:cubicBezTo>
                    <a:pt x="109796" y="12080"/>
                    <a:pt x="111854" y="22818"/>
                    <a:pt x="111854" y="33735"/>
                  </a:cubicBezTo>
                  <a:cubicBezTo>
                    <a:pt x="114180" y="55837"/>
                    <a:pt x="85098" y="56777"/>
                    <a:pt x="71005" y="64920"/>
                  </a:cubicBezTo>
                  <a:lnTo>
                    <a:pt x="68365" y="66217"/>
                  </a:lnTo>
                  <a:cubicBezTo>
                    <a:pt x="67649" y="68589"/>
                    <a:pt x="66307" y="73287"/>
                    <a:pt x="65591" y="75658"/>
                  </a:cubicBezTo>
                  <a:cubicBezTo>
                    <a:pt x="64831" y="74315"/>
                    <a:pt x="63309" y="71631"/>
                    <a:pt x="62504" y="70289"/>
                  </a:cubicBezTo>
                  <a:lnTo>
                    <a:pt x="59819" y="70423"/>
                  </a:lnTo>
                  <a:cubicBezTo>
                    <a:pt x="57314" y="70468"/>
                    <a:pt x="52258" y="70557"/>
                    <a:pt x="49752" y="70602"/>
                  </a:cubicBezTo>
                  <a:cubicBezTo>
                    <a:pt x="59417" y="65322"/>
                    <a:pt x="65323" y="56016"/>
                    <a:pt x="69528" y="46084"/>
                  </a:cubicBezTo>
                  <a:cubicBezTo>
                    <a:pt x="69976" y="49529"/>
                    <a:pt x="70871" y="56374"/>
                    <a:pt x="71318" y="59819"/>
                  </a:cubicBezTo>
                  <a:cubicBezTo>
                    <a:pt x="83398" y="56777"/>
                    <a:pt x="96328" y="54227"/>
                    <a:pt x="106261" y="46039"/>
                  </a:cubicBezTo>
                  <a:cubicBezTo>
                    <a:pt x="109885" y="32080"/>
                    <a:pt x="107335" y="17449"/>
                    <a:pt x="106753" y="3266"/>
                  </a:cubicBezTo>
                  <a:cubicBezTo>
                    <a:pt x="97805" y="5816"/>
                    <a:pt x="88991" y="8546"/>
                    <a:pt x="80356" y="11767"/>
                  </a:cubicBezTo>
                  <a:cubicBezTo>
                    <a:pt x="56643" y="21118"/>
                    <a:pt x="32706" y="31185"/>
                    <a:pt x="7024" y="33377"/>
                  </a:cubicBezTo>
                  <a:cubicBezTo>
                    <a:pt x="4653" y="31498"/>
                    <a:pt x="2327" y="29708"/>
                    <a:pt x="0" y="27963"/>
                  </a:cubicBezTo>
                  <a:cubicBezTo>
                    <a:pt x="24563" y="26218"/>
                    <a:pt x="46934" y="15794"/>
                    <a:pt x="68857" y="5458"/>
                  </a:cubicBezTo>
                  <a:cubicBezTo>
                    <a:pt x="73331" y="3803"/>
                    <a:pt x="77761" y="1969"/>
                    <a:pt x="82146" y="0"/>
                  </a:cubicBezTo>
                  <a:close/>
                </a:path>
              </a:pathLst>
            </a:custGeom>
            <a:solidFill>
              <a:srgbClr val="F6F7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91" name="Freeform: Shape 4890">
              <a:extLst>
                <a:ext uri="{FF2B5EF4-FFF2-40B4-BE49-F238E27FC236}">
                  <a16:creationId xmlns:a16="http://schemas.microsoft.com/office/drawing/2014/main" id="{9966CC00-DB26-F63D-183D-4713ECFEA412}"/>
                </a:ext>
              </a:extLst>
            </p:cNvPr>
            <p:cNvSpPr/>
            <p:nvPr/>
          </p:nvSpPr>
          <p:spPr>
            <a:xfrm flipH="1">
              <a:off x="821505" y="3181053"/>
              <a:ext cx="133525" cy="164744"/>
            </a:xfrm>
            <a:custGeom>
              <a:avLst/>
              <a:gdLst>
                <a:gd name="connsiteX0" fmla="*/ 15481 w 111943"/>
                <a:gd name="connsiteY0" fmla="*/ 0 h 138116"/>
                <a:gd name="connsiteX1" fmla="*/ 42549 w 111943"/>
                <a:gd name="connsiteY1" fmla="*/ 38522 h 138116"/>
                <a:gd name="connsiteX2" fmla="*/ 84069 w 111943"/>
                <a:gd name="connsiteY2" fmla="*/ 64338 h 138116"/>
                <a:gd name="connsiteX3" fmla="*/ 106261 w 111943"/>
                <a:gd name="connsiteY3" fmla="*/ 106037 h 138116"/>
                <a:gd name="connsiteX4" fmla="*/ 111943 w 111943"/>
                <a:gd name="connsiteY4" fmla="*/ 115612 h 138116"/>
                <a:gd name="connsiteX5" fmla="*/ 43086 w 111943"/>
                <a:gd name="connsiteY5" fmla="*/ 138117 h 138116"/>
                <a:gd name="connsiteX6" fmla="*/ 42191 w 111943"/>
                <a:gd name="connsiteY6" fmla="*/ 137490 h 138116"/>
                <a:gd name="connsiteX7" fmla="*/ 36151 w 111943"/>
                <a:gd name="connsiteY7" fmla="*/ 118341 h 138116"/>
                <a:gd name="connsiteX8" fmla="*/ 42594 w 111943"/>
                <a:gd name="connsiteY8" fmla="*/ 98028 h 138116"/>
                <a:gd name="connsiteX9" fmla="*/ 43802 w 111943"/>
                <a:gd name="connsiteY9" fmla="*/ 107245 h 138116"/>
                <a:gd name="connsiteX10" fmla="*/ 45099 w 111943"/>
                <a:gd name="connsiteY10" fmla="*/ 112614 h 138116"/>
                <a:gd name="connsiteX11" fmla="*/ 60401 w 111943"/>
                <a:gd name="connsiteY11" fmla="*/ 115522 h 138116"/>
                <a:gd name="connsiteX12" fmla="*/ 68052 w 111943"/>
                <a:gd name="connsiteY12" fmla="*/ 96955 h 138116"/>
                <a:gd name="connsiteX13" fmla="*/ 97805 w 111943"/>
                <a:gd name="connsiteY13" fmla="*/ 97044 h 138116"/>
                <a:gd name="connsiteX14" fmla="*/ 85277 w 111943"/>
                <a:gd name="connsiteY14" fmla="*/ 81250 h 138116"/>
                <a:gd name="connsiteX15" fmla="*/ 64831 w 111943"/>
                <a:gd name="connsiteY15" fmla="*/ 90512 h 138116"/>
                <a:gd name="connsiteX16" fmla="*/ 63846 w 111943"/>
                <a:gd name="connsiteY16" fmla="*/ 81698 h 138116"/>
                <a:gd name="connsiteX17" fmla="*/ 62638 w 111943"/>
                <a:gd name="connsiteY17" fmla="*/ 66262 h 138116"/>
                <a:gd name="connsiteX18" fmla="*/ 26353 w 111943"/>
                <a:gd name="connsiteY18" fmla="*/ 89796 h 138116"/>
                <a:gd name="connsiteX19" fmla="*/ 17986 w 111943"/>
                <a:gd name="connsiteY19" fmla="*/ 84248 h 138116"/>
                <a:gd name="connsiteX20" fmla="*/ 11901 w 111943"/>
                <a:gd name="connsiteY20" fmla="*/ 66307 h 138116"/>
                <a:gd name="connsiteX21" fmla="*/ 6622 w 111943"/>
                <a:gd name="connsiteY21" fmla="*/ 59596 h 138116"/>
                <a:gd name="connsiteX22" fmla="*/ 0 w 111943"/>
                <a:gd name="connsiteY22" fmla="*/ 50737 h 138116"/>
                <a:gd name="connsiteX23" fmla="*/ 1477 w 111943"/>
                <a:gd name="connsiteY23" fmla="*/ 46979 h 138116"/>
                <a:gd name="connsiteX24" fmla="*/ 4609 w 111943"/>
                <a:gd name="connsiteY24" fmla="*/ 26263 h 138116"/>
                <a:gd name="connsiteX25" fmla="*/ 15481 w 111943"/>
                <a:gd name="connsiteY25" fmla="*/ 0 h 13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1943" h="138116">
                  <a:moveTo>
                    <a:pt x="15481" y="0"/>
                  </a:moveTo>
                  <a:cubicBezTo>
                    <a:pt x="23400" y="13467"/>
                    <a:pt x="30066" y="28456"/>
                    <a:pt x="42549" y="38522"/>
                  </a:cubicBezTo>
                  <a:cubicBezTo>
                    <a:pt x="55166" y="48992"/>
                    <a:pt x="71184" y="54227"/>
                    <a:pt x="84069" y="64338"/>
                  </a:cubicBezTo>
                  <a:cubicBezTo>
                    <a:pt x="96328" y="74942"/>
                    <a:pt x="100892" y="91317"/>
                    <a:pt x="106261" y="106037"/>
                  </a:cubicBezTo>
                  <a:cubicBezTo>
                    <a:pt x="107693" y="108453"/>
                    <a:pt x="110511" y="113196"/>
                    <a:pt x="111943" y="115612"/>
                  </a:cubicBezTo>
                  <a:cubicBezTo>
                    <a:pt x="90020" y="125947"/>
                    <a:pt x="67649" y="136372"/>
                    <a:pt x="43086" y="138117"/>
                  </a:cubicBezTo>
                  <a:lnTo>
                    <a:pt x="42191" y="137490"/>
                  </a:lnTo>
                  <a:cubicBezTo>
                    <a:pt x="39954" y="131092"/>
                    <a:pt x="37941" y="124784"/>
                    <a:pt x="36151" y="118341"/>
                  </a:cubicBezTo>
                  <a:cubicBezTo>
                    <a:pt x="38254" y="111540"/>
                    <a:pt x="40312" y="104740"/>
                    <a:pt x="42594" y="98028"/>
                  </a:cubicBezTo>
                  <a:cubicBezTo>
                    <a:pt x="42907" y="100355"/>
                    <a:pt x="43489" y="104963"/>
                    <a:pt x="43802" y="107245"/>
                  </a:cubicBezTo>
                  <a:lnTo>
                    <a:pt x="45099" y="112614"/>
                  </a:lnTo>
                  <a:cubicBezTo>
                    <a:pt x="50110" y="113643"/>
                    <a:pt x="55256" y="114583"/>
                    <a:pt x="60401" y="115522"/>
                  </a:cubicBezTo>
                  <a:cubicBezTo>
                    <a:pt x="62907" y="109303"/>
                    <a:pt x="65457" y="103084"/>
                    <a:pt x="68052" y="96955"/>
                  </a:cubicBezTo>
                  <a:cubicBezTo>
                    <a:pt x="77940" y="97805"/>
                    <a:pt x="87872" y="97805"/>
                    <a:pt x="97805" y="97044"/>
                  </a:cubicBezTo>
                  <a:cubicBezTo>
                    <a:pt x="93510" y="91720"/>
                    <a:pt x="89483" y="86530"/>
                    <a:pt x="85277" y="81250"/>
                  </a:cubicBezTo>
                  <a:cubicBezTo>
                    <a:pt x="78432" y="84338"/>
                    <a:pt x="71586" y="87425"/>
                    <a:pt x="64831" y="90512"/>
                  </a:cubicBezTo>
                  <a:cubicBezTo>
                    <a:pt x="64562" y="88320"/>
                    <a:pt x="64070" y="83890"/>
                    <a:pt x="63846" y="81698"/>
                  </a:cubicBezTo>
                  <a:cubicBezTo>
                    <a:pt x="63533" y="77850"/>
                    <a:pt x="62951" y="70110"/>
                    <a:pt x="62638" y="66262"/>
                  </a:cubicBezTo>
                  <a:cubicBezTo>
                    <a:pt x="45592" y="61967"/>
                    <a:pt x="30156" y="73242"/>
                    <a:pt x="26353" y="89796"/>
                  </a:cubicBezTo>
                  <a:cubicBezTo>
                    <a:pt x="24250" y="88409"/>
                    <a:pt x="20044" y="85635"/>
                    <a:pt x="17986" y="84248"/>
                  </a:cubicBezTo>
                  <a:cubicBezTo>
                    <a:pt x="21476" y="77358"/>
                    <a:pt x="17091" y="70602"/>
                    <a:pt x="11901" y="66307"/>
                  </a:cubicBezTo>
                  <a:cubicBezTo>
                    <a:pt x="10559" y="64607"/>
                    <a:pt x="7919" y="61251"/>
                    <a:pt x="6622" y="59596"/>
                  </a:cubicBezTo>
                  <a:cubicBezTo>
                    <a:pt x="4967" y="57403"/>
                    <a:pt x="1656" y="52974"/>
                    <a:pt x="0" y="50737"/>
                  </a:cubicBezTo>
                  <a:lnTo>
                    <a:pt x="1477" y="46979"/>
                  </a:lnTo>
                  <a:cubicBezTo>
                    <a:pt x="2685" y="40088"/>
                    <a:pt x="3445" y="33109"/>
                    <a:pt x="4609" y="26263"/>
                  </a:cubicBezTo>
                  <a:cubicBezTo>
                    <a:pt x="6801" y="16957"/>
                    <a:pt x="11320" y="8501"/>
                    <a:pt x="15481" y="0"/>
                  </a:cubicBezTo>
                  <a:close/>
                </a:path>
              </a:pathLst>
            </a:custGeom>
            <a:solidFill>
              <a:srgbClr val="F7A58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0" name="Freeform: Shape 4899">
              <a:extLst>
                <a:ext uri="{FF2B5EF4-FFF2-40B4-BE49-F238E27FC236}">
                  <a16:creationId xmlns:a16="http://schemas.microsoft.com/office/drawing/2014/main" id="{622D4261-C730-150D-EC6B-19FE89098A69}"/>
                </a:ext>
              </a:extLst>
            </p:cNvPr>
            <p:cNvSpPr/>
            <p:nvPr/>
          </p:nvSpPr>
          <p:spPr>
            <a:xfrm flipH="1">
              <a:off x="947132" y="3212379"/>
              <a:ext cx="45272" cy="96488"/>
            </a:xfrm>
            <a:custGeom>
              <a:avLst/>
              <a:gdLst>
                <a:gd name="connsiteX0" fmla="*/ 31199 w 37954"/>
                <a:gd name="connsiteY0" fmla="*/ 18568 h 80892"/>
                <a:gd name="connsiteX1" fmla="*/ 35942 w 37954"/>
                <a:gd name="connsiteY1" fmla="*/ 0 h 80892"/>
                <a:gd name="connsiteX2" fmla="*/ 32810 w 37954"/>
                <a:gd name="connsiteY2" fmla="*/ 20715 h 80892"/>
                <a:gd name="connsiteX3" fmla="*/ 7844 w 37954"/>
                <a:gd name="connsiteY3" fmla="*/ 41207 h 80892"/>
                <a:gd name="connsiteX4" fmla="*/ 3101 w 37954"/>
                <a:gd name="connsiteY4" fmla="*/ 64517 h 80892"/>
                <a:gd name="connsiteX5" fmla="*/ 13302 w 37954"/>
                <a:gd name="connsiteY5" fmla="*/ 73823 h 80892"/>
                <a:gd name="connsiteX6" fmla="*/ 19119 w 37954"/>
                <a:gd name="connsiteY6" fmla="*/ 51855 h 80892"/>
                <a:gd name="connsiteX7" fmla="*/ 31333 w 37954"/>
                <a:gd name="connsiteY7" fmla="*/ 24474 h 80892"/>
                <a:gd name="connsiteX8" fmla="*/ 37955 w 37954"/>
                <a:gd name="connsiteY8" fmla="*/ 33332 h 80892"/>
                <a:gd name="connsiteX9" fmla="*/ 29275 w 37954"/>
                <a:gd name="connsiteY9" fmla="*/ 69439 h 80892"/>
                <a:gd name="connsiteX10" fmla="*/ 22251 w 37954"/>
                <a:gd name="connsiteY10" fmla="*/ 74092 h 80892"/>
                <a:gd name="connsiteX11" fmla="*/ 11781 w 37954"/>
                <a:gd name="connsiteY11" fmla="*/ 80892 h 80892"/>
                <a:gd name="connsiteX12" fmla="*/ 1983 w 37954"/>
                <a:gd name="connsiteY12" fmla="*/ 34003 h 80892"/>
                <a:gd name="connsiteX13" fmla="*/ 31199 w 37954"/>
                <a:gd name="connsiteY13" fmla="*/ 18568 h 8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54" h="80892">
                  <a:moveTo>
                    <a:pt x="31199" y="18568"/>
                  </a:moveTo>
                  <a:cubicBezTo>
                    <a:pt x="32675" y="12349"/>
                    <a:pt x="34241" y="6130"/>
                    <a:pt x="35942" y="0"/>
                  </a:cubicBezTo>
                  <a:cubicBezTo>
                    <a:pt x="34778" y="6845"/>
                    <a:pt x="34018" y="13825"/>
                    <a:pt x="32810" y="20715"/>
                  </a:cubicBezTo>
                  <a:cubicBezTo>
                    <a:pt x="21624" y="23489"/>
                    <a:pt x="7575" y="26845"/>
                    <a:pt x="7844" y="41207"/>
                  </a:cubicBezTo>
                  <a:cubicBezTo>
                    <a:pt x="6099" y="48947"/>
                    <a:pt x="4578" y="56687"/>
                    <a:pt x="3101" y="64517"/>
                  </a:cubicBezTo>
                  <a:cubicBezTo>
                    <a:pt x="6457" y="67559"/>
                    <a:pt x="9857" y="70691"/>
                    <a:pt x="13302" y="73823"/>
                  </a:cubicBezTo>
                  <a:cubicBezTo>
                    <a:pt x="15137" y="66441"/>
                    <a:pt x="16971" y="59103"/>
                    <a:pt x="19119" y="51855"/>
                  </a:cubicBezTo>
                  <a:cubicBezTo>
                    <a:pt x="22743" y="42504"/>
                    <a:pt x="27217" y="33601"/>
                    <a:pt x="31333" y="24474"/>
                  </a:cubicBezTo>
                  <a:cubicBezTo>
                    <a:pt x="32989" y="26711"/>
                    <a:pt x="36300" y="31140"/>
                    <a:pt x="37955" y="33332"/>
                  </a:cubicBezTo>
                  <a:cubicBezTo>
                    <a:pt x="33526" y="44965"/>
                    <a:pt x="30931" y="57135"/>
                    <a:pt x="29275" y="69439"/>
                  </a:cubicBezTo>
                  <a:cubicBezTo>
                    <a:pt x="26904" y="70960"/>
                    <a:pt x="24533" y="72526"/>
                    <a:pt x="22251" y="74092"/>
                  </a:cubicBezTo>
                  <a:cubicBezTo>
                    <a:pt x="19611" y="75792"/>
                    <a:pt x="14376" y="79192"/>
                    <a:pt x="11781" y="80892"/>
                  </a:cubicBezTo>
                  <a:cubicBezTo>
                    <a:pt x="-4371" y="70423"/>
                    <a:pt x="193" y="50066"/>
                    <a:pt x="1983" y="34003"/>
                  </a:cubicBezTo>
                  <a:cubicBezTo>
                    <a:pt x="8873" y="24339"/>
                    <a:pt x="19566" y="19641"/>
                    <a:pt x="31199" y="18568"/>
                  </a:cubicBezTo>
                  <a:close/>
                </a:path>
              </a:pathLst>
            </a:custGeom>
            <a:solidFill>
              <a:srgbClr val="B2889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3" name="Freeform: Shape 4902">
              <a:extLst>
                <a:ext uri="{FF2B5EF4-FFF2-40B4-BE49-F238E27FC236}">
                  <a16:creationId xmlns:a16="http://schemas.microsoft.com/office/drawing/2014/main" id="{FD498D89-B919-8F78-B89C-286B28800BF7}"/>
                </a:ext>
              </a:extLst>
            </p:cNvPr>
            <p:cNvSpPr/>
            <p:nvPr/>
          </p:nvSpPr>
          <p:spPr>
            <a:xfrm flipH="1">
              <a:off x="656227" y="3215047"/>
              <a:ext cx="163037" cy="319562"/>
            </a:xfrm>
            <a:custGeom>
              <a:avLst/>
              <a:gdLst>
                <a:gd name="connsiteX0" fmla="*/ 82772 w 136685"/>
                <a:gd name="connsiteY0" fmla="*/ 65546 h 267911"/>
                <a:gd name="connsiteX1" fmla="*/ 123218 w 136685"/>
                <a:gd name="connsiteY1" fmla="*/ 0 h 267911"/>
                <a:gd name="connsiteX2" fmla="*/ 122815 w 136685"/>
                <a:gd name="connsiteY2" fmla="*/ 34496 h 267911"/>
                <a:gd name="connsiteX3" fmla="*/ 134001 w 136685"/>
                <a:gd name="connsiteY3" fmla="*/ 41341 h 267911"/>
                <a:gd name="connsiteX4" fmla="*/ 136685 w 136685"/>
                <a:gd name="connsiteY4" fmla="*/ 46934 h 267911"/>
                <a:gd name="connsiteX5" fmla="*/ 106440 w 136685"/>
                <a:gd name="connsiteY5" fmla="*/ 102413 h 267911"/>
                <a:gd name="connsiteX6" fmla="*/ 126842 w 136685"/>
                <a:gd name="connsiteY6" fmla="*/ 143262 h 267911"/>
                <a:gd name="connsiteX7" fmla="*/ 114941 w 136685"/>
                <a:gd name="connsiteY7" fmla="*/ 267912 h 267911"/>
                <a:gd name="connsiteX8" fmla="*/ 126842 w 136685"/>
                <a:gd name="connsiteY8" fmla="*/ 204782 h 267911"/>
                <a:gd name="connsiteX9" fmla="*/ 102369 w 136685"/>
                <a:gd name="connsiteY9" fmla="*/ 112212 h 267911"/>
                <a:gd name="connsiteX10" fmla="*/ 63488 w 136685"/>
                <a:gd name="connsiteY10" fmla="*/ 157937 h 267911"/>
                <a:gd name="connsiteX11" fmla="*/ 403 w 136685"/>
                <a:gd name="connsiteY11" fmla="*/ 199010 h 267911"/>
                <a:gd name="connsiteX12" fmla="*/ 269 w 136685"/>
                <a:gd name="connsiteY12" fmla="*/ 146573 h 267911"/>
                <a:gd name="connsiteX13" fmla="*/ 41117 w 136685"/>
                <a:gd name="connsiteY13" fmla="*/ 115388 h 267911"/>
                <a:gd name="connsiteX14" fmla="*/ 37180 w 136685"/>
                <a:gd name="connsiteY14" fmla="*/ 83040 h 267911"/>
                <a:gd name="connsiteX15" fmla="*/ 82772 w 136685"/>
                <a:gd name="connsiteY15" fmla="*/ 65546 h 26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85" h="267911">
                  <a:moveTo>
                    <a:pt x="82772" y="65546"/>
                  </a:moveTo>
                  <a:cubicBezTo>
                    <a:pt x="103085" y="48455"/>
                    <a:pt x="110019" y="22013"/>
                    <a:pt x="123218" y="0"/>
                  </a:cubicBezTo>
                  <a:cubicBezTo>
                    <a:pt x="123531" y="11454"/>
                    <a:pt x="123129" y="22952"/>
                    <a:pt x="122815" y="34496"/>
                  </a:cubicBezTo>
                  <a:cubicBezTo>
                    <a:pt x="126529" y="36688"/>
                    <a:pt x="130287" y="38970"/>
                    <a:pt x="134001" y="41341"/>
                  </a:cubicBezTo>
                  <a:cubicBezTo>
                    <a:pt x="134672" y="42728"/>
                    <a:pt x="136014" y="45547"/>
                    <a:pt x="136685" y="46934"/>
                  </a:cubicBezTo>
                  <a:cubicBezTo>
                    <a:pt x="126753" y="65501"/>
                    <a:pt x="112704" y="82100"/>
                    <a:pt x="106440" y="102413"/>
                  </a:cubicBezTo>
                  <a:cubicBezTo>
                    <a:pt x="110914" y="117044"/>
                    <a:pt x="122189" y="128542"/>
                    <a:pt x="126842" y="143262"/>
                  </a:cubicBezTo>
                  <a:cubicBezTo>
                    <a:pt x="140488" y="183753"/>
                    <a:pt x="139862" y="231716"/>
                    <a:pt x="114941" y="267912"/>
                  </a:cubicBezTo>
                  <a:cubicBezTo>
                    <a:pt x="118833" y="246839"/>
                    <a:pt x="126529" y="226347"/>
                    <a:pt x="126842" y="204782"/>
                  </a:cubicBezTo>
                  <a:cubicBezTo>
                    <a:pt x="127513" y="172523"/>
                    <a:pt x="121921" y="138699"/>
                    <a:pt x="102369" y="112212"/>
                  </a:cubicBezTo>
                  <a:cubicBezTo>
                    <a:pt x="90512" y="128318"/>
                    <a:pt x="79372" y="145454"/>
                    <a:pt x="63488" y="157937"/>
                  </a:cubicBezTo>
                  <a:cubicBezTo>
                    <a:pt x="43713" y="173507"/>
                    <a:pt x="21297" y="185095"/>
                    <a:pt x="403" y="199010"/>
                  </a:cubicBezTo>
                  <a:cubicBezTo>
                    <a:pt x="45" y="181516"/>
                    <a:pt x="-224" y="164022"/>
                    <a:pt x="269" y="146573"/>
                  </a:cubicBezTo>
                  <a:cubicBezTo>
                    <a:pt x="14362" y="138430"/>
                    <a:pt x="43444" y="137490"/>
                    <a:pt x="41117" y="115388"/>
                  </a:cubicBezTo>
                  <a:cubicBezTo>
                    <a:pt x="41117" y="104471"/>
                    <a:pt x="39060" y="93733"/>
                    <a:pt x="37180" y="83040"/>
                  </a:cubicBezTo>
                  <a:cubicBezTo>
                    <a:pt x="54540" y="85904"/>
                    <a:pt x="70602" y="77179"/>
                    <a:pt x="82772" y="65546"/>
                  </a:cubicBezTo>
                  <a:close/>
                </a:path>
              </a:pathLst>
            </a:custGeom>
            <a:solidFill>
              <a:schemeClr val="tx1"/>
            </a:solid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08" name="Freeform: Shape 4907">
              <a:extLst>
                <a:ext uri="{FF2B5EF4-FFF2-40B4-BE49-F238E27FC236}">
                  <a16:creationId xmlns:a16="http://schemas.microsoft.com/office/drawing/2014/main" id="{383C6E5F-98BE-C45E-409F-9F2D4E666B20}"/>
                </a:ext>
              </a:extLst>
            </p:cNvPr>
            <p:cNvSpPr/>
            <p:nvPr/>
          </p:nvSpPr>
          <p:spPr>
            <a:xfrm flipH="1">
              <a:off x="953269" y="3237088"/>
              <a:ext cx="29783" cy="37144"/>
            </a:xfrm>
            <a:custGeom>
              <a:avLst/>
              <a:gdLst>
                <a:gd name="connsiteX0" fmla="*/ 4 w 24969"/>
                <a:gd name="connsiteY0" fmla="*/ 20492 h 31140"/>
                <a:gd name="connsiteX1" fmla="*/ 24970 w 24969"/>
                <a:gd name="connsiteY1" fmla="*/ 0 h 31140"/>
                <a:gd name="connsiteX2" fmla="*/ 23493 w 24969"/>
                <a:gd name="connsiteY2" fmla="*/ 3758 h 31140"/>
                <a:gd name="connsiteX3" fmla="*/ 11279 w 24969"/>
                <a:gd name="connsiteY3" fmla="*/ 31140 h 31140"/>
                <a:gd name="connsiteX4" fmla="*/ 4 w 24969"/>
                <a:gd name="connsiteY4" fmla="*/ 20492 h 3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9" h="31140">
                  <a:moveTo>
                    <a:pt x="4" y="20492"/>
                  </a:moveTo>
                  <a:cubicBezTo>
                    <a:pt x="-265" y="6130"/>
                    <a:pt x="13784" y="2774"/>
                    <a:pt x="24970" y="0"/>
                  </a:cubicBezTo>
                  <a:lnTo>
                    <a:pt x="23493" y="3758"/>
                  </a:lnTo>
                  <a:cubicBezTo>
                    <a:pt x="19377" y="12885"/>
                    <a:pt x="14903" y="21789"/>
                    <a:pt x="11279" y="31140"/>
                  </a:cubicBezTo>
                  <a:cubicBezTo>
                    <a:pt x="7431" y="27650"/>
                    <a:pt x="3673" y="24116"/>
                    <a:pt x="4" y="20492"/>
                  </a:cubicBezTo>
                  <a:close/>
                </a:path>
              </a:pathLst>
            </a:custGeom>
            <a:solidFill>
              <a:srgbClr val="F0D2C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2" name="Freeform: Shape 4911">
              <a:extLst>
                <a:ext uri="{FF2B5EF4-FFF2-40B4-BE49-F238E27FC236}">
                  <a16:creationId xmlns:a16="http://schemas.microsoft.com/office/drawing/2014/main" id="{DC1C0820-8A2D-7800-B880-D29715F2D79B}"/>
                </a:ext>
              </a:extLst>
            </p:cNvPr>
            <p:cNvSpPr/>
            <p:nvPr/>
          </p:nvSpPr>
          <p:spPr>
            <a:xfrm flipH="1">
              <a:off x="940834" y="3252137"/>
              <a:ext cx="25029" cy="68951"/>
            </a:xfrm>
            <a:custGeom>
              <a:avLst/>
              <a:gdLst>
                <a:gd name="connsiteX0" fmla="*/ 15704 w 20983"/>
                <a:gd name="connsiteY0" fmla="*/ 0 h 57806"/>
                <a:gd name="connsiteX1" fmla="*/ 20984 w 20983"/>
                <a:gd name="connsiteY1" fmla="*/ 6711 h 57806"/>
                <a:gd name="connsiteX2" fmla="*/ 18568 w 20983"/>
                <a:gd name="connsiteY2" fmla="*/ 16465 h 57806"/>
                <a:gd name="connsiteX3" fmla="*/ 14407 w 20983"/>
                <a:gd name="connsiteY3" fmla="*/ 57806 h 57806"/>
                <a:gd name="connsiteX4" fmla="*/ 0 w 20983"/>
                <a:gd name="connsiteY4" fmla="*/ 40760 h 57806"/>
                <a:gd name="connsiteX5" fmla="*/ 7024 w 20983"/>
                <a:gd name="connsiteY5" fmla="*/ 36106 h 57806"/>
                <a:gd name="connsiteX6" fmla="*/ 15704 w 20983"/>
                <a:gd name="connsiteY6" fmla="*/ 0 h 5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83" h="57806">
                  <a:moveTo>
                    <a:pt x="15704" y="0"/>
                  </a:moveTo>
                  <a:cubicBezTo>
                    <a:pt x="17002" y="1655"/>
                    <a:pt x="19642" y="5011"/>
                    <a:pt x="20984" y="6711"/>
                  </a:cubicBezTo>
                  <a:cubicBezTo>
                    <a:pt x="20357" y="9127"/>
                    <a:pt x="19149" y="14004"/>
                    <a:pt x="18568" y="16465"/>
                  </a:cubicBezTo>
                  <a:cubicBezTo>
                    <a:pt x="14586" y="29843"/>
                    <a:pt x="13825" y="43891"/>
                    <a:pt x="14407" y="57806"/>
                  </a:cubicBezTo>
                  <a:cubicBezTo>
                    <a:pt x="9351" y="52258"/>
                    <a:pt x="4698" y="46486"/>
                    <a:pt x="0" y="40760"/>
                  </a:cubicBezTo>
                  <a:cubicBezTo>
                    <a:pt x="2282" y="39194"/>
                    <a:pt x="4653" y="37628"/>
                    <a:pt x="7024" y="36106"/>
                  </a:cubicBezTo>
                  <a:cubicBezTo>
                    <a:pt x="8680" y="23802"/>
                    <a:pt x="11275" y="11633"/>
                    <a:pt x="15704" y="0"/>
                  </a:cubicBezTo>
                  <a:close/>
                </a:path>
              </a:pathLst>
            </a:custGeom>
            <a:solidFill>
              <a:srgbClr val="B492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5" name="Freeform: Shape 4914">
              <a:extLst>
                <a:ext uri="{FF2B5EF4-FFF2-40B4-BE49-F238E27FC236}">
                  <a16:creationId xmlns:a16="http://schemas.microsoft.com/office/drawing/2014/main" id="{25ADFC9A-0368-C74D-5309-29B9E91049A6}"/>
                </a:ext>
              </a:extLst>
            </p:cNvPr>
            <p:cNvSpPr/>
            <p:nvPr/>
          </p:nvSpPr>
          <p:spPr>
            <a:xfrm flipH="1">
              <a:off x="969600" y="3261531"/>
              <a:ext cx="19105" cy="38904"/>
            </a:xfrm>
            <a:custGeom>
              <a:avLst/>
              <a:gdLst>
                <a:gd name="connsiteX0" fmla="*/ 4743 w 16017"/>
                <a:gd name="connsiteY0" fmla="*/ 0 h 32616"/>
                <a:gd name="connsiteX1" fmla="*/ 16018 w 16017"/>
                <a:gd name="connsiteY1" fmla="*/ 10648 h 32616"/>
                <a:gd name="connsiteX2" fmla="*/ 10201 w 16017"/>
                <a:gd name="connsiteY2" fmla="*/ 32617 h 32616"/>
                <a:gd name="connsiteX3" fmla="*/ 0 w 16017"/>
                <a:gd name="connsiteY3" fmla="*/ 23310 h 32616"/>
                <a:gd name="connsiteX4" fmla="*/ 4743 w 16017"/>
                <a:gd name="connsiteY4" fmla="*/ 0 h 3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7" h="32616">
                  <a:moveTo>
                    <a:pt x="4743" y="0"/>
                  </a:moveTo>
                  <a:cubicBezTo>
                    <a:pt x="8411" y="3624"/>
                    <a:pt x="12170" y="7159"/>
                    <a:pt x="16018" y="10648"/>
                  </a:cubicBezTo>
                  <a:cubicBezTo>
                    <a:pt x="13870" y="17897"/>
                    <a:pt x="12035" y="25234"/>
                    <a:pt x="10201" y="32617"/>
                  </a:cubicBezTo>
                  <a:cubicBezTo>
                    <a:pt x="6756" y="29485"/>
                    <a:pt x="3356" y="26353"/>
                    <a:pt x="0" y="23310"/>
                  </a:cubicBezTo>
                  <a:cubicBezTo>
                    <a:pt x="1477" y="15481"/>
                    <a:pt x="2998" y="7740"/>
                    <a:pt x="4743" y="0"/>
                  </a:cubicBezTo>
                  <a:close/>
                </a:path>
              </a:pathLst>
            </a:custGeom>
            <a:solidFill>
              <a:srgbClr val="EEA9A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6" name="Freeform: Shape 4915">
              <a:extLst>
                <a:ext uri="{FF2B5EF4-FFF2-40B4-BE49-F238E27FC236}">
                  <a16:creationId xmlns:a16="http://schemas.microsoft.com/office/drawing/2014/main" id="{94A7A7C8-51C4-3E24-949E-EE5D42F3FEA4}"/>
                </a:ext>
              </a:extLst>
            </p:cNvPr>
            <p:cNvSpPr/>
            <p:nvPr/>
          </p:nvSpPr>
          <p:spPr>
            <a:xfrm flipH="1">
              <a:off x="932085" y="3260144"/>
              <a:ext cx="11631" cy="21400"/>
            </a:xfrm>
            <a:custGeom>
              <a:avLst/>
              <a:gdLst>
                <a:gd name="connsiteX0" fmla="*/ 2416 w 9752"/>
                <a:gd name="connsiteY0" fmla="*/ 0 h 17941"/>
                <a:gd name="connsiteX1" fmla="*/ 8501 w 9752"/>
                <a:gd name="connsiteY1" fmla="*/ 17941 h 17941"/>
                <a:gd name="connsiteX2" fmla="*/ 0 w 9752"/>
                <a:gd name="connsiteY2" fmla="*/ 9754 h 17941"/>
                <a:gd name="connsiteX3" fmla="*/ 2416 w 9752"/>
                <a:gd name="connsiteY3" fmla="*/ 0 h 17941"/>
              </a:gdLst>
              <a:ahLst/>
              <a:cxnLst>
                <a:cxn ang="0">
                  <a:pos x="connsiteX0" y="connsiteY0"/>
                </a:cxn>
                <a:cxn ang="0">
                  <a:pos x="connsiteX1" y="connsiteY1"/>
                </a:cxn>
                <a:cxn ang="0">
                  <a:pos x="connsiteX2" y="connsiteY2"/>
                </a:cxn>
                <a:cxn ang="0">
                  <a:pos x="connsiteX3" y="connsiteY3"/>
                </a:cxn>
              </a:cxnLst>
              <a:rect l="l" t="t" r="r" b="b"/>
              <a:pathLst>
                <a:path w="9752" h="17941">
                  <a:moveTo>
                    <a:pt x="2416" y="0"/>
                  </a:moveTo>
                  <a:cubicBezTo>
                    <a:pt x="7606" y="4295"/>
                    <a:pt x="11991" y="11051"/>
                    <a:pt x="8501" y="17941"/>
                  </a:cubicBezTo>
                  <a:cubicBezTo>
                    <a:pt x="6353" y="15883"/>
                    <a:pt x="2148" y="11812"/>
                    <a:pt x="0" y="9754"/>
                  </a:cubicBezTo>
                  <a:cubicBezTo>
                    <a:pt x="581" y="7293"/>
                    <a:pt x="1789" y="2416"/>
                    <a:pt x="2416" y="0"/>
                  </a:cubicBezTo>
                  <a:close/>
                </a:path>
              </a:pathLst>
            </a:custGeom>
            <a:solidFill>
              <a:srgbClr val="B563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7" name="Freeform: Shape 4916">
              <a:extLst>
                <a:ext uri="{FF2B5EF4-FFF2-40B4-BE49-F238E27FC236}">
                  <a16:creationId xmlns:a16="http://schemas.microsoft.com/office/drawing/2014/main" id="{5DE202AF-8802-D2D7-55C3-8D444B67139A}"/>
                </a:ext>
              </a:extLst>
            </p:cNvPr>
            <p:cNvSpPr/>
            <p:nvPr/>
          </p:nvSpPr>
          <p:spPr>
            <a:xfrm flipH="1">
              <a:off x="878877" y="3258994"/>
              <a:ext cx="55554" cy="86055"/>
            </a:xfrm>
            <a:custGeom>
              <a:avLst/>
              <a:gdLst>
                <a:gd name="connsiteX0" fmla="*/ 9082 w 46575"/>
                <a:gd name="connsiteY0" fmla="*/ 24452 h 72146"/>
                <a:gd name="connsiteX1" fmla="*/ 45368 w 46575"/>
                <a:gd name="connsiteY1" fmla="*/ 918 h 72146"/>
                <a:gd name="connsiteX2" fmla="*/ 46576 w 46575"/>
                <a:gd name="connsiteY2" fmla="*/ 16353 h 72146"/>
                <a:gd name="connsiteX3" fmla="*/ 41431 w 46575"/>
                <a:gd name="connsiteY3" fmla="*/ 10448 h 72146"/>
                <a:gd name="connsiteX4" fmla="*/ 27337 w 46575"/>
                <a:gd name="connsiteY4" fmla="*/ 10403 h 72146"/>
                <a:gd name="connsiteX5" fmla="*/ 18881 w 46575"/>
                <a:gd name="connsiteY5" fmla="*/ 52997 h 72146"/>
                <a:gd name="connsiteX6" fmla="*/ 24921 w 46575"/>
                <a:gd name="connsiteY6" fmla="*/ 72146 h 72146"/>
                <a:gd name="connsiteX7" fmla="*/ 1163 w 46575"/>
                <a:gd name="connsiteY7" fmla="*/ 60513 h 72146"/>
                <a:gd name="connsiteX8" fmla="*/ 0 w 46575"/>
                <a:gd name="connsiteY8" fmla="*/ 59932 h 72146"/>
                <a:gd name="connsiteX9" fmla="*/ 9082 w 46575"/>
                <a:gd name="connsiteY9" fmla="*/ 24452 h 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75" h="72146">
                  <a:moveTo>
                    <a:pt x="9082" y="24452"/>
                  </a:moveTo>
                  <a:cubicBezTo>
                    <a:pt x="12886" y="7897"/>
                    <a:pt x="28321" y="-3378"/>
                    <a:pt x="45368" y="918"/>
                  </a:cubicBezTo>
                  <a:cubicBezTo>
                    <a:pt x="45681" y="4765"/>
                    <a:pt x="46263" y="12506"/>
                    <a:pt x="46576" y="16353"/>
                  </a:cubicBezTo>
                  <a:lnTo>
                    <a:pt x="41431" y="10448"/>
                  </a:lnTo>
                  <a:cubicBezTo>
                    <a:pt x="36822" y="9419"/>
                    <a:pt x="31498" y="6958"/>
                    <a:pt x="27337" y="10403"/>
                  </a:cubicBezTo>
                  <a:cubicBezTo>
                    <a:pt x="20134" y="23109"/>
                    <a:pt x="13646" y="38277"/>
                    <a:pt x="18881" y="52997"/>
                  </a:cubicBezTo>
                  <a:cubicBezTo>
                    <a:pt x="20671" y="59439"/>
                    <a:pt x="22684" y="65748"/>
                    <a:pt x="24921" y="72146"/>
                  </a:cubicBezTo>
                  <a:cubicBezTo>
                    <a:pt x="17315" y="67538"/>
                    <a:pt x="9351" y="63735"/>
                    <a:pt x="1163" y="60513"/>
                  </a:cubicBezTo>
                  <a:lnTo>
                    <a:pt x="0" y="59932"/>
                  </a:lnTo>
                  <a:cubicBezTo>
                    <a:pt x="12170" y="52057"/>
                    <a:pt x="7427" y="36487"/>
                    <a:pt x="9082" y="24452"/>
                  </a:cubicBezTo>
                  <a:close/>
                </a:path>
              </a:pathLst>
            </a:custGeom>
            <a:solidFill>
              <a:srgbClr val="A078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26" name="Freeform: Shape 4925">
              <a:extLst>
                <a:ext uri="{FF2B5EF4-FFF2-40B4-BE49-F238E27FC236}">
                  <a16:creationId xmlns:a16="http://schemas.microsoft.com/office/drawing/2014/main" id="{B7D5665F-8D2E-BD69-0986-7FF8B79610F2}"/>
                </a:ext>
              </a:extLst>
            </p:cNvPr>
            <p:cNvSpPr/>
            <p:nvPr/>
          </p:nvSpPr>
          <p:spPr>
            <a:xfrm flipH="1">
              <a:off x="885012" y="3269290"/>
              <a:ext cx="29163" cy="52918"/>
            </a:xfrm>
            <a:custGeom>
              <a:avLst/>
              <a:gdLst>
                <a:gd name="connsiteX0" fmla="*/ 10357 w 24450"/>
                <a:gd name="connsiteY0" fmla="*/ 1772 h 44365"/>
                <a:gd name="connsiteX1" fmla="*/ 24450 w 24450"/>
                <a:gd name="connsiteY1" fmla="*/ 1816 h 44365"/>
                <a:gd name="connsiteX2" fmla="*/ 8343 w 24450"/>
                <a:gd name="connsiteY2" fmla="*/ 24053 h 44365"/>
                <a:gd name="connsiteX3" fmla="*/ 1900 w 24450"/>
                <a:gd name="connsiteY3" fmla="*/ 44366 h 44365"/>
                <a:gd name="connsiteX4" fmla="*/ 10357 w 24450"/>
                <a:gd name="connsiteY4" fmla="*/ 1772 h 4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50" h="44365">
                  <a:moveTo>
                    <a:pt x="10357" y="1772"/>
                  </a:moveTo>
                  <a:cubicBezTo>
                    <a:pt x="14518" y="-1673"/>
                    <a:pt x="19842" y="787"/>
                    <a:pt x="24450" y="1816"/>
                  </a:cubicBezTo>
                  <a:cubicBezTo>
                    <a:pt x="17918" y="8259"/>
                    <a:pt x="10357" y="14612"/>
                    <a:pt x="8343" y="24053"/>
                  </a:cubicBezTo>
                  <a:cubicBezTo>
                    <a:pt x="6061" y="30764"/>
                    <a:pt x="4003" y="37565"/>
                    <a:pt x="1900" y="44366"/>
                  </a:cubicBezTo>
                  <a:cubicBezTo>
                    <a:pt x="-3334" y="29646"/>
                    <a:pt x="3153" y="14478"/>
                    <a:pt x="10357" y="1772"/>
                  </a:cubicBezTo>
                  <a:close/>
                </a:path>
              </a:pathLst>
            </a:custGeom>
            <a:solidFill>
              <a:srgbClr val="D2A2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0" name="Freeform: Shape 4929">
              <a:extLst>
                <a:ext uri="{FF2B5EF4-FFF2-40B4-BE49-F238E27FC236}">
                  <a16:creationId xmlns:a16="http://schemas.microsoft.com/office/drawing/2014/main" id="{9D09A98A-0056-7C29-C780-D684E772956E}"/>
                </a:ext>
              </a:extLst>
            </p:cNvPr>
            <p:cNvSpPr/>
            <p:nvPr/>
          </p:nvSpPr>
          <p:spPr>
            <a:xfrm flipH="1">
              <a:off x="923598" y="3271777"/>
              <a:ext cx="25288" cy="58703"/>
            </a:xfrm>
            <a:custGeom>
              <a:avLst/>
              <a:gdLst>
                <a:gd name="connsiteX0" fmla="*/ 173 w 21201"/>
                <a:gd name="connsiteY0" fmla="*/ 41341 h 49215"/>
                <a:gd name="connsiteX1" fmla="*/ 4334 w 21201"/>
                <a:gd name="connsiteY1" fmla="*/ 0 h 49215"/>
                <a:gd name="connsiteX2" fmla="*/ 12835 w 21201"/>
                <a:gd name="connsiteY2" fmla="*/ 8188 h 49215"/>
                <a:gd name="connsiteX3" fmla="*/ 21202 w 21201"/>
                <a:gd name="connsiteY3" fmla="*/ 13736 h 49215"/>
                <a:gd name="connsiteX4" fmla="*/ 12119 w 21201"/>
                <a:gd name="connsiteY4" fmla="*/ 49216 h 49215"/>
                <a:gd name="connsiteX5" fmla="*/ 173 w 21201"/>
                <a:gd name="connsiteY5" fmla="*/ 41341 h 4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01" h="49215">
                  <a:moveTo>
                    <a:pt x="173" y="41341"/>
                  </a:moveTo>
                  <a:cubicBezTo>
                    <a:pt x="-408" y="27426"/>
                    <a:pt x="352" y="13378"/>
                    <a:pt x="4334" y="0"/>
                  </a:cubicBezTo>
                  <a:cubicBezTo>
                    <a:pt x="6482" y="2058"/>
                    <a:pt x="10688" y="6130"/>
                    <a:pt x="12835" y="8188"/>
                  </a:cubicBezTo>
                  <a:cubicBezTo>
                    <a:pt x="14893" y="9575"/>
                    <a:pt x="19099" y="12349"/>
                    <a:pt x="21202" y="13736"/>
                  </a:cubicBezTo>
                  <a:cubicBezTo>
                    <a:pt x="19546" y="25771"/>
                    <a:pt x="24289" y="41341"/>
                    <a:pt x="12119" y="49216"/>
                  </a:cubicBezTo>
                  <a:cubicBezTo>
                    <a:pt x="8003" y="46710"/>
                    <a:pt x="4021" y="44070"/>
                    <a:pt x="173" y="41341"/>
                  </a:cubicBezTo>
                  <a:close/>
                </a:path>
              </a:pathLst>
            </a:custGeom>
            <a:solidFill>
              <a:srgbClr val="F0A8A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1" name="Freeform: Shape 4930">
              <a:extLst>
                <a:ext uri="{FF2B5EF4-FFF2-40B4-BE49-F238E27FC236}">
                  <a16:creationId xmlns:a16="http://schemas.microsoft.com/office/drawing/2014/main" id="{4BE6C83A-7E2D-1CE6-B4F3-12C4CF10192C}"/>
                </a:ext>
              </a:extLst>
            </p:cNvPr>
            <p:cNvSpPr/>
            <p:nvPr/>
          </p:nvSpPr>
          <p:spPr>
            <a:xfrm flipH="1">
              <a:off x="392305" y="3271031"/>
              <a:ext cx="426479" cy="868480"/>
            </a:xfrm>
            <a:custGeom>
              <a:avLst/>
              <a:gdLst>
                <a:gd name="connsiteX0" fmla="*/ 106037 w 357547"/>
                <a:gd name="connsiteY0" fmla="*/ 55479 h 728107"/>
                <a:gd name="connsiteX1" fmla="*/ 136283 w 357547"/>
                <a:gd name="connsiteY1" fmla="*/ 0 h 728107"/>
                <a:gd name="connsiteX2" fmla="*/ 138206 w 357547"/>
                <a:gd name="connsiteY2" fmla="*/ 3892 h 728107"/>
                <a:gd name="connsiteX3" fmla="*/ 219188 w 357547"/>
                <a:gd name="connsiteY3" fmla="*/ 66307 h 728107"/>
                <a:gd name="connsiteX4" fmla="*/ 241022 w 357547"/>
                <a:gd name="connsiteY4" fmla="*/ 161651 h 728107"/>
                <a:gd name="connsiteX5" fmla="*/ 296323 w 357547"/>
                <a:gd name="connsiteY5" fmla="*/ 211359 h 728107"/>
                <a:gd name="connsiteX6" fmla="*/ 307061 w 357547"/>
                <a:gd name="connsiteY6" fmla="*/ 364464 h 728107"/>
                <a:gd name="connsiteX7" fmla="*/ 340617 w 357547"/>
                <a:gd name="connsiteY7" fmla="*/ 409608 h 728107"/>
                <a:gd name="connsiteX8" fmla="*/ 335382 w 357547"/>
                <a:gd name="connsiteY8" fmla="*/ 501373 h 728107"/>
                <a:gd name="connsiteX9" fmla="*/ 356187 w 357547"/>
                <a:gd name="connsiteY9" fmla="*/ 555957 h 728107"/>
                <a:gd name="connsiteX10" fmla="*/ 335024 w 357547"/>
                <a:gd name="connsiteY10" fmla="*/ 685394 h 728107"/>
                <a:gd name="connsiteX11" fmla="*/ 296323 w 357547"/>
                <a:gd name="connsiteY11" fmla="*/ 725125 h 728107"/>
                <a:gd name="connsiteX12" fmla="*/ 248942 w 357547"/>
                <a:gd name="connsiteY12" fmla="*/ 726020 h 728107"/>
                <a:gd name="connsiteX13" fmla="*/ 251134 w 357547"/>
                <a:gd name="connsiteY13" fmla="*/ 723962 h 728107"/>
                <a:gd name="connsiteX14" fmla="*/ 266614 w 357547"/>
                <a:gd name="connsiteY14" fmla="*/ 622980 h 728107"/>
                <a:gd name="connsiteX15" fmla="*/ 221247 w 357547"/>
                <a:gd name="connsiteY15" fmla="*/ 413098 h 728107"/>
                <a:gd name="connsiteX16" fmla="*/ 184737 w 357547"/>
                <a:gd name="connsiteY16" fmla="*/ 320215 h 728107"/>
                <a:gd name="connsiteX17" fmla="*/ 184961 w 357547"/>
                <a:gd name="connsiteY17" fmla="*/ 333055 h 728107"/>
                <a:gd name="connsiteX18" fmla="*/ 140712 w 357547"/>
                <a:gd name="connsiteY18" fmla="*/ 260530 h 728107"/>
                <a:gd name="connsiteX19" fmla="*/ 151584 w 357547"/>
                <a:gd name="connsiteY19" fmla="*/ 260440 h 728107"/>
                <a:gd name="connsiteX20" fmla="*/ 86485 w 357547"/>
                <a:gd name="connsiteY20" fmla="*/ 229434 h 728107"/>
                <a:gd name="connsiteX21" fmla="*/ 83353 w 357547"/>
                <a:gd name="connsiteY21" fmla="*/ 228360 h 728107"/>
                <a:gd name="connsiteX22" fmla="*/ 63309 w 357547"/>
                <a:gd name="connsiteY22" fmla="*/ 223305 h 728107"/>
                <a:gd name="connsiteX23" fmla="*/ 52437 w 357547"/>
                <a:gd name="connsiteY23" fmla="*/ 165633 h 728107"/>
                <a:gd name="connsiteX24" fmla="*/ 3221 w 357547"/>
                <a:gd name="connsiteY24" fmla="*/ 152389 h 728107"/>
                <a:gd name="connsiteX25" fmla="*/ 0 w 357547"/>
                <a:gd name="connsiteY25" fmla="*/ 152076 h 728107"/>
                <a:gd name="connsiteX26" fmla="*/ 63085 w 357547"/>
                <a:gd name="connsiteY26" fmla="*/ 111004 h 728107"/>
                <a:gd name="connsiteX27" fmla="*/ 101966 w 357547"/>
                <a:gd name="connsiteY27" fmla="*/ 65278 h 728107"/>
                <a:gd name="connsiteX28" fmla="*/ 126439 w 357547"/>
                <a:gd name="connsiteY28" fmla="*/ 157848 h 728107"/>
                <a:gd name="connsiteX29" fmla="*/ 114538 w 357547"/>
                <a:gd name="connsiteY29" fmla="*/ 220978 h 728107"/>
                <a:gd name="connsiteX30" fmla="*/ 126439 w 357547"/>
                <a:gd name="connsiteY30" fmla="*/ 96328 h 728107"/>
                <a:gd name="connsiteX31" fmla="*/ 106037 w 357547"/>
                <a:gd name="connsiteY31" fmla="*/ 55479 h 728107"/>
                <a:gd name="connsiteX32" fmla="*/ 154179 w 357547"/>
                <a:gd name="connsiteY32" fmla="*/ 107022 h 728107"/>
                <a:gd name="connsiteX33" fmla="*/ 165365 w 357547"/>
                <a:gd name="connsiteY33" fmla="*/ 194312 h 728107"/>
                <a:gd name="connsiteX34" fmla="*/ 173508 w 357547"/>
                <a:gd name="connsiteY34" fmla="*/ 166751 h 728107"/>
                <a:gd name="connsiteX35" fmla="*/ 154179 w 357547"/>
                <a:gd name="connsiteY35" fmla="*/ 107022 h 728107"/>
                <a:gd name="connsiteX36" fmla="*/ 248762 w 357547"/>
                <a:gd name="connsiteY36" fmla="*/ 388937 h 728107"/>
                <a:gd name="connsiteX37" fmla="*/ 253997 w 357547"/>
                <a:gd name="connsiteY37" fmla="*/ 448712 h 728107"/>
                <a:gd name="connsiteX38" fmla="*/ 281916 w 357547"/>
                <a:gd name="connsiteY38" fmla="*/ 521148 h 728107"/>
                <a:gd name="connsiteX39" fmla="*/ 272073 w 357547"/>
                <a:gd name="connsiteY39" fmla="*/ 469875 h 728107"/>
                <a:gd name="connsiteX40" fmla="*/ 248762 w 357547"/>
                <a:gd name="connsiteY40" fmla="*/ 388937 h 728107"/>
                <a:gd name="connsiteX41" fmla="*/ 267509 w 357547"/>
                <a:gd name="connsiteY41" fmla="*/ 524191 h 728107"/>
                <a:gd name="connsiteX42" fmla="*/ 274713 w 357547"/>
                <a:gd name="connsiteY42" fmla="*/ 590632 h 728107"/>
                <a:gd name="connsiteX43" fmla="*/ 267509 w 357547"/>
                <a:gd name="connsiteY43" fmla="*/ 524191 h 72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7547" h="728107">
                  <a:moveTo>
                    <a:pt x="106037" y="55479"/>
                  </a:moveTo>
                  <a:cubicBezTo>
                    <a:pt x="112301" y="35167"/>
                    <a:pt x="126350" y="18568"/>
                    <a:pt x="136283" y="0"/>
                  </a:cubicBezTo>
                  <a:lnTo>
                    <a:pt x="138206" y="3892"/>
                  </a:lnTo>
                  <a:cubicBezTo>
                    <a:pt x="170152" y="16823"/>
                    <a:pt x="201695" y="35391"/>
                    <a:pt x="219188" y="66307"/>
                  </a:cubicBezTo>
                  <a:cubicBezTo>
                    <a:pt x="237488" y="94673"/>
                    <a:pt x="239590" y="128945"/>
                    <a:pt x="241022" y="161651"/>
                  </a:cubicBezTo>
                  <a:cubicBezTo>
                    <a:pt x="262677" y="174223"/>
                    <a:pt x="284556" y="188183"/>
                    <a:pt x="296323" y="211359"/>
                  </a:cubicBezTo>
                  <a:cubicBezTo>
                    <a:pt x="318156" y="258158"/>
                    <a:pt x="332116" y="316277"/>
                    <a:pt x="307061" y="364464"/>
                  </a:cubicBezTo>
                  <a:cubicBezTo>
                    <a:pt x="314980" y="381197"/>
                    <a:pt x="334308" y="391130"/>
                    <a:pt x="340617" y="409608"/>
                  </a:cubicBezTo>
                  <a:cubicBezTo>
                    <a:pt x="356097" y="439093"/>
                    <a:pt x="341198" y="471441"/>
                    <a:pt x="335382" y="501373"/>
                  </a:cubicBezTo>
                  <a:cubicBezTo>
                    <a:pt x="349655" y="515601"/>
                    <a:pt x="361690" y="534884"/>
                    <a:pt x="356187" y="555957"/>
                  </a:cubicBezTo>
                  <a:cubicBezTo>
                    <a:pt x="344778" y="598507"/>
                    <a:pt x="354844" y="644724"/>
                    <a:pt x="335024" y="685394"/>
                  </a:cubicBezTo>
                  <a:cubicBezTo>
                    <a:pt x="326389" y="702172"/>
                    <a:pt x="312698" y="715774"/>
                    <a:pt x="296323" y="725125"/>
                  </a:cubicBezTo>
                  <a:cubicBezTo>
                    <a:pt x="280797" y="729196"/>
                    <a:pt x="264646" y="728704"/>
                    <a:pt x="248942" y="726020"/>
                  </a:cubicBezTo>
                  <a:lnTo>
                    <a:pt x="251134" y="723962"/>
                  </a:lnTo>
                  <a:cubicBezTo>
                    <a:pt x="265227" y="692374"/>
                    <a:pt x="267151" y="657073"/>
                    <a:pt x="266614" y="622980"/>
                  </a:cubicBezTo>
                  <a:cubicBezTo>
                    <a:pt x="266256" y="550588"/>
                    <a:pt x="240620" y="481910"/>
                    <a:pt x="221247" y="413098"/>
                  </a:cubicBezTo>
                  <a:cubicBezTo>
                    <a:pt x="211582" y="381287"/>
                    <a:pt x="203260" y="348267"/>
                    <a:pt x="184737" y="320215"/>
                  </a:cubicBezTo>
                  <a:cubicBezTo>
                    <a:pt x="184827" y="323391"/>
                    <a:pt x="184917" y="329834"/>
                    <a:pt x="184961" y="333055"/>
                  </a:cubicBezTo>
                  <a:cubicBezTo>
                    <a:pt x="176371" y="306255"/>
                    <a:pt x="173284" y="268986"/>
                    <a:pt x="140712" y="260530"/>
                  </a:cubicBezTo>
                  <a:cubicBezTo>
                    <a:pt x="143441" y="260530"/>
                    <a:pt x="148855" y="260530"/>
                    <a:pt x="151584" y="260440"/>
                  </a:cubicBezTo>
                  <a:cubicBezTo>
                    <a:pt x="135074" y="241738"/>
                    <a:pt x="111898" y="228987"/>
                    <a:pt x="86485" y="229434"/>
                  </a:cubicBezTo>
                  <a:lnTo>
                    <a:pt x="83353" y="228360"/>
                  </a:lnTo>
                  <a:cubicBezTo>
                    <a:pt x="76911" y="225855"/>
                    <a:pt x="69841" y="224781"/>
                    <a:pt x="63309" y="223305"/>
                  </a:cubicBezTo>
                  <a:cubicBezTo>
                    <a:pt x="60759" y="204200"/>
                    <a:pt x="65815" y="181516"/>
                    <a:pt x="52437" y="165633"/>
                  </a:cubicBezTo>
                  <a:cubicBezTo>
                    <a:pt x="38254" y="155656"/>
                    <a:pt x="19686" y="155924"/>
                    <a:pt x="3221" y="152389"/>
                  </a:cubicBezTo>
                  <a:cubicBezTo>
                    <a:pt x="2416" y="152300"/>
                    <a:pt x="805" y="152166"/>
                    <a:pt x="0" y="152076"/>
                  </a:cubicBezTo>
                  <a:cubicBezTo>
                    <a:pt x="20894" y="138162"/>
                    <a:pt x="43310" y="126574"/>
                    <a:pt x="63085" y="111004"/>
                  </a:cubicBezTo>
                  <a:cubicBezTo>
                    <a:pt x="78969" y="98521"/>
                    <a:pt x="90109" y="81385"/>
                    <a:pt x="101966" y="65278"/>
                  </a:cubicBezTo>
                  <a:cubicBezTo>
                    <a:pt x="121518" y="91765"/>
                    <a:pt x="127110" y="125589"/>
                    <a:pt x="126439" y="157848"/>
                  </a:cubicBezTo>
                  <a:cubicBezTo>
                    <a:pt x="126126" y="179413"/>
                    <a:pt x="118431" y="199905"/>
                    <a:pt x="114538" y="220978"/>
                  </a:cubicBezTo>
                  <a:cubicBezTo>
                    <a:pt x="139459" y="184782"/>
                    <a:pt x="140085" y="136819"/>
                    <a:pt x="126439" y="96328"/>
                  </a:cubicBezTo>
                  <a:cubicBezTo>
                    <a:pt x="121786" y="81608"/>
                    <a:pt x="110511" y="70110"/>
                    <a:pt x="106037" y="55479"/>
                  </a:cubicBezTo>
                  <a:close/>
                  <a:moveTo>
                    <a:pt x="154179" y="107022"/>
                  </a:moveTo>
                  <a:cubicBezTo>
                    <a:pt x="156998" y="136238"/>
                    <a:pt x="163396" y="164962"/>
                    <a:pt x="165365" y="194312"/>
                  </a:cubicBezTo>
                  <a:cubicBezTo>
                    <a:pt x="175163" y="188988"/>
                    <a:pt x="172970" y="176058"/>
                    <a:pt x="173508" y="166751"/>
                  </a:cubicBezTo>
                  <a:cubicBezTo>
                    <a:pt x="171494" y="145991"/>
                    <a:pt x="168049" y="123486"/>
                    <a:pt x="154179" y="107022"/>
                  </a:cubicBezTo>
                  <a:close/>
                  <a:moveTo>
                    <a:pt x="248762" y="388937"/>
                  </a:moveTo>
                  <a:cubicBezTo>
                    <a:pt x="247331" y="409071"/>
                    <a:pt x="252789" y="428713"/>
                    <a:pt x="253997" y="448712"/>
                  </a:cubicBezTo>
                  <a:cubicBezTo>
                    <a:pt x="254847" y="475288"/>
                    <a:pt x="268762" y="498867"/>
                    <a:pt x="281916" y="521148"/>
                  </a:cubicBezTo>
                  <a:cubicBezTo>
                    <a:pt x="283929" y="503297"/>
                    <a:pt x="275473" y="486966"/>
                    <a:pt x="272073" y="469875"/>
                  </a:cubicBezTo>
                  <a:cubicBezTo>
                    <a:pt x="265585" y="442627"/>
                    <a:pt x="262274" y="413903"/>
                    <a:pt x="248762" y="388937"/>
                  </a:cubicBezTo>
                  <a:close/>
                  <a:moveTo>
                    <a:pt x="267509" y="524191"/>
                  </a:moveTo>
                  <a:cubicBezTo>
                    <a:pt x="266614" y="546517"/>
                    <a:pt x="268314" y="569156"/>
                    <a:pt x="274713" y="590632"/>
                  </a:cubicBezTo>
                  <a:cubicBezTo>
                    <a:pt x="284869" y="569603"/>
                    <a:pt x="274713" y="544906"/>
                    <a:pt x="267509" y="524191"/>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5" name="Freeform: Shape 4934">
              <a:extLst>
                <a:ext uri="{FF2B5EF4-FFF2-40B4-BE49-F238E27FC236}">
                  <a16:creationId xmlns:a16="http://schemas.microsoft.com/office/drawing/2014/main" id="{F42E525F-A400-0AFC-26FB-86701A14F1C2}"/>
                </a:ext>
              </a:extLst>
            </p:cNvPr>
            <p:cNvSpPr/>
            <p:nvPr/>
          </p:nvSpPr>
          <p:spPr>
            <a:xfrm flipH="1">
              <a:off x="838369" y="3271457"/>
              <a:ext cx="65855" cy="37517"/>
            </a:xfrm>
            <a:custGeom>
              <a:avLst/>
              <a:gdLst>
                <a:gd name="connsiteX0" fmla="*/ 0 w 55211"/>
                <a:gd name="connsiteY0" fmla="*/ 22237 h 31453"/>
                <a:gd name="connsiteX1" fmla="*/ 16107 w 55211"/>
                <a:gd name="connsiteY1" fmla="*/ 0 h 31453"/>
                <a:gd name="connsiteX2" fmla="*/ 21252 w 55211"/>
                <a:gd name="connsiteY2" fmla="*/ 5906 h 31453"/>
                <a:gd name="connsiteX3" fmla="*/ 22237 w 55211"/>
                <a:gd name="connsiteY3" fmla="*/ 14720 h 31453"/>
                <a:gd name="connsiteX4" fmla="*/ 42684 w 55211"/>
                <a:gd name="connsiteY4" fmla="*/ 5458 h 31453"/>
                <a:gd name="connsiteX5" fmla="*/ 55211 w 55211"/>
                <a:gd name="connsiteY5" fmla="*/ 21252 h 31453"/>
                <a:gd name="connsiteX6" fmla="*/ 25458 w 55211"/>
                <a:gd name="connsiteY6" fmla="*/ 21163 h 31453"/>
                <a:gd name="connsiteX7" fmla="*/ 1208 w 55211"/>
                <a:gd name="connsiteY7" fmla="*/ 31453 h 31453"/>
                <a:gd name="connsiteX8" fmla="*/ 0 w 55211"/>
                <a:gd name="connsiteY8" fmla="*/ 22237 h 3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11" h="31453">
                  <a:moveTo>
                    <a:pt x="0" y="22237"/>
                  </a:moveTo>
                  <a:cubicBezTo>
                    <a:pt x="2013" y="12796"/>
                    <a:pt x="9575" y="6443"/>
                    <a:pt x="16107" y="0"/>
                  </a:cubicBezTo>
                  <a:lnTo>
                    <a:pt x="21252" y="5906"/>
                  </a:lnTo>
                  <a:cubicBezTo>
                    <a:pt x="21476" y="8098"/>
                    <a:pt x="21968" y="12528"/>
                    <a:pt x="22237" y="14720"/>
                  </a:cubicBezTo>
                  <a:cubicBezTo>
                    <a:pt x="28992" y="11633"/>
                    <a:pt x="35838" y="8546"/>
                    <a:pt x="42684" y="5458"/>
                  </a:cubicBezTo>
                  <a:cubicBezTo>
                    <a:pt x="46889" y="10738"/>
                    <a:pt x="50916" y="15928"/>
                    <a:pt x="55211" y="21252"/>
                  </a:cubicBezTo>
                  <a:cubicBezTo>
                    <a:pt x="45278" y="22013"/>
                    <a:pt x="35346" y="22013"/>
                    <a:pt x="25458" y="21163"/>
                  </a:cubicBezTo>
                  <a:cubicBezTo>
                    <a:pt x="16823" y="23131"/>
                    <a:pt x="9038" y="27516"/>
                    <a:pt x="1208" y="31453"/>
                  </a:cubicBezTo>
                  <a:cubicBezTo>
                    <a:pt x="895" y="29172"/>
                    <a:pt x="313" y="24563"/>
                    <a:pt x="0" y="22237"/>
                  </a:cubicBezTo>
                  <a:close/>
                </a:path>
              </a:pathLst>
            </a:custGeom>
            <a:solidFill>
              <a:srgbClr val="E9978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37" name="Freeform: Shape 4936">
              <a:extLst>
                <a:ext uri="{FF2B5EF4-FFF2-40B4-BE49-F238E27FC236}">
                  <a16:creationId xmlns:a16="http://schemas.microsoft.com/office/drawing/2014/main" id="{6E337C0F-3EF6-0353-044E-20EC76C03C94}"/>
                </a:ext>
              </a:extLst>
            </p:cNvPr>
            <p:cNvSpPr/>
            <p:nvPr/>
          </p:nvSpPr>
          <p:spPr>
            <a:xfrm flipH="1">
              <a:off x="873860" y="3296699"/>
              <a:ext cx="28923" cy="22147"/>
            </a:xfrm>
            <a:custGeom>
              <a:avLst/>
              <a:gdLst>
                <a:gd name="connsiteX0" fmla="*/ 0 w 24249"/>
                <a:gd name="connsiteY0" fmla="*/ 10290 h 18567"/>
                <a:gd name="connsiteX1" fmla="*/ 24250 w 24249"/>
                <a:gd name="connsiteY1" fmla="*/ 0 h 18567"/>
                <a:gd name="connsiteX2" fmla="*/ 16599 w 24249"/>
                <a:gd name="connsiteY2" fmla="*/ 18568 h 18567"/>
                <a:gd name="connsiteX3" fmla="*/ 1297 w 24249"/>
                <a:gd name="connsiteY3" fmla="*/ 15660 h 18567"/>
                <a:gd name="connsiteX4" fmla="*/ 0 w 24249"/>
                <a:gd name="connsiteY4" fmla="*/ 10290 h 18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9" h="18567">
                  <a:moveTo>
                    <a:pt x="0" y="10290"/>
                  </a:moveTo>
                  <a:cubicBezTo>
                    <a:pt x="7830" y="6353"/>
                    <a:pt x="15615" y="1969"/>
                    <a:pt x="24250" y="0"/>
                  </a:cubicBezTo>
                  <a:cubicBezTo>
                    <a:pt x="21655" y="6130"/>
                    <a:pt x="19105" y="12349"/>
                    <a:pt x="16599" y="18568"/>
                  </a:cubicBezTo>
                  <a:cubicBezTo>
                    <a:pt x="11454" y="17628"/>
                    <a:pt x="6308" y="16689"/>
                    <a:pt x="1297" y="15660"/>
                  </a:cubicBezTo>
                  <a:lnTo>
                    <a:pt x="0" y="10290"/>
                  </a:lnTo>
                  <a:close/>
                </a:path>
              </a:pathLst>
            </a:custGeom>
            <a:solidFill>
              <a:srgbClr val="BA636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0" name="Freeform: Shape 4939">
              <a:extLst>
                <a:ext uri="{FF2B5EF4-FFF2-40B4-BE49-F238E27FC236}">
                  <a16:creationId xmlns:a16="http://schemas.microsoft.com/office/drawing/2014/main" id="{D6913DEB-8BE6-7469-D730-197C83B8AD61}"/>
                </a:ext>
              </a:extLst>
            </p:cNvPr>
            <p:cNvSpPr/>
            <p:nvPr/>
          </p:nvSpPr>
          <p:spPr>
            <a:xfrm flipH="1">
              <a:off x="805656" y="3307433"/>
              <a:ext cx="22628" cy="11519"/>
            </a:xfrm>
            <a:custGeom>
              <a:avLst/>
              <a:gdLst>
                <a:gd name="connsiteX0" fmla="*/ 0 w 18970"/>
                <a:gd name="connsiteY0" fmla="*/ 83 h 9657"/>
                <a:gd name="connsiteX1" fmla="*/ 18971 w 18970"/>
                <a:gd name="connsiteY1" fmla="*/ 4199 h 9657"/>
                <a:gd name="connsiteX2" fmla="*/ 5682 w 18970"/>
                <a:gd name="connsiteY2" fmla="*/ 9658 h 9657"/>
                <a:gd name="connsiteX3" fmla="*/ 0 w 18970"/>
                <a:gd name="connsiteY3" fmla="*/ 83 h 9657"/>
              </a:gdLst>
              <a:ahLst/>
              <a:cxnLst>
                <a:cxn ang="0">
                  <a:pos x="connsiteX0" y="connsiteY0"/>
                </a:cxn>
                <a:cxn ang="0">
                  <a:pos x="connsiteX1" y="connsiteY1"/>
                </a:cxn>
                <a:cxn ang="0">
                  <a:pos x="connsiteX2" y="connsiteY2"/>
                </a:cxn>
                <a:cxn ang="0">
                  <a:pos x="connsiteX3" y="connsiteY3"/>
                </a:cxn>
              </a:cxnLst>
              <a:rect l="l" t="t" r="r" b="b"/>
              <a:pathLst>
                <a:path w="18970" h="9657">
                  <a:moveTo>
                    <a:pt x="0" y="83"/>
                  </a:moveTo>
                  <a:cubicBezTo>
                    <a:pt x="6532" y="-499"/>
                    <a:pt x="12796" y="2096"/>
                    <a:pt x="18971" y="4199"/>
                  </a:cubicBezTo>
                  <a:cubicBezTo>
                    <a:pt x="14586" y="6168"/>
                    <a:pt x="10156" y="8002"/>
                    <a:pt x="5682" y="9658"/>
                  </a:cubicBezTo>
                  <a:cubicBezTo>
                    <a:pt x="4250" y="7242"/>
                    <a:pt x="1432" y="2499"/>
                    <a:pt x="0" y="83"/>
                  </a:cubicBezTo>
                  <a:close/>
                </a:path>
              </a:pathLst>
            </a:custGeom>
            <a:solidFill>
              <a:srgbClr val="716F9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2" name="Freeform: Shape 4941">
              <a:extLst>
                <a:ext uri="{FF2B5EF4-FFF2-40B4-BE49-F238E27FC236}">
                  <a16:creationId xmlns:a16="http://schemas.microsoft.com/office/drawing/2014/main" id="{F74D1EA5-14BA-BC8B-84EB-96B8BE1DEBCE}"/>
                </a:ext>
              </a:extLst>
            </p:cNvPr>
            <p:cNvSpPr/>
            <p:nvPr/>
          </p:nvSpPr>
          <p:spPr>
            <a:xfrm flipH="1">
              <a:off x="869749" y="3313350"/>
              <a:ext cx="140676" cy="131062"/>
            </a:xfrm>
            <a:custGeom>
              <a:avLst/>
              <a:gdLst>
                <a:gd name="connsiteX0" fmla="*/ 0 w 117938"/>
                <a:gd name="connsiteY0" fmla="*/ 32169 h 109878"/>
                <a:gd name="connsiteX1" fmla="*/ 32885 w 117938"/>
                <a:gd name="connsiteY1" fmla="*/ 0 h 109878"/>
                <a:gd name="connsiteX2" fmla="*/ 64875 w 117938"/>
                <a:gd name="connsiteY2" fmla="*/ 14944 h 109878"/>
                <a:gd name="connsiteX3" fmla="*/ 88633 w 117938"/>
                <a:gd name="connsiteY3" fmla="*/ 26576 h 109878"/>
                <a:gd name="connsiteX4" fmla="*/ 89527 w 117938"/>
                <a:gd name="connsiteY4" fmla="*/ 27203 h 109878"/>
                <a:gd name="connsiteX5" fmla="*/ 96552 w 117938"/>
                <a:gd name="connsiteY5" fmla="*/ 32617 h 109878"/>
                <a:gd name="connsiteX6" fmla="*/ 106663 w 117938"/>
                <a:gd name="connsiteY6" fmla="*/ 82235 h 109878"/>
                <a:gd name="connsiteX7" fmla="*/ 117938 w 117938"/>
                <a:gd name="connsiteY7" fmla="*/ 77984 h 109878"/>
                <a:gd name="connsiteX8" fmla="*/ 81608 w 117938"/>
                <a:gd name="connsiteY8" fmla="*/ 103666 h 109878"/>
                <a:gd name="connsiteX9" fmla="*/ 23444 w 117938"/>
                <a:gd name="connsiteY9" fmla="*/ 105321 h 109878"/>
                <a:gd name="connsiteX10" fmla="*/ 0 w 117938"/>
                <a:gd name="connsiteY10" fmla="*/ 32169 h 10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38" h="109878">
                  <a:moveTo>
                    <a:pt x="0" y="32169"/>
                  </a:moveTo>
                  <a:cubicBezTo>
                    <a:pt x="9082" y="19686"/>
                    <a:pt x="20134" y="8769"/>
                    <a:pt x="32885" y="0"/>
                  </a:cubicBezTo>
                  <a:cubicBezTo>
                    <a:pt x="42638" y="6711"/>
                    <a:pt x="53511" y="11499"/>
                    <a:pt x="64875" y="14944"/>
                  </a:cubicBezTo>
                  <a:cubicBezTo>
                    <a:pt x="73063" y="18165"/>
                    <a:pt x="81027" y="21968"/>
                    <a:pt x="88633" y="26576"/>
                  </a:cubicBezTo>
                  <a:lnTo>
                    <a:pt x="89527" y="27203"/>
                  </a:lnTo>
                  <a:cubicBezTo>
                    <a:pt x="91854" y="28948"/>
                    <a:pt x="94181" y="30737"/>
                    <a:pt x="96552" y="32617"/>
                  </a:cubicBezTo>
                  <a:cubicBezTo>
                    <a:pt x="96105" y="49663"/>
                    <a:pt x="96686" y="67560"/>
                    <a:pt x="106663" y="82235"/>
                  </a:cubicBezTo>
                  <a:cubicBezTo>
                    <a:pt x="109482" y="81206"/>
                    <a:pt x="115120" y="79058"/>
                    <a:pt x="117938" y="77984"/>
                  </a:cubicBezTo>
                  <a:cubicBezTo>
                    <a:pt x="104024" y="83801"/>
                    <a:pt x="92973" y="94136"/>
                    <a:pt x="81608" y="103666"/>
                  </a:cubicBezTo>
                  <a:cubicBezTo>
                    <a:pt x="62951" y="108095"/>
                    <a:pt x="41565" y="114225"/>
                    <a:pt x="23444" y="105321"/>
                  </a:cubicBezTo>
                  <a:cubicBezTo>
                    <a:pt x="10693" y="82906"/>
                    <a:pt x="8367" y="56285"/>
                    <a:pt x="0" y="32169"/>
                  </a:cubicBezTo>
                  <a:close/>
                </a:path>
              </a:pathLst>
            </a:custGeom>
            <a:solidFill>
              <a:srgbClr val="7BCAF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4" name="Freeform: Shape 4943">
              <a:extLst>
                <a:ext uri="{FF2B5EF4-FFF2-40B4-BE49-F238E27FC236}">
                  <a16:creationId xmlns:a16="http://schemas.microsoft.com/office/drawing/2014/main" id="{FED822AC-6EDC-99CF-3DCA-E0D120E563B1}"/>
                </a:ext>
              </a:extLst>
            </p:cNvPr>
            <p:cNvSpPr/>
            <p:nvPr/>
          </p:nvSpPr>
          <p:spPr>
            <a:xfrm flipH="1">
              <a:off x="774616" y="3316338"/>
              <a:ext cx="46089" cy="67456"/>
            </a:xfrm>
            <a:custGeom>
              <a:avLst/>
              <a:gdLst>
                <a:gd name="connsiteX0" fmla="*/ 10827 w 38639"/>
                <a:gd name="connsiteY0" fmla="*/ 8501 h 56553"/>
                <a:gd name="connsiteX1" fmla="*/ 37225 w 38639"/>
                <a:gd name="connsiteY1" fmla="*/ 0 h 56553"/>
                <a:gd name="connsiteX2" fmla="*/ 36733 w 38639"/>
                <a:gd name="connsiteY2" fmla="*/ 42773 h 56553"/>
                <a:gd name="connsiteX3" fmla="*/ 1789 w 38639"/>
                <a:gd name="connsiteY3" fmla="*/ 56553 h 56553"/>
                <a:gd name="connsiteX4" fmla="*/ 0 w 38639"/>
                <a:gd name="connsiteY4" fmla="*/ 42818 h 56553"/>
                <a:gd name="connsiteX5" fmla="*/ 10827 w 38639"/>
                <a:gd name="connsiteY5" fmla="*/ 8501 h 5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39" h="56553">
                  <a:moveTo>
                    <a:pt x="10827" y="8501"/>
                  </a:moveTo>
                  <a:cubicBezTo>
                    <a:pt x="19462" y="5280"/>
                    <a:pt x="28277" y="2550"/>
                    <a:pt x="37225" y="0"/>
                  </a:cubicBezTo>
                  <a:cubicBezTo>
                    <a:pt x="37807" y="14183"/>
                    <a:pt x="40357" y="28814"/>
                    <a:pt x="36733" y="42773"/>
                  </a:cubicBezTo>
                  <a:cubicBezTo>
                    <a:pt x="26800" y="50961"/>
                    <a:pt x="13870" y="53511"/>
                    <a:pt x="1789" y="56553"/>
                  </a:cubicBezTo>
                  <a:cubicBezTo>
                    <a:pt x="1342" y="53108"/>
                    <a:pt x="447" y="46263"/>
                    <a:pt x="0" y="42818"/>
                  </a:cubicBezTo>
                  <a:cubicBezTo>
                    <a:pt x="5235" y="31990"/>
                    <a:pt x="10201" y="20715"/>
                    <a:pt x="10827" y="8501"/>
                  </a:cubicBezTo>
                  <a:close/>
                </a:path>
              </a:pathLst>
            </a:custGeom>
            <a:solidFill>
              <a:srgbClr val="D7706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46" name="Freeform: Shape 4945">
              <a:extLst>
                <a:ext uri="{FF2B5EF4-FFF2-40B4-BE49-F238E27FC236}">
                  <a16:creationId xmlns:a16="http://schemas.microsoft.com/office/drawing/2014/main" id="{67F4A0AD-6F5C-9E4E-F510-2F1DE5C94F54}"/>
                </a:ext>
              </a:extLst>
            </p:cNvPr>
            <p:cNvSpPr/>
            <p:nvPr/>
          </p:nvSpPr>
          <p:spPr>
            <a:xfrm flipH="1">
              <a:off x="807791" y="3326477"/>
              <a:ext cx="87593" cy="84960"/>
            </a:xfrm>
            <a:custGeom>
              <a:avLst/>
              <a:gdLst>
                <a:gd name="connsiteX0" fmla="*/ 104 w 73435"/>
                <a:gd name="connsiteY0" fmla="*/ 21610 h 71228"/>
                <a:gd name="connsiteX1" fmla="*/ 73436 w 73435"/>
                <a:gd name="connsiteY1" fmla="*/ 0 h 71228"/>
                <a:gd name="connsiteX2" fmla="*/ 62608 w 73435"/>
                <a:gd name="connsiteY2" fmla="*/ 34317 h 71228"/>
                <a:gd name="connsiteX3" fmla="*/ 42832 w 73435"/>
                <a:gd name="connsiteY3" fmla="*/ 58835 h 71228"/>
                <a:gd name="connsiteX4" fmla="*/ 21491 w 73435"/>
                <a:gd name="connsiteY4" fmla="*/ 66978 h 71228"/>
                <a:gd name="connsiteX5" fmla="*/ 10216 w 73435"/>
                <a:gd name="connsiteY5" fmla="*/ 71228 h 71228"/>
                <a:gd name="connsiteX6" fmla="*/ 104 w 73435"/>
                <a:gd name="connsiteY6" fmla="*/ 21610 h 7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35" h="71228">
                  <a:moveTo>
                    <a:pt x="104" y="21610"/>
                  </a:moveTo>
                  <a:cubicBezTo>
                    <a:pt x="25786" y="19418"/>
                    <a:pt x="49723" y="9351"/>
                    <a:pt x="73436" y="0"/>
                  </a:cubicBezTo>
                  <a:cubicBezTo>
                    <a:pt x="72809" y="12214"/>
                    <a:pt x="67843" y="23489"/>
                    <a:pt x="62608" y="34317"/>
                  </a:cubicBezTo>
                  <a:cubicBezTo>
                    <a:pt x="58403" y="44249"/>
                    <a:pt x="52497" y="53555"/>
                    <a:pt x="42832" y="58835"/>
                  </a:cubicBezTo>
                  <a:cubicBezTo>
                    <a:pt x="35584" y="61340"/>
                    <a:pt x="28471" y="64070"/>
                    <a:pt x="21491" y="66978"/>
                  </a:cubicBezTo>
                  <a:cubicBezTo>
                    <a:pt x="18672" y="68052"/>
                    <a:pt x="13035" y="70199"/>
                    <a:pt x="10216" y="71228"/>
                  </a:cubicBezTo>
                  <a:cubicBezTo>
                    <a:pt x="239" y="56553"/>
                    <a:pt x="-343" y="38657"/>
                    <a:pt x="104" y="21610"/>
                  </a:cubicBezTo>
                  <a:close/>
                </a:path>
              </a:pathLst>
            </a:custGeom>
            <a:solidFill>
              <a:srgbClr val="F6AE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5" name="Freeform: Shape 4954">
              <a:extLst>
                <a:ext uri="{FF2B5EF4-FFF2-40B4-BE49-F238E27FC236}">
                  <a16:creationId xmlns:a16="http://schemas.microsoft.com/office/drawing/2014/main" id="{890A2BDC-649A-01B4-84AF-3F61FFB3755A}"/>
                </a:ext>
              </a:extLst>
            </p:cNvPr>
            <p:cNvSpPr/>
            <p:nvPr/>
          </p:nvSpPr>
          <p:spPr>
            <a:xfrm flipH="1">
              <a:off x="818783" y="3389879"/>
              <a:ext cx="85441" cy="70191"/>
            </a:xfrm>
            <a:custGeom>
              <a:avLst/>
              <a:gdLst>
                <a:gd name="connsiteX0" fmla="*/ 68857 w 71631"/>
                <a:gd name="connsiteY0" fmla="*/ 1298 h 58846"/>
                <a:gd name="connsiteX1" fmla="*/ 71497 w 71631"/>
                <a:gd name="connsiteY1" fmla="*/ 0 h 58846"/>
                <a:gd name="connsiteX2" fmla="*/ 71631 w 71631"/>
                <a:gd name="connsiteY2" fmla="*/ 52437 h 58846"/>
                <a:gd name="connsiteX3" fmla="*/ 0 w 71631"/>
                <a:gd name="connsiteY3" fmla="*/ 58835 h 58846"/>
                <a:gd name="connsiteX4" fmla="*/ 313 w 71631"/>
                <a:gd name="connsiteY4" fmla="*/ 46755 h 58846"/>
                <a:gd name="connsiteX5" fmla="*/ 60311 w 71631"/>
                <a:gd name="connsiteY5" fmla="*/ 5503 h 58846"/>
                <a:gd name="connsiteX6" fmla="*/ 62996 w 71631"/>
                <a:gd name="connsiteY6" fmla="*/ 5369 h 58846"/>
                <a:gd name="connsiteX7" fmla="*/ 66083 w 71631"/>
                <a:gd name="connsiteY7" fmla="*/ 10738 h 58846"/>
                <a:gd name="connsiteX8" fmla="*/ 68857 w 71631"/>
                <a:gd name="connsiteY8" fmla="*/ 1298 h 5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31" h="58846">
                  <a:moveTo>
                    <a:pt x="68857" y="1298"/>
                  </a:moveTo>
                  <a:lnTo>
                    <a:pt x="71497" y="0"/>
                  </a:lnTo>
                  <a:cubicBezTo>
                    <a:pt x="71005" y="17449"/>
                    <a:pt x="71273" y="34943"/>
                    <a:pt x="71631" y="52437"/>
                  </a:cubicBezTo>
                  <a:cubicBezTo>
                    <a:pt x="47873" y="55972"/>
                    <a:pt x="24026" y="59059"/>
                    <a:pt x="0" y="58835"/>
                  </a:cubicBezTo>
                  <a:cubicBezTo>
                    <a:pt x="90" y="55837"/>
                    <a:pt x="268" y="49753"/>
                    <a:pt x="313" y="46755"/>
                  </a:cubicBezTo>
                  <a:cubicBezTo>
                    <a:pt x="20313" y="32975"/>
                    <a:pt x="41386" y="20805"/>
                    <a:pt x="60311" y="5503"/>
                  </a:cubicBezTo>
                  <a:lnTo>
                    <a:pt x="62996" y="5369"/>
                  </a:lnTo>
                  <a:cubicBezTo>
                    <a:pt x="63801" y="6711"/>
                    <a:pt x="65323" y="9396"/>
                    <a:pt x="66083" y="10738"/>
                  </a:cubicBezTo>
                  <a:cubicBezTo>
                    <a:pt x="66799" y="8367"/>
                    <a:pt x="68141" y="3669"/>
                    <a:pt x="68857" y="1298"/>
                  </a:cubicBezTo>
                  <a:close/>
                </a:path>
              </a:pathLst>
            </a:custGeom>
            <a:solidFill>
              <a:srgbClr val="EB88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6" name="Freeform: Shape 4955">
              <a:extLst>
                <a:ext uri="{FF2B5EF4-FFF2-40B4-BE49-F238E27FC236}">
                  <a16:creationId xmlns:a16="http://schemas.microsoft.com/office/drawing/2014/main" id="{233B7FB5-7ABD-53B3-0AAE-9F2F82812E7D}"/>
                </a:ext>
              </a:extLst>
            </p:cNvPr>
            <p:cNvSpPr/>
            <p:nvPr/>
          </p:nvSpPr>
          <p:spPr>
            <a:xfrm flipH="1">
              <a:off x="832286" y="3396443"/>
              <a:ext cx="80797" cy="54222"/>
            </a:xfrm>
            <a:custGeom>
              <a:avLst/>
              <a:gdLst>
                <a:gd name="connsiteX0" fmla="*/ 36330 w 67738"/>
                <a:gd name="connsiteY0" fmla="*/ 8322 h 45457"/>
                <a:gd name="connsiteX1" fmla="*/ 57672 w 67738"/>
                <a:gd name="connsiteY1" fmla="*/ 179 h 45457"/>
                <a:gd name="connsiteX2" fmla="*/ 67738 w 67738"/>
                <a:gd name="connsiteY2" fmla="*/ 0 h 45457"/>
                <a:gd name="connsiteX3" fmla="*/ 7740 w 67738"/>
                <a:gd name="connsiteY3" fmla="*/ 41252 h 45457"/>
                <a:gd name="connsiteX4" fmla="*/ 1834 w 67738"/>
                <a:gd name="connsiteY4" fmla="*/ 45457 h 45457"/>
                <a:gd name="connsiteX5" fmla="*/ 0 w 67738"/>
                <a:gd name="connsiteY5" fmla="*/ 34004 h 45457"/>
                <a:gd name="connsiteX6" fmla="*/ 36330 w 67738"/>
                <a:gd name="connsiteY6" fmla="*/ 8322 h 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8" h="45457">
                  <a:moveTo>
                    <a:pt x="36330" y="8322"/>
                  </a:moveTo>
                  <a:cubicBezTo>
                    <a:pt x="43310" y="5414"/>
                    <a:pt x="50423" y="2685"/>
                    <a:pt x="57672" y="179"/>
                  </a:cubicBezTo>
                  <a:cubicBezTo>
                    <a:pt x="60177" y="134"/>
                    <a:pt x="65233" y="45"/>
                    <a:pt x="67738" y="0"/>
                  </a:cubicBezTo>
                  <a:cubicBezTo>
                    <a:pt x="48813" y="15302"/>
                    <a:pt x="27740" y="27471"/>
                    <a:pt x="7740" y="41252"/>
                  </a:cubicBezTo>
                  <a:cubicBezTo>
                    <a:pt x="6264" y="42281"/>
                    <a:pt x="3311" y="44384"/>
                    <a:pt x="1834" y="45457"/>
                  </a:cubicBezTo>
                  <a:cubicBezTo>
                    <a:pt x="1163" y="41610"/>
                    <a:pt x="582" y="37807"/>
                    <a:pt x="0" y="34004"/>
                  </a:cubicBezTo>
                  <a:cubicBezTo>
                    <a:pt x="11364" y="24474"/>
                    <a:pt x="22416" y="14138"/>
                    <a:pt x="36330" y="8322"/>
                  </a:cubicBezTo>
                  <a:close/>
                </a:path>
              </a:pathLst>
            </a:custGeom>
            <a:solidFill>
              <a:srgbClr val="E9DBD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58" name="Freeform: Shape 4957">
              <a:extLst>
                <a:ext uri="{FF2B5EF4-FFF2-40B4-BE49-F238E27FC236}">
                  <a16:creationId xmlns:a16="http://schemas.microsoft.com/office/drawing/2014/main" id="{59B3B85E-D070-DBFC-4214-7A7FFCD440EA}"/>
                </a:ext>
              </a:extLst>
            </p:cNvPr>
            <p:cNvSpPr/>
            <p:nvPr/>
          </p:nvSpPr>
          <p:spPr>
            <a:xfrm flipH="1">
              <a:off x="611825" y="3398683"/>
              <a:ext cx="23055" cy="104118"/>
            </a:xfrm>
            <a:custGeom>
              <a:avLst/>
              <a:gdLst>
                <a:gd name="connsiteX0" fmla="*/ 0 w 19328"/>
                <a:gd name="connsiteY0" fmla="*/ 0 h 87290"/>
                <a:gd name="connsiteX1" fmla="*/ 19328 w 19328"/>
                <a:gd name="connsiteY1" fmla="*/ 59730 h 87290"/>
                <a:gd name="connsiteX2" fmla="*/ 11185 w 19328"/>
                <a:gd name="connsiteY2" fmla="*/ 87290 h 87290"/>
                <a:gd name="connsiteX3" fmla="*/ 0 w 19328"/>
                <a:gd name="connsiteY3" fmla="*/ 0 h 87290"/>
              </a:gdLst>
              <a:ahLst/>
              <a:cxnLst>
                <a:cxn ang="0">
                  <a:pos x="connsiteX0" y="connsiteY0"/>
                </a:cxn>
                <a:cxn ang="0">
                  <a:pos x="connsiteX1" y="connsiteY1"/>
                </a:cxn>
                <a:cxn ang="0">
                  <a:pos x="connsiteX2" y="connsiteY2"/>
                </a:cxn>
                <a:cxn ang="0">
                  <a:pos x="connsiteX3" y="connsiteY3"/>
                </a:cxn>
              </a:cxnLst>
              <a:rect l="l" t="t" r="r" b="b"/>
              <a:pathLst>
                <a:path w="19328" h="87290">
                  <a:moveTo>
                    <a:pt x="0" y="0"/>
                  </a:moveTo>
                  <a:cubicBezTo>
                    <a:pt x="13870" y="16465"/>
                    <a:pt x="17315" y="38970"/>
                    <a:pt x="19328" y="59730"/>
                  </a:cubicBezTo>
                  <a:cubicBezTo>
                    <a:pt x="18791" y="69036"/>
                    <a:pt x="20984" y="81966"/>
                    <a:pt x="11185" y="87290"/>
                  </a:cubicBezTo>
                  <a:cubicBezTo>
                    <a:pt x="9217" y="57940"/>
                    <a:pt x="2819" y="29216"/>
                    <a:pt x="0"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0" name="Freeform: Shape 4969">
              <a:extLst>
                <a:ext uri="{FF2B5EF4-FFF2-40B4-BE49-F238E27FC236}">
                  <a16:creationId xmlns:a16="http://schemas.microsoft.com/office/drawing/2014/main" id="{4DDBF0C6-28C1-C68F-E198-958275C5D34F}"/>
                </a:ext>
              </a:extLst>
            </p:cNvPr>
            <p:cNvSpPr/>
            <p:nvPr/>
          </p:nvSpPr>
          <p:spPr>
            <a:xfrm flipH="1">
              <a:off x="715037" y="3452425"/>
              <a:ext cx="267850" cy="144727"/>
            </a:xfrm>
            <a:custGeom>
              <a:avLst/>
              <a:gdLst>
                <a:gd name="connsiteX0" fmla="*/ 65949 w 224557"/>
                <a:gd name="connsiteY0" fmla="*/ 6398 h 121334"/>
                <a:gd name="connsiteX1" fmla="*/ 137580 w 224557"/>
                <a:gd name="connsiteY1" fmla="*/ 0 h 121334"/>
                <a:gd name="connsiteX2" fmla="*/ 140801 w 224557"/>
                <a:gd name="connsiteY2" fmla="*/ 313 h 121334"/>
                <a:gd name="connsiteX3" fmla="*/ 146260 w 224557"/>
                <a:gd name="connsiteY3" fmla="*/ 59104 h 121334"/>
                <a:gd name="connsiteX4" fmla="*/ 161114 w 224557"/>
                <a:gd name="connsiteY4" fmla="*/ 69126 h 121334"/>
                <a:gd name="connsiteX5" fmla="*/ 220933 w 224557"/>
                <a:gd name="connsiteY5" fmla="*/ 76284 h 121334"/>
                <a:gd name="connsiteX6" fmla="*/ 224065 w 224557"/>
                <a:gd name="connsiteY6" fmla="*/ 77358 h 121334"/>
                <a:gd name="connsiteX7" fmla="*/ 224557 w 224557"/>
                <a:gd name="connsiteY7" fmla="*/ 87201 h 121334"/>
                <a:gd name="connsiteX8" fmla="*/ 126663 w 224557"/>
                <a:gd name="connsiteY8" fmla="*/ 120802 h 121334"/>
                <a:gd name="connsiteX9" fmla="*/ 28008 w 224557"/>
                <a:gd name="connsiteY9" fmla="*/ 103890 h 121334"/>
                <a:gd name="connsiteX10" fmla="*/ 0 w 224557"/>
                <a:gd name="connsiteY10" fmla="*/ 72347 h 121334"/>
                <a:gd name="connsiteX11" fmla="*/ 61833 w 224557"/>
                <a:gd name="connsiteY11" fmla="*/ 62549 h 121334"/>
                <a:gd name="connsiteX12" fmla="*/ 65949 w 224557"/>
                <a:gd name="connsiteY12" fmla="*/ 6398 h 1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557" h="121334">
                  <a:moveTo>
                    <a:pt x="65949" y="6398"/>
                  </a:moveTo>
                  <a:cubicBezTo>
                    <a:pt x="89975" y="6622"/>
                    <a:pt x="113822" y="3535"/>
                    <a:pt x="137580" y="0"/>
                  </a:cubicBezTo>
                  <a:cubicBezTo>
                    <a:pt x="138385" y="90"/>
                    <a:pt x="139996" y="224"/>
                    <a:pt x="140801" y="313"/>
                  </a:cubicBezTo>
                  <a:cubicBezTo>
                    <a:pt x="141338" y="19955"/>
                    <a:pt x="141338" y="39909"/>
                    <a:pt x="146260" y="59104"/>
                  </a:cubicBezTo>
                  <a:cubicBezTo>
                    <a:pt x="146573" y="66844"/>
                    <a:pt x="155477" y="66978"/>
                    <a:pt x="161114" y="69126"/>
                  </a:cubicBezTo>
                  <a:cubicBezTo>
                    <a:pt x="180666" y="73779"/>
                    <a:pt x="200844" y="75121"/>
                    <a:pt x="220933" y="76284"/>
                  </a:cubicBezTo>
                  <a:lnTo>
                    <a:pt x="224065" y="77358"/>
                  </a:lnTo>
                  <a:cubicBezTo>
                    <a:pt x="224199" y="79819"/>
                    <a:pt x="224423" y="84740"/>
                    <a:pt x="224557" y="87201"/>
                  </a:cubicBezTo>
                  <a:cubicBezTo>
                    <a:pt x="194804" y="105098"/>
                    <a:pt x="161875" y="119683"/>
                    <a:pt x="126663" y="120802"/>
                  </a:cubicBezTo>
                  <a:cubicBezTo>
                    <a:pt x="93331" y="121965"/>
                    <a:pt x="57045" y="122950"/>
                    <a:pt x="28008" y="103890"/>
                  </a:cubicBezTo>
                  <a:cubicBezTo>
                    <a:pt x="15481" y="96597"/>
                    <a:pt x="7159" y="84517"/>
                    <a:pt x="0" y="72347"/>
                  </a:cubicBezTo>
                  <a:cubicBezTo>
                    <a:pt x="19999" y="65770"/>
                    <a:pt x="41565" y="68276"/>
                    <a:pt x="61833" y="62549"/>
                  </a:cubicBezTo>
                  <a:cubicBezTo>
                    <a:pt x="65412" y="44026"/>
                    <a:pt x="65859" y="25189"/>
                    <a:pt x="65949" y="6398"/>
                  </a:cubicBezTo>
                  <a:close/>
                </a:path>
              </a:pathLst>
            </a:custGeom>
            <a:solidFill>
              <a:srgbClr val="F7A3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73" name="Freeform: Shape 4972">
              <a:extLst>
                <a:ext uri="{FF2B5EF4-FFF2-40B4-BE49-F238E27FC236}">
                  <a16:creationId xmlns:a16="http://schemas.microsoft.com/office/drawing/2014/main" id="{A4E473E6-A3B3-3AEB-FEF9-373B2B741700}"/>
                </a:ext>
              </a:extLst>
            </p:cNvPr>
            <p:cNvSpPr/>
            <p:nvPr/>
          </p:nvSpPr>
          <p:spPr>
            <a:xfrm flipH="1">
              <a:off x="719361" y="3452799"/>
              <a:ext cx="95580" cy="90618"/>
            </a:xfrm>
            <a:custGeom>
              <a:avLst/>
              <a:gdLst>
                <a:gd name="connsiteX0" fmla="*/ 0 w 80132"/>
                <a:gd name="connsiteY0" fmla="*/ 0 h 75971"/>
                <a:gd name="connsiteX1" fmla="*/ 49216 w 80132"/>
                <a:gd name="connsiteY1" fmla="*/ 13243 h 75971"/>
                <a:gd name="connsiteX2" fmla="*/ 60088 w 80132"/>
                <a:gd name="connsiteY2" fmla="*/ 70915 h 75971"/>
                <a:gd name="connsiteX3" fmla="*/ 80132 w 80132"/>
                <a:gd name="connsiteY3" fmla="*/ 75971 h 75971"/>
                <a:gd name="connsiteX4" fmla="*/ 20313 w 80132"/>
                <a:gd name="connsiteY4" fmla="*/ 68812 h 75971"/>
                <a:gd name="connsiteX5" fmla="*/ 5459 w 80132"/>
                <a:gd name="connsiteY5" fmla="*/ 58790 h 75971"/>
                <a:gd name="connsiteX6" fmla="*/ 0 w 80132"/>
                <a:gd name="connsiteY6" fmla="*/ 0 h 7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132" h="75971">
                  <a:moveTo>
                    <a:pt x="0" y="0"/>
                  </a:moveTo>
                  <a:cubicBezTo>
                    <a:pt x="16465" y="3535"/>
                    <a:pt x="35033" y="3266"/>
                    <a:pt x="49216" y="13243"/>
                  </a:cubicBezTo>
                  <a:cubicBezTo>
                    <a:pt x="62594" y="29127"/>
                    <a:pt x="57538" y="51811"/>
                    <a:pt x="60088" y="70915"/>
                  </a:cubicBezTo>
                  <a:cubicBezTo>
                    <a:pt x="66620" y="72392"/>
                    <a:pt x="73689" y="73466"/>
                    <a:pt x="80132" y="75971"/>
                  </a:cubicBezTo>
                  <a:cubicBezTo>
                    <a:pt x="60043" y="74808"/>
                    <a:pt x="39865" y="73466"/>
                    <a:pt x="20313" y="68812"/>
                  </a:cubicBezTo>
                  <a:cubicBezTo>
                    <a:pt x="14675" y="66665"/>
                    <a:pt x="5772" y="66531"/>
                    <a:pt x="5459" y="58790"/>
                  </a:cubicBezTo>
                  <a:cubicBezTo>
                    <a:pt x="537" y="39596"/>
                    <a:pt x="537" y="19642"/>
                    <a:pt x="0" y="0"/>
                  </a:cubicBezTo>
                  <a:close/>
                </a:path>
              </a:pathLst>
            </a:custGeom>
            <a:solidFill>
              <a:srgbClr val="C0E0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99" name="Freeform: Shape 4998">
              <a:extLst>
                <a:ext uri="{FF2B5EF4-FFF2-40B4-BE49-F238E27FC236}">
                  <a16:creationId xmlns:a16="http://schemas.microsoft.com/office/drawing/2014/main" id="{65DDCA39-CDCE-2DA1-8096-F2D74223879C}"/>
                </a:ext>
              </a:extLst>
            </p:cNvPr>
            <p:cNvSpPr/>
            <p:nvPr/>
          </p:nvSpPr>
          <p:spPr>
            <a:xfrm flipH="1">
              <a:off x="637976" y="3538720"/>
              <a:ext cx="401312" cy="442947"/>
            </a:xfrm>
            <a:custGeom>
              <a:avLst/>
              <a:gdLst>
                <a:gd name="connsiteX0" fmla="*/ 7733 w 336448"/>
                <a:gd name="connsiteY0" fmla="*/ 39283 h 371353"/>
                <a:gd name="connsiteX1" fmla="*/ 47284 w 336448"/>
                <a:gd name="connsiteY1" fmla="*/ 0 h 371353"/>
                <a:gd name="connsiteX2" fmla="*/ 75292 w 336448"/>
                <a:gd name="connsiteY2" fmla="*/ 31543 h 371353"/>
                <a:gd name="connsiteX3" fmla="*/ 173947 w 336448"/>
                <a:gd name="connsiteY3" fmla="*/ 48455 h 371353"/>
                <a:gd name="connsiteX4" fmla="*/ 271842 w 336448"/>
                <a:gd name="connsiteY4" fmla="*/ 14854 h 371353"/>
                <a:gd name="connsiteX5" fmla="*/ 271349 w 336448"/>
                <a:gd name="connsiteY5" fmla="*/ 5011 h 371353"/>
                <a:gd name="connsiteX6" fmla="*/ 336448 w 336448"/>
                <a:gd name="connsiteY6" fmla="*/ 36017 h 371353"/>
                <a:gd name="connsiteX7" fmla="*/ 325576 w 336448"/>
                <a:gd name="connsiteY7" fmla="*/ 36106 h 371353"/>
                <a:gd name="connsiteX8" fmla="*/ 251484 w 336448"/>
                <a:gd name="connsiteY8" fmla="*/ 87156 h 371353"/>
                <a:gd name="connsiteX9" fmla="*/ 254124 w 336448"/>
                <a:gd name="connsiteY9" fmla="*/ 206213 h 371353"/>
                <a:gd name="connsiteX10" fmla="*/ 308619 w 336448"/>
                <a:gd name="connsiteY10" fmla="*/ 370996 h 371353"/>
                <a:gd name="connsiteX11" fmla="*/ 136901 w 336448"/>
                <a:gd name="connsiteY11" fmla="*/ 371354 h 371353"/>
                <a:gd name="connsiteX12" fmla="*/ 103256 w 336448"/>
                <a:gd name="connsiteY12" fmla="*/ 352742 h 371353"/>
                <a:gd name="connsiteX13" fmla="*/ 79587 w 336448"/>
                <a:gd name="connsiteY13" fmla="*/ 347373 h 371353"/>
                <a:gd name="connsiteX14" fmla="*/ 76590 w 336448"/>
                <a:gd name="connsiteY14" fmla="*/ 303571 h 371353"/>
                <a:gd name="connsiteX15" fmla="*/ 31535 w 336448"/>
                <a:gd name="connsiteY15" fmla="*/ 299768 h 371353"/>
                <a:gd name="connsiteX16" fmla="*/ 3572 w 336448"/>
                <a:gd name="connsiteY16" fmla="*/ 197310 h 371353"/>
                <a:gd name="connsiteX17" fmla="*/ 7733 w 336448"/>
                <a:gd name="connsiteY17" fmla="*/ 39283 h 371353"/>
                <a:gd name="connsiteX18" fmla="*/ 51535 w 336448"/>
                <a:gd name="connsiteY18" fmla="*/ 232879 h 371353"/>
                <a:gd name="connsiteX19" fmla="*/ 131309 w 336448"/>
                <a:gd name="connsiteY19" fmla="*/ 264646 h 371353"/>
                <a:gd name="connsiteX20" fmla="*/ 80885 w 336448"/>
                <a:gd name="connsiteY20" fmla="*/ 244780 h 371353"/>
                <a:gd name="connsiteX21" fmla="*/ 51535 w 336448"/>
                <a:gd name="connsiteY21" fmla="*/ 232879 h 3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6448" h="371353">
                  <a:moveTo>
                    <a:pt x="7733" y="39283"/>
                  </a:moveTo>
                  <a:cubicBezTo>
                    <a:pt x="16099" y="22147"/>
                    <a:pt x="29746" y="7785"/>
                    <a:pt x="47284" y="0"/>
                  </a:cubicBezTo>
                  <a:cubicBezTo>
                    <a:pt x="54443" y="12170"/>
                    <a:pt x="62765" y="24250"/>
                    <a:pt x="75292" y="31543"/>
                  </a:cubicBezTo>
                  <a:cubicBezTo>
                    <a:pt x="104330" y="50603"/>
                    <a:pt x="140615" y="49618"/>
                    <a:pt x="173947" y="48455"/>
                  </a:cubicBezTo>
                  <a:cubicBezTo>
                    <a:pt x="209159" y="47336"/>
                    <a:pt x="242088" y="32751"/>
                    <a:pt x="271842" y="14854"/>
                  </a:cubicBezTo>
                  <a:cubicBezTo>
                    <a:pt x="271707" y="12393"/>
                    <a:pt x="271484" y="7472"/>
                    <a:pt x="271349" y="5011"/>
                  </a:cubicBezTo>
                  <a:cubicBezTo>
                    <a:pt x="296763" y="4564"/>
                    <a:pt x="319939" y="17315"/>
                    <a:pt x="336448" y="36017"/>
                  </a:cubicBezTo>
                  <a:cubicBezTo>
                    <a:pt x="333719" y="36062"/>
                    <a:pt x="328305" y="36062"/>
                    <a:pt x="325576" y="36106"/>
                  </a:cubicBezTo>
                  <a:cubicBezTo>
                    <a:pt x="292378" y="32930"/>
                    <a:pt x="264101" y="58522"/>
                    <a:pt x="251484" y="87156"/>
                  </a:cubicBezTo>
                  <a:cubicBezTo>
                    <a:pt x="234527" y="124918"/>
                    <a:pt x="241731" y="168228"/>
                    <a:pt x="254124" y="206213"/>
                  </a:cubicBezTo>
                  <a:cubicBezTo>
                    <a:pt x="272244" y="261156"/>
                    <a:pt x="295554" y="314488"/>
                    <a:pt x="308619" y="370996"/>
                  </a:cubicBezTo>
                  <a:cubicBezTo>
                    <a:pt x="251395" y="368714"/>
                    <a:pt x="193991" y="366433"/>
                    <a:pt x="136901" y="371354"/>
                  </a:cubicBezTo>
                  <a:cubicBezTo>
                    <a:pt x="126253" y="364195"/>
                    <a:pt x="115783" y="356142"/>
                    <a:pt x="103256" y="352742"/>
                  </a:cubicBezTo>
                  <a:cubicBezTo>
                    <a:pt x="95381" y="350728"/>
                    <a:pt x="87417" y="349073"/>
                    <a:pt x="79587" y="347373"/>
                  </a:cubicBezTo>
                  <a:cubicBezTo>
                    <a:pt x="78335" y="332742"/>
                    <a:pt x="77395" y="318157"/>
                    <a:pt x="76590" y="303571"/>
                  </a:cubicBezTo>
                  <a:cubicBezTo>
                    <a:pt x="61557" y="302407"/>
                    <a:pt x="46524" y="301289"/>
                    <a:pt x="31535" y="299768"/>
                  </a:cubicBezTo>
                  <a:cubicBezTo>
                    <a:pt x="25764" y="264601"/>
                    <a:pt x="7957" y="232745"/>
                    <a:pt x="3572" y="197310"/>
                  </a:cubicBezTo>
                  <a:cubicBezTo>
                    <a:pt x="-4795" y="144739"/>
                    <a:pt x="3616" y="91765"/>
                    <a:pt x="7733" y="39283"/>
                  </a:cubicBezTo>
                  <a:close/>
                  <a:moveTo>
                    <a:pt x="51535" y="232879"/>
                  </a:moveTo>
                  <a:cubicBezTo>
                    <a:pt x="72921" y="252610"/>
                    <a:pt x="102674" y="262364"/>
                    <a:pt x="131309" y="264646"/>
                  </a:cubicBezTo>
                  <a:cubicBezTo>
                    <a:pt x="115515" y="255563"/>
                    <a:pt x="97215" y="252610"/>
                    <a:pt x="80885" y="244780"/>
                  </a:cubicBezTo>
                  <a:cubicBezTo>
                    <a:pt x="71310" y="240306"/>
                    <a:pt x="61601" y="236056"/>
                    <a:pt x="51535" y="232879"/>
                  </a:cubicBezTo>
                  <a:close/>
                </a:path>
              </a:pathLst>
            </a:custGeom>
            <a:solidFill>
              <a:srgbClr val="2F48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08" name="Freeform: Shape 5007">
              <a:extLst>
                <a:ext uri="{FF2B5EF4-FFF2-40B4-BE49-F238E27FC236}">
                  <a16:creationId xmlns:a16="http://schemas.microsoft.com/office/drawing/2014/main" id="{319009E6-6644-EDA5-BD63-65AAAE6EF4FC}"/>
                </a:ext>
              </a:extLst>
            </p:cNvPr>
            <p:cNvSpPr/>
            <p:nvPr/>
          </p:nvSpPr>
          <p:spPr>
            <a:xfrm flipH="1">
              <a:off x="526482" y="3581468"/>
              <a:ext cx="368296" cy="545872"/>
            </a:xfrm>
            <a:custGeom>
              <a:avLst/>
              <a:gdLst>
                <a:gd name="connsiteX0" fmla="*/ 130332 w 308768"/>
                <a:gd name="connsiteY0" fmla="*/ 51318 h 457642"/>
                <a:gd name="connsiteX1" fmla="*/ 204424 w 308768"/>
                <a:gd name="connsiteY1" fmla="*/ 268 h 457642"/>
                <a:gd name="connsiteX2" fmla="*/ 248673 w 308768"/>
                <a:gd name="connsiteY2" fmla="*/ 72793 h 457642"/>
                <a:gd name="connsiteX3" fmla="*/ 291759 w 308768"/>
                <a:gd name="connsiteY3" fmla="*/ 258068 h 457642"/>
                <a:gd name="connsiteX4" fmla="*/ 306971 w 308768"/>
                <a:gd name="connsiteY4" fmla="*/ 411889 h 457642"/>
                <a:gd name="connsiteX5" fmla="*/ 301557 w 308768"/>
                <a:gd name="connsiteY5" fmla="*/ 454438 h 457642"/>
                <a:gd name="connsiteX6" fmla="*/ 260753 w 308768"/>
                <a:gd name="connsiteY6" fmla="*/ 456720 h 457642"/>
                <a:gd name="connsiteX7" fmla="*/ 204469 w 308768"/>
                <a:gd name="connsiteY7" fmla="*/ 454662 h 457642"/>
                <a:gd name="connsiteX8" fmla="*/ 52661 w 308768"/>
                <a:gd name="connsiteY8" fmla="*/ 429741 h 457642"/>
                <a:gd name="connsiteX9" fmla="*/ 0 w 308768"/>
                <a:gd name="connsiteY9" fmla="*/ 415916 h 457642"/>
                <a:gd name="connsiteX10" fmla="*/ 17091 w 308768"/>
                <a:gd name="connsiteY10" fmla="*/ 394082 h 457642"/>
                <a:gd name="connsiteX11" fmla="*/ 15749 w 308768"/>
                <a:gd name="connsiteY11" fmla="*/ 335515 h 457642"/>
                <a:gd name="connsiteX12" fmla="*/ 187467 w 308768"/>
                <a:gd name="connsiteY12" fmla="*/ 335157 h 457642"/>
                <a:gd name="connsiteX13" fmla="*/ 132971 w 308768"/>
                <a:gd name="connsiteY13" fmla="*/ 170375 h 457642"/>
                <a:gd name="connsiteX14" fmla="*/ 130332 w 308768"/>
                <a:gd name="connsiteY14" fmla="*/ 51318 h 457642"/>
                <a:gd name="connsiteX15" fmla="*/ 252655 w 308768"/>
                <a:gd name="connsiteY15" fmla="*/ 347998 h 457642"/>
                <a:gd name="connsiteX16" fmla="*/ 270104 w 308768"/>
                <a:gd name="connsiteY16" fmla="*/ 390234 h 457642"/>
                <a:gd name="connsiteX17" fmla="*/ 285987 w 308768"/>
                <a:gd name="connsiteY17" fmla="*/ 384462 h 457642"/>
                <a:gd name="connsiteX18" fmla="*/ 252655 w 308768"/>
                <a:gd name="connsiteY18" fmla="*/ 347998 h 45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8768" h="457642">
                  <a:moveTo>
                    <a:pt x="130332" y="51318"/>
                  </a:moveTo>
                  <a:cubicBezTo>
                    <a:pt x="142949" y="22683"/>
                    <a:pt x="171226" y="-2909"/>
                    <a:pt x="204424" y="268"/>
                  </a:cubicBezTo>
                  <a:cubicBezTo>
                    <a:pt x="236995" y="8724"/>
                    <a:pt x="240083" y="45993"/>
                    <a:pt x="248673" y="72793"/>
                  </a:cubicBezTo>
                  <a:cubicBezTo>
                    <a:pt x="265138" y="134000"/>
                    <a:pt x="278694" y="196011"/>
                    <a:pt x="291759" y="258068"/>
                  </a:cubicBezTo>
                  <a:cubicBezTo>
                    <a:pt x="300036" y="308760"/>
                    <a:pt x="313682" y="360213"/>
                    <a:pt x="306971" y="411889"/>
                  </a:cubicBezTo>
                  <a:cubicBezTo>
                    <a:pt x="305942" y="426117"/>
                    <a:pt x="289477" y="441552"/>
                    <a:pt x="301557" y="454438"/>
                  </a:cubicBezTo>
                  <a:cubicBezTo>
                    <a:pt x="288001" y="450501"/>
                    <a:pt x="274131" y="454393"/>
                    <a:pt x="260753" y="456720"/>
                  </a:cubicBezTo>
                  <a:cubicBezTo>
                    <a:pt x="241962" y="458957"/>
                    <a:pt x="223081" y="456675"/>
                    <a:pt x="204469" y="454662"/>
                  </a:cubicBezTo>
                  <a:cubicBezTo>
                    <a:pt x="153553" y="448532"/>
                    <a:pt x="102682" y="441195"/>
                    <a:pt x="52661" y="429741"/>
                  </a:cubicBezTo>
                  <a:cubicBezTo>
                    <a:pt x="34898" y="425848"/>
                    <a:pt x="17941" y="418779"/>
                    <a:pt x="0" y="415916"/>
                  </a:cubicBezTo>
                  <a:cubicBezTo>
                    <a:pt x="8680" y="411531"/>
                    <a:pt x="16510" y="404417"/>
                    <a:pt x="17091" y="394082"/>
                  </a:cubicBezTo>
                  <a:cubicBezTo>
                    <a:pt x="20492" y="374664"/>
                    <a:pt x="18255" y="354888"/>
                    <a:pt x="15749" y="335515"/>
                  </a:cubicBezTo>
                  <a:cubicBezTo>
                    <a:pt x="72839" y="330594"/>
                    <a:pt x="130242" y="332876"/>
                    <a:pt x="187467" y="335157"/>
                  </a:cubicBezTo>
                  <a:cubicBezTo>
                    <a:pt x="174402" y="278649"/>
                    <a:pt x="151092" y="225317"/>
                    <a:pt x="132971" y="170375"/>
                  </a:cubicBezTo>
                  <a:cubicBezTo>
                    <a:pt x="120578" y="132389"/>
                    <a:pt x="113375" y="89079"/>
                    <a:pt x="130332" y="51318"/>
                  </a:cubicBezTo>
                  <a:close/>
                  <a:moveTo>
                    <a:pt x="252655" y="347998"/>
                  </a:moveTo>
                  <a:cubicBezTo>
                    <a:pt x="259053" y="361823"/>
                    <a:pt x="266614" y="375201"/>
                    <a:pt x="270104" y="390234"/>
                  </a:cubicBezTo>
                  <a:cubicBezTo>
                    <a:pt x="275831" y="389652"/>
                    <a:pt x="282274" y="389921"/>
                    <a:pt x="285987" y="384462"/>
                  </a:cubicBezTo>
                  <a:cubicBezTo>
                    <a:pt x="277442" y="370369"/>
                    <a:pt x="266883" y="356678"/>
                    <a:pt x="252655" y="347998"/>
                  </a:cubicBezTo>
                  <a:close/>
                </a:path>
              </a:pathLst>
            </a:custGeom>
            <a:solidFill>
              <a:srgbClr val="5D89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12" name="Freeform: Shape 5011">
              <a:extLst>
                <a:ext uri="{FF2B5EF4-FFF2-40B4-BE49-F238E27FC236}">
                  <a16:creationId xmlns:a16="http://schemas.microsoft.com/office/drawing/2014/main" id="{57E882AB-DBB8-61EA-5479-02A09AC97E35}"/>
                </a:ext>
              </a:extLst>
            </p:cNvPr>
            <p:cNvSpPr/>
            <p:nvPr/>
          </p:nvSpPr>
          <p:spPr>
            <a:xfrm flipH="1">
              <a:off x="1001674" y="3585576"/>
              <a:ext cx="85921" cy="310704"/>
            </a:xfrm>
            <a:custGeom>
              <a:avLst/>
              <a:gdLst>
                <a:gd name="connsiteX0" fmla="*/ 17539 w 72033"/>
                <a:gd name="connsiteY0" fmla="*/ 108453 h 260484"/>
                <a:gd name="connsiteX1" fmla="*/ 48231 w 72033"/>
                <a:gd name="connsiteY1" fmla="*/ 0 h 260484"/>
                <a:gd name="connsiteX2" fmla="*/ 44070 w 72033"/>
                <a:gd name="connsiteY2" fmla="*/ 158027 h 260484"/>
                <a:gd name="connsiteX3" fmla="*/ 72034 w 72033"/>
                <a:gd name="connsiteY3" fmla="*/ 260485 h 260484"/>
                <a:gd name="connsiteX4" fmla="*/ 0 w 72033"/>
                <a:gd name="connsiteY4" fmla="*/ 253237 h 260484"/>
                <a:gd name="connsiteX5" fmla="*/ 17539 w 72033"/>
                <a:gd name="connsiteY5" fmla="*/ 108453 h 26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033" h="260484">
                  <a:moveTo>
                    <a:pt x="17539" y="108453"/>
                  </a:moveTo>
                  <a:cubicBezTo>
                    <a:pt x="22639" y="71228"/>
                    <a:pt x="28903" y="32885"/>
                    <a:pt x="48231" y="0"/>
                  </a:cubicBezTo>
                  <a:cubicBezTo>
                    <a:pt x="44115" y="52482"/>
                    <a:pt x="35704" y="105456"/>
                    <a:pt x="44070" y="158027"/>
                  </a:cubicBezTo>
                  <a:cubicBezTo>
                    <a:pt x="48455" y="193462"/>
                    <a:pt x="66262" y="225318"/>
                    <a:pt x="72034" y="260485"/>
                  </a:cubicBezTo>
                  <a:cubicBezTo>
                    <a:pt x="48007" y="258158"/>
                    <a:pt x="24071" y="254668"/>
                    <a:pt x="0" y="253237"/>
                  </a:cubicBezTo>
                  <a:cubicBezTo>
                    <a:pt x="7382" y="205184"/>
                    <a:pt x="11722" y="156729"/>
                    <a:pt x="17539" y="108453"/>
                  </a:cubicBezTo>
                  <a:close/>
                </a:path>
              </a:pathLst>
            </a:custGeom>
            <a:solidFill>
              <a:srgbClr val="436C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27" name="Freeform: Shape 5026">
              <a:extLst>
                <a:ext uri="{FF2B5EF4-FFF2-40B4-BE49-F238E27FC236}">
                  <a16:creationId xmlns:a16="http://schemas.microsoft.com/office/drawing/2014/main" id="{15C04D6F-0F66-6223-3448-F33B894E91DC}"/>
                </a:ext>
              </a:extLst>
            </p:cNvPr>
            <p:cNvSpPr/>
            <p:nvPr/>
          </p:nvSpPr>
          <p:spPr>
            <a:xfrm flipH="1">
              <a:off x="500676" y="3652979"/>
              <a:ext cx="97755" cy="481585"/>
            </a:xfrm>
            <a:custGeom>
              <a:avLst/>
              <a:gdLst>
                <a:gd name="connsiteX0" fmla="*/ 0 w 81955"/>
                <a:gd name="connsiteY0" fmla="*/ 0 h 403746"/>
                <a:gd name="connsiteX1" fmla="*/ 36509 w 81955"/>
                <a:gd name="connsiteY1" fmla="*/ 92883 h 403746"/>
                <a:gd name="connsiteX2" fmla="*/ 81877 w 81955"/>
                <a:gd name="connsiteY2" fmla="*/ 302765 h 403746"/>
                <a:gd name="connsiteX3" fmla="*/ 66396 w 81955"/>
                <a:gd name="connsiteY3" fmla="*/ 403747 h 403746"/>
                <a:gd name="connsiteX4" fmla="*/ 53108 w 81955"/>
                <a:gd name="connsiteY4" fmla="*/ 394485 h 403746"/>
                <a:gd name="connsiteX5" fmla="*/ 58522 w 81955"/>
                <a:gd name="connsiteY5" fmla="*/ 351936 h 403746"/>
                <a:gd name="connsiteX6" fmla="*/ 43310 w 81955"/>
                <a:gd name="connsiteY6" fmla="*/ 198115 h 403746"/>
                <a:gd name="connsiteX7" fmla="*/ 224 w 81955"/>
                <a:gd name="connsiteY7" fmla="*/ 12841 h 403746"/>
                <a:gd name="connsiteX8" fmla="*/ 0 w 81955"/>
                <a:gd name="connsiteY8" fmla="*/ 0 h 40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55" h="403746">
                  <a:moveTo>
                    <a:pt x="0" y="0"/>
                  </a:moveTo>
                  <a:cubicBezTo>
                    <a:pt x="18523" y="28053"/>
                    <a:pt x="26845" y="61072"/>
                    <a:pt x="36509" y="92883"/>
                  </a:cubicBezTo>
                  <a:cubicBezTo>
                    <a:pt x="55882" y="161696"/>
                    <a:pt x="81519" y="230374"/>
                    <a:pt x="81877" y="302765"/>
                  </a:cubicBezTo>
                  <a:cubicBezTo>
                    <a:pt x="82414" y="336858"/>
                    <a:pt x="80490" y="372159"/>
                    <a:pt x="66396" y="403747"/>
                  </a:cubicBezTo>
                  <a:cubicBezTo>
                    <a:pt x="63086" y="401420"/>
                    <a:pt x="56419" y="396812"/>
                    <a:pt x="53108" y="394485"/>
                  </a:cubicBezTo>
                  <a:cubicBezTo>
                    <a:pt x="41028" y="381600"/>
                    <a:pt x="57493" y="366164"/>
                    <a:pt x="58522" y="351936"/>
                  </a:cubicBezTo>
                  <a:cubicBezTo>
                    <a:pt x="65233" y="300260"/>
                    <a:pt x="51587" y="248807"/>
                    <a:pt x="43310" y="198115"/>
                  </a:cubicBezTo>
                  <a:cubicBezTo>
                    <a:pt x="30245" y="136059"/>
                    <a:pt x="16689" y="74047"/>
                    <a:pt x="224" y="12841"/>
                  </a:cubicBezTo>
                  <a:cubicBezTo>
                    <a:pt x="179" y="9619"/>
                    <a:pt x="90" y="3177"/>
                    <a:pt x="0" y="0"/>
                  </a:cubicBezTo>
                  <a:close/>
                </a:path>
              </a:pathLst>
            </a:custGeom>
            <a:solidFill>
              <a:schemeClr val="tx1"/>
            </a:solid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38" name="Freeform: Shape 5037">
              <a:extLst>
                <a:ext uri="{FF2B5EF4-FFF2-40B4-BE49-F238E27FC236}">
                  <a16:creationId xmlns:a16="http://schemas.microsoft.com/office/drawing/2014/main" id="{B6BEBF38-F5F7-BA82-946F-FE8BE3954436}"/>
                </a:ext>
              </a:extLst>
            </p:cNvPr>
            <p:cNvSpPr/>
            <p:nvPr/>
          </p:nvSpPr>
          <p:spPr>
            <a:xfrm flipH="1">
              <a:off x="482153" y="3734950"/>
              <a:ext cx="40192" cy="157698"/>
            </a:xfrm>
            <a:custGeom>
              <a:avLst/>
              <a:gdLst>
                <a:gd name="connsiteX0" fmla="*/ 237 w 33696"/>
                <a:gd name="connsiteY0" fmla="*/ 0 h 132210"/>
                <a:gd name="connsiteX1" fmla="*/ 23548 w 33696"/>
                <a:gd name="connsiteY1" fmla="*/ 80937 h 132210"/>
                <a:gd name="connsiteX2" fmla="*/ 33391 w 33696"/>
                <a:gd name="connsiteY2" fmla="*/ 132211 h 132210"/>
                <a:gd name="connsiteX3" fmla="*/ 5472 w 33696"/>
                <a:gd name="connsiteY3" fmla="*/ 59775 h 132210"/>
                <a:gd name="connsiteX4" fmla="*/ 237 w 33696"/>
                <a:gd name="connsiteY4" fmla="*/ 0 h 132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6" h="132210">
                  <a:moveTo>
                    <a:pt x="237" y="0"/>
                  </a:moveTo>
                  <a:cubicBezTo>
                    <a:pt x="13749" y="24966"/>
                    <a:pt x="17060" y="53690"/>
                    <a:pt x="23548" y="80937"/>
                  </a:cubicBezTo>
                  <a:cubicBezTo>
                    <a:pt x="26948" y="98029"/>
                    <a:pt x="35404" y="114359"/>
                    <a:pt x="33391" y="132211"/>
                  </a:cubicBezTo>
                  <a:cubicBezTo>
                    <a:pt x="20237" y="109930"/>
                    <a:pt x="6323" y="86351"/>
                    <a:pt x="5472" y="59775"/>
                  </a:cubicBezTo>
                  <a:cubicBezTo>
                    <a:pt x="4264" y="39775"/>
                    <a:pt x="-1194" y="20134"/>
                    <a:pt x="237"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49" name="Freeform: Shape 5048">
              <a:extLst>
                <a:ext uri="{FF2B5EF4-FFF2-40B4-BE49-F238E27FC236}">
                  <a16:creationId xmlns:a16="http://schemas.microsoft.com/office/drawing/2014/main" id="{9967933E-B535-FC57-0701-DF6AB29E4E78}"/>
                </a:ext>
              </a:extLst>
            </p:cNvPr>
            <p:cNvSpPr/>
            <p:nvPr/>
          </p:nvSpPr>
          <p:spPr>
            <a:xfrm flipH="1">
              <a:off x="882663" y="3816495"/>
              <a:ext cx="95154" cy="37891"/>
            </a:xfrm>
            <a:custGeom>
              <a:avLst/>
              <a:gdLst>
                <a:gd name="connsiteX0" fmla="*/ 0 w 79774"/>
                <a:gd name="connsiteY0" fmla="*/ 0 h 31766"/>
                <a:gd name="connsiteX1" fmla="*/ 29350 w 79774"/>
                <a:gd name="connsiteY1" fmla="*/ 11901 h 31766"/>
                <a:gd name="connsiteX2" fmla="*/ 79774 w 79774"/>
                <a:gd name="connsiteY2" fmla="*/ 31766 h 31766"/>
                <a:gd name="connsiteX3" fmla="*/ 0 w 79774"/>
                <a:gd name="connsiteY3" fmla="*/ 0 h 31766"/>
              </a:gdLst>
              <a:ahLst/>
              <a:cxnLst>
                <a:cxn ang="0">
                  <a:pos x="connsiteX0" y="connsiteY0"/>
                </a:cxn>
                <a:cxn ang="0">
                  <a:pos x="connsiteX1" y="connsiteY1"/>
                </a:cxn>
                <a:cxn ang="0">
                  <a:pos x="connsiteX2" y="connsiteY2"/>
                </a:cxn>
                <a:cxn ang="0">
                  <a:pos x="connsiteX3" y="connsiteY3"/>
                </a:cxn>
              </a:cxnLst>
              <a:rect l="l" t="t" r="r" b="b"/>
              <a:pathLst>
                <a:path w="79774" h="31766">
                  <a:moveTo>
                    <a:pt x="0" y="0"/>
                  </a:moveTo>
                  <a:cubicBezTo>
                    <a:pt x="10067" y="3176"/>
                    <a:pt x="19776" y="7427"/>
                    <a:pt x="29350" y="11901"/>
                  </a:cubicBezTo>
                  <a:cubicBezTo>
                    <a:pt x="45681" y="19731"/>
                    <a:pt x="63980" y="22684"/>
                    <a:pt x="79774" y="31766"/>
                  </a:cubicBezTo>
                  <a:cubicBezTo>
                    <a:pt x="51139" y="29484"/>
                    <a:pt x="21386" y="19731"/>
                    <a:pt x="0" y="0"/>
                  </a:cubicBezTo>
                  <a:close/>
                </a:path>
              </a:pathLst>
            </a:custGeom>
            <a:solidFill>
              <a:srgbClr val="2F488B"/>
            </a:solidFill>
            <a:ln w="38100" cap="flat">
              <a:solidFill>
                <a:srgbClr val="2F48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1" name="Freeform: Shape 5060">
              <a:extLst>
                <a:ext uri="{FF2B5EF4-FFF2-40B4-BE49-F238E27FC236}">
                  <a16:creationId xmlns:a16="http://schemas.microsoft.com/office/drawing/2014/main" id="{11D72CAC-4434-4B91-0281-A58A63785FD3}"/>
                </a:ext>
              </a:extLst>
            </p:cNvPr>
            <p:cNvSpPr/>
            <p:nvPr/>
          </p:nvSpPr>
          <p:spPr>
            <a:xfrm flipH="1">
              <a:off x="916125" y="3883099"/>
              <a:ext cx="249298" cy="220974"/>
            </a:xfrm>
            <a:custGeom>
              <a:avLst/>
              <a:gdLst>
                <a:gd name="connsiteX0" fmla="*/ 20866 w 209004"/>
                <a:gd name="connsiteY0" fmla="*/ 0 h 185258"/>
                <a:gd name="connsiteX1" fmla="*/ 65250 w 209004"/>
                <a:gd name="connsiteY1" fmla="*/ 3803 h 185258"/>
                <a:gd name="connsiteX2" fmla="*/ 137284 w 209004"/>
                <a:gd name="connsiteY2" fmla="*/ 11051 h 185258"/>
                <a:gd name="connsiteX3" fmla="*/ 182338 w 209004"/>
                <a:gd name="connsiteY3" fmla="*/ 14854 h 185258"/>
                <a:gd name="connsiteX4" fmla="*/ 185336 w 209004"/>
                <a:gd name="connsiteY4" fmla="*/ 58656 h 185258"/>
                <a:gd name="connsiteX5" fmla="*/ 209004 w 209004"/>
                <a:gd name="connsiteY5" fmla="*/ 64025 h 185258"/>
                <a:gd name="connsiteX6" fmla="*/ 177327 w 209004"/>
                <a:gd name="connsiteY6" fmla="*/ 70602 h 185258"/>
                <a:gd name="connsiteX7" fmla="*/ 129141 w 209004"/>
                <a:gd name="connsiteY7" fmla="*/ 85814 h 185258"/>
                <a:gd name="connsiteX8" fmla="*/ 135360 w 209004"/>
                <a:gd name="connsiteY8" fmla="*/ 150779 h 185258"/>
                <a:gd name="connsiteX9" fmla="*/ 177551 w 209004"/>
                <a:gd name="connsiteY9" fmla="*/ 168899 h 185258"/>
                <a:gd name="connsiteX10" fmla="*/ 186812 w 209004"/>
                <a:gd name="connsiteY10" fmla="*/ 169033 h 185258"/>
                <a:gd name="connsiteX11" fmla="*/ 185560 w 209004"/>
                <a:gd name="connsiteY11" fmla="*/ 185230 h 185258"/>
                <a:gd name="connsiteX12" fmla="*/ 109454 w 209004"/>
                <a:gd name="connsiteY12" fmla="*/ 179189 h 185258"/>
                <a:gd name="connsiteX13" fmla="*/ 73080 w 209004"/>
                <a:gd name="connsiteY13" fmla="*/ 172433 h 185258"/>
                <a:gd name="connsiteX14" fmla="*/ 50977 w 209004"/>
                <a:gd name="connsiteY14" fmla="*/ 167691 h 185258"/>
                <a:gd name="connsiteX15" fmla="*/ 33484 w 209004"/>
                <a:gd name="connsiteY15" fmla="*/ 161964 h 185258"/>
                <a:gd name="connsiteX16" fmla="*/ 6862 w 209004"/>
                <a:gd name="connsiteY16" fmla="*/ 149302 h 185258"/>
                <a:gd name="connsiteX17" fmla="*/ 1225 w 209004"/>
                <a:gd name="connsiteY17" fmla="*/ 65680 h 185258"/>
                <a:gd name="connsiteX18" fmla="*/ 20866 w 209004"/>
                <a:gd name="connsiteY18" fmla="*/ 0 h 18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9004" h="185258">
                  <a:moveTo>
                    <a:pt x="20866" y="0"/>
                  </a:moveTo>
                  <a:cubicBezTo>
                    <a:pt x="35586" y="1879"/>
                    <a:pt x="50396" y="2908"/>
                    <a:pt x="65250" y="3803"/>
                  </a:cubicBezTo>
                  <a:cubicBezTo>
                    <a:pt x="89321" y="5235"/>
                    <a:pt x="113257" y="8725"/>
                    <a:pt x="137284" y="11051"/>
                  </a:cubicBezTo>
                  <a:cubicBezTo>
                    <a:pt x="152272" y="12572"/>
                    <a:pt x="167305" y="13691"/>
                    <a:pt x="182338" y="14854"/>
                  </a:cubicBezTo>
                  <a:cubicBezTo>
                    <a:pt x="183144" y="29440"/>
                    <a:pt x="184083" y="44026"/>
                    <a:pt x="185336" y="58656"/>
                  </a:cubicBezTo>
                  <a:cubicBezTo>
                    <a:pt x="193166" y="60356"/>
                    <a:pt x="201130" y="62012"/>
                    <a:pt x="209004" y="64025"/>
                  </a:cubicBezTo>
                  <a:cubicBezTo>
                    <a:pt x="198087" y="64293"/>
                    <a:pt x="187260" y="66128"/>
                    <a:pt x="177327" y="70602"/>
                  </a:cubicBezTo>
                  <a:cubicBezTo>
                    <a:pt x="161891" y="77716"/>
                    <a:pt x="144398" y="78387"/>
                    <a:pt x="129141" y="85814"/>
                  </a:cubicBezTo>
                  <a:cubicBezTo>
                    <a:pt x="114913" y="105098"/>
                    <a:pt x="124711" y="131943"/>
                    <a:pt x="135360" y="150779"/>
                  </a:cubicBezTo>
                  <a:cubicBezTo>
                    <a:pt x="143234" y="166483"/>
                    <a:pt x="161981" y="168228"/>
                    <a:pt x="177551" y="168899"/>
                  </a:cubicBezTo>
                  <a:cubicBezTo>
                    <a:pt x="179877" y="168944"/>
                    <a:pt x="184486" y="168989"/>
                    <a:pt x="186812" y="169033"/>
                  </a:cubicBezTo>
                  <a:cubicBezTo>
                    <a:pt x="186320" y="174402"/>
                    <a:pt x="185917" y="179816"/>
                    <a:pt x="185560" y="185230"/>
                  </a:cubicBezTo>
                  <a:cubicBezTo>
                    <a:pt x="160012" y="185632"/>
                    <a:pt x="134778" y="181650"/>
                    <a:pt x="109454" y="179189"/>
                  </a:cubicBezTo>
                  <a:cubicBezTo>
                    <a:pt x="97374" y="176684"/>
                    <a:pt x="85249" y="174447"/>
                    <a:pt x="73080" y="172433"/>
                  </a:cubicBezTo>
                  <a:cubicBezTo>
                    <a:pt x="65652" y="171047"/>
                    <a:pt x="58225" y="169615"/>
                    <a:pt x="50977" y="167691"/>
                  </a:cubicBezTo>
                  <a:cubicBezTo>
                    <a:pt x="45071" y="165946"/>
                    <a:pt x="39255" y="163933"/>
                    <a:pt x="33484" y="161964"/>
                  </a:cubicBezTo>
                  <a:cubicBezTo>
                    <a:pt x="24446" y="158027"/>
                    <a:pt x="15721" y="153553"/>
                    <a:pt x="6862" y="149302"/>
                  </a:cubicBezTo>
                  <a:cubicBezTo>
                    <a:pt x="4222" y="121473"/>
                    <a:pt x="7354" y="93152"/>
                    <a:pt x="1225" y="65680"/>
                  </a:cubicBezTo>
                  <a:cubicBezTo>
                    <a:pt x="-4994" y="41833"/>
                    <a:pt x="14155" y="21655"/>
                    <a:pt x="20866" y="0"/>
                  </a:cubicBezTo>
                  <a:close/>
                </a:path>
              </a:pathLst>
            </a:custGeom>
            <a:solidFill>
              <a:srgbClr val="D4AA9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63" name="Freeform: Shape 5062">
              <a:extLst>
                <a:ext uri="{FF2B5EF4-FFF2-40B4-BE49-F238E27FC236}">
                  <a16:creationId xmlns:a16="http://schemas.microsoft.com/office/drawing/2014/main" id="{FB418C21-6297-2739-CA4A-1774A8F886F3}"/>
                </a:ext>
              </a:extLst>
            </p:cNvPr>
            <p:cNvSpPr/>
            <p:nvPr/>
          </p:nvSpPr>
          <p:spPr>
            <a:xfrm flipH="1">
              <a:off x="485998" y="3896280"/>
              <a:ext cx="13967" cy="79250"/>
            </a:xfrm>
            <a:custGeom>
              <a:avLst/>
              <a:gdLst>
                <a:gd name="connsiteX0" fmla="*/ 222 w 11709"/>
                <a:gd name="connsiteY0" fmla="*/ 0 h 66441"/>
                <a:gd name="connsiteX1" fmla="*/ 7425 w 11709"/>
                <a:gd name="connsiteY1" fmla="*/ 66441 h 66441"/>
                <a:gd name="connsiteX2" fmla="*/ 222 w 11709"/>
                <a:gd name="connsiteY2" fmla="*/ 0 h 66441"/>
              </a:gdLst>
              <a:ahLst/>
              <a:cxnLst>
                <a:cxn ang="0">
                  <a:pos x="connsiteX0" y="connsiteY0"/>
                </a:cxn>
                <a:cxn ang="0">
                  <a:pos x="connsiteX1" y="connsiteY1"/>
                </a:cxn>
                <a:cxn ang="0">
                  <a:pos x="connsiteX2" y="connsiteY2"/>
                </a:cxn>
              </a:cxnLst>
              <a:rect l="l" t="t" r="r" b="b"/>
              <a:pathLst>
                <a:path w="11709" h="66441">
                  <a:moveTo>
                    <a:pt x="222" y="0"/>
                  </a:moveTo>
                  <a:cubicBezTo>
                    <a:pt x="7425" y="20715"/>
                    <a:pt x="17581" y="45413"/>
                    <a:pt x="7425" y="66441"/>
                  </a:cubicBezTo>
                  <a:cubicBezTo>
                    <a:pt x="1027" y="44965"/>
                    <a:pt x="-673" y="22326"/>
                    <a:pt x="222" y="0"/>
                  </a:cubicBezTo>
                  <a:close/>
                </a:path>
              </a:pathLst>
            </a:custGeom>
            <a:solidFill>
              <a:schemeClr val="tx1"/>
            </a:solidFill>
            <a:ln w="285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75" name="Freeform: Shape 5074">
              <a:extLst>
                <a:ext uri="{FF2B5EF4-FFF2-40B4-BE49-F238E27FC236}">
                  <a16:creationId xmlns:a16="http://schemas.microsoft.com/office/drawing/2014/main" id="{273A456A-EBB9-FCE6-6017-0624A3AFBB67}"/>
                </a:ext>
              </a:extLst>
            </p:cNvPr>
            <p:cNvSpPr/>
            <p:nvPr/>
          </p:nvSpPr>
          <p:spPr>
            <a:xfrm flipH="1">
              <a:off x="872327" y="3959467"/>
              <a:ext cx="139058" cy="125253"/>
            </a:xfrm>
            <a:custGeom>
              <a:avLst/>
              <a:gdLst>
                <a:gd name="connsiteX0" fmla="*/ 48187 w 116582"/>
                <a:gd name="connsiteY0" fmla="*/ 6577 h 105008"/>
                <a:gd name="connsiteX1" fmla="*/ 79864 w 116582"/>
                <a:gd name="connsiteY1" fmla="*/ 0 h 105008"/>
                <a:gd name="connsiteX2" fmla="*/ 113509 w 116582"/>
                <a:gd name="connsiteY2" fmla="*/ 18612 h 105008"/>
                <a:gd name="connsiteX3" fmla="*/ 114852 w 116582"/>
                <a:gd name="connsiteY3" fmla="*/ 77179 h 105008"/>
                <a:gd name="connsiteX4" fmla="*/ 97760 w 116582"/>
                <a:gd name="connsiteY4" fmla="*/ 99013 h 105008"/>
                <a:gd name="connsiteX5" fmla="*/ 57672 w 116582"/>
                <a:gd name="connsiteY5" fmla="*/ 105008 h 105008"/>
                <a:gd name="connsiteX6" fmla="*/ 48410 w 116582"/>
                <a:gd name="connsiteY6" fmla="*/ 104874 h 105008"/>
                <a:gd name="connsiteX7" fmla="*/ 51632 w 116582"/>
                <a:gd name="connsiteY7" fmla="*/ 77358 h 105008"/>
                <a:gd name="connsiteX8" fmla="*/ 15704 w 116582"/>
                <a:gd name="connsiteY8" fmla="*/ 74808 h 105008"/>
                <a:gd name="connsiteX9" fmla="*/ 50424 w 116582"/>
                <a:gd name="connsiteY9" fmla="*/ 72302 h 105008"/>
                <a:gd name="connsiteX10" fmla="*/ 64920 w 116582"/>
                <a:gd name="connsiteY10" fmla="*/ 28321 h 105008"/>
                <a:gd name="connsiteX11" fmla="*/ 0 w 116582"/>
                <a:gd name="connsiteY11" fmla="*/ 21789 h 105008"/>
                <a:gd name="connsiteX12" fmla="*/ 48187 w 116582"/>
                <a:gd name="connsiteY12" fmla="*/ 6577 h 10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582" h="105008">
                  <a:moveTo>
                    <a:pt x="48187" y="6577"/>
                  </a:moveTo>
                  <a:cubicBezTo>
                    <a:pt x="58119" y="2103"/>
                    <a:pt x="68947" y="268"/>
                    <a:pt x="79864" y="0"/>
                  </a:cubicBezTo>
                  <a:cubicBezTo>
                    <a:pt x="92391" y="3400"/>
                    <a:pt x="102861" y="11454"/>
                    <a:pt x="113509" y="18612"/>
                  </a:cubicBezTo>
                  <a:cubicBezTo>
                    <a:pt x="116015" y="37985"/>
                    <a:pt x="118252" y="57761"/>
                    <a:pt x="114852" y="77179"/>
                  </a:cubicBezTo>
                  <a:cubicBezTo>
                    <a:pt x="114270" y="87514"/>
                    <a:pt x="106440" y="94628"/>
                    <a:pt x="97760" y="99013"/>
                  </a:cubicBezTo>
                  <a:cubicBezTo>
                    <a:pt x="84517" y="101787"/>
                    <a:pt x="71139" y="104113"/>
                    <a:pt x="57672" y="105008"/>
                  </a:cubicBezTo>
                  <a:cubicBezTo>
                    <a:pt x="55345" y="104964"/>
                    <a:pt x="50737" y="104919"/>
                    <a:pt x="48410" y="104874"/>
                  </a:cubicBezTo>
                  <a:cubicBezTo>
                    <a:pt x="49484" y="95702"/>
                    <a:pt x="50513" y="86485"/>
                    <a:pt x="51632" y="77358"/>
                  </a:cubicBezTo>
                  <a:cubicBezTo>
                    <a:pt x="39641" y="76463"/>
                    <a:pt x="27650" y="75658"/>
                    <a:pt x="15704" y="74808"/>
                  </a:cubicBezTo>
                  <a:cubicBezTo>
                    <a:pt x="27248" y="73958"/>
                    <a:pt x="38791" y="73108"/>
                    <a:pt x="50424" y="72302"/>
                  </a:cubicBezTo>
                  <a:cubicBezTo>
                    <a:pt x="54853" y="57493"/>
                    <a:pt x="59685" y="42818"/>
                    <a:pt x="64920" y="28321"/>
                  </a:cubicBezTo>
                  <a:cubicBezTo>
                    <a:pt x="43131" y="27248"/>
                    <a:pt x="21297" y="26398"/>
                    <a:pt x="0" y="21789"/>
                  </a:cubicBezTo>
                  <a:cubicBezTo>
                    <a:pt x="15257" y="14362"/>
                    <a:pt x="32751" y="13691"/>
                    <a:pt x="48187" y="6577"/>
                  </a:cubicBezTo>
                  <a:close/>
                </a:path>
              </a:pathLst>
            </a:custGeom>
            <a:solidFill>
              <a:srgbClr val="F09C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4" name="Freeform: Shape 5083">
              <a:extLst>
                <a:ext uri="{FF2B5EF4-FFF2-40B4-BE49-F238E27FC236}">
                  <a16:creationId xmlns:a16="http://schemas.microsoft.com/office/drawing/2014/main" id="{337FF0EC-FCB5-3B53-23C0-4097B9220D4F}"/>
                </a:ext>
              </a:extLst>
            </p:cNvPr>
            <p:cNvSpPr/>
            <p:nvPr/>
          </p:nvSpPr>
          <p:spPr>
            <a:xfrm flipH="1">
              <a:off x="933949" y="3985457"/>
              <a:ext cx="85912" cy="99101"/>
            </a:xfrm>
            <a:custGeom>
              <a:avLst/>
              <a:gdLst>
                <a:gd name="connsiteX0" fmla="*/ 13325 w 72026"/>
                <a:gd name="connsiteY0" fmla="*/ 64965 h 83084"/>
                <a:gd name="connsiteX1" fmla="*/ 7106 w 72026"/>
                <a:gd name="connsiteY1" fmla="*/ 0 h 83084"/>
                <a:gd name="connsiteX2" fmla="*/ 72026 w 72026"/>
                <a:gd name="connsiteY2" fmla="*/ 6532 h 83084"/>
                <a:gd name="connsiteX3" fmla="*/ 57530 w 72026"/>
                <a:gd name="connsiteY3" fmla="*/ 50513 h 83084"/>
                <a:gd name="connsiteX4" fmla="*/ 22810 w 72026"/>
                <a:gd name="connsiteY4" fmla="*/ 53019 h 83084"/>
                <a:gd name="connsiteX5" fmla="*/ 58738 w 72026"/>
                <a:gd name="connsiteY5" fmla="*/ 55569 h 83084"/>
                <a:gd name="connsiteX6" fmla="*/ 55516 w 72026"/>
                <a:gd name="connsiteY6" fmla="*/ 83085 h 83084"/>
                <a:gd name="connsiteX7" fmla="*/ 13325 w 72026"/>
                <a:gd name="connsiteY7" fmla="*/ 64965 h 8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26" h="83084">
                  <a:moveTo>
                    <a:pt x="13325" y="64965"/>
                  </a:moveTo>
                  <a:cubicBezTo>
                    <a:pt x="2677" y="46128"/>
                    <a:pt x="-7122" y="19284"/>
                    <a:pt x="7106" y="0"/>
                  </a:cubicBezTo>
                  <a:cubicBezTo>
                    <a:pt x="28403" y="4609"/>
                    <a:pt x="50237" y="5459"/>
                    <a:pt x="72026" y="6532"/>
                  </a:cubicBezTo>
                  <a:cubicBezTo>
                    <a:pt x="66791" y="21029"/>
                    <a:pt x="61959" y="35704"/>
                    <a:pt x="57530" y="50513"/>
                  </a:cubicBezTo>
                  <a:cubicBezTo>
                    <a:pt x="45897" y="51319"/>
                    <a:pt x="34354" y="52169"/>
                    <a:pt x="22810" y="53019"/>
                  </a:cubicBezTo>
                  <a:cubicBezTo>
                    <a:pt x="34757" y="53869"/>
                    <a:pt x="46747" y="54674"/>
                    <a:pt x="58738" y="55569"/>
                  </a:cubicBezTo>
                  <a:cubicBezTo>
                    <a:pt x="57619" y="64696"/>
                    <a:pt x="56590" y="73913"/>
                    <a:pt x="55516" y="83085"/>
                  </a:cubicBezTo>
                  <a:cubicBezTo>
                    <a:pt x="39946" y="82414"/>
                    <a:pt x="21200" y="80669"/>
                    <a:pt x="13325" y="64965"/>
                  </a:cubicBezTo>
                  <a:close/>
                </a:path>
              </a:pathLst>
            </a:custGeom>
            <a:solidFill>
              <a:srgbClr val="FBB8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7" name="Freeform: Shape 5086">
              <a:extLst>
                <a:ext uri="{FF2B5EF4-FFF2-40B4-BE49-F238E27FC236}">
                  <a16:creationId xmlns:a16="http://schemas.microsoft.com/office/drawing/2014/main" id="{D9D934B4-31DF-7785-10F4-F5FB2C6C61D6}"/>
                </a:ext>
              </a:extLst>
            </p:cNvPr>
            <p:cNvSpPr/>
            <p:nvPr/>
          </p:nvSpPr>
          <p:spPr>
            <a:xfrm flipH="1">
              <a:off x="553656" y="3996556"/>
              <a:ext cx="39758" cy="50377"/>
            </a:xfrm>
            <a:custGeom>
              <a:avLst/>
              <a:gdLst>
                <a:gd name="connsiteX0" fmla="*/ 0 w 33332"/>
                <a:gd name="connsiteY0" fmla="*/ 0 h 42235"/>
                <a:gd name="connsiteX1" fmla="*/ 33332 w 33332"/>
                <a:gd name="connsiteY1" fmla="*/ 36464 h 42235"/>
                <a:gd name="connsiteX2" fmla="*/ 17449 w 33332"/>
                <a:gd name="connsiteY2" fmla="*/ 42236 h 42235"/>
                <a:gd name="connsiteX3" fmla="*/ 0 w 33332"/>
                <a:gd name="connsiteY3" fmla="*/ 0 h 42235"/>
              </a:gdLst>
              <a:ahLst/>
              <a:cxnLst>
                <a:cxn ang="0">
                  <a:pos x="connsiteX0" y="connsiteY0"/>
                </a:cxn>
                <a:cxn ang="0">
                  <a:pos x="connsiteX1" y="connsiteY1"/>
                </a:cxn>
                <a:cxn ang="0">
                  <a:pos x="connsiteX2" y="connsiteY2"/>
                </a:cxn>
                <a:cxn ang="0">
                  <a:pos x="connsiteX3" y="connsiteY3"/>
                </a:cxn>
              </a:cxnLst>
              <a:rect l="l" t="t" r="r" b="b"/>
              <a:pathLst>
                <a:path w="33332" h="42235">
                  <a:moveTo>
                    <a:pt x="0" y="0"/>
                  </a:moveTo>
                  <a:cubicBezTo>
                    <a:pt x="14228" y="8680"/>
                    <a:pt x="24787" y="22371"/>
                    <a:pt x="33332" y="36464"/>
                  </a:cubicBezTo>
                  <a:cubicBezTo>
                    <a:pt x="29619" y="41923"/>
                    <a:pt x="23176" y="41654"/>
                    <a:pt x="17449" y="42236"/>
                  </a:cubicBezTo>
                  <a:cubicBezTo>
                    <a:pt x="13959" y="27203"/>
                    <a:pt x="6398" y="13825"/>
                    <a:pt x="0" y="0"/>
                  </a:cubicBezTo>
                  <a:close/>
                </a:path>
              </a:pathLst>
            </a:custGeom>
            <a:solidFill>
              <a:srgbClr val="5D89D5"/>
            </a:solidFill>
            <a:ln w="0" cap="flat">
              <a:solidFill>
                <a:srgbClr val="5D89D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98" name="Freeform: Shape 5097">
              <a:extLst>
                <a:ext uri="{FF2B5EF4-FFF2-40B4-BE49-F238E27FC236}">
                  <a16:creationId xmlns:a16="http://schemas.microsoft.com/office/drawing/2014/main" id="{7483FF4A-27D0-0110-E7BF-8B14C2058455}"/>
                </a:ext>
              </a:extLst>
            </p:cNvPr>
            <p:cNvSpPr/>
            <p:nvPr/>
          </p:nvSpPr>
          <p:spPr>
            <a:xfrm flipH="1">
              <a:off x="1125484" y="4061184"/>
              <a:ext cx="78237" cy="15101"/>
            </a:xfrm>
            <a:custGeom>
              <a:avLst/>
              <a:gdLst>
                <a:gd name="connsiteX0" fmla="*/ 38970 w 65591"/>
                <a:gd name="connsiteY0" fmla="*/ 0 h 12661"/>
                <a:gd name="connsiteX1" fmla="*/ 65591 w 65591"/>
                <a:gd name="connsiteY1" fmla="*/ 12662 h 12661"/>
                <a:gd name="connsiteX2" fmla="*/ 7785 w 65591"/>
                <a:gd name="connsiteY2" fmla="*/ 10648 h 12661"/>
                <a:gd name="connsiteX3" fmla="*/ 0 w 65591"/>
                <a:gd name="connsiteY3" fmla="*/ 2058 h 12661"/>
                <a:gd name="connsiteX4" fmla="*/ 38970 w 65591"/>
                <a:gd name="connsiteY4" fmla="*/ 0 h 12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91" h="12661">
                  <a:moveTo>
                    <a:pt x="38970" y="0"/>
                  </a:moveTo>
                  <a:cubicBezTo>
                    <a:pt x="47829" y="4250"/>
                    <a:pt x="56553" y="8725"/>
                    <a:pt x="65591" y="12662"/>
                  </a:cubicBezTo>
                  <a:cubicBezTo>
                    <a:pt x="46352" y="11141"/>
                    <a:pt x="27024" y="11588"/>
                    <a:pt x="7785" y="10648"/>
                  </a:cubicBezTo>
                  <a:cubicBezTo>
                    <a:pt x="5861" y="8501"/>
                    <a:pt x="1969" y="4206"/>
                    <a:pt x="0" y="2058"/>
                  </a:cubicBezTo>
                  <a:cubicBezTo>
                    <a:pt x="12975" y="1969"/>
                    <a:pt x="25995" y="1163"/>
                    <a:pt x="38970" y="0"/>
                  </a:cubicBezTo>
                  <a:close/>
                </a:path>
              </a:pathLst>
            </a:custGeom>
            <a:solidFill>
              <a:srgbClr val="ABACC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9" name="Freeform: Shape 5368">
              <a:extLst>
                <a:ext uri="{FF2B5EF4-FFF2-40B4-BE49-F238E27FC236}">
                  <a16:creationId xmlns:a16="http://schemas.microsoft.com/office/drawing/2014/main" id="{D8C0DEE7-6A5E-EA1F-D144-548D6B09BF28}"/>
                </a:ext>
              </a:extLst>
            </p:cNvPr>
            <p:cNvSpPr/>
            <p:nvPr/>
          </p:nvSpPr>
          <p:spPr>
            <a:xfrm flipH="1">
              <a:off x="328498" y="4077567"/>
              <a:ext cx="861615" cy="1517881"/>
            </a:xfrm>
            <a:custGeom>
              <a:avLst/>
              <a:gdLst>
                <a:gd name="connsiteX0" fmla="*/ 401662 w 858671"/>
                <a:gd name="connsiteY0" fmla="*/ 1491530 h 1512696"/>
                <a:gd name="connsiteX1" fmla="*/ 401654 w 858671"/>
                <a:gd name="connsiteY1" fmla="*/ 1494604 h 1512696"/>
                <a:gd name="connsiteX2" fmla="*/ 401981 w 858671"/>
                <a:gd name="connsiteY2" fmla="*/ 1491530 h 1512696"/>
                <a:gd name="connsiteX3" fmla="*/ 294325 w 858671"/>
                <a:gd name="connsiteY3" fmla="*/ 0 h 1512696"/>
                <a:gd name="connsiteX4" fmla="*/ 356925 w 858671"/>
                <a:gd name="connsiteY4" fmla="*/ 16434 h 1512696"/>
                <a:gd name="connsiteX5" fmla="*/ 537381 w 858671"/>
                <a:gd name="connsiteY5" fmla="*/ 46058 h 1512696"/>
                <a:gd name="connsiteX6" fmla="*/ 604287 w 858671"/>
                <a:gd name="connsiteY6" fmla="*/ 48505 h 1512696"/>
                <a:gd name="connsiteX7" fmla="*/ 623221 w 858671"/>
                <a:gd name="connsiteY7" fmla="*/ 116528 h 1512696"/>
                <a:gd name="connsiteX8" fmla="*/ 648698 w 858671"/>
                <a:gd name="connsiteY8" fmla="*/ 290709 h 1512696"/>
                <a:gd name="connsiteX9" fmla="*/ 661727 w 858671"/>
                <a:gd name="connsiteY9" fmla="*/ 501694 h 1512696"/>
                <a:gd name="connsiteX10" fmla="*/ 664173 w 858671"/>
                <a:gd name="connsiteY10" fmla="*/ 542115 h 1512696"/>
                <a:gd name="connsiteX11" fmla="*/ 666461 w 858671"/>
                <a:gd name="connsiteY11" fmla="*/ 569398 h 1512696"/>
                <a:gd name="connsiteX12" fmla="*/ 662319 w 858671"/>
                <a:gd name="connsiteY12" fmla="*/ 567164 h 1512696"/>
                <a:gd name="connsiteX13" fmla="*/ 664966 w 858671"/>
                <a:gd name="connsiteY13" fmla="*/ 635982 h 1512696"/>
                <a:gd name="connsiteX14" fmla="*/ 670344 w 858671"/>
                <a:gd name="connsiteY14" fmla="*/ 639762 h 1512696"/>
                <a:gd name="connsiteX15" fmla="*/ 747621 w 858671"/>
                <a:gd name="connsiteY15" fmla="*/ 1122575 h 1512696"/>
                <a:gd name="connsiteX16" fmla="*/ 823463 w 858671"/>
                <a:gd name="connsiteY16" fmla="*/ 1349993 h 1512696"/>
                <a:gd name="connsiteX17" fmla="*/ 833568 w 858671"/>
                <a:gd name="connsiteY17" fmla="*/ 1386371 h 1512696"/>
                <a:gd name="connsiteX18" fmla="*/ 858671 w 858671"/>
                <a:gd name="connsiteY18" fmla="*/ 1478648 h 1512696"/>
                <a:gd name="connsiteX19" fmla="*/ 854363 w 858671"/>
                <a:gd name="connsiteY19" fmla="*/ 1503379 h 1512696"/>
                <a:gd name="connsiteX20" fmla="*/ 825112 w 858671"/>
                <a:gd name="connsiteY20" fmla="*/ 1510240 h 1512696"/>
                <a:gd name="connsiteX21" fmla="*/ 592214 w 858671"/>
                <a:gd name="connsiteY21" fmla="*/ 1511729 h 1512696"/>
                <a:gd name="connsiteX22" fmla="*/ 500098 w 858671"/>
                <a:gd name="connsiteY22" fmla="*/ 1510133 h 1512696"/>
                <a:gd name="connsiteX23" fmla="*/ 324695 w 858671"/>
                <a:gd name="connsiteY23" fmla="*/ 1507049 h 1512696"/>
                <a:gd name="connsiteX24" fmla="*/ 215931 w 858671"/>
                <a:gd name="connsiteY24" fmla="*/ 1512685 h 1512696"/>
                <a:gd name="connsiteX25" fmla="*/ 155087 w 858671"/>
                <a:gd name="connsiteY25" fmla="*/ 1508910 h 1512696"/>
                <a:gd name="connsiteX26" fmla="*/ 49835 w 858671"/>
                <a:gd name="connsiteY26" fmla="*/ 1499123 h 1512696"/>
                <a:gd name="connsiteX27" fmla="*/ 0 w 858671"/>
                <a:gd name="connsiteY27" fmla="*/ 1486785 h 1512696"/>
                <a:gd name="connsiteX28" fmla="*/ 83713 w 858671"/>
                <a:gd name="connsiteY28" fmla="*/ 499885 h 1512696"/>
                <a:gd name="connsiteX29" fmla="*/ 96424 w 858671"/>
                <a:gd name="connsiteY29" fmla="*/ 358838 h 1512696"/>
                <a:gd name="connsiteX30" fmla="*/ 140302 w 858671"/>
                <a:gd name="connsiteY30" fmla="*/ 82862 h 1512696"/>
                <a:gd name="connsiteX31" fmla="*/ 143015 w 858671"/>
                <a:gd name="connsiteY31" fmla="*/ 70630 h 1512696"/>
                <a:gd name="connsiteX32" fmla="*/ 154715 w 858671"/>
                <a:gd name="connsiteY32" fmla="*/ 19200 h 1512696"/>
                <a:gd name="connsiteX33" fmla="*/ 245183 w 858671"/>
                <a:gd name="connsiteY33" fmla="*/ 26380 h 1512696"/>
                <a:gd name="connsiteX34" fmla="*/ 246672 w 858671"/>
                <a:gd name="connsiteY34" fmla="*/ 7127 h 1512696"/>
                <a:gd name="connsiteX35" fmla="*/ 294325 w 858671"/>
                <a:gd name="connsiteY35" fmla="*/ 0 h 15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58671" h="1512696">
                  <a:moveTo>
                    <a:pt x="401662" y="1491530"/>
                  </a:moveTo>
                  <a:lnTo>
                    <a:pt x="401654" y="1494604"/>
                  </a:lnTo>
                  <a:lnTo>
                    <a:pt x="401981" y="1491530"/>
                  </a:lnTo>
                  <a:close/>
                  <a:moveTo>
                    <a:pt x="294325" y="0"/>
                  </a:moveTo>
                  <a:cubicBezTo>
                    <a:pt x="315653" y="3405"/>
                    <a:pt x="335811" y="11807"/>
                    <a:pt x="356925" y="16434"/>
                  </a:cubicBezTo>
                  <a:cubicBezTo>
                    <a:pt x="416385" y="30050"/>
                    <a:pt x="476857" y="38771"/>
                    <a:pt x="537381" y="46058"/>
                  </a:cubicBezTo>
                  <a:cubicBezTo>
                    <a:pt x="559506" y="48451"/>
                    <a:pt x="581950" y="51164"/>
                    <a:pt x="604287" y="48505"/>
                  </a:cubicBezTo>
                  <a:cubicBezTo>
                    <a:pt x="610084" y="71321"/>
                    <a:pt x="616786" y="93872"/>
                    <a:pt x="623221" y="116528"/>
                  </a:cubicBezTo>
                  <a:cubicBezTo>
                    <a:pt x="638113" y="173490"/>
                    <a:pt x="643006" y="232312"/>
                    <a:pt x="648698" y="290709"/>
                  </a:cubicBezTo>
                  <a:cubicBezTo>
                    <a:pt x="652367" y="361073"/>
                    <a:pt x="657260" y="431383"/>
                    <a:pt x="661727" y="501694"/>
                  </a:cubicBezTo>
                  <a:cubicBezTo>
                    <a:pt x="662525" y="515150"/>
                    <a:pt x="663217" y="528605"/>
                    <a:pt x="664173" y="542115"/>
                  </a:cubicBezTo>
                  <a:cubicBezTo>
                    <a:pt x="664758" y="551156"/>
                    <a:pt x="665504" y="560250"/>
                    <a:pt x="666461" y="569398"/>
                  </a:cubicBezTo>
                  <a:lnTo>
                    <a:pt x="662319" y="567164"/>
                  </a:lnTo>
                  <a:lnTo>
                    <a:pt x="664966" y="635982"/>
                  </a:lnTo>
                  <a:lnTo>
                    <a:pt x="670344" y="639762"/>
                  </a:lnTo>
                  <a:cubicBezTo>
                    <a:pt x="680395" y="802561"/>
                    <a:pt x="698531" y="966370"/>
                    <a:pt x="747621" y="1122575"/>
                  </a:cubicBezTo>
                  <a:cubicBezTo>
                    <a:pt x="773310" y="1198257"/>
                    <a:pt x="800913" y="1273300"/>
                    <a:pt x="823463" y="1349993"/>
                  </a:cubicBezTo>
                  <a:cubicBezTo>
                    <a:pt x="826973" y="1362067"/>
                    <a:pt x="830217" y="1374193"/>
                    <a:pt x="833568" y="1386371"/>
                  </a:cubicBezTo>
                  <a:cubicBezTo>
                    <a:pt x="842450" y="1417007"/>
                    <a:pt x="849364" y="1448119"/>
                    <a:pt x="858671" y="1478648"/>
                  </a:cubicBezTo>
                  <a:cubicBezTo>
                    <a:pt x="857874" y="1486785"/>
                    <a:pt x="860000" y="1496464"/>
                    <a:pt x="854363" y="1503379"/>
                  </a:cubicBezTo>
                  <a:cubicBezTo>
                    <a:pt x="845907" y="1509548"/>
                    <a:pt x="834951" y="1509441"/>
                    <a:pt x="825112" y="1510240"/>
                  </a:cubicBezTo>
                  <a:cubicBezTo>
                    <a:pt x="747462" y="1512367"/>
                    <a:pt x="669758" y="1507687"/>
                    <a:pt x="592214" y="1511729"/>
                  </a:cubicBezTo>
                  <a:cubicBezTo>
                    <a:pt x="561527" y="1512474"/>
                    <a:pt x="530679" y="1513484"/>
                    <a:pt x="500098" y="1510133"/>
                  </a:cubicBezTo>
                  <a:cubicBezTo>
                    <a:pt x="441861" y="1504762"/>
                    <a:pt x="383092" y="1501784"/>
                    <a:pt x="324695" y="1507049"/>
                  </a:cubicBezTo>
                  <a:cubicBezTo>
                    <a:pt x="288528" y="1510026"/>
                    <a:pt x="252257" y="1512899"/>
                    <a:pt x="215931" y="1512685"/>
                  </a:cubicBezTo>
                  <a:cubicBezTo>
                    <a:pt x="195561" y="1512048"/>
                    <a:pt x="175352" y="1509708"/>
                    <a:pt x="155087" y="1508910"/>
                  </a:cubicBezTo>
                  <a:cubicBezTo>
                    <a:pt x="119879" y="1506995"/>
                    <a:pt x="84883" y="1502262"/>
                    <a:pt x="49835" y="1499123"/>
                  </a:cubicBezTo>
                  <a:cubicBezTo>
                    <a:pt x="32656" y="1497528"/>
                    <a:pt x="15690" y="1493859"/>
                    <a:pt x="0" y="1486785"/>
                  </a:cubicBezTo>
                  <a:cubicBezTo>
                    <a:pt x="36698" y="1158634"/>
                    <a:pt x="55312" y="828781"/>
                    <a:pt x="83713" y="499885"/>
                  </a:cubicBezTo>
                  <a:cubicBezTo>
                    <a:pt x="87490" y="452817"/>
                    <a:pt x="92277" y="405854"/>
                    <a:pt x="96424" y="358838"/>
                  </a:cubicBezTo>
                  <a:cubicBezTo>
                    <a:pt x="106476" y="266191"/>
                    <a:pt x="119827" y="173809"/>
                    <a:pt x="140302" y="82862"/>
                  </a:cubicBezTo>
                  <a:cubicBezTo>
                    <a:pt x="141153" y="78714"/>
                    <a:pt x="142058" y="74672"/>
                    <a:pt x="143015" y="70630"/>
                  </a:cubicBezTo>
                  <a:cubicBezTo>
                    <a:pt x="146897" y="53451"/>
                    <a:pt x="150354" y="36219"/>
                    <a:pt x="154715" y="19200"/>
                  </a:cubicBezTo>
                  <a:cubicBezTo>
                    <a:pt x="184818" y="22125"/>
                    <a:pt x="214815" y="26858"/>
                    <a:pt x="245183" y="26380"/>
                  </a:cubicBezTo>
                  <a:cubicBezTo>
                    <a:pt x="245608" y="19945"/>
                    <a:pt x="246087" y="13509"/>
                    <a:pt x="246672" y="7127"/>
                  </a:cubicBezTo>
                  <a:cubicBezTo>
                    <a:pt x="262681" y="6064"/>
                    <a:pt x="278583" y="3298"/>
                    <a:pt x="294325" y="0"/>
                  </a:cubicBezTo>
                  <a:close/>
                </a:path>
              </a:pathLst>
            </a:custGeom>
            <a:solidFill>
              <a:srgbClr val="3049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08" name="Freeform: Shape 5107">
              <a:extLst>
                <a:ext uri="{FF2B5EF4-FFF2-40B4-BE49-F238E27FC236}">
                  <a16:creationId xmlns:a16="http://schemas.microsoft.com/office/drawing/2014/main" id="{16D0C29E-2F62-B0EB-5892-02CF509A4990}"/>
                </a:ext>
              </a:extLst>
            </p:cNvPr>
            <p:cNvSpPr/>
            <p:nvPr/>
          </p:nvSpPr>
          <p:spPr>
            <a:xfrm flipH="1">
              <a:off x="1880044" y="4096145"/>
              <a:ext cx="98890" cy="115481"/>
            </a:xfrm>
            <a:custGeom>
              <a:avLst/>
              <a:gdLst>
                <a:gd name="connsiteX0" fmla="*/ 0 w 82906"/>
                <a:gd name="connsiteY0" fmla="*/ 1025 h 96816"/>
                <a:gd name="connsiteX1" fmla="*/ 78387 w 82906"/>
                <a:gd name="connsiteY1" fmla="*/ 9079 h 96816"/>
                <a:gd name="connsiteX2" fmla="*/ 82190 w 82906"/>
                <a:gd name="connsiteY2" fmla="*/ 91403 h 96816"/>
                <a:gd name="connsiteX3" fmla="*/ 82906 w 82906"/>
                <a:gd name="connsiteY3" fmla="*/ 96414 h 96816"/>
                <a:gd name="connsiteX4" fmla="*/ 73600 w 82906"/>
                <a:gd name="connsiteY4" fmla="*/ 96817 h 96816"/>
                <a:gd name="connsiteX5" fmla="*/ 58746 w 82906"/>
                <a:gd name="connsiteY5" fmla="*/ 27333 h 96816"/>
                <a:gd name="connsiteX6" fmla="*/ 22639 w 82906"/>
                <a:gd name="connsiteY6" fmla="*/ 26617 h 96816"/>
                <a:gd name="connsiteX7" fmla="*/ 12393 w 82906"/>
                <a:gd name="connsiteY7" fmla="*/ 16192 h 96816"/>
                <a:gd name="connsiteX8" fmla="*/ 0 w 82906"/>
                <a:gd name="connsiteY8" fmla="*/ 1025 h 9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06" h="96816">
                  <a:moveTo>
                    <a:pt x="0" y="1025"/>
                  </a:moveTo>
                  <a:cubicBezTo>
                    <a:pt x="26084" y="444"/>
                    <a:pt x="54406" y="-3449"/>
                    <a:pt x="78387" y="9079"/>
                  </a:cubicBezTo>
                  <a:cubicBezTo>
                    <a:pt x="59462" y="33686"/>
                    <a:pt x="75837" y="65140"/>
                    <a:pt x="82190" y="91403"/>
                  </a:cubicBezTo>
                  <a:lnTo>
                    <a:pt x="82906" y="96414"/>
                  </a:lnTo>
                  <a:cubicBezTo>
                    <a:pt x="80579" y="96503"/>
                    <a:pt x="75926" y="96727"/>
                    <a:pt x="73600" y="96817"/>
                  </a:cubicBezTo>
                  <a:cubicBezTo>
                    <a:pt x="72302" y="72969"/>
                    <a:pt x="63578" y="50509"/>
                    <a:pt x="58746" y="27333"/>
                  </a:cubicBezTo>
                  <a:cubicBezTo>
                    <a:pt x="46710" y="26707"/>
                    <a:pt x="34630" y="26349"/>
                    <a:pt x="22639" y="26617"/>
                  </a:cubicBezTo>
                  <a:cubicBezTo>
                    <a:pt x="19105" y="23172"/>
                    <a:pt x="15704" y="19727"/>
                    <a:pt x="12393" y="16192"/>
                  </a:cubicBezTo>
                  <a:cubicBezTo>
                    <a:pt x="8098" y="11271"/>
                    <a:pt x="4027" y="6036"/>
                    <a:pt x="0" y="1025"/>
                  </a:cubicBezTo>
                  <a:close/>
                </a:path>
              </a:pathLst>
            </a:custGeom>
            <a:solidFill>
              <a:srgbClr val="E491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0" name="Freeform: Shape 5109">
              <a:extLst>
                <a:ext uri="{FF2B5EF4-FFF2-40B4-BE49-F238E27FC236}">
                  <a16:creationId xmlns:a16="http://schemas.microsoft.com/office/drawing/2014/main" id="{B6BE062C-1207-0BEF-A8C2-4361C15C1364}"/>
                </a:ext>
              </a:extLst>
            </p:cNvPr>
            <p:cNvSpPr/>
            <p:nvPr/>
          </p:nvSpPr>
          <p:spPr>
            <a:xfrm flipH="1">
              <a:off x="1779442" y="4104359"/>
              <a:ext cx="503204" cy="256322"/>
            </a:xfrm>
            <a:custGeom>
              <a:avLst/>
              <a:gdLst>
                <a:gd name="connsiteX0" fmla="*/ 85322 w 421871"/>
                <a:gd name="connsiteY0" fmla="*/ 24295 h 214893"/>
                <a:gd name="connsiteX1" fmla="*/ 139727 w 421871"/>
                <a:gd name="connsiteY1" fmla="*/ 0 h 214893"/>
                <a:gd name="connsiteX2" fmla="*/ 211135 w 421871"/>
                <a:gd name="connsiteY2" fmla="*/ 10783 h 214893"/>
                <a:gd name="connsiteX3" fmla="*/ 139146 w 421871"/>
                <a:gd name="connsiteY3" fmla="*/ 13422 h 214893"/>
                <a:gd name="connsiteX4" fmla="*/ 256413 w 421871"/>
                <a:gd name="connsiteY4" fmla="*/ 21163 h 214893"/>
                <a:gd name="connsiteX5" fmla="*/ 140801 w 421871"/>
                <a:gd name="connsiteY5" fmla="*/ 29484 h 214893"/>
                <a:gd name="connsiteX6" fmla="*/ 185051 w 421871"/>
                <a:gd name="connsiteY6" fmla="*/ 60401 h 214893"/>
                <a:gd name="connsiteX7" fmla="*/ 328223 w 421871"/>
                <a:gd name="connsiteY7" fmla="*/ 89930 h 214893"/>
                <a:gd name="connsiteX8" fmla="*/ 337530 w 421871"/>
                <a:gd name="connsiteY8" fmla="*/ 89527 h 214893"/>
                <a:gd name="connsiteX9" fmla="*/ 387014 w 421871"/>
                <a:gd name="connsiteY9" fmla="*/ 117938 h 214893"/>
                <a:gd name="connsiteX10" fmla="*/ 386387 w 421871"/>
                <a:gd name="connsiteY10" fmla="*/ 124336 h 214893"/>
                <a:gd name="connsiteX11" fmla="*/ 420972 w 421871"/>
                <a:gd name="connsiteY11" fmla="*/ 214893 h 214893"/>
                <a:gd name="connsiteX12" fmla="*/ 262543 w 421871"/>
                <a:gd name="connsiteY12" fmla="*/ 212074 h 214893"/>
                <a:gd name="connsiteX13" fmla="*/ 275473 w 421871"/>
                <a:gd name="connsiteY13" fmla="*/ 182948 h 214893"/>
                <a:gd name="connsiteX14" fmla="*/ 258829 w 421871"/>
                <a:gd name="connsiteY14" fmla="*/ 212343 h 214893"/>
                <a:gd name="connsiteX15" fmla="*/ 226794 w 421871"/>
                <a:gd name="connsiteY15" fmla="*/ 212343 h 214893"/>
                <a:gd name="connsiteX16" fmla="*/ 212164 w 421871"/>
                <a:gd name="connsiteY16" fmla="*/ 182769 h 214893"/>
                <a:gd name="connsiteX17" fmla="*/ 223394 w 421871"/>
                <a:gd name="connsiteY17" fmla="*/ 212298 h 214893"/>
                <a:gd name="connsiteX18" fmla="*/ 130690 w 421871"/>
                <a:gd name="connsiteY18" fmla="*/ 212253 h 214893"/>
                <a:gd name="connsiteX19" fmla="*/ 69126 w 421871"/>
                <a:gd name="connsiteY19" fmla="*/ 127245 h 214893"/>
                <a:gd name="connsiteX20" fmla="*/ 0 w 421871"/>
                <a:gd name="connsiteY20" fmla="*/ 45457 h 214893"/>
                <a:gd name="connsiteX21" fmla="*/ 61430 w 421871"/>
                <a:gd name="connsiteY21" fmla="*/ 22952 h 214893"/>
                <a:gd name="connsiteX22" fmla="*/ 85322 w 421871"/>
                <a:gd name="connsiteY22" fmla="*/ 24295 h 21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1871" h="214893">
                  <a:moveTo>
                    <a:pt x="85322" y="24295"/>
                  </a:moveTo>
                  <a:cubicBezTo>
                    <a:pt x="103576" y="16510"/>
                    <a:pt x="120936" y="6622"/>
                    <a:pt x="139727" y="0"/>
                  </a:cubicBezTo>
                  <a:cubicBezTo>
                    <a:pt x="163888" y="358"/>
                    <a:pt x="187556" y="5682"/>
                    <a:pt x="211135" y="10783"/>
                  </a:cubicBezTo>
                  <a:cubicBezTo>
                    <a:pt x="187109" y="12886"/>
                    <a:pt x="162053" y="3087"/>
                    <a:pt x="139146" y="13422"/>
                  </a:cubicBezTo>
                  <a:cubicBezTo>
                    <a:pt x="177087" y="25368"/>
                    <a:pt x="217354" y="19015"/>
                    <a:pt x="256413" y="21163"/>
                  </a:cubicBezTo>
                  <a:cubicBezTo>
                    <a:pt x="219904" y="38522"/>
                    <a:pt x="179324" y="25458"/>
                    <a:pt x="140801" y="29484"/>
                  </a:cubicBezTo>
                  <a:cubicBezTo>
                    <a:pt x="149436" y="46710"/>
                    <a:pt x="169346" y="51810"/>
                    <a:pt x="185051" y="60401"/>
                  </a:cubicBezTo>
                  <a:cubicBezTo>
                    <a:pt x="229658" y="80848"/>
                    <a:pt x="279142" y="91138"/>
                    <a:pt x="328223" y="89930"/>
                  </a:cubicBezTo>
                  <a:cubicBezTo>
                    <a:pt x="330550" y="89841"/>
                    <a:pt x="335203" y="89617"/>
                    <a:pt x="337530" y="89527"/>
                  </a:cubicBezTo>
                  <a:cubicBezTo>
                    <a:pt x="352786" y="100892"/>
                    <a:pt x="368580" y="112301"/>
                    <a:pt x="387014" y="117938"/>
                  </a:cubicBezTo>
                  <a:cubicBezTo>
                    <a:pt x="386879" y="119549"/>
                    <a:pt x="386566" y="122726"/>
                    <a:pt x="386387" y="124336"/>
                  </a:cubicBezTo>
                  <a:cubicBezTo>
                    <a:pt x="408803" y="148586"/>
                    <a:pt x="426073" y="180890"/>
                    <a:pt x="420972" y="214893"/>
                  </a:cubicBezTo>
                  <a:cubicBezTo>
                    <a:pt x="368356" y="209390"/>
                    <a:pt x="315293" y="213372"/>
                    <a:pt x="262543" y="212074"/>
                  </a:cubicBezTo>
                  <a:cubicBezTo>
                    <a:pt x="266883" y="202366"/>
                    <a:pt x="271267" y="192701"/>
                    <a:pt x="275473" y="182948"/>
                  </a:cubicBezTo>
                  <a:cubicBezTo>
                    <a:pt x="269254" y="192343"/>
                    <a:pt x="263840" y="202231"/>
                    <a:pt x="258829" y="212343"/>
                  </a:cubicBezTo>
                  <a:cubicBezTo>
                    <a:pt x="248091" y="212432"/>
                    <a:pt x="237443" y="212432"/>
                    <a:pt x="226794" y="212343"/>
                  </a:cubicBezTo>
                  <a:cubicBezTo>
                    <a:pt x="222589" y="202142"/>
                    <a:pt x="217712" y="192254"/>
                    <a:pt x="212164" y="182769"/>
                  </a:cubicBezTo>
                  <a:cubicBezTo>
                    <a:pt x="215743" y="192657"/>
                    <a:pt x="219546" y="202500"/>
                    <a:pt x="223394" y="212298"/>
                  </a:cubicBezTo>
                  <a:cubicBezTo>
                    <a:pt x="192522" y="212477"/>
                    <a:pt x="161606" y="212388"/>
                    <a:pt x="130690" y="212253"/>
                  </a:cubicBezTo>
                  <a:cubicBezTo>
                    <a:pt x="116954" y="179547"/>
                    <a:pt x="92928" y="152971"/>
                    <a:pt x="69126" y="127245"/>
                  </a:cubicBezTo>
                  <a:cubicBezTo>
                    <a:pt x="44205" y="101652"/>
                    <a:pt x="20984" y="74360"/>
                    <a:pt x="0" y="45457"/>
                  </a:cubicBezTo>
                  <a:cubicBezTo>
                    <a:pt x="20447" y="37851"/>
                    <a:pt x="40446" y="28992"/>
                    <a:pt x="61430" y="22952"/>
                  </a:cubicBezTo>
                  <a:cubicBezTo>
                    <a:pt x="69260" y="24205"/>
                    <a:pt x="77313" y="25145"/>
                    <a:pt x="85322" y="24295"/>
                  </a:cubicBezTo>
                  <a:close/>
                </a:path>
              </a:pathLst>
            </a:custGeom>
            <a:solidFill>
              <a:srgbClr val="E2EA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1" name="Freeform: Shape 5110">
              <a:extLst>
                <a:ext uri="{FF2B5EF4-FFF2-40B4-BE49-F238E27FC236}">
                  <a16:creationId xmlns:a16="http://schemas.microsoft.com/office/drawing/2014/main" id="{CB48A2E9-7DCC-7384-153B-95456EAF4E98}"/>
                </a:ext>
              </a:extLst>
            </p:cNvPr>
            <p:cNvSpPr/>
            <p:nvPr/>
          </p:nvSpPr>
          <p:spPr>
            <a:xfrm flipH="1">
              <a:off x="1951931" y="4115459"/>
              <a:ext cx="162769" cy="60944"/>
            </a:xfrm>
            <a:custGeom>
              <a:avLst/>
              <a:gdLst>
                <a:gd name="connsiteX0" fmla="*/ 126216 w 136461"/>
                <a:gd name="connsiteY0" fmla="*/ 0 h 51094"/>
                <a:gd name="connsiteX1" fmla="*/ 136461 w 136461"/>
                <a:gd name="connsiteY1" fmla="*/ 10425 h 51094"/>
                <a:gd name="connsiteX2" fmla="*/ 107156 w 136461"/>
                <a:gd name="connsiteY2" fmla="*/ 33735 h 51094"/>
                <a:gd name="connsiteX3" fmla="*/ 43623 w 136461"/>
                <a:gd name="connsiteY3" fmla="*/ 40536 h 51094"/>
                <a:gd name="connsiteX4" fmla="*/ 44249 w 136461"/>
                <a:gd name="connsiteY4" fmla="*/ 51095 h 51094"/>
                <a:gd name="connsiteX5" fmla="*/ 0 w 136461"/>
                <a:gd name="connsiteY5" fmla="*/ 20178 h 51094"/>
                <a:gd name="connsiteX6" fmla="*/ 115612 w 136461"/>
                <a:gd name="connsiteY6" fmla="*/ 11857 h 51094"/>
                <a:gd name="connsiteX7" fmla="*/ 122681 w 136461"/>
                <a:gd name="connsiteY7" fmla="*/ 9843 h 51094"/>
                <a:gd name="connsiteX8" fmla="*/ 126216 w 136461"/>
                <a:gd name="connsiteY8" fmla="*/ 0 h 5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461" h="51094">
                  <a:moveTo>
                    <a:pt x="126216" y="0"/>
                  </a:moveTo>
                  <a:cubicBezTo>
                    <a:pt x="129527" y="3535"/>
                    <a:pt x="132927" y="6980"/>
                    <a:pt x="136461" y="10425"/>
                  </a:cubicBezTo>
                  <a:cubicBezTo>
                    <a:pt x="127737" y="19373"/>
                    <a:pt x="118789" y="28679"/>
                    <a:pt x="107156" y="33735"/>
                  </a:cubicBezTo>
                  <a:cubicBezTo>
                    <a:pt x="87246" y="42684"/>
                    <a:pt x="64830" y="39999"/>
                    <a:pt x="43623" y="40536"/>
                  </a:cubicBezTo>
                  <a:cubicBezTo>
                    <a:pt x="43802" y="43176"/>
                    <a:pt x="44115" y="48455"/>
                    <a:pt x="44249" y="51095"/>
                  </a:cubicBezTo>
                  <a:cubicBezTo>
                    <a:pt x="28545" y="42504"/>
                    <a:pt x="8635" y="37404"/>
                    <a:pt x="0" y="20178"/>
                  </a:cubicBezTo>
                  <a:cubicBezTo>
                    <a:pt x="38523" y="16152"/>
                    <a:pt x="79103" y="29216"/>
                    <a:pt x="115612" y="11857"/>
                  </a:cubicBezTo>
                  <a:cubicBezTo>
                    <a:pt x="117402" y="11365"/>
                    <a:pt x="120936" y="10380"/>
                    <a:pt x="122681" y="9843"/>
                  </a:cubicBezTo>
                  <a:cubicBezTo>
                    <a:pt x="123576" y="7382"/>
                    <a:pt x="125321" y="2461"/>
                    <a:pt x="126216" y="0"/>
                  </a:cubicBezTo>
                  <a:close/>
                </a:path>
              </a:pathLst>
            </a:custGeom>
            <a:solidFill>
              <a:srgbClr val="EBA8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3" name="Freeform: Shape 5112">
              <a:extLst>
                <a:ext uri="{FF2B5EF4-FFF2-40B4-BE49-F238E27FC236}">
                  <a16:creationId xmlns:a16="http://schemas.microsoft.com/office/drawing/2014/main" id="{751EDD68-40E6-EEFD-E34A-0AB1B8D8C2AF}"/>
                </a:ext>
              </a:extLst>
            </p:cNvPr>
            <p:cNvSpPr/>
            <p:nvPr/>
          </p:nvSpPr>
          <p:spPr>
            <a:xfrm flipH="1">
              <a:off x="1891145" y="4127786"/>
              <a:ext cx="171522" cy="83954"/>
            </a:xfrm>
            <a:custGeom>
              <a:avLst/>
              <a:gdLst>
                <a:gd name="connsiteX0" fmla="*/ 92839 w 143799"/>
                <a:gd name="connsiteY0" fmla="*/ 90 h 70384"/>
                <a:gd name="connsiteX1" fmla="*/ 128945 w 143799"/>
                <a:gd name="connsiteY1" fmla="*/ 806 h 70384"/>
                <a:gd name="connsiteX2" fmla="*/ 143799 w 143799"/>
                <a:gd name="connsiteY2" fmla="*/ 70290 h 70384"/>
                <a:gd name="connsiteX3" fmla="*/ 626 w 143799"/>
                <a:gd name="connsiteY3" fmla="*/ 40760 h 70384"/>
                <a:gd name="connsiteX4" fmla="*/ 0 w 143799"/>
                <a:gd name="connsiteY4" fmla="*/ 30201 h 70384"/>
                <a:gd name="connsiteX5" fmla="*/ 63533 w 143799"/>
                <a:gd name="connsiteY5" fmla="*/ 23401 h 70384"/>
                <a:gd name="connsiteX6" fmla="*/ 92839 w 143799"/>
                <a:gd name="connsiteY6" fmla="*/ 90 h 7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799" h="70384">
                  <a:moveTo>
                    <a:pt x="92839" y="90"/>
                  </a:moveTo>
                  <a:cubicBezTo>
                    <a:pt x="104829" y="-178"/>
                    <a:pt x="116909" y="180"/>
                    <a:pt x="128945" y="806"/>
                  </a:cubicBezTo>
                  <a:cubicBezTo>
                    <a:pt x="133777" y="23982"/>
                    <a:pt x="142502" y="46442"/>
                    <a:pt x="143799" y="70290"/>
                  </a:cubicBezTo>
                  <a:cubicBezTo>
                    <a:pt x="94718" y="71498"/>
                    <a:pt x="45234" y="61207"/>
                    <a:pt x="626" y="40760"/>
                  </a:cubicBezTo>
                  <a:cubicBezTo>
                    <a:pt x="492" y="38120"/>
                    <a:pt x="179" y="32841"/>
                    <a:pt x="0" y="30201"/>
                  </a:cubicBezTo>
                  <a:cubicBezTo>
                    <a:pt x="21207" y="29664"/>
                    <a:pt x="43623" y="32349"/>
                    <a:pt x="63533" y="23401"/>
                  </a:cubicBezTo>
                  <a:cubicBezTo>
                    <a:pt x="75166" y="18345"/>
                    <a:pt x="84114" y="9038"/>
                    <a:pt x="92839" y="90"/>
                  </a:cubicBezTo>
                  <a:close/>
                </a:path>
              </a:pathLst>
            </a:custGeom>
            <a:solidFill>
              <a:srgbClr val="F7AD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7" name="Freeform: Shape 5116">
              <a:extLst>
                <a:ext uri="{FF2B5EF4-FFF2-40B4-BE49-F238E27FC236}">
                  <a16:creationId xmlns:a16="http://schemas.microsoft.com/office/drawing/2014/main" id="{93BDA211-A9DD-4979-CA55-CFC94E286137}"/>
                </a:ext>
              </a:extLst>
            </p:cNvPr>
            <p:cNvSpPr/>
            <p:nvPr/>
          </p:nvSpPr>
          <p:spPr>
            <a:xfrm flipH="1">
              <a:off x="1324599" y="4156823"/>
              <a:ext cx="328742" cy="351419"/>
            </a:xfrm>
            <a:custGeom>
              <a:avLst/>
              <a:gdLst>
                <a:gd name="connsiteX0" fmla="*/ 214714 w 275607"/>
                <a:gd name="connsiteY0" fmla="*/ 19638 h 294619"/>
                <a:gd name="connsiteX1" fmla="*/ 273683 w 275607"/>
                <a:gd name="connsiteY1" fmla="*/ 2278 h 294619"/>
                <a:gd name="connsiteX2" fmla="*/ 275607 w 275607"/>
                <a:gd name="connsiteY2" fmla="*/ 17938 h 294619"/>
                <a:gd name="connsiteX3" fmla="*/ 178295 w 275607"/>
                <a:gd name="connsiteY3" fmla="*/ 117711 h 294619"/>
                <a:gd name="connsiteX4" fmla="*/ 10962 w 275607"/>
                <a:gd name="connsiteY4" fmla="*/ 294619 h 294619"/>
                <a:gd name="connsiteX5" fmla="*/ 0 w 275607"/>
                <a:gd name="connsiteY5" fmla="*/ 250459 h 294619"/>
                <a:gd name="connsiteX6" fmla="*/ 214714 w 275607"/>
                <a:gd name="connsiteY6" fmla="*/ 19638 h 29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607" h="294619">
                  <a:moveTo>
                    <a:pt x="214714" y="19638"/>
                  </a:moveTo>
                  <a:cubicBezTo>
                    <a:pt x="229210" y="3084"/>
                    <a:pt x="252431" y="-4030"/>
                    <a:pt x="273683" y="2278"/>
                  </a:cubicBezTo>
                  <a:cubicBezTo>
                    <a:pt x="274086" y="7468"/>
                    <a:pt x="274847" y="12703"/>
                    <a:pt x="275607" y="17938"/>
                  </a:cubicBezTo>
                  <a:cubicBezTo>
                    <a:pt x="241067" y="49078"/>
                    <a:pt x="210822" y="84558"/>
                    <a:pt x="178295" y="117711"/>
                  </a:cubicBezTo>
                  <a:cubicBezTo>
                    <a:pt x="122278" y="176457"/>
                    <a:pt x="68499" y="237350"/>
                    <a:pt x="10962" y="294619"/>
                  </a:cubicBezTo>
                  <a:cubicBezTo>
                    <a:pt x="7427" y="279854"/>
                    <a:pt x="3892" y="265090"/>
                    <a:pt x="0" y="250459"/>
                  </a:cubicBezTo>
                  <a:cubicBezTo>
                    <a:pt x="70871" y="172922"/>
                    <a:pt x="143620" y="96996"/>
                    <a:pt x="214714" y="19638"/>
                  </a:cubicBezTo>
                  <a:close/>
                </a:path>
              </a:pathLst>
            </a:custGeom>
            <a:solidFill>
              <a:srgbClr val="2147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19" name="Freeform: Shape 5118">
              <a:extLst>
                <a:ext uri="{FF2B5EF4-FFF2-40B4-BE49-F238E27FC236}">
                  <a16:creationId xmlns:a16="http://schemas.microsoft.com/office/drawing/2014/main" id="{3C329458-FA0E-2D2B-38EE-469DB3219373}"/>
                </a:ext>
              </a:extLst>
            </p:cNvPr>
            <p:cNvSpPr/>
            <p:nvPr/>
          </p:nvSpPr>
          <p:spPr>
            <a:xfrm flipH="1">
              <a:off x="1283782" y="4180514"/>
              <a:ext cx="28391" cy="34794"/>
            </a:xfrm>
            <a:custGeom>
              <a:avLst/>
              <a:gdLst>
                <a:gd name="connsiteX0" fmla="*/ 12304 w 23802"/>
                <a:gd name="connsiteY0" fmla="*/ 3624 h 29171"/>
                <a:gd name="connsiteX1" fmla="*/ 23713 w 23802"/>
                <a:gd name="connsiteY1" fmla="*/ 0 h 29171"/>
                <a:gd name="connsiteX2" fmla="*/ 23802 w 23802"/>
                <a:gd name="connsiteY2" fmla="*/ 25771 h 29171"/>
                <a:gd name="connsiteX3" fmla="*/ 0 w 23802"/>
                <a:gd name="connsiteY3" fmla="*/ 29172 h 29171"/>
                <a:gd name="connsiteX4" fmla="*/ 13378 w 23802"/>
                <a:gd name="connsiteY4" fmla="*/ 16823 h 29171"/>
                <a:gd name="connsiteX5" fmla="*/ 12304 w 23802"/>
                <a:gd name="connsiteY5" fmla="*/ 3624 h 2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2" h="29171">
                  <a:moveTo>
                    <a:pt x="12304" y="3624"/>
                  </a:moveTo>
                  <a:cubicBezTo>
                    <a:pt x="16062" y="2416"/>
                    <a:pt x="19865" y="1208"/>
                    <a:pt x="23713" y="0"/>
                  </a:cubicBezTo>
                  <a:cubicBezTo>
                    <a:pt x="23444" y="8546"/>
                    <a:pt x="23400" y="17136"/>
                    <a:pt x="23802" y="25771"/>
                  </a:cubicBezTo>
                  <a:cubicBezTo>
                    <a:pt x="15838" y="26890"/>
                    <a:pt x="7875" y="28008"/>
                    <a:pt x="0" y="29172"/>
                  </a:cubicBezTo>
                  <a:cubicBezTo>
                    <a:pt x="4385" y="24966"/>
                    <a:pt x="8814" y="20894"/>
                    <a:pt x="13378" y="16823"/>
                  </a:cubicBezTo>
                  <a:cubicBezTo>
                    <a:pt x="13109" y="13557"/>
                    <a:pt x="12572" y="6935"/>
                    <a:pt x="12304" y="3624"/>
                  </a:cubicBezTo>
                  <a:close/>
                </a:path>
              </a:pathLst>
            </a:custGeom>
            <a:solidFill>
              <a:srgbClr val="133B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23" name="Freeform: Shape 5122">
              <a:extLst>
                <a:ext uri="{FF2B5EF4-FFF2-40B4-BE49-F238E27FC236}">
                  <a16:creationId xmlns:a16="http://schemas.microsoft.com/office/drawing/2014/main" id="{F53647AF-FD90-09FB-1C80-59267309F136}"/>
                </a:ext>
              </a:extLst>
            </p:cNvPr>
            <p:cNvSpPr/>
            <p:nvPr/>
          </p:nvSpPr>
          <p:spPr>
            <a:xfrm flipH="1">
              <a:off x="1295471" y="4211254"/>
              <a:ext cx="340098" cy="488843"/>
            </a:xfrm>
            <a:custGeom>
              <a:avLst/>
              <a:gdLst>
                <a:gd name="connsiteX0" fmla="*/ 259769 w 285128"/>
                <a:gd name="connsiteY0" fmla="*/ 3400 h 409831"/>
                <a:gd name="connsiteX1" fmla="*/ 283571 w 285128"/>
                <a:gd name="connsiteY1" fmla="*/ 0 h 409831"/>
                <a:gd name="connsiteX2" fmla="*/ 284063 w 285128"/>
                <a:gd name="connsiteY2" fmla="*/ 119728 h 409831"/>
                <a:gd name="connsiteX3" fmla="*/ 275294 w 285128"/>
                <a:gd name="connsiteY3" fmla="*/ 127737 h 409831"/>
                <a:gd name="connsiteX4" fmla="*/ 235743 w 285128"/>
                <a:gd name="connsiteY4" fmla="*/ 167244 h 409831"/>
                <a:gd name="connsiteX5" fmla="*/ 222857 w 285128"/>
                <a:gd name="connsiteY5" fmla="*/ 180084 h 409831"/>
                <a:gd name="connsiteX6" fmla="*/ 77582 w 285128"/>
                <a:gd name="connsiteY6" fmla="*/ 330505 h 409831"/>
                <a:gd name="connsiteX7" fmla="*/ 7069 w 285128"/>
                <a:gd name="connsiteY7" fmla="*/ 409832 h 409831"/>
                <a:gd name="connsiteX8" fmla="*/ 2640 w 285128"/>
                <a:gd name="connsiteY8" fmla="*/ 362719 h 409831"/>
                <a:gd name="connsiteX9" fmla="*/ 0 w 285128"/>
                <a:gd name="connsiteY9" fmla="*/ 276279 h 409831"/>
                <a:gd name="connsiteX10" fmla="*/ 259769 w 285128"/>
                <a:gd name="connsiteY10" fmla="*/ 3400 h 40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5128" h="409831">
                  <a:moveTo>
                    <a:pt x="259769" y="3400"/>
                  </a:moveTo>
                  <a:cubicBezTo>
                    <a:pt x="267643" y="2237"/>
                    <a:pt x="275607" y="1119"/>
                    <a:pt x="283571" y="0"/>
                  </a:cubicBezTo>
                  <a:cubicBezTo>
                    <a:pt x="285361" y="39865"/>
                    <a:pt x="285719" y="79864"/>
                    <a:pt x="284063" y="119728"/>
                  </a:cubicBezTo>
                  <a:cubicBezTo>
                    <a:pt x="281066" y="122323"/>
                    <a:pt x="278158" y="125008"/>
                    <a:pt x="275294" y="127737"/>
                  </a:cubicBezTo>
                  <a:cubicBezTo>
                    <a:pt x="261558" y="140354"/>
                    <a:pt x="248986" y="154134"/>
                    <a:pt x="235743" y="167244"/>
                  </a:cubicBezTo>
                  <a:cubicBezTo>
                    <a:pt x="231403" y="171494"/>
                    <a:pt x="227063" y="175745"/>
                    <a:pt x="222857" y="180084"/>
                  </a:cubicBezTo>
                  <a:cubicBezTo>
                    <a:pt x="174223" y="230016"/>
                    <a:pt x="125992" y="280350"/>
                    <a:pt x="77582" y="330505"/>
                  </a:cubicBezTo>
                  <a:cubicBezTo>
                    <a:pt x="52884" y="355873"/>
                    <a:pt x="28590" y="381689"/>
                    <a:pt x="7069" y="409832"/>
                  </a:cubicBezTo>
                  <a:cubicBezTo>
                    <a:pt x="1297" y="394799"/>
                    <a:pt x="2819" y="378423"/>
                    <a:pt x="2640" y="362719"/>
                  </a:cubicBezTo>
                  <a:cubicBezTo>
                    <a:pt x="2506" y="333861"/>
                    <a:pt x="3087" y="304958"/>
                    <a:pt x="0" y="276279"/>
                  </a:cubicBezTo>
                  <a:cubicBezTo>
                    <a:pt x="87962" y="186617"/>
                    <a:pt x="172255" y="93420"/>
                    <a:pt x="259769" y="3400"/>
                  </a:cubicBezTo>
                  <a:close/>
                </a:path>
              </a:pathLst>
            </a:custGeom>
            <a:solidFill>
              <a:srgbClr val="2650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77" name="Freeform: Shape 5176">
              <a:extLst>
                <a:ext uri="{FF2B5EF4-FFF2-40B4-BE49-F238E27FC236}">
                  <a16:creationId xmlns:a16="http://schemas.microsoft.com/office/drawing/2014/main" id="{BA839D9A-E79C-2E63-EEEB-F5A0EC3CB1FE}"/>
                </a:ext>
              </a:extLst>
            </p:cNvPr>
            <p:cNvSpPr/>
            <p:nvPr/>
          </p:nvSpPr>
          <p:spPr>
            <a:xfrm flipH="1">
              <a:off x="2290224" y="4401988"/>
              <a:ext cx="36503" cy="50325"/>
            </a:xfrm>
            <a:custGeom>
              <a:avLst/>
              <a:gdLst>
                <a:gd name="connsiteX0" fmla="*/ 0 w 30603"/>
                <a:gd name="connsiteY0" fmla="*/ 134 h 42191"/>
                <a:gd name="connsiteX1" fmla="*/ 30603 w 30603"/>
                <a:gd name="connsiteY1" fmla="*/ 0 h 42191"/>
                <a:gd name="connsiteX2" fmla="*/ 29440 w 30603"/>
                <a:gd name="connsiteY2" fmla="*/ 42191 h 42191"/>
                <a:gd name="connsiteX3" fmla="*/ 0 w 30603"/>
                <a:gd name="connsiteY3" fmla="*/ 134 h 42191"/>
              </a:gdLst>
              <a:ahLst/>
              <a:cxnLst>
                <a:cxn ang="0">
                  <a:pos x="connsiteX0" y="connsiteY0"/>
                </a:cxn>
                <a:cxn ang="0">
                  <a:pos x="connsiteX1" y="connsiteY1"/>
                </a:cxn>
                <a:cxn ang="0">
                  <a:pos x="connsiteX2" y="connsiteY2"/>
                </a:cxn>
                <a:cxn ang="0">
                  <a:pos x="connsiteX3" y="connsiteY3"/>
                </a:cxn>
              </a:cxnLst>
              <a:rect l="l" t="t" r="r" b="b"/>
              <a:pathLst>
                <a:path w="30603" h="42191">
                  <a:moveTo>
                    <a:pt x="0" y="134"/>
                  </a:moveTo>
                  <a:cubicBezTo>
                    <a:pt x="10156" y="90"/>
                    <a:pt x="20402" y="0"/>
                    <a:pt x="30603" y="0"/>
                  </a:cubicBezTo>
                  <a:cubicBezTo>
                    <a:pt x="29932" y="14049"/>
                    <a:pt x="29485" y="28098"/>
                    <a:pt x="29440" y="42191"/>
                  </a:cubicBezTo>
                  <a:cubicBezTo>
                    <a:pt x="17449" y="29753"/>
                    <a:pt x="8635" y="14899"/>
                    <a:pt x="0" y="134"/>
                  </a:cubicBezTo>
                  <a:close/>
                </a:path>
              </a:pathLst>
            </a:custGeom>
            <a:solidFill>
              <a:srgbClr val="FFFE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78" name="Freeform: Shape 5177">
              <a:extLst>
                <a:ext uri="{FF2B5EF4-FFF2-40B4-BE49-F238E27FC236}">
                  <a16:creationId xmlns:a16="http://schemas.microsoft.com/office/drawing/2014/main" id="{7DDF6C77-A6E0-63A9-5EA0-73B71E3F0CD2}"/>
                </a:ext>
              </a:extLst>
            </p:cNvPr>
            <p:cNvSpPr/>
            <p:nvPr/>
          </p:nvSpPr>
          <p:spPr>
            <a:xfrm flipH="1">
              <a:off x="2017625" y="4401751"/>
              <a:ext cx="71512" cy="77780"/>
            </a:xfrm>
            <a:custGeom>
              <a:avLst/>
              <a:gdLst>
                <a:gd name="connsiteX0" fmla="*/ 0 w 59953"/>
                <a:gd name="connsiteY0" fmla="*/ 468 h 65208"/>
                <a:gd name="connsiteX1" fmla="*/ 59953 w 59953"/>
                <a:gd name="connsiteY1" fmla="*/ 199 h 65208"/>
                <a:gd name="connsiteX2" fmla="*/ 57851 w 59953"/>
                <a:gd name="connsiteY2" fmla="*/ 39885 h 65208"/>
                <a:gd name="connsiteX3" fmla="*/ 37314 w 59953"/>
                <a:gd name="connsiteY3" fmla="*/ 65209 h 65208"/>
                <a:gd name="connsiteX4" fmla="*/ 0 w 59953"/>
                <a:gd name="connsiteY4" fmla="*/ 468 h 65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53" h="65208">
                  <a:moveTo>
                    <a:pt x="0" y="468"/>
                  </a:moveTo>
                  <a:cubicBezTo>
                    <a:pt x="19955" y="65"/>
                    <a:pt x="39954" y="-203"/>
                    <a:pt x="59953" y="199"/>
                  </a:cubicBezTo>
                  <a:cubicBezTo>
                    <a:pt x="59596" y="13353"/>
                    <a:pt x="60938" y="26910"/>
                    <a:pt x="57851" y="39885"/>
                  </a:cubicBezTo>
                  <a:cubicBezTo>
                    <a:pt x="52347" y="49281"/>
                    <a:pt x="44249" y="56842"/>
                    <a:pt x="37314" y="65209"/>
                  </a:cubicBezTo>
                  <a:cubicBezTo>
                    <a:pt x="20626" y="46372"/>
                    <a:pt x="9127" y="23733"/>
                    <a:pt x="0" y="468"/>
                  </a:cubicBezTo>
                  <a:close/>
                </a:path>
              </a:pathLst>
            </a:custGeom>
            <a:solidFill>
              <a:srgbClr val="DBE8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79" name="Freeform: Shape 5178">
              <a:extLst>
                <a:ext uri="{FF2B5EF4-FFF2-40B4-BE49-F238E27FC236}">
                  <a16:creationId xmlns:a16="http://schemas.microsoft.com/office/drawing/2014/main" id="{A5488A22-691A-DCF8-ACFC-0FFA8F617F04}"/>
                </a:ext>
              </a:extLst>
            </p:cNvPr>
            <p:cNvSpPr/>
            <p:nvPr/>
          </p:nvSpPr>
          <p:spPr>
            <a:xfrm flipH="1">
              <a:off x="1951183" y="4401988"/>
              <a:ext cx="93445" cy="77542"/>
            </a:xfrm>
            <a:custGeom>
              <a:avLst/>
              <a:gdLst>
                <a:gd name="connsiteX0" fmla="*/ 22639 w 78342"/>
                <a:gd name="connsiteY0" fmla="*/ 0 h 65009"/>
                <a:gd name="connsiteX1" fmla="*/ 78342 w 78342"/>
                <a:gd name="connsiteY1" fmla="*/ 1163 h 65009"/>
                <a:gd name="connsiteX2" fmla="*/ 60491 w 78342"/>
                <a:gd name="connsiteY2" fmla="*/ 5235 h 65009"/>
                <a:gd name="connsiteX3" fmla="*/ 43176 w 78342"/>
                <a:gd name="connsiteY3" fmla="*/ 45592 h 65009"/>
                <a:gd name="connsiteX4" fmla="*/ 0 w 78342"/>
                <a:gd name="connsiteY4" fmla="*/ 65009 h 65009"/>
                <a:gd name="connsiteX5" fmla="*/ 20536 w 78342"/>
                <a:gd name="connsiteY5" fmla="*/ 39686 h 65009"/>
                <a:gd name="connsiteX6" fmla="*/ 22639 w 78342"/>
                <a:gd name="connsiteY6" fmla="*/ 0 h 6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42" h="65009">
                  <a:moveTo>
                    <a:pt x="22639" y="0"/>
                  </a:moveTo>
                  <a:cubicBezTo>
                    <a:pt x="41162" y="268"/>
                    <a:pt x="59730" y="1074"/>
                    <a:pt x="78342" y="1163"/>
                  </a:cubicBezTo>
                  <a:cubicBezTo>
                    <a:pt x="72302" y="2327"/>
                    <a:pt x="66396" y="3803"/>
                    <a:pt x="60491" y="5235"/>
                  </a:cubicBezTo>
                  <a:cubicBezTo>
                    <a:pt x="57493" y="19507"/>
                    <a:pt x="57224" y="37046"/>
                    <a:pt x="43176" y="45592"/>
                  </a:cubicBezTo>
                  <a:cubicBezTo>
                    <a:pt x="29619" y="53690"/>
                    <a:pt x="16286" y="63712"/>
                    <a:pt x="0" y="65009"/>
                  </a:cubicBezTo>
                  <a:cubicBezTo>
                    <a:pt x="6935" y="56643"/>
                    <a:pt x="15033" y="49082"/>
                    <a:pt x="20536" y="39686"/>
                  </a:cubicBezTo>
                  <a:cubicBezTo>
                    <a:pt x="23624" y="26711"/>
                    <a:pt x="22281" y="13154"/>
                    <a:pt x="22639" y="0"/>
                  </a:cubicBezTo>
                  <a:close/>
                </a:path>
              </a:pathLst>
            </a:custGeom>
            <a:solidFill>
              <a:srgbClr val="B7D0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80" name="Freeform: Shape 5179">
              <a:extLst>
                <a:ext uri="{FF2B5EF4-FFF2-40B4-BE49-F238E27FC236}">
                  <a16:creationId xmlns:a16="http://schemas.microsoft.com/office/drawing/2014/main" id="{3A3FC97C-14C2-E777-CE29-2DB91D6C3541}"/>
                </a:ext>
              </a:extLst>
            </p:cNvPr>
            <p:cNvSpPr/>
            <p:nvPr/>
          </p:nvSpPr>
          <p:spPr>
            <a:xfrm flipH="1">
              <a:off x="1767226" y="4402922"/>
              <a:ext cx="225903" cy="81890"/>
            </a:xfrm>
            <a:custGeom>
              <a:avLst/>
              <a:gdLst>
                <a:gd name="connsiteX0" fmla="*/ 35167 w 189390"/>
                <a:gd name="connsiteY0" fmla="*/ 380 h 68655"/>
                <a:gd name="connsiteX1" fmla="*/ 150466 w 189390"/>
                <a:gd name="connsiteY1" fmla="*/ 1543 h 68655"/>
                <a:gd name="connsiteX2" fmla="*/ 189391 w 189390"/>
                <a:gd name="connsiteY2" fmla="*/ 6420 h 68655"/>
                <a:gd name="connsiteX3" fmla="*/ 182769 w 189390"/>
                <a:gd name="connsiteY3" fmla="*/ 16889 h 68655"/>
                <a:gd name="connsiteX4" fmla="*/ 167915 w 189390"/>
                <a:gd name="connsiteY4" fmla="*/ 14787 h 68655"/>
                <a:gd name="connsiteX5" fmla="*/ 161114 w 189390"/>
                <a:gd name="connsiteY5" fmla="*/ 59841 h 68655"/>
                <a:gd name="connsiteX6" fmla="*/ 52213 w 189390"/>
                <a:gd name="connsiteY6" fmla="*/ 33131 h 68655"/>
                <a:gd name="connsiteX7" fmla="*/ 8904 w 189390"/>
                <a:gd name="connsiteY7" fmla="*/ 68655 h 68655"/>
                <a:gd name="connsiteX8" fmla="*/ 0 w 189390"/>
                <a:gd name="connsiteY8" fmla="*/ 44808 h 68655"/>
                <a:gd name="connsiteX9" fmla="*/ 17315 w 189390"/>
                <a:gd name="connsiteY9" fmla="*/ 4451 h 68655"/>
                <a:gd name="connsiteX10" fmla="*/ 35167 w 189390"/>
                <a:gd name="connsiteY10" fmla="*/ 380 h 6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390" h="68655">
                  <a:moveTo>
                    <a:pt x="35167" y="380"/>
                  </a:moveTo>
                  <a:cubicBezTo>
                    <a:pt x="73600" y="-784"/>
                    <a:pt x="112033" y="1051"/>
                    <a:pt x="150466" y="1543"/>
                  </a:cubicBezTo>
                  <a:cubicBezTo>
                    <a:pt x="163530" y="1856"/>
                    <a:pt x="176729" y="2930"/>
                    <a:pt x="189391" y="6420"/>
                  </a:cubicBezTo>
                  <a:cubicBezTo>
                    <a:pt x="187064" y="9865"/>
                    <a:pt x="184872" y="13355"/>
                    <a:pt x="182769" y="16889"/>
                  </a:cubicBezTo>
                  <a:cubicBezTo>
                    <a:pt x="177803" y="16129"/>
                    <a:pt x="172836" y="15413"/>
                    <a:pt x="167915" y="14787"/>
                  </a:cubicBezTo>
                  <a:cubicBezTo>
                    <a:pt x="165185" y="29685"/>
                    <a:pt x="162233" y="44629"/>
                    <a:pt x="161114" y="59841"/>
                  </a:cubicBezTo>
                  <a:cubicBezTo>
                    <a:pt x="130914" y="35860"/>
                    <a:pt x="90154" y="23377"/>
                    <a:pt x="52213" y="33131"/>
                  </a:cubicBezTo>
                  <a:cubicBezTo>
                    <a:pt x="34630" y="39797"/>
                    <a:pt x="17941" y="51832"/>
                    <a:pt x="8904" y="68655"/>
                  </a:cubicBezTo>
                  <a:cubicBezTo>
                    <a:pt x="2237" y="62481"/>
                    <a:pt x="1745" y="53085"/>
                    <a:pt x="0" y="44808"/>
                  </a:cubicBezTo>
                  <a:cubicBezTo>
                    <a:pt x="14049" y="36263"/>
                    <a:pt x="14317" y="18724"/>
                    <a:pt x="17315" y="4451"/>
                  </a:cubicBezTo>
                  <a:cubicBezTo>
                    <a:pt x="23221" y="3020"/>
                    <a:pt x="29127" y="1543"/>
                    <a:pt x="35167" y="380"/>
                  </a:cubicBezTo>
                  <a:close/>
                </a:path>
              </a:pathLst>
            </a:custGeom>
            <a:solidFill>
              <a:srgbClr val="E5EF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86" name="Freeform: Shape 5185">
              <a:extLst>
                <a:ext uri="{FF2B5EF4-FFF2-40B4-BE49-F238E27FC236}">
                  <a16:creationId xmlns:a16="http://schemas.microsoft.com/office/drawing/2014/main" id="{6F385D95-1300-1367-A5E1-B29F65CBF4EA}"/>
                </a:ext>
              </a:extLst>
            </p:cNvPr>
            <p:cNvSpPr/>
            <p:nvPr/>
          </p:nvSpPr>
          <p:spPr>
            <a:xfrm flipH="1">
              <a:off x="1775125" y="4420560"/>
              <a:ext cx="25828" cy="81384"/>
            </a:xfrm>
            <a:custGeom>
              <a:avLst/>
              <a:gdLst>
                <a:gd name="connsiteX0" fmla="*/ 6801 w 21654"/>
                <a:gd name="connsiteY0" fmla="*/ 0 h 68230"/>
                <a:gd name="connsiteX1" fmla="*/ 21655 w 21654"/>
                <a:gd name="connsiteY1" fmla="*/ 2103 h 68230"/>
                <a:gd name="connsiteX2" fmla="*/ 1476 w 21654"/>
                <a:gd name="connsiteY2" fmla="*/ 68231 h 68230"/>
                <a:gd name="connsiteX3" fmla="*/ 0 w 21654"/>
                <a:gd name="connsiteY3" fmla="*/ 45054 h 68230"/>
                <a:gd name="connsiteX4" fmla="*/ 6801 w 21654"/>
                <a:gd name="connsiteY4" fmla="*/ 0 h 68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4" h="68230">
                  <a:moveTo>
                    <a:pt x="6801" y="0"/>
                  </a:moveTo>
                  <a:cubicBezTo>
                    <a:pt x="11722" y="626"/>
                    <a:pt x="16688" y="1342"/>
                    <a:pt x="21655" y="2103"/>
                  </a:cubicBezTo>
                  <a:cubicBezTo>
                    <a:pt x="16420" y="24339"/>
                    <a:pt x="22192" y="52750"/>
                    <a:pt x="1476" y="68231"/>
                  </a:cubicBezTo>
                  <a:cubicBezTo>
                    <a:pt x="850" y="60445"/>
                    <a:pt x="179" y="52795"/>
                    <a:pt x="0" y="45054"/>
                  </a:cubicBezTo>
                  <a:cubicBezTo>
                    <a:pt x="1119" y="29842"/>
                    <a:pt x="4071" y="14899"/>
                    <a:pt x="6801" y="0"/>
                  </a:cubicBezTo>
                  <a:close/>
                </a:path>
              </a:pathLst>
            </a:custGeom>
            <a:solidFill>
              <a:srgbClr val="CAE2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08" name="Freeform: Shape 5207">
              <a:extLst>
                <a:ext uri="{FF2B5EF4-FFF2-40B4-BE49-F238E27FC236}">
                  <a16:creationId xmlns:a16="http://schemas.microsoft.com/office/drawing/2014/main" id="{B038A569-32AB-7D5F-CED7-13FBA18BC06A}"/>
                </a:ext>
              </a:extLst>
            </p:cNvPr>
            <p:cNvSpPr/>
            <p:nvPr/>
          </p:nvSpPr>
          <p:spPr>
            <a:xfrm flipH="1">
              <a:off x="1682746" y="4499010"/>
              <a:ext cx="131549" cy="134817"/>
            </a:xfrm>
            <a:custGeom>
              <a:avLst/>
              <a:gdLst>
                <a:gd name="connsiteX0" fmla="*/ 0 w 110287"/>
                <a:gd name="connsiteY0" fmla="*/ 109930 h 113026"/>
                <a:gd name="connsiteX1" fmla="*/ 105769 w 110287"/>
                <a:gd name="connsiteY1" fmla="*/ 0 h 113026"/>
                <a:gd name="connsiteX2" fmla="*/ 110288 w 110287"/>
                <a:gd name="connsiteY2" fmla="*/ 46621 h 113026"/>
                <a:gd name="connsiteX3" fmla="*/ 48321 w 110287"/>
                <a:gd name="connsiteY3" fmla="*/ 113017 h 113026"/>
                <a:gd name="connsiteX4" fmla="*/ 0 w 110287"/>
                <a:gd name="connsiteY4" fmla="*/ 109930 h 113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87" h="113026">
                  <a:moveTo>
                    <a:pt x="0" y="109930"/>
                  </a:moveTo>
                  <a:cubicBezTo>
                    <a:pt x="35167" y="73197"/>
                    <a:pt x="69707" y="35838"/>
                    <a:pt x="105769" y="0"/>
                  </a:cubicBezTo>
                  <a:cubicBezTo>
                    <a:pt x="109080" y="15302"/>
                    <a:pt x="108856" y="31051"/>
                    <a:pt x="110288" y="46621"/>
                  </a:cubicBezTo>
                  <a:cubicBezTo>
                    <a:pt x="90959" y="69976"/>
                    <a:pt x="69573" y="91452"/>
                    <a:pt x="48321" y="113017"/>
                  </a:cubicBezTo>
                  <a:cubicBezTo>
                    <a:pt x="32124" y="113151"/>
                    <a:pt x="16017" y="111854"/>
                    <a:pt x="0" y="109930"/>
                  </a:cubicBezTo>
                  <a:close/>
                </a:path>
              </a:pathLst>
            </a:custGeom>
            <a:solidFill>
              <a:srgbClr val="2445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15" name="Freeform: Shape 5214">
              <a:extLst>
                <a:ext uri="{FF2B5EF4-FFF2-40B4-BE49-F238E27FC236}">
                  <a16:creationId xmlns:a16="http://schemas.microsoft.com/office/drawing/2014/main" id="{9334EC84-AC1F-273B-7F56-902297188C3F}"/>
                </a:ext>
              </a:extLst>
            </p:cNvPr>
            <p:cNvSpPr/>
            <p:nvPr/>
          </p:nvSpPr>
          <p:spPr>
            <a:xfrm flipH="1">
              <a:off x="1681020" y="4554618"/>
              <a:ext cx="75638" cy="79197"/>
            </a:xfrm>
            <a:custGeom>
              <a:avLst/>
              <a:gdLst>
                <a:gd name="connsiteX0" fmla="*/ 0 w 63413"/>
                <a:gd name="connsiteY0" fmla="*/ 66396 h 66396"/>
                <a:gd name="connsiteX1" fmla="*/ 61967 w 63413"/>
                <a:gd name="connsiteY1" fmla="*/ 0 h 66396"/>
                <a:gd name="connsiteX2" fmla="*/ 59640 w 63413"/>
                <a:gd name="connsiteY2" fmla="*/ 35122 h 66396"/>
                <a:gd name="connsiteX3" fmla="*/ 33467 w 63413"/>
                <a:gd name="connsiteY3" fmla="*/ 63533 h 66396"/>
                <a:gd name="connsiteX4" fmla="*/ 0 w 63413"/>
                <a:gd name="connsiteY4" fmla="*/ 66396 h 6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13" h="66396">
                  <a:moveTo>
                    <a:pt x="0" y="66396"/>
                  </a:moveTo>
                  <a:cubicBezTo>
                    <a:pt x="21252" y="44831"/>
                    <a:pt x="42638" y="23355"/>
                    <a:pt x="61967" y="0"/>
                  </a:cubicBezTo>
                  <a:cubicBezTo>
                    <a:pt x="64070" y="11677"/>
                    <a:pt x="64338" y="23892"/>
                    <a:pt x="59640" y="35122"/>
                  </a:cubicBezTo>
                  <a:cubicBezTo>
                    <a:pt x="51497" y="45144"/>
                    <a:pt x="42683" y="54584"/>
                    <a:pt x="33467" y="63533"/>
                  </a:cubicBezTo>
                  <a:cubicBezTo>
                    <a:pt x="22416" y="65815"/>
                    <a:pt x="11141" y="66173"/>
                    <a:pt x="0" y="66396"/>
                  </a:cubicBezTo>
                  <a:close/>
                </a:path>
              </a:pathLst>
            </a:custGeom>
            <a:solidFill>
              <a:srgbClr val="D1E4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19" name="Freeform: Shape 5218">
              <a:extLst>
                <a:ext uri="{FF2B5EF4-FFF2-40B4-BE49-F238E27FC236}">
                  <a16:creationId xmlns:a16="http://schemas.microsoft.com/office/drawing/2014/main" id="{0542926D-6BBD-D737-2DC5-691CACA5C422}"/>
                </a:ext>
              </a:extLst>
            </p:cNvPr>
            <p:cNvSpPr/>
            <p:nvPr/>
          </p:nvSpPr>
          <p:spPr>
            <a:xfrm flipH="1">
              <a:off x="1680024" y="4596511"/>
              <a:ext cx="36716" cy="37089"/>
            </a:xfrm>
            <a:custGeom>
              <a:avLst/>
              <a:gdLst>
                <a:gd name="connsiteX0" fmla="*/ 0 w 30782"/>
                <a:gd name="connsiteY0" fmla="*/ 28411 h 31095"/>
                <a:gd name="connsiteX1" fmla="*/ 26174 w 30782"/>
                <a:gd name="connsiteY1" fmla="*/ 0 h 31095"/>
                <a:gd name="connsiteX2" fmla="*/ 30782 w 30782"/>
                <a:gd name="connsiteY2" fmla="*/ 31095 h 31095"/>
                <a:gd name="connsiteX3" fmla="*/ 0 w 30782"/>
                <a:gd name="connsiteY3" fmla="*/ 28411 h 31095"/>
              </a:gdLst>
              <a:ahLst/>
              <a:cxnLst>
                <a:cxn ang="0">
                  <a:pos x="connsiteX0" y="connsiteY0"/>
                </a:cxn>
                <a:cxn ang="0">
                  <a:pos x="connsiteX1" y="connsiteY1"/>
                </a:cxn>
                <a:cxn ang="0">
                  <a:pos x="connsiteX2" y="connsiteY2"/>
                </a:cxn>
                <a:cxn ang="0">
                  <a:pos x="connsiteX3" y="connsiteY3"/>
                </a:cxn>
              </a:cxnLst>
              <a:rect l="l" t="t" r="r" b="b"/>
              <a:pathLst>
                <a:path w="30782" h="31095">
                  <a:moveTo>
                    <a:pt x="0" y="28411"/>
                  </a:moveTo>
                  <a:cubicBezTo>
                    <a:pt x="9217" y="19462"/>
                    <a:pt x="18031" y="10022"/>
                    <a:pt x="26174" y="0"/>
                  </a:cubicBezTo>
                  <a:cubicBezTo>
                    <a:pt x="27740" y="10335"/>
                    <a:pt x="29216" y="20671"/>
                    <a:pt x="30782" y="31095"/>
                  </a:cubicBezTo>
                  <a:cubicBezTo>
                    <a:pt x="20492" y="30156"/>
                    <a:pt x="10201" y="29306"/>
                    <a:pt x="0" y="28411"/>
                  </a:cubicBezTo>
                  <a:close/>
                </a:path>
              </a:pathLst>
            </a:custGeom>
            <a:solidFill>
              <a:srgbClr val="2741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25" name="Freeform: Shape 5224">
              <a:extLst>
                <a:ext uri="{FF2B5EF4-FFF2-40B4-BE49-F238E27FC236}">
                  <a16:creationId xmlns:a16="http://schemas.microsoft.com/office/drawing/2014/main" id="{B2A4F54B-DC48-6870-FAE8-D53DEE2EFF4C}"/>
                </a:ext>
              </a:extLst>
            </p:cNvPr>
            <p:cNvSpPr/>
            <p:nvPr/>
          </p:nvSpPr>
          <p:spPr>
            <a:xfrm flipH="1">
              <a:off x="3015218" y="4647638"/>
              <a:ext cx="229959" cy="110522"/>
            </a:xfrm>
            <a:custGeom>
              <a:avLst/>
              <a:gdLst>
                <a:gd name="connsiteX0" fmla="*/ 0 w 192790"/>
                <a:gd name="connsiteY0" fmla="*/ 0 h 92659"/>
                <a:gd name="connsiteX1" fmla="*/ 192478 w 192790"/>
                <a:gd name="connsiteY1" fmla="*/ 179 h 92659"/>
                <a:gd name="connsiteX2" fmla="*/ 192791 w 192790"/>
                <a:gd name="connsiteY2" fmla="*/ 92481 h 92659"/>
                <a:gd name="connsiteX3" fmla="*/ 268 w 192790"/>
                <a:gd name="connsiteY3" fmla="*/ 92659 h 92659"/>
                <a:gd name="connsiteX4" fmla="*/ 0 w 192790"/>
                <a:gd name="connsiteY4" fmla="*/ 0 h 9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90" h="92659">
                  <a:moveTo>
                    <a:pt x="0" y="0"/>
                  </a:moveTo>
                  <a:cubicBezTo>
                    <a:pt x="64159" y="134"/>
                    <a:pt x="128318" y="134"/>
                    <a:pt x="192478" y="179"/>
                  </a:cubicBezTo>
                  <a:cubicBezTo>
                    <a:pt x="192478" y="30916"/>
                    <a:pt x="192030" y="61698"/>
                    <a:pt x="192791" y="92481"/>
                  </a:cubicBezTo>
                  <a:cubicBezTo>
                    <a:pt x="128632" y="92839"/>
                    <a:pt x="64472" y="92481"/>
                    <a:pt x="268" y="92659"/>
                  </a:cubicBezTo>
                  <a:cubicBezTo>
                    <a:pt x="268" y="61743"/>
                    <a:pt x="447" y="30871"/>
                    <a:pt x="0" y="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27" name="Rectangle 5226">
              <a:extLst>
                <a:ext uri="{FF2B5EF4-FFF2-40B4-BE49-F238E27FC236}">
                  <a16:creationId xmlns:a16="http://schemas.microsoft.com/office/drawing/2014/main" id="{195A1254-53DF-80F6-E007-BDCF01E53F16}"/>
                </a:ext>
              </a:extLst>
            </p:cNvPr>
            <p:cNvSpPr/>
            <p:nvPr/>
          </p:nvSpPr>
          <p:spPr>
            <a:xfrm flipH="1">
              <a:off x="2405714" y="4695358"/>
              <a:ext cx="125340" cy="68112"/>
            </a:xfrm>
            <a:prstGeom prst="rect">
              <a:avLst/>
            </a:prstGeom>
            <a:solidFill>
              <a:srgbClr val="9FD4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34" name="Freeform: Shape 5233">
              <a:extLst>
                <a:ext uri="{FF2B5EF4-FFF2-40B4-BE49-F238E27FC236}">
                  <a16:creationId xmlns:a16="http://schemas.microsoft.com/office/drawing/2014/main" id="{10B05147-9699-B1D5-7BE0-A10D74AB55F6}"/>
                </a:ext>
              </a:extLst>
            </p:cNvPr>
            <p:cNvSpPr/>
            <p:nvPr/>
          </p:nvSpPr>
          <p:spPr>
            <a:xfrm flipH="1">
              <a:off x="3011429" y="4757946"/>
              <a:ext cx="236736" cy="49577"/>
            </a:xfrm>
            <a:custGeom>
              <a:avLst/>
              <a:gdLst>
                <a:gd name="connsiteX0" fmla="*/ 2774 w 198473"/>
                <a:gd name="connsiteY0" fmla="*/ 179 h 41564"/>
                <a:gd name="connsiteX1" fmla="*/ 195296 w 198473"/>
                <a:gd name="connsiteY1" fmla="*/ 0 h 41564"/>
                <a:gd name="connsiteX2" fmla="*/ 198473 w 198473"/>
                <a:gd name="connsiteY2" fmla="*/ 40983 h 41564"/>
                <a:gd name="connsiteX3" fmla="*/ 0 w 198473"/>
                <a:gd name="connsiteY3" fmla="*/ 41565 h 41564"/>
                <a:gd name="connsiteX4" fmla="*/ 2774 w 198473"/>
                <a:gd name="connsiteY4" fmla="*/ 179 h 4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473" h="41564">
                  <a:moveTo>
                    <a:pt x="2774" y="179"/>
                  </a:moveTo>
                  <a:cubicBezTo>
                    <a:pt x="66978" y="45"/>
                    <a:pt x="131137" y="358"/>
                    <a:pt x="195296" y="0"/>
                  </a:cubicBezTo>
                  <a:cubicBezTo>
                    <a:pt x="195789" y="13646"/>
                    <a:pt x="197086" y="27337"/>
                    <a:pt x="198473" y="40983"/>
                  </a:cubicBezTo>
                  <a:cubicBezTo>
                    <a:pt x="132301" y="40357"/>
                    <a:pt x="66128" y="41386"/>
                    <a:pt x="0" y="41565"/>
                  </a:cubicBezTo>
                  <a:cubicBezTo>
                    <a:pt x="1745" y="27829"/>
                    <a:pt x="2550" y="14004"/>
                    <a:pt x="2774" y="179"/>
                  </a:cubicBezTo>
                  <a:close/>
                </a:path>
              </a:pathLst>
            </a:custGeom>
            <a:solidFill>
              <a:srgbClr val="2145A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37" name="Freeform: Shape 5236">
              <a:extLst>
                <a:ext uri="{FF2B5EF4-FFF2-40B4-BE49-F238E27FC236}">
                  <a16:creationId xmlns:a16="http://schemas.microsoft.com/office/drawing/2014/main" id="{99F94D76-8936-4FFF-6425-97478ADB350B}"/>
                </a:ext>
              </a:extLst>
            </p:cNvPr>
            <p:cNvSpPr/>
            <p:nvPr/>
          </p:nvSpPr>
          <p:spPr>
            <a:xfrm flipH="1">
              <a:off x="3011163" y="4806594"/>
              <a:ext cx="238764" cy="14397"/>
            </a:xfrm>
            <a:custGeom>
              <a:avLst/>
              <a:gdLst>
                <a:gd name="connsiteX0" fmla="*/ 1476 w 200173"/>
                <a:gd name="connsiteY0" fmla="*/ 781 h 12070"/>
                <a:gd name="connsiteX1" fmla="*/ 199950 w 200173"/>
                <a:gd name="connsiteY1" fmla="*/ 200 h 12070"/>
                <a:gd name="connsiteX2" fmla="*/ 200173 w 200173"/>
                <a:gd name="connsiteY2" fmla="*/ 2616 h 12070"/>
                <a:gd name="connsiteX3" fmla="*/ 198115 w 200173"/>
                <a:gd name="connsiteY3" fmla="*/ 10893 h 12070"/>
                <a:gd name="connsiteX4" fmla="*/ 0 w 200173"/>
                <a:gd name="connsiteY4" fmla="*/ 10580 h 12070"/>
                <a:gd name="connsiteX5" fmla="*/ 1476 w 200173"/>
                <a:gd name="connsiteY5" fmla="*/ 781 h 1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173" h="12070">
                  <a:moveTo>
                    <a:pt x="1476" y="781"/>
                  </a:moveTo>
                  <a:cubicBezTo>
                    <a:pt x="67604" y="603"/>
                    <a:pt x="133777" y="-426"/>
                    <a:pt x="199950" y="200"/>
                  </a:cubicBezTo>
                  <a:lnTo>
                    <a:pt x="200173" y="2616"/>
                  </a:lnTo>
                  <a:cubicBezTo>
                    <a:pt x="199681" y="4674"/>
                    <a:pt x="198607" y="8835"/>
                    <a:pt x="198115" y="10893"/>
                  </a:cubicBezTo>
                  <a:cubicBezTo>
                    <a:pt x="132122" y="12817"/>
                    <a:pt x="65994" y="12146"/>
                    <a:pt x="0" y="10580"/>
                  </a:cubicBezTo>
                  <a:cubicBezTo>
                    <a:pt x="358" y="8164"/>
                    <a:pt x="1074" y="3242"/>
                    <a:pt x="1476" y="781"/>
                  </a:cubicBezTo>
                  <a:close/>
                </a:path>
              </a:pathLst>
            </a:custGeom>
            <a:solidFill>
              <a:srgbClr val="FB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57" name="Rectangle 5256">
              <a:extLst>
                <a:ext uri="{FF2B5EF4-FFF2-40B4-BE49-F238E27FC236}">
                  <a16:creationId xmlns:a16="http://schemas.microsoft.com/office/drawing/2014/main" id="{ED2E49C1-E6FB-CFAC-ABA8-FCC4AE339413}"/>
                </a:ext>
              </a:extLst>
            </p:cNvPr>
            <p:cNvSpPr/>
            <p:nvPr/>
          </p:nvSpPr>
          <p:spPr>
            <a:xfrm flipH="1">
              <a:off x="1338004" y="4937857"/>
              <a:ext cx="3649936" cy="122361"/>
            </a:xfrm>
            <a:prstGeom prst="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63" name="Rectangle: Rounded Corners 5262">
              <a:extLst>
                <a:ext uri="{FF2B5EF4-FFF2-40B4-BE49-F238E27FC236}">
                  <a16:creationId xmlns:a16="http://schemas.microsoft.com/office/drawing/2014/main" id="{517AADD7-051C-154C-FCA3-38E12507B517}"/>
                </a:ext>
              </a:extLst>
            </p:cNvPr>
            <p:cNvSpPr/>
            <p:nvPr/>
          </p:nvSpPr>
          <p:spPr>
            <a:xfrm flipH="1">
              <a:off x="1242153" y="4976434"/>
              <a:ext cx="111648" cy="69644"/>
            </a:xfrm>
            <a:prstGeom prst="roundRect">
              <a:avLst/>
            </a:prstGeom>
            <a:solidFill>
              <a:srgbClr val="204B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69" name="Freeform: Shape 5268">
              <a:extLst>
                <a:ext uri="{FF2B5EF4-FFF2-40B4-BE49-F238E27FC236}">
                  <a16:creationId xmlns:a16="http://schemas.microsoft.com/office/drawing/2014/main" id="{515EAEBC-FB65-0F92-3F49-5F6111D95E99}"/>
                </a:ext>
              </a:extLst>
            </p:cNvPr>
            <p:cNvSpPr/>
            <p:nvPr/>
          </p:nvSpPr>
          <p:spPr>
            <a:xfrm flipH="1">
              <a:off x="2063522" y="5056107"/>
              <a:ext cx="590827" cy="91208"/>
            </a:xfrm>
            <a:custGeom>
              <a:avLst/>
              <a:gdLst>
                <a:gd name="connsiteX0" fmla="*/ 374933 w 495332"/>
                <a:gd name="connsiteY0" fmla="*/ 3448 h 76466"/>
                <a:gd name="connsiteX1" fmla="*/ 444596 w 495332"/>
                <a:gd name="connsiteY1" fmla="*/ 1927 h 76466"/>
                <a:gd name="connsiteX2" fmla="*/ 495333 w 495332"/>
                <a:gd name="connsiteY2" fmla="*/ 853 h 76466"/>
                <a:gd name="connsiteX3" fmla="*/ 461285 w 495332"/>
                <a:gd name="connsiteY3" fmla="*/ 18884 h 76466"/>
                <a:gd name="connsiteX4" fmla="*/ 192209 w 495332"/>
                <a:gd name="connsiteY4" fmla="*/ 54722 h 76466"/>
                <a:gd name="connsiteX5" fmla="*/ 29530 w 495332"/>
                <a:gd name="connsiteY5" fmla="*/ 75258 h 76466"/>
                <a:gd name="connsiteX6" fmla="*/ 1163 w 495332"/>
                <a:gd name="connsiteY6" fmla="*/ 76466 h 76466"/>
                <a:gd name="connsiteX7" fmla="*/ 0 w 495332"/>
                <a:gd name="connsiteY7" fmla="*/ 54677 h 76466"/>
                <a:gd name="connsiteX8" fmla="*/ 279232 w 495332"/>
                <a:gd name="connsiteY8" fmla="*/ 17408 h 76466"/>
                <a:gd name="connsiteX9" fmla="*/ 374933 w 495332"/>
                <a:gd name="connsiteY9" fmla="*/ 3448 h 76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332" h="76466">
                  <a:moveTo>
                    <a:pt x="374933" y="3448"/>
                  </a:moveTo>
                  <a:cubicBezTo>
                    <a:pt x="397662" y="-3934"/>
                    <a:pt x="421330" y="3001"/>
                    <a:pt x="444596" y="1927"/>
                  </a:cubicBezTo>
                  <a:cubicBezTo>
                    <a:pt x="461508" y="1480"/>
                    <a:pt x="478376" y="495"/>
                    <a:pt x="495333" y="853"/>
                  </a:cubicBezTo>
                  <a:cubicBezTo>
                    <a:pt x="485176" y="8772"/>
                    <a:pt x="474528" y="17273"/>
                    <a:pt x="461285" y="18884"/>
                  </a:cubicBezTo>
                  <a:cubicBezTo>
                    <a:pt x="371533" y="30204"/>
                    <a:pt x="281782" y="42149"/>
                    <a:pt x="192209" y="54722"/>
                  </a:cubicBezTo>
                  <a:cubicBezTo>
                    <a:pt x="137938" y="61120"/>
                    <a:pt x="83532" y="66713"/>
                    <a:pt x="29530" y="75258"/>
                  </a:cubicBezTo>
                  <a:cubicBezTo>
                    <a:pt x="20089" y="75885"/>
                    <a:pt x="10604" y="76108"/>
                    <a:pt x="1163" y="76466"/>
                  </a:cubicBezTo>
                  <a:cubicBezTo>
                    <a:pt x="761" y="69129"/>
                    <a:pt x="448" y="61925"/>
                    <a:pt x="0" y="54677"/>
                  </a:cubicBezTo>
                  <a:cubicBezTo>
                    <a:pt x="93241" y="43447"/>
                    <a:pt x="185990" y="28414"/>
                    <a:pt x="279232" y="17408"/>
                  </a:cubicBezTo>
                  <a:cubicBezTo>
                    <a:pt x="311087" y="12307"/>
                    <a:pt x="343570" y="11099"/>
                    <a:pt x="374933" y="3448"/>
                  </a:cubicBezTo>
                  <a:close/>
                </a:path>
              </a:pathLst>
            </a:custGeom>
            <a:solidFill>
              <a:srgbClr val="DBE6F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1" name="Rectangle: Rounded Corners 5270">
              <a:extLst>
                <a:ext uri="{FF2B5EF4-FFF2-40B4-BE49-F238E27FC236}">
                  <a16:creationId xmlns:a16="http://schemas.microsoft.com/office/drawing/2014/main" id="{FBE7B7C6-19E4-4858-6586-B06945532733}"/>
                </a:ext>
              </a:extLst>
            </p:cNvPr>
            <p:cNvSpPr/>
            <p:nvPr/>
          </p:nvSpPr>
          <p:spPr>
            <a:xfrm flipH="1">
              <a:off x="1530596" y="5057124"/>
              <a:ext cx="894488"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2" name="Rectangle 5271">
              <a:extLst>
                <a:ext uri="{FF2B5EF4-FFF2-40B4-BE49-F238E27FC236}">
                  <a16:creationId xmlns:a16="http://schemas.microsoft.com/office/drawing/2014/main" id="{ECD92511-8B07-C111-93FF-AC9E6EE402E8}"/>
                </a:ext>
              </a:extLst>
            </p:cNvPr>
            <p:cNvSpPr/>
            <p:nvPr/>
          </p:nvSpPr>
          <p:spPr>
            <a:xfrm flipH="1">
              <a:off x="1516109" y="5061135"/>
              <a:ext cx="57019" cy="99841"/>
            </a:xfrm>
            <a:prstGeom prst="rect">
              <a:avLst/>
            </a:prstGeom>
            <a:solidFill>
              <a:srgbClr val="4A60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4" name="Freeform: Shape 5273">
              <a:extLst>
                <a:ext uri="{FF2B5EF4-FFF2-40B4-BE49-F238E27FC236}">
                  <a16:creationId xmlns:a16="http://schemas.microsoft.com/office/drawing/2014/main" id="{769DC279-FD32-B72D-E903-0343EAC6BDC1}"/>
                </a:ext>
              </a:extLst>
            </p:cNvPr>
            <p:cNvSpPr/>
            <p:nvPr/>
          </p:nvSpPr>
          <p:spPr>
            <a:xfrm flipH="1">
              <a:off x="3821704" y="5077831"/>
              <a:ext cx="338081" cy="67616"/>
            </a:xfrm>
            <a:custGeom>
              <a:avLst/>
              <a:gdLst>
                <a:gd name="connsiteX0" fmla="*/ 0 w 283437"/>
                <a:gd name="connsiteY0" fmla="*/ 19820 h 56687"/>
                <a:gd name="connsiteX1" fmla="*/ 43533 w 283437"/>
                <a:gd name="connsiteY1" fmla="*/ 0 h 56687"/>
                <a:gd name="connsiteX2" fmla="*/ 234490 w 283437"/>
                <a:gd name="connsiteY2" fmla="*/ 24697 h 56687"/>
                <a:gd name="connsiteX3" fmla="*/ 283392 w 283437"/>
                <a:gd name="connsiteY3" fmla="*/ 28635 h 56687"/>
                <a:gd name="connsiteX4" fmla="*/ 283437 w 283437"/>
                <a:gd name="connsiteY4" fmla="*/ 56687 h 56687"/>
                <a:gd name="connsiteX5" fmla="*/ 19999 w 283437"/>
                <a:gd name="connsiteY5" fmla="*/ 22326 h 56687"/>
                <a:gd name="connsiteX6" fmla="*/ 0 w 283437"/>
                <a:gd name="connsiteY6" fmla="*/ 19820 h 5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437" h="56687">
                  <a:moveTo>
                    <a:pt x="0" y="19820"/>
                  </a:moveTo>
                  <a:cubicBezTo>
                    <a:pt x="13601" y="11364"/>
                    <a:pt x="27650" y="3222"/>
                    <a:pt x="43533" y="0"/>
                  </a:cubicBezTo>
                  <a:cubicBezTo>
                    <a:pt x="107290" y="7561"/>
                    <a:pt x="170957" y="15749"/>
                    <a:pt x="234490" y="24697"/>
                  </a:cubicBezTo>
                  <a:cubicBezTo>
                    <a:pt x="250686" y="26800"/>
                    <a:pt x="266972" y="29574"/>
                    <a:pt x="283392" y="28635"/>
                  </a:cubicBezTo>
                  <a:cubicBezTo>
                    <a:pt x="283348" y="37941"/>
                    <a:pt x="283169" y="47292"/>
                    <a:pt x="283437" y="56687"/>
                  </a:cubicBezTo>
                  <a:cubicBezTo>
                    <a:pt x="195654" y="45055"/>
                    <a:pt x="107782" y="33959"/>
                    <a:pt x="19999" y="22326"/>
                  </a:cubicBezTo>
                  <a:cubicBezTo>
                    <a:pt x="13333" y="21387"/>
                    <a:pt x="6667" y="20402"/>
                    <a:pt x="0" y="19820"/>
                  </a:cubicBezTo>
                  <a:close/>
                </a:path>
              </a:pathLst>
            </a:custGeom>
            <a:solidFill>
              <a:srgbClr val="CFE0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6" name="Freeform: Shape 5275">
              <a:extLst>
                <a:ext uri="{FF2B5EF4-FFF2-40B4-BE49-F238E27FC236}">
                  <a16:creationId xmlns:a16="http://schemas.microsoft.com/office/drawing/2014/main" id="{FD88784B-3D1C-EEAD-9112-60C53C948E86}"/>
                </a:ext>
              </a:extLst>
            </p:cNvPr>
            <p:cNvSpPr/>
            <p:nvPr/>
          </p:nvSpPr>
          <p:spPr>
            <a:xfrm flipH="1">
              <a:off x="3705363" y="5098536"/>
              <a:ext cx="905055" cy="332050"/>
            </a:xfrm>
            <a:custGeom>
              <a:avLst/>
              <a:gdLst>
                <a:gd name="connsiteX0" fmla="*/ 0 w 758770"/>
                <a:gd name="connsiteY0" fmla="*/ 0 h 278381"/>
                <a:gd name="connsiteX1" fmla="*/ 3445 w 758770"/>
                <a:gd name="connsiteY1" fmla="*/ 313 h 278381"/>
                <a:gd name="connsiteX2" fmla="*/ 3803 w 758770"/>
                <a:gd name="connsiteY2" fmla="*/ 254624 h 278381"/>
                <a:gd name="connsiteX3" fmla="*/ 5593 w 758770"/>
                <a:gd name="connsiteY3" fmla="*/ 271178 h 278381"/>
                <a:gd name="connsiteX4" fmla="*/ 28098 w 758770"/>
                <a:gd name="connsiteY4" fmla="*/ 270596 h 278381"/>
                <a:gd name="connsiteX5" fmla="*/ 396320 w 758770"/>
                <a:gd name="connsiteY5" fmla="*/ 166930 h 278381"/>
                <a:gd name="connsiteX6" fmla="*/ 680025 w 758770"/>
                <a:gd name="connsiteY6" fmla="*/ 87156 h 278381"/>
                <a:gd name="connsiteX7" fmla="*/ 715953 w 758770"/>
                <a:gd name="connsiteY7" fmla="*/ 98521 h 278381"/>
                <a:gd name="connsiteX8" fmla="*/ 758770 w 758770"/>
                <a:gd name="connsiteY8" fmla="*/ 115120 h 278381"/>
                <a:gd name="connsiteX9" fmla="*/ 754565 w 758770"/>
                <a:gd name="connsiteY9" fmla="*/ 133911 h 278381"/>
                <a:gd name="connsiteX10" fmla="*/ 757249 w 758770"/>
                <a:gd name="connsiteY10" fmla="*/ 141249 h 278381"/>
                <a:gd name="connsiteX11" fmla="*/ 723425 w 758770"/>
                <a:gd name="connsiteY11" fmla="*/ 170689 h 278381"/>
                <a:gd name="connsiteX12" fmla="*/ 722172 w 758770"/>
                <a:gd name="connsiteY12" fmla="*/ 171226 h 278381"/>
                <a:gd name="connsiteX13" fmla="*/ 508308 w 758770"/>
                <a:gd name="connsiteY13" fmla="*/ 231447 h 278381"/>
                <a:gd name="connsiteX14" fmla="*/ 389966 w 758770"/>
                <a:gd name="connsiteY14" fmla="*/ 263930 h 278381"/>
                <a:gd name="connsiteX15" fmla="*/ 350907 w 758770"/>
                <a:gd name="connsiteY15" fmla="*/ 277039 h 278381"/>
                <a:gd name="connsiteX16" fmla="*/ 671 w 758770"/>
                <a:gd name="connsiteY16" fmla="*/ 278381 h 278381"/>
                <a:gd name="connsiteX17" fmla="*/ 0 w 758770"/>
                <a:gd name="connsiteY17" fmla="*/ 2640 h 278381"/>
                <a:gd name="connsiteX18" fmla="*/ 0 w 758770"/>
                <a:gd name="connsiteY18" fmla="*/ 0 h 27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8770" h="278381">
                  <a:moveTo>
                    <a:pt x="0" y="0"/>
                  </a:moveTo>
                  <a:lnTo>
                    <a:pt x="3445" y="313"/>
                  </a:lnTo>
                  <a:cubicBezTo>
                    <a:pt x="4564" y="85054"/>
                    <a:pt x="3758" y="169883"/>
                    <a:pt x="3803" y="254624"/>
                  </a:cubicBezTo>
                  <a:cubicBezTo>
                    <a:pt x="3982" y="260127"/>
                    <a:pt x="4564" y="265675"/>
                    <a:pt x="5593" y="271178"/>
                  </a:cubicBezTo>
                  <a:cubicBezTo>
                    <a:pt x="13064" y="272386"/>
                    <a:pt x="20671" y="271715"/>
                    <a:pt x="28098" y="270596"/>
                  </a:cubicBezTo>
                  <a:cubicBezTo>
                    <a:pt x="151137" y="237085"/>
                    <a:pt x="273639" y="201605"/>
                    <a:pt x="396320" y="166930"/>
                  </a:cubicBezTo>
                  <a:cubicBezTo>
                    <a:pt x="490680" y="139593"/>
                    <a:pt x="585442" y="113643"/>
                    <a:pt x="680025" y="87156"/>
                  </a:cubicBezTo>
                  <a:cubicBezTo>
                    <a:pt x="692911" y="87291"/>
                    <a:pt x="705081" y="91899"/>
                    <a:pt x="715953" y="98521"/>
                  </a:cubicBezTo>
                  <a:cubicBezTo>
                    <a:pt x="728928" y="107021"/>
                    <a:pt x="743648" y="111988"/>
                    <a:pt x="758770" y="115120"/>
                  </a:cubicBezTo>
                  <a:cubicBezTo>
                    <a:pt x="757383" y="121339"/>
                    <a:pt x="755952" y="127603"/>
                    <a:pt x="754565" y="133911"/>
                  </a:cubicBezTo>
                  <a:cubicBezTo>
                    <a:pt x="755415" y="136283"/>
                    <a:pt x="756310" y="138743"/>
                    <a:pt x="757249" y="141249"/>
                  </a:cubicBezTo>
                  <a:cubicBezTo>
                    <a:pt x="744185" y="148810"/>
                    <a:pt x="732776" y="158787"/>
                    <a:pt x="723425" y="170689"/>
                  </a:cubicBezTo>
                  <a:lnTo>
                    <a:pt x="722172" y="171226"/>
                  </a:lnTo>
                  <a:cubicBezTo>
                    <a:pt x="650988" y="191583"/>
                    <a:pt x="579536" y="211225"/>
                    <a:pt x="508308" y="231447"/>
                  </a:cubicBezTo>
                  <a:cubicBezTo>
                    <a:pt x="468622" y="241380"/>
                    <a:pt x="429831" y="254713"/>
                    <a:pt x="389966" y="263930"/>
                  </a:cubicBezTo>
                  <a:cubicBezTo>
                    <a:pt x="376544" y="266972"/>
                    <a:pt x="363614" y="271804"/>
                    <a:pt x="350907" y="277039"/>
                  </a:cubicBezTo>
                  <a:cubicBezTo>
                    <a:pt x="234221" y="278605"/>
                    <a:pt x="117402" y="277665"/>
                    <a:pt x="671" y="278381"/>
                  </a:cubicBezTo>
                  <a:cubicBezTo>
                    <a:pt x="-626" y="186482"/>
                    <a:pt x="716" y="94584"/>
                    <a:pt x="0" y="2640"/>
                  </a:cubicBezTo>
                  <a:lnTo>
                    <a:pt x="0" y="0"/>
                  </a:lnTo>
                  <a:close/>
                </a:path>
              </a:pathLst>
            </a:custGeom>
            <a:solidFill>
              <a:srgbClr val="B7CCE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77" name="Freeform: Shape 5276">
              <a:extLst>
                <a:ext uri="{FF2B5EF4-FFF2-40B4-BE49-F238E27FC236}">
                  <a16:creationId xmlns:a16="http://schemas.microsoft.com/office/drawing/2014/main" id="{B977492A-7F34-23D1-6200-E2D0D8D844DE}"/>
                </a:ext>
              </a:extLst>
            </p:cNvPr>
            <p:cNvSpPr/>
            <p:nvPr/>
          </p:nvSpPr>
          <p:spPr>
            <a:xfrm flipH="1">
              <a:off x="3537950" y="5095906"/>
              <a:ext cx="251413" cy="8041"/>
            </a:xfrm>
            <a:custGeom>
              <a:avLst/>
              <a:gdLst>
                <a:gd name="connsiteX0" fmla="*/ 0 w 210777"/>
                <a:gd name="connsiteY0" fmla="*/ 3190 h 6742"/>
                <a:gd name="connsiteX1" fmla="*/ 76374 w 210777"/>
                <a:gd name="connsiteY1" fmla="*/ 192 h 6742"/>
                <a:gd name="connsiteX2" fmla="*/ 210777 w 210777"/>
                <a:gd name="connsiteY2" fmla="*/ 3861 h 6742"/>
                <a:gd name="connsiteX3" fmla="*/ 81385 w 210777"/>
                <a:gd name="connsiteY3" fmla="*/ 6232 h 6742"/>
                <a:gd name="connsiteX4" fmla="*/ 0 w 210777"/>
                <a:gd name="connsiteY4" fmla="*/ 3190 h 6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77" h="6742">
                  <a:moveTo>
                    <a:pt x="0" y="3190"/>
                  </a:moveTo>
                  <a:cubicBezTo>
                    <a:pt x="25234" y="-1061"/>
                    <a:pt x="50916" y="147"/>
                    <a:pt x="76374" y="192"/>
                  </a:cubicBezTo>
                  <a:cubicBezTo>
                    <a:pt x="121205" y="1042"/>
                    <a:pt x="165991" y="1624"/>
                    <a:pt x="210777" y="3861"/>
                  </a:cubicBezTo>
                  <a:cubicBezTo>
                    <a:pt x="167825" y="8961"/>
                    <a:pt x="124516" y="5606"/>
                    <a:pt x="81385" y="6232"/>
                  </a:cubicBezTo>
                  <a:cubicBezTo>
                    <a:pt x="54271" y="5293"/>
                    <a:pt x="27024" y="6143"/>
                    <a:pt x="0" y="3190"/>
                  </a:cubicBezTo>
                  <a:close/>
                </a:path>
              </a:pathLst>
            </a:custGeom>
            <a:solidFill>
              <a:srgbClr val="516C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0" name="Freeform: Shape 5279">
              <a:extLst>
                <a:ext uri="{FF2B5EF4-FFF2-40B4-BE49-F238E27FC236}">
                  <a16:creationId xmlns:a16="http://schemas.microsoft.com/office/drawing/2014/main" id="{5A357A5A-22B6-12FE-DE91-5D8B2D3A465E}"/>
                </a:ext>
              </a:extLst>
            </p:cNvPr>
            <p:cNvSpPr/>
            <p:nvPr/>
          </p:nvSpPr>
          <p:spPr>
            <a:xfrm flipH="1">
              <a:off x="2619128" y="5102304"/>
              <a:ext cx="1202749" cy="89732"/>
            </a:xfrm>
            <a:custGeom>
              <a:avLst/>
              <a:gdLst>
                <a:gd name="connsiteX0" fmla="*/ 291859 w 1008348"/>
                <a:gd name="connsiteY0" fmla="*/ 3822 h 75229"/>
                <a:gd name="connsiteX1" fmla="*/ 860120 w 1008348"/>
                <a:gd name="connsiteY1" fmla="*/ 1540 h 75229"/>
                <a:gd name="connsiteX2" fmla="*/ 977969 w 1008348"/>
                <a:gd name="connsiteY2" fmla="*/ 3285 h 75229"/>
                <a:gd name="connsiteX3" fmla="*/ 978819 w 1008348"/>
                <a:gd name="connsiteY3" fmla="*/ 15947 h 75229"/>
                <a:gd name="connsiteX4" fmla="*/ 979983 w 1008348"/>
                <a:gd name="connsiteY4" fmla="*/ 37736 h 75229"/>
                <a:gd name="connsiteX5" fmla="*/ 1008349 w 1008348"/>
                <a:gd name="connsiteY5" fmla="*/ 36528 h 75229"/>
                <a:gd name="connsiteX6" fmla="*/ 980519 w 1008348"/>
                <a:gd name="connsiteY6" fmla="*/ 41539 h 75229"/>
                <a:gd name="connsiteX7" fmla="*/ 989691 w 1008348"/>
                <a:gd name="connsiteY7" fmla="*/ 62836 h 75229"/>
                <a:gd name="connsiteX8" fmla="*/ 963920 w 1008348"/>
                <a:gd name="connsiteY8" fmla="*/ 75229 h 75229"/>
                <a:gd name="connsiteX9" fmla="*/ 800211 w 1008348"/>
                <a:gd name="connsiteY9" fmla="*/ 69010 h 75229"/>
                <a:gd name="connsiteX10" fmla="*/ 952511 w 1008348"/>
                <a:gd name="connsiteY10" fmla="*/ 65878 h 75229"/>
                <a:gd name="connsiteX11" fmla="*/ 877793 w 1008348"/>
                <a:gd name="connsiteY11" fmla="*/ 56796 h 75229"/>
                <a:gd name="connsiteX12" fmla="*/ 479639 w 1008348"/>
                <a:gd name="connsiteY12" fmla="*/ 56840 h 75229"/>
                <a:gd name="connsiteX13" fmla="*/ 266222 w 1008348"/>
                <a:gd name="connsiteY13" fmla="*/ 53306 h 75229"/>
                <a:gd name="connsiteX14" fmla="*/ 274007 w 1008348"/>
                <a:gd name="connsiteY14" fmla="*/ 38228 h 75229"/>
                <a:gd name="connsiteX15" fmla="*/ 74908 w 1008348"/>
                <a:gd name="connsiteY15" fmla="*/ 67757 h 75229"/>
                <a:gd name="connsiteX16" fmla="*/ 181840 w 1008348"/>
                <a:gd name="connsiteY16" fmla="*/ 68742 h 75229"/>
                <a:gd name="connsiteX17" fmla="*/ 139514 w 1008348"/>
                <a:gd name="connsiteY17" fmla="*/ 72679 h 75229"/>
                <a:gd name="connsiteX18" fmla="*/ 12762 w 1008348"/>
                <a:gd name="connsiteY18" fmla="*/ 68920 h 75229"/>
                <a:gd name="connsiteX19" fmla="*/ 145 w 1008348"/>
                <a:gd name="connsiteY19" fmla="*/ 36170 h 75229"/>
                <a:gd name="connsiteX20" fmla="*/ 100 w 1008348"/>
                <a:gd name="connsiteY20" fmla="*/ 8117 h 75229"/>
                <a:gd name="connsiteX21" fmla="*/ 138217 w 1008348"/>
                <a:gd name="connsiteY21" fmla="*/ 7401 h 75229"/>
                <a:gd name="connsiteX22" fmla="*/ 291859 w 1008348"/>
                <a:gd name="connsiteY22" fmla="*/ 3822 h 75229"/>
                <a:gd name="connsiteX23" fmla="*/ 57682 w 1008348"/>
                <a:gd name="connsiteY23" fmla="*/ 19929 h 75229"/>
                <a:gd name="connsiteX24" fmla="*/ 85690 w 1008348"/>
                <a:gd name="connsiteY24" fmla="*/ 23687 h 75229"/>
                <a:gd name="connsiteX25" fmla="*/ 261256 w 1008348"/>
                <a:gd name="connsiteY25" fmla="*/ 20645 h 75229"/>
                <a:gd name="connsiteX26" fmla="*/ 152847 w 1008348"/>
                <a:gd name="connsiteY26" fmla="*/ 14470 h 75229"/>
                <a:gd name="connsiteX27" fmla="*/ 57682 w 1008348"/>
                <a:gd name="connsiteY27" fmla="*/ 19929 h 75229"/>
                <a:gd name="connsiteX28" fmla="*/ 689029 w 1008348"/>
                <a:gd name="connsiteY28" fmla="*/ 25253 h 75229"/>
                <a:gd name="connsiteX29" fmla="*/ 859896 w 1008348"/>
                <a:gd name="connsiteY29" fmla="*/ 28251 h 75229"/>
                <a:gd name="connsiteX30" fmla="*/ 924369 w 1008348"/>
                <a:gd name="connsiteY30" fmla="*/ 25656 h 75229"/>
                <a:gd name="connsiteX31" fmla="*/ 873587 w 1008348"/>
                <a:gd name="connsiteY31" fmla="*/ 21584 h 75229"/>
                <a:gd name="connsiteX32" fmla="*/ 689029 w 1008348"/>
                <a:gd name="connsiteY32" fmla="*/ 25253 h 75229"/>
                <a:gd name="connsiteX33" fmla="*/ 37056 w 1008348"/>
                <a:gd name="connsiteY33" fmla="*/ 52366 h 75229"/>
                <a:gd name="connsiteX34" fmla="*/ 48152 w 1008348"/>
                <a:gd name="connsiteY34" fmla="*/ 62701 h 75229"/>
                <a:gd name="connsiteX35" fmla="*/ 37056 w 1008348"/>
                <a:gd name="connsiteY35" fmla="*/ 52366 h 7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8348" h="75229">
                  <a:moveTo>
                    <a:pt x="291859" y="3822"/>
                  </a:moveTo>
                  <a:cubicBezTo>
                    <a:pt x="481160" y="-3337"/>
                    <a:pt x="670685" y="1808"/>
                    <a:pt x="860120" y="1540"/>
                  </a:cubicBezTo>
                  <a:cubicBezTo>
                    <a:pt x="899403" y="1719"/>
                    <a:pt x="938776" y="-160"/>
                    <a:pt x="977969" y="3285"/>
                  </a:cubicBezTo>
                  <a:cubicBezTo>
                    <a:pt x="978238" y="7491"/>
                    <a:pt x="978551" y="11696"/>
                    <a:pt x="978819" y="15947"/>
                  </a:cubicBezTo>
                  <a:cubicBezTo>
                    <a:pt x="979267" y="23195"/>
                    <a:pt x="979580" y="30398"/>
                    <a:pt x="979983" y="37736"/>
                  </a:cubicBezTo>
                  <a:cubicBezTo>
                    <a:pt x="989423" y="37378"/>
                    <a:pt x="998908" y="37154"/>
                    <a:pt x="1008349" y="36528"/>
                  </a:cubicBezTo>
                  <a:cubicBezTo>
                    <a:pt x="999042" y="38004"/>
                    <a:pt x="989781" y="39794"/>
                    <a:pt x="980519" y="41539"/>
                  </a:cubicBezTo>
                  <a:cubicBezTo>
                    <a:pt x="980743" y="49905"/>
                    <a:pt x="979804" y="59838"/>
                    <a:pt x="989691" y="62836"/>
                  </a:cubicBezTo>
                  <a:cubicBezTo>
                    <a:pt x="978909" y="60777"/>
                    <a:pt x="971571" y="69368"/>
                    <a:pt x="963920" y="75229"/>
                  </a:cubicBezTo>
                  <a:cubicBezTo>
                    <a:pt x="909604" y="68562"/>
                    <a:pt x="854572" y="74916"/>
                    <a:pt x="800211" y="69010"/>
                  </a:cubicBezTo>
                  <a:cubicBezTo>
                    <a:pt x="850903" y="64446"/>
                    <a:pt x="901953" y="71918"/>
                    <a:pt x="952511" y="65878"/>
                  </a:cubicBezTo>
                  <a:cubicBezTo>
                    <a:pt x="929201" y="54916"/>
                    <a:pt x="902714" y="57959"/>
                    <a:pt x="877793" y="56796"/>
                  </a:cubicBezTo>
                  <a:cubicBezTo>
                    <a:pt x="745045" y="54379"/>
                    <a:pt x="612342" y="58048"/>
                    <a:pt x="479639" y="56840"/>
                  </a:cubicBezTo>
                  <a:cubicBezTo>
                    <a:pt x="408500" y="55409"/>
                    <a:pt x="337137" y="60107"/>
                    <a:pt x="266222" y="53306"/>
                  </a:cubicBezTo>
                  <a:cubicBezTo>
                    <a:pt x="268772" y="48205"/>
                    <a:pt x="271367" y="43194"/>
                    <a:pt x="274007" y="38228"/>
                  </a:cubicBezTo>
                  <a:cubicBezTo>
                    <a:pt x="206850" y="33396"/>
                    <a:pt x="134951" y="32635"/>
                    <a:pt x="74908" y="67757"/>
                  </a:cubicBezTo>
                  <a:cubicBezTo>
                    <a:pt x="110522" y="71560"/>
                    <a:pt x="146225" y="65073"/>
                    <a:pt x="181840" y="68742"/>
                  </a:cubicBezTo>
                  <a:cubicBezTo>
                    <a:pt x="167836" y="71113"/>
                    <a:pt x="153697" y="73037"/>
                    <a:pt x="139514" y="72679"/>
                  </a:cubicBezTo>
                  <a:cubicBezTo>
                    <a:pt x="97234" y="71918"/>
                    <a:pt x="54774" y="74692"/>
                    <a:pt x="12762" y="68920"/>
                  </a:cubicBezTo>
                  <a:cubicBezTo>
                    <a:pt x="2784" y="61225"/>
                    <a:pt x="1890" y="47623"/>
                    <a:pt x="145" y="36170"/>
                  </a:cubicBezTo>
                  <a:cubicBezTo>
                    <a:pt x="-124" y="26774"/>
                    <a:pt x="55" y="17423"/>
                    <a:pt x="100" y="8117"/>
                  </a:cubicBezTo>
                  <a:cubicBezTo>
                    <a:pt x="45736" y="-518"/>
                    <a:pt x="92178" y="6148"/>
                    <a:pt x="138217" y="7401"/>
                  </a:cubicBezTo>
                  <a:cubicBezTo>
                    <a:pt x="189491" y="11025"/>
                    <a:pt x="240585" y="3061"/>
                    <a:pt x="291859" y="3822"/>
                  </a:cubicBezTo>
                  <a:close/>
                  <a:moveTo>
                    <a:pt x="57682" y="19929"/>
                  </a:moveTo>
                  <a:cubicBezTo>
                    <a:pt x="65691" y="26103"/>
                    <a:pt x="76339" y="23418"/>
                    <a:pt x="85690" y="23687"/>
                  </a:cubicBezTo>
                  <a:cubicBezTo>
                    <a:pt x="144167" y="21137"/>
                    <a:pt x="202868" y="24671"/>
                    <a:pt x="261256" y="20645"/>
                  </a:cubicBezTo>
                  <a:cubicBezTo>
                    <a:pt x="225910" y="11383"/>
                    <a:pt x="188954" y="15141"/>
                    <a:pt x="152847" y="14470"/>
                  </a:cubicBezTo>
                  <a:cubicBezTo>
                    <a:pt x="121081" y="15410"/>
                    <a:pt x="88912" y="13038"/>
                    <a:pt x="57682" y="19929"/>
                  </a:cubicBezTo>
                  <a:close/>
                  <a:moveTo>
                    <a:pt x="689029" y="25253"/>
                  </a:moveTo>
                  <a:cubicBezTo>
                    <a:pt x="745895" y="29056"/>
                    <a:pt x="802941" y="28429"/>
                    <a:pt x="859896" y="28251"/>
                  </a:cubicBezTo>
                  <a:cubicBezTo>
                    <a:pt x="881417" y="28027"/>
                    <a:pt x="903072" y="29235"/>
                    <a:pt x="924369" y="25656"/>
                  </a:cubicBezTo>
                  <a:cubicBezTo>
                    <a:pt x="908396" y="18452"/>
                    <a:pt x="890455" y="22390"/>
                    <a:pt x="873587" y="21584"/>
                  </a:cubicBezTo>
                  <a:cubicBezTo>
                    <a:pt x="812068" y="22658"/>
                    <a:pt x="750280" y="18989"/>
                    <a:pt x="689029" y="25253"/>
                  </a:cubicBezTo>
                  <a:close/>
                  <a:moveTo>
                    <a:pt x="37056" y="52366"/>
                  </a:moveTo>
                  <a:cubicBezTo>
                    <a:pt x="32180" y="58406"/>
                    <a:pt x="42336" y="67623"/>
                    <a:pt x="48152" y="62701"/>
                  </a:cubicBezTo>
                  <a:cubicBezTo>
                    <a:pt x="51732" y="56840"/>
                    <a:pt x="42560" y="48742"/>
                    <a:pt x="37056" y="52366"/>
                  </a:cubicBezTo>
                  <a:close/>
                </a:path>
              </a:pathLst>
            </a:custGeom>
            <a:solidFill>
              <a:srgbClr val="7990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5" name="Freeform: Shape 5284">
              <a:extLst>
                <a:ext uri="{FF2B5EF4-FFF2-40B4-BE49-F238E27FC236}">
                  <a16:creationId xmlns:a16="http://schemas.microsoft.com/office/drawing/2014/main" id="{032B9F2A-A47F-6795-1201-8DD50B64C495}"/>
                </a:ext>
              </a:extLst>
            </p:cNvPr>
            <p:cNvSpPr/>
            <p:nvPr/>
          </p:nvSpPr>
          <p:spPr>
            <a:xfrm flipH="1">
              <a:off x="3510253" y="5119319"/>
              <a:ext cx="242821" cy="11662"/>
            </a:xfrm>
            <a:custGeom>
              <a:avLst/>
              <a:gdLst>
                <a:gd name="connsiteX0" fmla="*/ 0 w 203573"/>
                <a:gd name="connsiteY0" fmla="*/ 5664 h 9777"/>
                <a:gd name="connsiteX1" fmla="*/ 95165 w 203573"/>
                <a:gd name="connsiteY1" fmla="*/ 206 h 9777"/>
                <a:gd name="connsiteX2" fmla="*/ 203574 w 203573"/>
                <a:gd name="connsiteY2" fmla="*/ 6380 h 9777"/>
                <a:gd name="connsiteX3" fmla="*/ 28008 w 203573"/>
                <a:gd name="connsiteY3" fmla="*/ 9423 h 9777"/>
                <a:gd name="connsiteX4" fmla="*/ 0 w 203573"/>
                <a:gd name="connsiteY4" fmla="*/ 5664 h 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73" h="9777">
                  <a:moveTo>
                    <a:pt x="0" y="5664"/>
                  </a:moveTo>
                  <a:cubicBezTo>
                    <a:pt x="31229" y="-1226"/>
                    <a:pt x="63399" y="1145"/>
                    <a:pt x="95165" y="206"/>
                  </a:cubicBezTo>
                  <a:cubicBezTo>
                    <a:pt x="131271" y="877"/>
                    <a:pt x="168228" y="-2881"/>
                    <a:pt x="203574" y="6380"/>
                  </a:cubicBezTo>
                  <a:cubicBezTo>
                    <a:pt x="145186" y="10407"/>
                    <a:pt x="86485" y="6872"/>
                    <a:pt x="28008" y="9423"/>
                  </a:cubicBezTo>
                  <a:cubicBezTo>
                    <a:pt x="18657" y="9154"/>
                    <a:pt x="8009" y="11838"/>
                    <a:pt x="0" y="5664"/>
                  </a:cubicBezTo>
                  <a:close/>
                </a:path>
              </a:pathLst>
            </a:custGeom>
            <a:solidFill>
              <a:srgbClr val="556F9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6" name="Freeform: Shape 5285">
              <a:extLst>
                <a:ext uri="{FF2B5EF4-FFF2-40B4-BE49-F238E27FC236}">
                  <a16:creationId xmlns:a16="http://schemas.microsoft.com/office/drawing/2014/main" id="{B2ED18B6-7670-4524-0028-8AFDA97126C1}"/>
                </a:ext>
              </a:extLst>
            </p:cNvPr>
            <p:cNvSpPr/>
            <p:nvPr/>
          </p:nvSpPr>
          <p:spPr>
            <a:xfrm flipH="1">
              <a:off x="2719297" y="5127616"/>
              <a:ext cx="280712" cy="8564"/>
            </a:xfrm>
            <a:custGeom>
              <a:avLst/>
              <a:gdLst>
                <a:gd name="connsiteX0" fmla="*/ 0 w 235340"/>
                <a:gd name="connsiteY0" fmla="*/ 4032 h 7180"/>
                <a:gd name="connsiteX1" fmla="*/ 184559 w 235340"/>
                <a:gd name="connsiteY1" fmla="*/ 364 h 7180"/>
                <a:gd name="connsiteX2" fmla="*/ 235340 w 235340"/>
                <a:gd name="connsiteY2" fmla="*/ 4435 h 7180"/>
                <a:gd name="connsiteX3" fmla="*/ 170867 w 235340"/>
                <a:gd name="connsiteY3" fmla="*/ 7030 h 7180"/>
                <a:gd name="connsiteX4" fmla="*/ 0 w 235340"/>
                <a:gd name="connsiteY4" fmla="*/ 4032 h 7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40" h="7180">
                  <a:moveTo>
                    <a:pt x="0" y="4032"/>
                  </a:moveTo>
                  <a:cubicBezTo>
                    <a:pt x="61251" y="-2231"/>
                    <a:pt x="123039" y="1438"/>
                    <a:pt x="184559" y="364"/>
                  </a:cubicBezTo>
                  <a:cubicBezTo>
                    <a:pt x="201426" y="1169"/>
                    <a:pt x="219367" y="-2768"/>
                    <a:pt x="235340" y="4435"/>
                  </a:cubicBezTo>
                  <a:cubicBezTo>
                    <a:pt x="214043" y="8014"/>
                    <a:pt x="192388" y="6806"/>
                    <a:pt x="170867" y="7030"/>
                  </a:cubicBezTo>
                  <a:cubicBezTo>
                    <a:pt x="113912" y="7209"/>
                    <a:pt x="56866" y="7836"/>
                    <a:pt x="0" y="4032"/>
                  </a:cubicBezTo>
                  <a:close/>
                </a:path>
              </a:pathLst>
            </a:custGeom>
            <a:solidFill>
              <a:srgbClr val="455E9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7" name="Freeform: Shape 5286">
              <a:extLst>
                <a:ext uri="{FF2B5EF4-FFF2-40B4-BE49-F238E27FC236}">
                  <a16:creationId xmlns:a16="http://schemas.microsoft.com/office/drawing/2014/main" id="{AD7B015F-2C93-F329-01A1-90C758869CC1}"/>
                </a:ext>
              </a:extLst>
            </p:cNvPr>
            <p:cNvSpPr/>
            <p:nvPr/>
          </p:nvSpPr>
          <p:spPr>
            <a:xfrm flipH="1">
              <a:off x="3249393" y="5145035"/>
              <a:ext cx="483133" cy="39591"/>
            </a:xfrm>
            <a:custGeom>
              <a:avLst/>
              <a:gdLst>
                <a:gd name="connsiteX0" fmla="*/ 0 w 405044"/>
                <a:gd name="connsiteY0" fmla="*/ 31932 h 33192"/>
                <a:gd name="connsiteX1" fmla="*/ 199099 w 405044"/>
                <a:gd name="connsiteY1" fmla="*/ 2403 h 33192"/>
                <a:gd name="connsiteX2" fmla="*/ 191315 w 405044"/>
                <a:gd name="connsiteY2" fmla="*/ 17481 h 33192"/>
                <a:gd name="connsiteX3" fmla="*/ 404731 w 405044"/>
                <a:gd name="connsiteY3" fmla="*/ 21016 h 33192"/>
                <a:gd name="connsiteX4" fmla="*/ 405044 w 405044"/>
                <a:gd name="connsiteY4" fmla="*/ 33141 h 33192"/>
                <a:gd name="connsiteX5" fmla="*/ 239546 w 405044"/>
                <a:gd name="connsiteY5" fmla="*/ 32917 h 33192"/>
                <a:gd name="connsiteX6" fmla="*/ 106932 w 405044"/>
                <a:gd name="connsiteY6" fmla="*/ 32917 h 33192"/>
                <a:gd name="connsiteX7" fmla="*/ 0 w 405044"/>
                <a:gd name="connsiteY7" fmla="*/ 31932 h 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044" h="33192">
                  <a:moveTo>
                    <a:pt x="0" y="31932"/>
                  </a:moveTo>
                  <a:cubicBezTo>
                    <a:pt x="60043" y="-3189"/>
                    <a:pt x="131943" y="-2429"/>
                    <a:pt x="199099" y="2403"/>
                  </a:cubicBezTo>
                  <a:cubicBezTo>
                    <a:pt x="196460" y="7369"/>
                    <a:pt x="193865" y="12381"/>
                    <a:pt x="191315" y="17481"/>
                  </a:cubicBezTo>
                  <a:cubicBezTo>
                    <a:pt x="262230" y="24282"/>
                    <a:pt x="333592" y="19584"/>
                    <a:pt x="404731" y="21016"/>
                  </a:cubicBezTo>
                  <a:cubicBezTo>
                    <a:pt x="404821" y="24013"/>
                    <a:pt x="404955" y="30098"/>
                    <a:pt x="405044" y="33141"/>
                  </a:cubicBezTo>
                  <a:cubicBezTo>
                    <a:pt x="349878" y="32559"/>
                    <a:pt x="294712" y="33677"/>
                    <a:pt x="239546" y="32917"/>
                  </a:cubicBezTo>
                  <a:cubicBezTo>
                    <a:pt x="195341" y="33051"/>
                    <a:pt x="151092" y="29517"/>
                    <a:pt x="106932" y="32917"/>
                  </a:cubicBezTo>
                  <a:cubicBezTo>
                    <a:pt x="71318" y="29248"/>
                    <a:pt x="35614" y="35736"/>
                    <a:pt x="0" y="31932"/>
                  </a:cubicBezTo>
                  <a:close/>
                </a:path>
              </a:pathLst>
            </a:custGeom>
            <a:solidFill>
              <a:srgbClr val="4A6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8" name="Freeform: Shape 5287">
              <a:extLst>
                <a:ext uri="{FF2B5EF4-FFF2-40B4-BE49-F238E27FC236}">
                  <a16:creationId xmlns:a16="http://schemas.microsoft.com/office/drawing/2014/main" id="{BD479BCF-DF23-24C4-169E-985704854A39}"/>
                </a:ext>
              </a:extLst>
            </p:cNvPr>
            <p:cNvSpPr/>
            <p:nvPr/>
          </p:nvSpPr>
          <p:spPr>
            <a:xfrm flipH="1">
              <a:off x="3763479" y="5163691"/>
              <a:ext cx="15731" cy="15064"/>
            </a:xfrm>
            <a:custGeom>
              <a:avLst/>
              <a:gdLst>
                <a:gd name="connsiteX0" fmla="*/ 1286 w 13188"/>
                <a:gd name="connsiteY0" fmla="*/ 901 h 12630"/>
                <a:gd name="connsiteX1" fmla="*/ 12382 w 13188"/>
                <a:gd name="connsiteY1" fmla="*/ 11236 h 12630"/>
                <a:gd name="connsiteX2" fmla="*/ 1286 w 13188"/>
                <a:gd name="connsiteY2" fmla="*/ 901 h 12630"/>
              </a:gdLst>
              <a:ahLst/>
              <a:cxnLst>
                <a:cxn ang="0">
                  <a:pos x="connsiteX0" y="connsiteY0"/>
                </a:cxn>
                <a:cxn ang="0">
                  <a:pos x="connsiteX1" y="connsiteY1"/>
                </a:cxn>
                <a:cxn ang="0">
                  <a:pos x="connsiteX2" y="connsiteY2"/>
                </a:cxn>
              </a:cxnLst>
              <a:rect l="l" t="t" r="r" b="b"/>
              <a:pathLst>
                <a:path w="13188" h="12630">
                  <a:moveTo>
                    <a:pt x="1286" y="901"/>
                  </a:moveTo>
                  <a:cubicBezTo>
                    <a:pt x="6789" y="-2723"/>
                    <a:pt x="15961" y="5375"/>
                    <a:pt x="12382" y="11236"/>
                  </a:cubicBezTo>
                  <a:cubicBezTo>
                    <a:pt x="6565" y="16158"/>
                    <a:pt x="-3591" y="6941"/>
                    <a:pt x="1286" y="901"/>
                  </a:cubicBezTo>
                  <a:close/>
                </a:path>
              </a:pathLst>
            </a:custGeom>
            <a:solidFill>
              <a:srgbClr val="526F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89" name="Freeform: Shape 5288">
              <a:extLst>
                <a:ext uri="{FF2B5EF4-FFF2-40B4-BE49-F238E27FC236}">
                  <a16:creationId xmlns:a16="http://schemas.microsoft.com/office/drawing/2014/main" id="{22D69286-25A6-A968-9375-A1128AF84880}"/>
                </a:ext>
              </a:extLst>
            </p:cNvPr>
            <p:cNvSpPr/>
            <p:nvPr/>
          </p:nvSpPr>
          <p:spPr>
            <a:xfrm flipH="1">
              <a:off x="2685729" y="5169044"/>
              <a:ext cx="564038" cy="15574"/>
            </a:xfrm>
            <a:custGeom>
              <a:avLst/>
              <a:gdLst>
                <a:gd name="connsiteX0" fmla="*/ 0 w 472872"/>
                <a:gd name="connsiteY0" fmla="*/ 888 h 13057"/>
                <a:gd name="connsiteX1" fmla="*/ 398154 w 472872"/>
                <a:gd name="connsiteY1" fmla="*/ 843 h 13057"/>
                <a:gd name="connsiteX2" fmla="*/ 472872 w 472872"/>
                <a:gd name="connsiteY2" fmla="*/ 9926 h 13057"/>
                <a:gd name="connsiteX3" fmla="*/ 320573 w 472872"/>
                <a:gd name="connsiteY3" fmla="*/ 13058 h 13057"/>
                <a:gd name="connsiteX4" fmla="*/ 313 w 472872"/>
                <a:gd name="connsiteY4" fmla="*/ 13013 h 13057"/>
                <a:gd name="connsiteX5" fmla="*/ 0 w 472872"/>
                <a:gd name="connsiteY5" fmla="*/ 888 h 13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72" h="13057">
                  <a:moveTo>
                    <a:pt x="0" y="888"/>
                  </a:moveTo>
                  <a:cubicBezTo>
                    <a:pt x="132703" y="2096"/>
                    <a:pt x="265406" y="-1573"/>
                    <a:pt x="398154" y="843"/>
                  </a:cubicBezTo>
                  <a:cubicBezTo>
                    <a:pt x="423075" y="2006"/>
                    <a:pt x="449562" y="-1036"/>
                    <a:pt x="472872" y="9926"/>
                  </a:cubicBezTo>
                  <a:cubicBezTo>
                    <a:pt x="422315" y="15966"/>
                    <a:pt x="371265" y="8494"/>
                    <a:pt x="320573" y="13058"/>
                  </a:cubicBezTo>
                  <a:cubicBezTo>
                    <a:pt x="213819" y="12118"/>
                    <a:pt x="107066" y="13147"/>
                    <a:pt x="313" y="13013"/>
                  </a:cubicBezTo>
                  <a:cubicBezTo>
                    <a:pt x="224" y="9970"/>
                    <a:pt x="89" y="3886"/>
                    <a:pt x="0" y="888"/>
                  </a:cubicBezTo>
                  <a:close/>
                </a:path>
              </a:pathLst>
            </a:custGeom>
            <a:solidFill>
              <a:srgbClr val="4B659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90" name="Freeform: Shape 5289">
              <a:extLst>
                <a:ext uri="{FF2B5EF4-FFF2-40B4-BE49-F238E27FC236}">
                  <a16:creationId xmlns:a16="http://schemas.microsoft.com/office/drawing/2014/main" id="{4CB6240B-1EF9-328C-A230-4FBFE62DC6F0}"/>
                </a:ext>
              </a:extLst>
            </p:cNvPr>
            <p:cNvSpPr/>
            <p:nvPr/>
          </p:nvSpPr>
          <p:spPr>
            <a:xfrm flipH="1">
              <a:off x="2672120" y="5182531"/>
              <a:ext cx="1134534" cy="33898"/>
            </a:xfrm>
            <a:custGeom>
              <a:avLst/>
              <a:gdLst>
                <a:gd name="connsiteX0" fmla="*/ 0 w 951158"/>
                <a:gd name="connsiteY0" fmla="*/ 1661 h 28419"/>
                <a:gd name="connsiteX1" fmla="*/ 126752 w 951158"/>
                <a:gd name="connsiteY1" fmla="*/ 5419 h 28419"/>
                <a:gd name="connsiteX2" fmla="*/ 169078 w 951158"/>
                <a:gd name="connsiteY2" fmla="*/ 1482 h 28419"/>
                <a:gd name="connsiteX3" fmla="*/ 301692 w 951158"/>
                <a:gd name="connsiteY3" fmla="*/ 1482 h 28419"/>
                <a:gd name="connsiteX4" fmla="*/ 467190 w 951158"/>
                <a:gd name="connsiteY4" fmla="*/ 1706 h 28419"/>
                <a:gd name="connsiteX5" fmla="*/ 787450 w 951158"/>
                <a:gd name="connsiteY5" fmla="*/ 1750 h 28419"/>
                <a:gd name="connsiteX6" fmla="*/ 951158 w 951158"/>
                <a:gd name="connsiteY6" fmla="*/ 7969 h 28419"/>
                <a:gd name="connsiteX7" fmla="*/ 919974 w 951158"/>
                <a:gd name="connsiteY7" fmla="*/ 23405 h 28419"/>
                <a:gd name="connsiteX8" fmla="*/ 784765 w 951158"/>
                <a:gd name="connsiteY8" fmla="*/ 23405 h 28419"/>
                <a:gd name="connsiteX9" fmla="*/ 368401 w 951158"/>
                <a:gd name="connsiteY9" fmla="*/ 23539 h 28419"/>
                <a:gd name="connsiteX10" fmla="*/ 91407 w 951158"/>
                <a:gd name="connsiteY10" fmla="*/ 25732 h 28419"/>
                <a:gd name="connsiteX11" fmla="*/ 42102 w 951158"/>
                <a:gd name="connsiteY11" fmla="*/ 28103 h 28419"/>
                <a:gd name="connsiteX12" fmla="*/ 6174 w 951158"/>
                <a:gd name="connsiteY12" fmla="*/ 16739 h 28419"/>
                <a:gd name="connsiteX13" fmla="*/ 15167 w 951158"/>
                <a:gd name="connsiteY13" fmla="*/ 14099 h 28419"/>
                <a:gd name="connsiteX14" fmla="*/ 0 w 951158"/>
                <a:gd name="connsiteY14" fmla="*/ 1661 h 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158" h="28419">
                  <a:moveTo>
                    <a:pt x="0" y="1661"/>
                  </a:moveTo>
                  <a:cubicBezTo>
                    <a:pt x="42012" y="7433"/>
                    <a:pt x="84472" y="4658"/>
                    <a:pt x="126752" y="5419"/>
                  </a:cubicBezTo>
                  <a:cubicBezTo>
                    <a:pt x="140936" y="5777"/>
                    <a:pt x="155074" y="3853"/>
                    <a:pt x="169078" y="1482"/>
                  </a:cubicBezTo>
                  <a:cubicBezTo>
                    <a:pt x="213238" y="-1918"/>
                    <a:pt x="257487" y="1616"/>
                    <a:pt x="301692" y="1482"/>
                  </a:cubicBezTo>
                  <a:cubicBezTo>
                    <a:pt x="356858" y="2242"/>
                    <a:pt x="412024" y="1124"/>
                    <a:pt x="467190" y="1706"/>
                  </a:cubicBezTo>
                  <a:cubicBezTo>
                    <a:pt x="573943" y="1840"/>
                    <a:pt x="680696" y="811"/>
                    <a:pt x="787450" y="1750"/>
                  </a:cubicBezTo>
                  <a:cubicBezTo>
                    <a:pt x="841810" y="7656"/>
                    <a:pt x="896843" y="1303"/>
                    <a:pt x="951158" y="7969"/>
                  </a:cubicBezTo>
                  <a:cubicBezTo>
                    <a:pt x="942300" y="15799"/>
                    <a:pt x="931428" y="20765"/>
                    <a:pt x="919974" y="23405"/>
                  </a:cubicBezTo>
                  <a:cubicBezTo>
                    <a:pt x="874964" y="25821"/>
                    <a:pt x="829820" y="22958"/>
                    <a:pt x="784765" y="23405"/>
                  </a:cubicBezTo>
                  <a:cubicBezTo>
                    <a:pt x="645977" y="24166"/>
                    <a:pt x="507189" y="22645"/>
                    <a:pt x="368401" y="23539"/>
                  </a:cubicBezTo>
                  <a:cubicBezTo>
                    <a:pt x="276099" y="24658"/>
                    <a:pt x="183664" y="21258"/>
                    <a:pt x="91407" y="25732"/>
                  </a:cubicBezTo>
                  <a:cubicBezTo>
                    <a:pt x="74987" y="27119"/>
                    <a:pt x="58567" y="29222"/>
                    <a:pt x="42102" y="28103"/>
                  </a:cubicBezTo>
                  <a:cubicBezTo>
                    <a:pt x="31229" y="21481"/>
                    <a:pt x="19060" y="16873"/>
                    <a:pt x="6174" y="16739"/>
                  </a:cubicBezTo>
                  <a:cubicBezTo>
                    <a:pt x="8411" y="16068"/>
                    <a:pt x="12930" y="14770"/>
                    <a:pt x="15167" y="14099"/>
                  </a:cubicBezTo>
                  <a:cubicBezTo>
                    <a:pt x="10067" y="9938"/>
                    <a:pt x="4966" y="5867"/>
                    <a:pt x="0" y="1661"/>
                  </a:cubicBezTo>
                  <a:close/>
                </a:path>
              </a:pathLst>
            </a:custGeom>
            <a:solidFill>
              <a:srgbClr val="6998C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06" name="Freeform: Shape 5305">
              <a:extLst>
                <a:ext uri="{FF2B5EF4-FFF2-40B4-BE49-F238E27FC236}">
                  <a16:creationId xmlns:a16="http://schemas.microsoft.com/office/drawing/2014/main" id="{727D1054-BABF-60A8-09E6-2884E1AB2F87}"/>
                </a:ext>
              </a:extLst>
            </p:cNvPr>
            <p:cNvSpPr/>
            <p:nvPr/>
          </p:nvSpPr>
          <p:spPr>
            <a:xfrm flipH="1">
              <a:off x="4151674" y="5428917"/>
              <a:ext cx="571616" cy="88071"/>
            </a:xfrm>
            <a:custGeom>
              <a:avLst/>
              <a:gdLst>
                <a:gd name="connsiteX0" fmla="*/ 95299 w 479225"/>
                <a:gd name="connsiteY0" fmla="*/ 1400 h 73836"/>
                <a:gd name="connsiteX1" fmla="*/ 445535 w 479225"/>
                <a:gd name="connsiteY1" fmla="*/ 58 h 73836"/>
                <a:gd name="connsiteX2" fmla="*/ 479226 w 479225"/>
                <a:gd name="connsiteY2" fmla="*/ 103 h 73836"/>
                <a:gd name="connsiteX3" fmla="*/ 444462 w 479225"/>
                <a:gd name="connsiteY3" fmla="*/ 69363 h 73836"/>
                <a:gd name="connsiteX4" fmla="*/ 188675 w 479225"/>
                <a:gd name="connsiteY4" fmla="*/ 69631 h 73836"/>
                <a:gd name="connsiteX5" fmla="*/ 149973 w 479225"/>
                <a:gd name="connsiteY5" fmla="*/ 69765 h 73836"/>
                <a:gd name="connsiteX6" fmla="*/ 100802 w 479225"/>
                <a:gd name="connsiteY6" fmla="*/ 66589 h 73836"/>
                <a:gd name="connsiteX7" fmla="*/ 95836 w 479225"/>
                <a:gd name="connsiteY7" fmla="*/ 73837 h 73836"/>
                <a:gd name="connsiteX8" fmla="*/ 95523 w 479225"/>
                <a:gd name="connsiteY8" fmla="*/ 70257 h 73836"/>
                <a:gd name="connsiteX9" fmla="*/ 47560 w 479225"/>
                <a:gd name="connsiteY9" fmla="*/ 68826 h 73836"/>
                <a:gd name="connsiteX10" fmla="*/ 1298 w 479225"/>
                <a:gd name="connsiteY10" fmla="*/ 68602 h 73836"/>
                <a:gd name="connsiteX11" fmla="*/ 0 w 479225"/>
                <a:gd name="connsiteY11" fmla="*/ 1490 h 73836"/>
                <a:gd name="connsiteX12" fmla="*/ 95299 w 479225"/>
                <a:gd name="connsiteY12" fmla="*/ 1400 h 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9225" h="73836">
                  <a:moveTo>
                    <a:pt x="95299" y="1400"/>
                  </a:moveTo>
                  <a:cubicBezTo>
                    <a:pt x="212030" y="685"/>
                    <a:pt x="328850" y="1624"/>
                    <a:pt x="445535" y="58"/>
                  </a:cubicBezTo>
                  <a:cubicBezTo>
                    <a:pt x="456766" y="-76"/>
                    <a:pt x="467996" y="58"/>
                    <a:pt x="479226" y="103"/>
                  </a:cubicBezTo>
                  <a:cubicBezTo>
                    <a:pt x="467056" y="22876"/>
                    <a:pt x="456631" y="46544"/>
                    <a:pt x="444462" y="69363"/>
                  </a:cubicBezTo>
                  <a:cubicBezTo>
                    <a:pt x="359184" y="69184"/>
                    <a:pt x="273907" y="68915"/>
                    <a:pt x="188675" y="69631"/>
                  </a:cubicBezTo>
                  <a:cubicBezTo>
                    <a:pt x="175789" y="69631"/>
                    <a:pt x="162859" y="69810"/>
                    <a:pt x="149973" y="69765"/>
                  </a:cubicBezTo>
                  <a:cubicBezTo>
                    <a:pt x="133553" y="69363"/>
                    <a:pt x="117088" y="68781"/>
                    <a:pt x="100802" y="66589"/>
                  </a:cubicBezTo>
                  <a:cubicBezTo>
                    <a:pt x="99192" y="68960"/>
                    <a:pt x="97536" y="71376"/>
                    <a:pt x="95836" y="73837"/>
                  </a:cubicBezTo>
                  <a:cubicBezTo>
                    <a:pt x="95747" y="72942"/>
                    <a:pt x="95613" y="71152"/>
                    <a:pt x="95523" y="70257"/>
                  </a:cubicBezTo>
                  <a:cubicBezTo>
                    <a:pt x="79640" y="67528"/>
                    <a:pt x="63533" y="68692"/>
                    <a:pt x="47560" y="68826"/>
                  </a:cubicBezTo>
                  <a:cubicBezTo>
                    <a:pt x="32124" y="68557"/>
                    <a:pt x="16733" y="68334"/>
                    <a:pt x="1298" y="68602"/>
                  </a:cubicBezTo>
                  <a:cubicBezTo>
                    <a:pt x="671" y="46231"/>
                    <a:pt x="134" y="23861"/>
                    <a:pt x="0" y="1490"/>
                  </a:cubicBezTo>
                  <a:cubicBezTo>
                    <a:pt x="31766" y="1400"/>
                    <a:pt x="63533" y="1221"/>
                    <a:pt x="95299" y="1400"/>
                  </a:cubicBezTo>
                  <a:close/>
                </a:path>
              </a:pathLst>
            </a:custGeom>
            <a:solidFill>
              <a:srgbClr val="F4F5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07" name="Freeform: Shape 5306">
              <a:extLst>
                <a:ext uri="{FF2B5EF4-FFF2-40B4-BE49-F238E27FC236}">
                  <a16:creationId xmlns:a16="http://schemas.microsoft.com/office/drawing/2014/main" id="{F4FFA38C-CDA5-F7A2-400E-4D21CCE00A84}"/>
                </a:ext>
              </a:extLst>
            </p:cNvPr>
            <p:cNvSpPr/>
            <p:nvPr/>
          </p:nvSpPr>
          <p:spPr>
            <a:xfrm flipH="1">
              <a:off x="1477182" y="5432829"/>
              <a:ext cx="1030728" cy="81978"/>
            </a:xfrm>
            <a:custGeom>
              <a:avLst/>
              <a:gdLst>
                <a:gd name="connsiteX0" fmla="*/ 0 w 864131"/>
                <a:gd name="connsiteY0" fmla="*/ 1432 h 68728"/>
                <a:gd name="connsiteX1" fmla="*/ 174626 w 864131"/>
                <a:gd name="connsiteY1" fmla="*/ 1119 h 68728"/>
                <a:gd name="connsiteX2" fmla="*/ 299365 w 864131"/>
                <a:gd name="connsiteY2" fmla="*/ 134 h 68728"/>
                <a:gd name="connsiteX3" fmla="*/ 359811 w 864131"/>
                <a:gd name="connsiteY3" fmla="*/ 447 h 68728"/>
                <a:gd name="connsiteX4" fmla="*/ 725617 w 864131"/>
                <a:gd name="connsiteY4" fmla="*/ 0 h 68728"/>
                <a:gd name="connsiteX5" fmla="*/ 863779 w 864131"/>
                <a:gd name="connsiteY5" fmla="*/ 1924 h 68728"/>
                <a:gd name="connsiteX6" fmla="*/ 863779 w 864131"/>
                <a:gd name="connsiteY6" fmla="*/ 66889 h 68728"/>
                <a:gd name="connsiteX7" fmla="*/ 831654 w 864131"/>
                <a:gd name="connsiteY7" fmla="*/ 68276 h 68728"/>
                <a:gd name="connsiteX8" fmla="*/ 783065 w 864131"/>
                <a:gd name="connsiteY8" fmla="*/ 67828 h 68728"/>
                <a:gd name="connsiteX9" fmla="*/ 711926 w 864131"/>
                <a:gd name="connsiteY9" fmla="*/ 67738 h 68728"/>
                <a:gd name="connsiteX10" fmla="*/ 663471 w 864131"/>
                <a:gd name="connsiteY10" fmla="*/ 68186 h 68728"/>
                <a:gd name="connsiteX11" fmla="*/ 443120 w 864131"/>
                <a:gd name="connsiteY11" fmla="*/ 68544 h 68728"/>
                <a:gd name="connsiteX12" fmla="*/ 291401 w 864131"/>
                <a:gd name="connsiteY12" fmla="*/ 68096 h 68728"/>
                <a:gd name="connsiteX13" fmla="*/ 210464 w 864131"/>
                <a:gd name="connsiteY13" fmla="*/ 67962 h 68728"/>
                <a:gd name="connsiteX14" fmla="*/ 99908 w 864131"/>
                <a:gd name="connsiteY14" fmla="*/ 66933 h 68728"/>
                <a:gd name="connsiteX15" fmla="*/ 17002 w 864131"/>
                <a:gd name="connsiteY15" fmla="*/ 66754 h 68728"/>
                <a:gd name="connsiteX16" fmla="*/ 0 w 864131"/>
                <a:gd name="connsiteY16" fmla="*/ 1432 h 6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131" h="68728">
                  <a:moveTo>
                    <a:pt x="0" y="1432"/>
                  </a:moveTo>
                  <a:cubicBezTo>
                    <a:pt x="58209" y="1074"/>
                    <a:pt x="116417" y="1521"/>
                    <a:pt x="174626" y="1119"/>
                  </a:cubicBezTo>
                  <a:cubicBezTo>
                    <a:pt x="216191" y="1074"/>
                    <a:pt x="257800" y="1655"/>
                    <a:pt x="299365" y="134"/>
                  </a:cubicBezTo>
                  <a:cubicBezTo>
                    <a:pt x="319499" y="45"/>
                    <a:pt x="339677" y="179"/>
                    <a:pt x="359811" y="447"/>
                  </a:cubicBezTo>
                  <a:cubicBezTo>
                    <a:pt x="481731" y="1119"/>
                    <a:pt x="603696" y="1566"/>
                    <a:pt x="725617" y="0"/>
                  </a:cubicBezTo>
                  <a:cubicBezTo>
                    <a:pt x="771566" y="3266"/>
                    <a:pt x="817695" y="1163"/>
                    <a:pt x="863779" y="1924"/>
                  </a:cubicBezTo>
                  <a:cubicBezTo>
                    <a:pt x="864271" y="23534"/>
                    <a:pt x="864226" y="45234"/>
                    <a:pt x="863779" y="66889"/>
                  </a:cubicBezTo>
                  <a:cubicBezTo>
                    <a:pt x="853085" y="67470"/>
                    <a:pt x="842347" y="68096"/>
                    <a:pt x="831654" y="68276"/>
                  </a:cubicBezTo>
                  <a:cubicBezTo>
                    <a:pt x="815458" y="68052"/>
                    <a:pt x="799261" y="67246"/>
                    <a:pt x="783065" y="67828"/>
                  </a:cubicBezTo>
                  <a:cubicBezTo>
                    <a:pt x="759352" y="68902"/>
                    <a:pt x="735594" y="68812"/>
                    <a:pt x="711926" y="67738"/>
                  </a:cubicBezTo>
                  <a:cubicBezTo>
                    <a:pt x="695774" y="67246"/>
                    <a:pt x="679578" y="67381"/>
                    <a:pt x="663471" y="68186"/>
                  </a:cubicBezTo>
                  <a:cubicBezTo>
                    <a:pt x="590006" y="69349"/>
                    <a:pt x="516540" y="68231"/>
                    <a:pt x="443120" y="68544"/>
                  </a:cubicBezTo>
                  <a:cubicBezTo>
                    <a:pt x="392517" y="69036"/>
                    <a:pt x="341959" y="66038"/>
                    <a:pt x="291401" y="68096"/>
                  </a:cubicBezTo>
                  <a:cubicBezTo>
                    <a:pt x="264422" y="66933"/>
                    <a:pt x="237443" y="67201"/>
                    <a:pt x="210464" y="67962"/>
                  </a:cubicBezTo>
                  <a:cubicBezTo>
                    <a:pt x="173642" y="66531"/>
                    <a:pt x="136730" y="66531"/>
                    <a:pt x="99908" y="66933"/>
                  </a:cubicBezTo>
                  <a:cubicBezTo>
                    <a:pt x="72258" y="67023"/>
                    <a:pt x="44607" y="66486"/>
                    <a:pt x="17002" y="66754"/>
                  </a:cubicBezTo>
                  <a:cubicBezTo>
                    <a:pt x="12214" y="44741"/>
                    <a:pt x="6666" y="22908"/>
                    <a:pt x="0" y="1432"/>
                  </a:cubicBezTo>
                  <a:close/>
                </a:path>
              </a:pathLst>
            </a:custGeom>
            <a:solidFill>
              <a:srgbClr val="F5F5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10" name="Oval 5309">
              <a:extLst>
                <a:ext uri="{FF2B5EF4-FFF2-40B4-BE49-F238E27FC236}">
                  <a16:creationId xmlns:a16="http://schemas.microsoft.com/office/drawing/2014/main" id="{5E762264-F2E9-5156-BEE3-E98E3FA1E2F3}"/>
                </a:ext>
              </a:extLst>
            </p:cNvPr>
            <p:cNvSpPr/>
            <p:nvPr/>
          </p:nvSpPr>
          <p:spPr>
            <a:xfrm flipH="1">
              <a:off x="4462642"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388" name="Group 5387">
              <a:extLst>
                <a:ext uri="{FF2B5EF4-FFF2-40B4-BE49-F238E27FC236}">
                  <a16:creationId xmlns:a16="http://schemas.microsoft.com/office/drawing/2014/main" id="{0069F064-0E91-E735-111A-D0D3ACEED0D6}"/>
                </a:ext>
              </a:extLst>
            </p:cNvPr>
            <p:cNvGrpSpPr/>
            <p:nvPr/>
          </p:nvGrpSpPr>
          <p:grpSpPr>
            <a:xfrm>
              <a:off x="575376" y="5590956"/>
              <a:ext cx="690037" cy="145212"/>
              <a:chOff x="604648" y="5900596"/>
              <a:chExt cx="747501" cy="157305"/>
            </a:xfrm>
          </p:grpSpPr>
          <p:sp>
            <p:nvSpPr>
              <p:cNvPr id="5332" name="Freeform: Shape 5331">
                <a:extLst>
                  <a:ext uri="{FF2B5EF4-FFF2-40B4-BE49-F238E27FC236}">
                    <a16:creationId xmlns:a16="http://schemas.microsoft.com/office/drawing/2014/main" id="{76A0768A-DB72-AD0E-D546-EA0CA690EFA6}"/>
                  </a:ext>
                </a:extLst>
              </p:cNvPr>
              <p:cNvSpPr/>
              <p:nvPr/>
            </p:nvSpPr>
            <p:spPr>
              <a:xfrm flipH="1">
                <a:off x="1031355" y="5900596"/>
                <a:ext cx="216213" cy="93380"/>
              </a:xfrm>
              <a:custGeom>
                <a:avLst/>
                <a:gdLst>
                  <a:gd name="connsiteX0" fmla="*/ 84874 w 167332"/>
                  <a:gd name="connsiteY0" fmla="*/ 0 h 72269"/>
                  <a:gd name="connsiteX1" fmla="*/ 112659 w 167332"/>
                  <a:gd name="connsiteY1" fmla="*/ 582 h 72269"/>
                  <a:gd name="connsiteX2" fmla="*/ 163843 w 167332"/>
                  <a:gd name="connsiteY2" fmla="*/ 3758 h 72269"/>
                  <a:gd name="connsiteX3" fmla="*/ 167333 w 167332"/>
                  <a:gd name="connsiteY3" fmla="*/ 56687 h 72269"/>
                  <a:gd name="connsiteX4" fmla="*/ 112525 w 167332"/>
                  <a:gd name="connsiteY4" fmla="*/ 72213 h 72269"/>
                  <a:gd name="connsiteX5" fmla="*/ 0 w 167332"/>
                  <a:gd name="connsiteY5" fmla="*/ 65412 h 72269"/>
                  <a:gd name="connsiteX6" fmla="*/ 10335 w 167332"/>
                  <a:gd name="connsiteY6" fmla="*/ 58119 h 72269"/>
                  <a:gd name="connsiteX7" fmla="*/ 73779 w 167332"/>
                  <a:gd name="connsiteY7" fmla="*/ 35704 h 72269"/>
                  <a:gd name="connsiteX8" fmla="*/ 84874 w 167332"/>
                  <a:gd name="connsiteY8" fmla="*/ 0 h 7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32" h="72269">
                    <a:moveTo>
                      <a:pt x="84874" y="0"/>
                    </a:moveTo>
                    <a:cubicBezTo>
                      <a:pt x="94091" y="89"/>
                      <a:pt x="103353" y="224"/>
                      <a:pt x="112659" y="582"/>
                    </a:cubicBezTo>
                    <a:cubicBezTo>
                      <a:pt x="129705" y="1253"/>
                      <a:pt x="146707" y="3221"/>
                      <a:pt x="163843" y="3758"/>
                    </a:cubicBezTo>
                    <a:cubicBezTo>
                      <a:pt x="163709" y="21431"/>
                      <a:pt x="164783" y="39149"/>
                      <a:pt x="167333" y="56687"/>
                    </a:cubicBezTo>
                    <a:cubicBezTo>
                      <a:pt x="149839" y="64204"/>
                      <a:pt x="132077" y="73063"/>
                      <a:pt x="112525" y="72213"/>
                    </a:cubicBezTo>
                    <a:cubicBezTo>
                      <a:pt x="74942" y="71005"/>
                      <a:pt x="36822" y="74942"/>
                      <a:pt x="0" y="65412"/>
                    </a:cubicBezTo>
                    <a:cubicBezTo>
                      <a:pt x="2595" y="63577"/>
                      <a:pt x="7740" y="59909"/>
                      <a:pt x="10335" y="58119"/>
                    </a:cubicBezTo>
                    <a:cubicBezTo>
                      <a:pt x="32616" y="56106"/>
                      <a:pt x="56866" y="51542"/>
                      <a:pt x="73779" y="35704"/>
                    </a:cubicBezTo>
                    <a:cubicBezTo>
                      <a:pt x="83666" y="26487"/>
                      <a:pt x="83711" y="12393"/>
                      <a:pt x="84874" y="0"/>
                    </a:cubicBezTo>
                    <a:close/>
                  </a:path>
                </a:pathLst>
              </a:custGeom>
              <a:solidFill>
                <a:srgbClr val="F394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33" name="Freeform: Shape 5332">
                <a:extLst>
                  <a:ext uri="{FF2B5EF4-FFF2-40B4-BE49-F238E27FC236}">
                    <a16:creationId xmlns:a16="http://schemas.microsoft.com/office/drawing/2014/main" id="{0024078F-0EE5-5E2A-F133-B3A6FBC1030D}"/>
                  </a:ext>
                </a:extLst>
              </p:cNvPr>
              <p:cNvSpPr/>
              <p:nvPr/>
            </p:nvSpPr>
            <p:spPr>
              <a:xfrm flipH="1">
                <a:off x="618059" y="5902677"/>
                <a:ext cx="241710" cy="91734"/>
              </a:xfrm>
              <a:custGeom>
                <a:avLst/>
                <a:gdLst>
                  <a:gd name="connsiteX0" fmla="*/ 94628 w 187064"/>
                  <a:gd name="connsiteY0" fmla="*/ 32706 h 70995"/>
                  <a:gd name="connsiteX1" fmla="*/ 102771 w 187064"/>
                  <a:gd name="connsiteY1" fmla="*/ 0 h 70995"/>
                  <a:gd name="connsiteX2" fmla="*/ 180264 w 187064"/>
                  <a:gd name="connsiteY2" fmla="*/ 1342 h 70995"/>
                  <a:gd name="connsiteX3" fmla="*/ 187064 w 187064"/>
                  <a:gd name="connsiteY3" fmla="*/ 58343 h 70995"/>
                  <a:gd name="connsiteX4" fmla="*/ 67112 w 187064"/>
                  <a:gd name="connsiteY4" fmla="*/ 70155 h 70995"/>
                  <a:gd name="connsiteX5" fmla="*/ 0 w 187064"/>
                  <a:gd name="connsiteY5" fmla="*/ 67336 h 70995"/>
                  <a:gd name="connsiteX6" fmla="*/ 40133 w 187064"/>
                  <a:gd name="connsiteY6" fmla="*/ 57001 h 70995"/>
                  <a:gd name="connsiteX7" fmla="*/ 94628 w 187064"/>
                  <a:gd name="connsiteY7" fmla="*/ 32706 h 7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064" h="70995">
                    <a:moveTo>
                      <a:pt x="94628" y="32706"/>
                    </a:moveTo>
                    <a:cubicBezTo>
                      <a:pt x="102861" y="23937"/>
                      <a:pt x="101071" y="11006"/>
                      <a:pt x="102771" y="0"/>
                    </a:cubicBezTo>
                    <a:cubicBezTo>
                      <a:pt x="128498" y="2819"/>
                      <a:pt x="154448" y="1969"/>
                      <a:pt x="180264" y="1342"/>
                    </a:cubicBezTo>
                    <a:cubicBezTo>
                      <a:pt x="180845" y="20492"/>
                      <a:pt x="183082" y="39596"/>
                      <a:pt x="187064" y="58343"/>
                    </a:cubicBezTo>
                    <a:cubicBezTo>
                      <a:pt x="149615" y="76731"/>
                      <a:pt x="107245" y="69439"/>
                      <a:pt x="67112" y="70155"/>
                    </a:cubicBezTo>
                    <a:cubicBezTo>
                      <a:pt x="44607" y="70602"/>
                      <a:pt x="22371" y="60759"/>
                      <a:pt x="0" y="67336"/>
                    </a:cubicBezTo>
                    <a:cubicBezTo>
                      <a:pt x="13557" y="64786"/>
                      <a:pt x="27024" y="61475"/>
                      <a:pt x="40133" y="57001"/>
                    </a:cubicBezTo>
                    <a:cubicBezTo>
                      <a:pt x="59327" y="52079"/>
                      <a:pt x="80624" y="48007"/>
                      <a:pt x="94628" y="32706"/>
                    </a:cubicBezTo>
                    <a:close/>
                  </a:path>
                </a:pathLst>
              </a:custGeom>
              <a:solidFill>
                <a:srgbClr val="F695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44" name="Freeform: Shape 5343">
                <a:extLst>
                  <a:ext uri="{FF2B5EF4-FFF2-40B4-BE49-F238E27FC236}">
                    <a16:creationId xmlns:a16="http://schemas.microsoft.com/office/drawing/2014/main" id="{EB8D8B0D-3896-C2E5-AD5B-41584614B80D}"/>
                  </a:ext>
                </a:extLst>
              </p:cNvPr>
              <p:cNvSpPr/>
              <p:nvPr/>
            </p:nvSpPr>
            <p:spPr>
              <a:xfrm flipH="1">
                <a:off x="1021787" y="5972861"/>
                <a:ext cx="326663" cy="51131"/>
              </a:xfrm>
              <a:custGeom>
                <a:avLst/>
                <a:gdLst>
                  <a:gd name="connsiteX0" fmla="*/ 190598 w 252811"/>
                  <a:gd name="connsiteY0" fmla="*/ 16286 h 39571"/>
                  <a:gd name="connsiteX1" fmla="*/ 245407 w 252811"/>
                  <a:gd name="connsiteY1" fmla="*/ 761 h 39571"/>
                  <a:gd name="connsiteX2" fmla="*/ 247644 w 252811"/>
                  <a:gd name="connsiteY2" fmla="*/ 0 h 39571"/>
                  <a:gd name="connsiteX3" fmla="*/ 252700 w 252811"/>
                  <a:gd name="connsiteY3" fmla="*/ 38970 h 39571"/>
                  <a:gd name="connsiteX4" fmla="*/ 0 w 252811"/>
                  <a:gd name="connsiteY4" fmla="*/ 38522 h 39571"/>
                  <a:gd name="connsiteX5" fmla="*/ 78074 w 252811"/>
                  <a:gd name="connsiteY5" fmla="*/ 9485 h 39571"/>
                  <a:gd name="connsiteX6" fmla="*/ 190598 w 252811"/>
                  <a:gd name="connsiteY6" fmla="*/ 16286 h 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11" h="39571">
                    <a:moveTo>
                      <a:pt x="190598" y="16286"/>
                    </a:moveTo>
                    <a:cubicBezTo>
                      <a:pt x="210150" y="17136"/>
                      <a:pt x="227913" y="8277"/>
                      <a:pt x="245407" y="761"/>
                    </a:cubicBezTo>
                    <a:lnTo>
                      <a:pt x="247644" y="0"/>
                    </a:lnTo>
                    <a:cubicBezTo>
                      <a:pt x="251268" y="12617"/>
                      <a:pt x="253326" y="25726"/>
                      <a:pt x="252700" y="38970"/>
                    </a:cubicBezTo>
                    <a:cubicBezTo>
                      <a:pt x="168451" y="39238"/>
                      <a:pt x="84203" y="40401"/>
                      <a:pt x="0" y="38522"/>
                    </a:cubicBezTo>
                    <a:cubicBezTo>
                      <a:pt x="19104" y="16286"/>
                      <a:pt x="50961" y="13915"/>
                      <a:pt x="78074" y="9485"/>
                    </a:cubicBezTo>
                    <a:cubicBezTo>
                      <a:pt x="114896" y="19015"/>
                      <a:pt x="153016" y="15078"/>
                      <a:pt x="190598" y="16286"/>
                    </a:cubicBezTo>
                    <a:close/>
                  </a:path>
                </a:pathLst>
              </a:custGeom>
              <a:solidFill>
                <a:srgbClr val="2B39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48" name="Freeform: Shape 5347">
                <a:extLst>
                  <a:ext uri="{FF2B5EF4-FFF2-40B4-BE49-F238E27FC236}">
                    <a16:creationId xmlns:a16="http://schemas.microsoft.com/office/drawing/2014/main" id="{7A365EA8-B57D-6FB5-8770-A0B5BE84D264}"/>
                  </a:ext>
                </a:extLst>
              </p:cNvPr>
              <p:cNvSpPr/>
              <p:nvPr/>
            </p:nvSpPr>
            <p:spPr>
              <a:xfrm flipH="1">
                <a:off x="606265" y="5975172"/>
                <a:ext cx="321316" cy="49046"/>
              </a:xfrm>
              <a:custGeom>
                <a:avLst/>
                <a:gdLst>
                  <a:gd name="connsiteX0" fmla="*/ 119594 w 248673"/>
                  <a:gd name="connsiteY0" fmla="*/ 14049 h 37958"/>
                  <a:gd name="connsiteX1" fmla="*/ 239546 w 248673"/>
                  <a:gd name="connsiteY1" fmla="*/ 2237 h 37958"/>
                  <a:gd name="connsiteX2" fmla="*/ 246033 w 248673"/>
                  <a:gd name="connsiteY2" fmla="*/ 0 h 37958"/>
                  <a:gd name="connsiteX3" fmla="*/ 248673 w 248673"/>
                  <a:gd name="connsiteY3" fmla="*/ 36822 h 37958"/>
                  <a:gd name="connsiteX4" fmla="*/ 0 w 248673"/>
                  <a:gd name="connsiteY4" fmla="*/ 37538 h 37958"/>
                  <a:gd name="connsiteX5" fmla="*/ 5772 w 248673"/>
                  <a:gd name="connsiteY5" fmla="*/ 27919 h 37958"/>
                  <a:gd name="connsiteX6" fmla="*/ 52482 w 248673"/>
                  <a:gd name="connsiteY6" fmla="*/ 11230 h 37958"/>
                  <a:gd name="connsiteX7" fmla="*/ 119594 w 248673"/>
                  <a:gd name="connsiteY7" fmla="*/ 14049 h 3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673" h="37958">
                    <a:moveTo>
                      <a:pt x="119594" y="14049"/>
                    </a:moveTo>
                    <a:cubicBezTo>
                      <a:pt x="159727" y="13333"/>
                      <a:pt x="202097" y="20626"/>
                      <a:pt x="239546" y="2237"/>
                    </a:cubicBezTo>
                    <a:lnTo>
                      <a:pt x="246033" y="0"/>
                    </a:lnTo>
                    <a:cubicBezTo>
                      <a:pt x="247778" y="12170"/>
                      <a:pt x="248226" y="24474"/>
                      <a:pt x="248673" y="36822"/>
                    </a:cubicBezTo>
                    <a:cubicBezTo>
                      <a:pt x="165767" y="38925"/>
                      <a:pt x="82861" y="37449"/>
                      <a:pt x="0" y="37538"/>
                    </a:cubicBezTo>
                    <a:cubicBezTo>
                      <a:pt x="1387" y="34093"/>
                      <a:pt x="1924" y="29574"/>
                      <a:pt x="5772" y="27919"/>
                    </a:cubicBezTo>
                    <a:cubicBezTo>
                      <a:pt x="19999" y="19239"/>
                      <a:pt x="36330" y="14765"/>
                      <a:pt x="52482" y="11230"/>
                    </a:cubicBezTo>
                    <a:cubicBezTo>
                      <a:pt x="74852" y="4653"/>
                      <a:pt x="97089" y="14496"/>
                      <a:pt x="119594" y="14049"/>
                    </a:cubicBezTo>
                    <a:close/>
                  </a:path>
                </a:pathLst>
              </a:custGeom>
              <a:solidFill>
                <a:srgbClr val="293C7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49" name="Freeform: Shape 5348">
                <a:extLst>
                  <a:ext uri="{FF2B5EF4-FFF2-40B4-BE49-F238E27FC236}">
                    <a16:creationId xmlns:a16="http://schemas.microsoft.com/office/drawing/2014/main" id="{14C7112E-7E51-7A66-4222-15A4A33CE4D8}"/>
                  </a:ext>
                </a:extLst>
              </p:cNvPr>
              <p:cNvSpPr/>
              <p:nvPr/>
            </p:nvSpPr>
            <p:spPr>
              <a:xfrm flipH="1">
                <a:off x="1021930" y="6022637"/>
                <a:ext cx="330219" cy="35264"/>
              </a:xfrm>
              <a:custGeom>
                <a:avLst/>
                <a:gdLst>
                  <a:gd name="connsiteX0" fmla="*/ 0 w 255563"/>
                  <a:gd name="connsiteY0" fmla="*/ 25860 h 27292"/>
                  <a:gd name="connsiteX1" fmla="*/ 2864 w 255563"/>
                  <a:gd name="connsiteY1" fmla="*/ 0 h 27292"/>
                  <a:gd name="connsiteX2" fmla="*/ 255563 w 255563"/>
                  <a:gd name="connsiteY2" fmla="*/ 447 h 27292"/>
                  <a:gd name="connsiteX3" fmla="*/ 243886 w 255563"/>
                  <a:gd name="connsiteY3" fmla="*/ 27292 h 27292"/>
                  <a:gd name="connsiteX4" fmla="*/ 0 w 255563"/>
                  <a:gd name="connsiteY4" fmla="*/ 25860 h 27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63" h="27292">
                    <a:moveTo>
                      <a:pt x="0" y="25860"/>
                    </a:moveTo>
                    <a:cubicBezTo>
                      <a:pt x="850" y="17181"/>
                      <a:pt x="1655" y="8545"/>
                      <a:pt x="2864" y="0"/>
                    </a:cubicBezTo>
                    <a:cubicBezTo>
                      <a:pt x="87067" y="1879"/>
                      <a:pt x="171315" y="716"/>
                      <a:pt x="255563" y="447"/>
                    </a:cubicBezTo>
                    <a:cubicBezTo>
                      <a:pt x="252342" y="9664"/>
                      <a:pt x="248360" y="18612"/>
                      <a:pt x="243886" y="27292"/>
                    </a:cubicBezTo>
                    <a:cubicBezTo>
                      <a:pt x="162591" y="26800"/>
                      <a:pt x="81250" y="27382"/>
                      <a:pt x="0" y="25860"/>
                    </a:cubicBezTo>
                    <a:close/>
                  </a:path>
                </a:pathLst>
              </a:custGeom>
              <a:solidFill>
                <a:srgbClr val="AFBED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0" name="Freeform: Shape 5349">
                <a:extLst>
                  <a:ext uri="{FF2B5EF4-FFF2-40B4-BE49-F238E27FC236}">
                    <a16:creationId xmlns:a16="http://schemas.microsoft.com/office/drawing/2014/main" id="{6184B447-352D-D529-1E78-3F598E273509}"/>
                  </a:ext>
                </a:extLst>
              </p:cNvPr>
              <p:cNvSpPr/>
              <p:nvPr/>
            </p:nvSpPr>
            <p:spPr>
              <a:xfrm flipH="1">
                <a:off x="604648" y="6022751"/>
                <a:ext cx="322934" cy="35079"/>
              </a:xfrm>
              <a:custGeom>
                <a:avLst/>
                <a:gdLst>
                  <a:gd name="connsiteX0" fmla="*/ 0 w 249925"/>
                  <a:gd name="connsiteY0" fmla="*/ 716 h 27149"/>
                  <a:gd name="connsiteX1" fmla="*/ 248673 w 249925"/>
                  <a:gd name="connsiteY1" fmla="*/ 0 h 27149"/>
                  <a:gd name="connsiteX2" fmla="*/ 249747 w 249925"/>
                  <a:gd name="connsiteY2" fmla="*/ 20223 h 27149"/>
                  <a:gd name="connsiteX3" fmla="*/ 249926 w 249925"/>
                  <a:gd name="connsiteY3" fmla="*/ 26711 h 27149"/>
                  <a:gd name="connsiteX4" fmla="*/ 3132 w 249925"/>
                  <a:gd name="connsiteY4" fmla="*/ 26979 h 27149"/>
                  <a:gd name="connsiteX5" fmla="*/ 0 w 249925"/>
                  <a:gd name="connsiteY5" fmla="*/ 716 h 2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25" h="27149">
                    <a:moveTo>
                      <a:pt x="0" y="716"/>
                    </a:moveTo>
                    <a:cubicBezTo>
                      <a:pt x="82861" y="626"/>
                      <a:pt x="165767" y="2103"/>
                      <a:pt x="248673" y="0"/>
                    </a:cubicBezTo>
                    <a:cubicBezTo>
                      <a:pt x="248942" y="6711"/>
                      <a:pt x="249389" y="13422"/>
                      <a:pt x="249747" y="20223"/>
                    </a:cubicBezTo>
                    <a:lnTo>
                      <a:pt x="249926" y="26711"/>
                    </a:lnTo>
                    <a:cubicBezTo>
                      <a:pt x="167691" y="27158"/>
                      <a:pt x="85412" y="27292"/>
                      <a:pt x="3132" y="26979"/>
                    </a:cubicBezTo>
                    <a:cubicBezTo>
                      <a:pt x="2058" y="18165"/>
                      <a:pt x="940" y="9440"/>
                      <a:pt x="0" y="716"/>
                    </a:cubicBezTo>
                    <a:close/>
                  </a:path>
                </a:pathLst>
              </a:custGeom>
              <a:solidFill>
                <a:srgbClr val="B3C0D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353" name="Freeform: Shape 5352">
              <a:extLst>
                <a:ext uri="{FF2B5EF4-FFF2-40B4-BE49-F238E27FC236}">
                  <a16:creationId xmlns:a16="http://schemas.microsoft.com/office/drawing/2014/main" id="{26AA2C67-0311-AC30-B339-5B7146EDC536}"/>
                </a:ext>
              </a:extLst>
            </p:cNvPr>
            <p:cNvSpPr/>
            <p:nvPr/>
          </p:nvSpPr>
          <p:spPr>
            <a:xfrm flipH="1">
              <a:off x="3229737" y="4397985"/>
              <a:ext cx="1393094" cy="537140"/>
            </a:xfrm>
            <a:custGeom>
              <a:avLst/>
              <a:gdLst>
                <a:gd name="connsiteX0" fmla="*/ 48675 w 1167927"/>
                <a:gd name="connsiteY0" fmla="*/ 3042 h 450322"/>
                <a:gd name="connsiteX1" fmla="*/ 52344 w 1167927"/>
                <a:gd name="connsiteY1" fmla="*/ 0 h 450322"/>
                <a:gd name="connsiteX2" fmla="*/ 51181 w 1167927"/>
                <a:gd name="connsiteY2" fmla="*/ 11230 h 450322"/>
                <a:gd name="connsiteX3" fmla="*/ 83976 w 1167927"/>
                <a:gd name="connsiteY3" fmla="*/ 23579 h 450322"/>
                <a:gd name="connsiteX4" fmla="*/ 67556 w 1167927"/>
                <a:gd name="connsiteY4" fmla="*/ 38836 h 450322"/>
                <a:gd name="connsiteX5" fmla="*/ 42546 w 1167927"/>
                <a:gd name="connsiteY5" fmla="*/ 98700 h 450322"/>
                <a:gd name="connsiteX6" fmla="*/ 40174 w 1167927"/>
                <a:gd name="connsiteY6" fmla="*/ 197176 h 450322"/>
                <a:gd name="connsiteX7" fmla="*/ 153594 w 1167927"/>
                <a:gd name="connsiteY7" fmla="*/ 196549 h 450322"/>
                <a:gd name="connsiteX8" fmla="*/ 608480 w 1167927"/>
                <a:gd name="connsiteY8" fmla="*/ 197355 h 450322"/>
                <a:gd name="connsiteX9" fmla="*/ 643960 w 1167927"/>
                <a:gd name="connsiteY9" fmla="*/ 197265 h 450322"/>
                <a:gd name="connsiteX10" fmla="*/ 885564 w 1167927"/>
                <a:gd name="connsiteY10" fmla="*/ 194939 h 450322"/>
                <a:gd name="connsiteX11" fmla="*/ 971826 w 1167927"/>
                <a:gd name="connsiteY11" fmla="*/ 196415 h 450322"/>
                <a:gd name="connsiteX12" fmla="*/ 1007261 w 1167927"/>
                <a:gd name="connsiteY12" fmla="*/ 194625 h 450322"/>
                <a:gd name="connsiteX13" fmla="*/ 1055582 w 1167927"/>
                <a:gd name="connsiteY13" fmla="*/ 197713 h 450322"/>
                <a:gd name="connsiteX14" fmla="*/ 1089048 w 1167927"/>
                <a:gd name="connsiteY14" fmla="*/ 194849 h 450322"/>
                <a:gd name="connsiteX15" fmla="*/ 1119830 w 1167927"/>
                <a:gd name="connsiteY15" fmla="*/ 197534 h 450322"/>
                <a:gd name="connsiteX16" fmla="*/ 1115222 w 1167927"/>
                <a:gd name="connsiteY16" fmla="*/ 166438 h 450322"/>
                <a:gd name="connsiteX17" fmla="*/ 1117549 w 1167927"/>
                <a:gd name="connsiteY17" fmla="*/ 131316 h 450322"/>
                <a:gd name="connsiteX18" fmla="*/ 1113030 w 1167927"/>
                <a:gd name="connsiteY18" fmla="*/ 84696 h 450322"/>
                <a:gd name="connsiteX19" fmla="*/ 1103052 w 1167927"/>
                <a:gd name="connsiteY19" fmla="*/ 55703 h 450322"/>
                <a:gd name="connsiteX20" fmla="*/ 1103724 w 1167927"/>
                <a:gd name="connsiteY20" fmla="*/ 37493 h 450322"/>
                <a:gd name="connsiteX21" fmla="*/ 1089004 w 1167927"/>
                <a:gd name="connsiteY21" fmla="*/ 13870 h 450322"/>
                <a:gd name="connsiteX22" fmla="*/ 1096207 w 1167927"/>
                <a:gd name="connsiteY22" fmla="*/ 9888 h 450322"/>
                <a:gd name="connsiteX23" fmla="*/ 1123052 w 1167927"/>
                <a:gd name="connsiteY23" fmla="*/ 18523 h 450322"/>
                <a:gd name="connsiteX24" fmla="*/ 1142201 w 1167927"/>
                <a:gd name="connsiteY24" fmla="*/ 48276 h 450322"/>
                <a:gd name="connsiteX25" fmla="*/ 1153163 w 1167927"/>
                <a:gd name="connsiteY25" fmla="*/ 92436 h 450322"/>
                <a:gd name="connsiteX26" fmla="*/ 1157100 w 1167927"/>
                <a:gd name="connsiteY26" fmla="*/ 119728 h 450322"/>
                <a:gd name="connsiteX27" fmla="*/ 1159740 w 1167927"/>
                <a:gd name="connsiteY27" fmla="*/ 206169 h 450322"/>
                <a:gd name="connsiteX28" fmla="*/ 1164169 w 1167927"/>
                <a:gd name="connsiteY28" fmla="*/ 253282 h 450322"/>
                <a:gd name="connsiteX29" fmla="*/ 1167928 w 1167927"/>
                <a:gd name="connsiteY29" fmla="*/ 255921 h 450322"/>
                <a:gd name="connsiteX30" fmla="*/ 1160277 w 1167927"/>
                <a:gd name="connsiteY30" fmla="*/ 260798 h 450322"/>
                <a:gd name="connsiteX31" fmla="*/ 1159516 w 1167927"/>
                <a:gd name="connsiteY31" fmla="*/ 351578 h 450322"/>
                <a:gd name="connsiteX32" fmla="*/ 1153073 w 1167927"/>
                <a:gd name="connsiteY32" fmla="*/ 383971 h 450322"/>
                <a:gd name="connsiteX33" fmla="*/ 1139517 w 1167927"/>
                <a:gd name="connsiteY33" fmla="*/ 413143 h 450322"/>
                <a:gd name="connsiteX34" fmla="*/ 1123320 w 1167927"/>
                <a:gd name="connsiteY34" fmla="*/ 412651 h 450322"/>
                <a:gd name="connsiteX35" fmla="*/ 1116743 w 1167927"/>
                <a:gd name="connsiteY35" fmla="*/ 425491 h 450322"/>
                <a:gd name="connsiteX36" fmla="*/ 1101173 w 1167927"/>
                <a:gd name="connsiteY36" fmla="*/ 407192 h 450322"/>
                <a:gd name="connsiteX37" fmla="*/ 1118041 w 1167927"/>
                <a:gd name="connsiteY37" fmla="*/ 356276 h 450322"/>
                <a:gd name="connsiteX38" fmla="*/ 1098131 w 1167927"/>
                <a:gd name="connsiteY38" fmla="*/ 356545 h 450322"/>
                <a:gd name="connsiteX39" fmla="*/ 974063 w 1167927"/>
                <a:gd name="connsiteY39" fmla="*/ 356366 h 450322"/>
                <a:gd name="connsiteX40" fmla="*/ 878898 w 1167927"/>
                <a:gd name="connsiteY40" fmla="*/ 356545 h 450322"/>
                <a:gd name="connsiteX41" fmla="*/ 745702 w 1167927"/>
                <a:gd name="connsiteY41" fmla="*/ 355471 h 450322"/>
                <a:gd name="connsiteX42" fmla="*/ 710044 w 1167927"/>
                <a:gd name="connsiteY42" fmla="*/ 356142 h 450322"/>
                <a:gd name="connsiteX43" fmla="*/ 643781 w 1167927"/>
                <a:gd name="connsiteY43" fmla="*/ 356097 h 450322"/>
                <a:gd name="connsiteX44" fmla="*/ 642573 w 1167927"/>
                <a:gd name="connsiteY44" fmla="*/ 356187 h 450322"/>
                <a:gd name="connsiteX45" fmla="*/ 624095 w 1167927"/>
                <a:gd name="connsiteY45" fmla="*/ 400704 h 450322"/>
                <a:gd name="connsiteX46" fmla="*/ 612552 w 1167927"/>
                <a:gd name="connsiteY46" fmla="*/ 441375 h 450322"/>
                <a:gd name="connsiteX47" fmla="*/ 610091 w 1167927"/>
                <a:gd name="connsiteY47" fmla="*/ 441509 h 450322"/>
                <a:gd name="connsiteX48" fmla="*/ 608659 w 1167927"/>
                <a:gd name="connsiteY48" fmla="*/ 422762 h 450322"/>
                <a:gd name="connsiteX49" fmla="*/ 610091 w 1167927"/>
                <a:gd name="connsiteY49" fmla="*/ 356589 h 450322"/>
                <a:gd name="connsiteX50" fmla="*/ 287102 w 1167927"/>
                <a:gd name="connsiteY50" fmla="*/ 354844 h 450322"/>
                <a:gd name="connsiteX51" fmla="*/ 43575 w 1167927"/>
                <a:gd name="connsiteY51" fmla="*/ 353816 h 450322"/>
                <a:gd name="connsiteX52" fmla="*/ 52255 w 1167927"/>
                <a:gd name="connsiteY52" fmla="*/ 381197 h 450322"/>
                <a:gd name="connsiteX53" fmla="*/ 76594 w 1167927"/>
                <a:gd name="connsiteY53" fmla="*/ 416990 h 450322"/>
                <a:gd name="connsiteX54" fmla="*/ 56952 w 1167927"/>
                <a:gd name="connsiteY54" fmla="*/ 450323 h 450322"/>
                <a:gd name="connsiteX55" fmla="*/ 40443 w 1167927"/>
                <a:gd name="connsiteY55" fmla="*/ 434797 h 450322"/>
                <a:gd name="connsiteX56" fmla="*/ 8497 w 1167927"/>
                <a:gd name="connsiteY56" fmla="*/ 375157 h 450322"/>
                <a:gd name="connsiteX57" fmla="*/ 3844 w 1167927"/>
                <a:gd name="connsiteY57" fmla="*/ 345180 h 450322"/>
                <a:gd name="connsiteX58" fmla="*/ 3621 w 1167927"/>
                <a:gd name="connsiteY58" fmla="*/ 342765 h 450322"/>
                <a:gd name="connsiteX59" fmla="*/ 444 w 1167927"/>
                <a:gd name="connsiteY59" fmla="*/ 301781 h 450322"/>
                <a:gd name="connsiteX60" fmla="*/ 131 w 1167927"/>
                <a:gd name="connsiteY60" fmla="*/ 209480 h 450322"/>
                <a:gd name="connsiteX61" fmla="*/ 1697 w 1167927"/>
                <a:gd name="connsiteY61" fmla="*/ 98610 h 450322"/>
                <a:gd name="connsiteX62" fmla="*/ 48675 w 1167927"/>
                <a:gd name="connsiteY62" fmla="*/ 3042 h 450322"/>
                <a:gd name="connsiteX63" fmla="*/ 406831 w 1167927"/>
                <a:gd name="connsiteY63" fmla="*/ 249389 h 450322"/>
                <a:gd name="connsiteX64" fmla="*/ 406562 w 1167927"/>
                <a:gd name="connsiteY64" fmla="*/ 306121 h 450322"/>
                <a:gd name="connsiteX65" fmla="*/ 511123 w 1167927"/>
                <a:gd name="connsiteY65" fmla="*/ 306121 h 450322"/>
                <a:gd name="connsiteX66" fmla="*/ 510138 w 1167927"/>
                <a:gd name="connsiteY66" fmla="*/ 250015 h 450322"/>
                <a:gd name="connsiteX67" fmla="*/ 406831 w 1167927"/>
                <a:gd name="connsiteY67" fmla="*/ 249389 h 45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7927" h="450322">
                  <a:moveTo>
                    <a:pt x="48675" y="3042"/>
                  </a:moveTo>
                  <a:cubicBezTo>
                    <a:pt x="49615" y="2282"/>
                    <a:pt x="51449" y="761"/>
                    <a:pt x="52344" y="0"/>
                  </a:cubicBezTo>
                  <a:cubicBezTo>
                    <a:pt x="51941" y="3714"/>
                    <a:pt x="51539" y="7472"/>
                    <a:pt x="51181" y="11230"/>
                  </a:cubicBezTo>
                  <a:cubicBezTo>
                    <a:pt x="63172" y="11901"/>
                    <a:pt x="74581" y="15973"/>
                    <a:pt x="83976" y="23579"/>
                  </a:cubicBezTo>
                  <a:cubicBezTo>
                    <a:pt x="78249" y="28366"/>
                    <a:pt x="72746" y="33422"/>
                    <a:pt x="67556" y="38836"/>
                  </a:cubicBezTo>
                  <a:cubicBezTo>
                    <a:pt x="51628" y="54674"/>
                    <a:pt x="45096" y="76955"/>
                    <a:pt x="42546" y="98700"/>
                  </a:cubicBezTo>
                  <a:cubicBezTo>
                    <a:pt x="38922" y="131361"/>
                    <a:pt x="39011" y="164336"/>
                    <a:pt x="40174" y="197176"/>
                  </a:cubicBezTo>
                  <a:cubicBezTo>
                    <a:pt x="77981" y="197310"/>
                    <a:pt x="115832" y="199413"/>
                    <a:pt x="153594" y="196549"/>
                  </a:cubicBezTo>
                  <a:cubicBezTo>
                    <a:pt x="305223" y="196549"/>
                    <a:pt x="456896" y="195118"/>
                    <a:pt x="608480" y="197355"/>
                  </a:cubicBezTo>
                  <a:cubicBezTo>
                    <a:pt x="620292" y="198249"/>
                    <a:pt x="632104" y="198071"/>
                    <a:pt x="643960" y="197265"/>
                  </a:cubicBezTo>
                  <a:cubicBezTo>
                    <a:pt x="724450" y="194715"/>
                    <a:pt x="805119" y="198921"/>
                    <a:pt x="885564" y="194939"/>
                  </a:cubicBezTo>
                  <a:cubicBezTo>
                    <a:pt x="914288" y="196728"/>
                    <a:pt x="943102" y="195431"/>
                    <a:pt x="971826" y="196415"/>
                  </a:cubicBezTo>
                  <a:cubicBezTo>
                    <a:pt x="983593" y="196728"/>
                    <a:pt x="995628" y="197086"/>
                    <a:pt x="1007261" y="194625"/>
                  </a:cubicBezTo>
                  <a:cubicBezTo>
                    <a:pt x="1023278" y="196549"/>
                    <a:pt x="1039385" y="197847"/>
                    <a:pt x="1055582" y="197713"/>
                  </a:cubicBezTo>
                  <a:cubicBezTo>
                    <a:pt x="1066722" y="197489"/>
                    <a:pt x="1077997" y="197131"/>
                    <a:pt x="1089048" y="194849"/>
                  </a:cubicBezTo>
                  <a:cubicBezTo>
                    <a:pt x="1099249" y="195744"/>
                    <a:pt x="1109540" y="196594"/>
                    <a:pt x="1119830" y="197534"/>
                  </a:cubicBezTo>
                  <a:cubicBezTo>
                    <a:pt x="1118265" y="187109"/>
                    <a:pt x="1116788" y="176774"/>
                    <a:pt x="1115222" y="166438"/>
                  </a:cubicBezTo>
                  <a:cubicBezTo>
                    <a:pt x="1119920" y="155208"/>
                    <a:pt x="1119652" y="142994"/>
                    <a:pt x="1117549" y="131316"/>
                  </a:cubicBezTo>
                  <a:cubicBezTo>
                    <a:pt x="1116117" y="115746"/>
                    <a:pt x="1116341" y="99997"/>
                    <a:pt x="1113030" y="84696"/>
                  </a:cubicBezTo>
                  <a:cubicBezTo>
                    <a:pt x="1110345" y="74808"/>
                    <a:pt x="1107124" y="65054"/>
                    <a:pt x="1103052" y="55703"/>
                  </a:cubicBezTo>
                  <a:cubicBezTo>
                    <a:pt x="1103410" y="49618"/>
                    <a:pt x="1103858" y="43534"/>
                    <a:pt x="1103724" y="37493"/>
                  </a:cubicBezTo>
                  <a:cubicBezTo>
                    <a:pt x="1104484" y="27203"/>
                    <a:pt x="1094596" y="21118"/>
                    <a:pt x="1089004" y="13870"/>
                  </a:cubicBezTo>
                  <a:cubicBezTo>
                    <a:pt x="1090838" y="12886"/>
                    <a:pt x="1094417" y="10872"/>
                    <a:pt x="1096207" y="9888"/>
                  </a:cubicBezTo>
                  <a:cubicBezTo>
                    <a:pt x="1104305" y="15212"/>
                    <a:pt x="1112582" y="21968"/>
                    <a:pt x="1123052" y="18523"/>
                  </a:cubicBezTo>
                  <a:cubicBezTo>
                    <a:pt x="1130524" y="27650"/>
                    <a:pt x="1137101" y="37583"/>
                    <a:pt x="1142201" y="48276"/>
                  </a:cubicBezTo>
                  <a:cubicBezTo>
                    <a:pt x="1146094" y="62906"/>
                    <a:pt x="1149628" y="77671"/>
                    <a:pt x="1153163" y="92436"/>
                  </a:cubicBezTo>
                  <a:cubicBezTo>
                    <a:pt x="1154774" y="101429"/>
                    <a:pt x="1155982" y="110556"/>
                    <a:pt x="1157100" y="119728"/>
                  </a:cubicBezTo>
                  <a:cubicBezTo>
                    <a:pt x="1160187" y="148408"/>
                    <a:pt x="1159606" y="177310"/>
                    <a:pt x="1159740" y="206169"/>
                  </a:cubicBezTo>
                  <a:cubicBezTo>
                    <a:pt x="1159919" y="221873"/>
                    <a:pt x="1158398" y="238248"/>
                    <a:pt x="1164169" y="253282"/>
                  </a:cubicBezTo>
                  <a:lnTo>
                    <a:pt x="1167928" y="255921"/>
                  </a:lnTo>
                  <a:cubicBezTo>
                    <a:pt x="1166004" y="257174"/>
                    <a:pt x="1162201" y="259590"/>
                    <a:pt x="1160277" y="260798"/>
                  </a:cubicBezTo>
                  <a:cubicBezTo>
                    <a:pt x="1160187" y="291043"/>
                    <a:pt x="1161574" y="321333"/>
                    <a:pt x="1159516" y="351578"/>
                  </a:cubicBezTo>
                  <a:cubicBezTo>
                    <a:pt x="1158129" y="362495"/>
                    <a:pt x="1155579" y="373233"/>
                    <a:pt x="1153073" y="383971"/>
                  </a:cubicBezTo>
                  <a:cubicBezTo>
                    <a:pt x="1149047" y="393904"/>
                    <a:pt x="1144573" y="403658"/>
                    <a:pt x="1139517" y="413143"/>
                  </a:cubicBezTo>
                  <a:cubicBezTo>
                    <a:pt x="1134058" y="412919"/>
                    <a:pt x="1128689" y="412740"/>
                    <a:pt x="1123320" y="412651"/>
                  </a:cubicBezTo>
                  <a:cubicBezTo>
                    <a:pt x="1121039" y="416856"/>
                    <a:pt x="1118891" y="421151"/>
                    <a:pt x="1116743" y="425491"/>
                  </a:cubicBezTo>
                  <a:cubicBezTo>
                    <a:pt x="1111553" y="419362"/>
                    <a:pt x="1106318" y="413277"/>
                    <a:pt x="1101173" y="407192"/>
                  </a:cubicBezTo>
                  <a:cubicBezTo>
                    <a:pt x="1111017" y="391935"/>
                    <a:pt x="1117549" y="374531"/>
                    <a:pt x="1118041" y="356276"/>
                  </a:cubicBezTo>
                  <a:cubicBezTo>
                    <a:pt x="1111329" y="356321"/>
                    <a:pt x="1104708" y="356411"/>
                    <a:pt x="1098131" y="356545"/>
                  </a:cubicBezTo>
                  <a:cubicBezTo>
                    <a:pt x="1056745" y="356231"/>
                    <a:pt x="1015404" y="356500"/>
                    <a:pt x="974063" y="356366"/>
                  </a:cubicBezTo>
                  <a:cubicBezTo>
                    <a:pt x="942341" y="355874"/>
                    <a:pt x="910619" y="356545"/>
                    <a:pt x="878898" y="356545"/>
                  </a:cubicBezTo>
                  <a:cubicBezTo>
                    <a:pt x="834514" y="356097"/>
                    <a:pt x="790086" y="356768"/>
                    <a:pt x="745702" y="355471"/>
                  </a:cubicBezTo>
                  <a:cubicBezTo>
                    <a:pt x="733801" y="355202"/>
                    <a:pt x="721900" y="355605"/>
                    <a:pt x="710044" y="356142"/>
                  </a:cubicBezTo>
                  <a:cubicBezTo>
                    <a:pt x="687941" y="356903"/>
                    <a:pt x="665839" y="355829"/>
                    <a:pt x="643781" y="356097"/>
                  </a:cubicBezTo>
                  <a:lnTo>
                    <a:pt x="642573" y="356187"/>
                  </a:lnTo>
                  <a:cubicBezTo>
                    <a:pt x="638278" y="371712"/>
                    <a:pt x="634654" y="387953"/>
                    <a:pt x="624095" y="400704"/>
                  </a:cubicBezTo>
                  <a:cubicBezTo>
                    <a:pt x="613939" y="411890"/>
                    <a:pt x="614073" y="427236"/>
                    <a:pt x="612552" y="441375"/>
                  </a:cubicBezTo>
                  <a:lnTo>
                    <a:pt x="610091" y="441509"/>
                  </a:lnTo>
                  <a:cubicBezTo>
                    <a:pt x="609509" y="435200"/>
                    <a:pt x="609017" y="428981"/>
                    <a:pt x="608659" y="422762"/>
                  </a:cubicBezTo>
                  <a:cubicBezTo>
                    <a:pt x="609688" y="400704"/>
                    <a:pt x="610673" y="378647"/>
                    <a:pt x="610091" y="356589"/>
                  </a:cubicBezTo>
                  <a:cubicBezTo>
                    <a:pt x="502488" y="352965"/>
                    <a:pt x="394750" y="354710"/>
                    <a:pt x="287102" y="354844"/>
                  </a:cubicBezTo>
                  <a:cubicBezTo>
                    <a:pt x="205941" y="354531"/>
                    <a:pt x="124736" y="354621"/>
                    <a:pt x="43575" y="353816"/>
                  </a:cubicBezTo>
                  <a:cubicBezTo>
                    <a:pt x="46170" y="362987"/>
                    <a:pt x="48631" y="372249"/>
                    <a:pt x="52255" y="381197"/>
                  </a:cubicBezTo>
                  <a:cubicBezTo>
                    <a:pt x="57981" y="394530"/>
                    <a:pt x="66840" y="406297"/>
                    <a:pt x="76594" y="416990"/>
                  </a:cubicBezTo>
                  <a:cubicBezTo>
                    <a:pt x="68451" y="427102"/>
                    <a:pt x="61561" y="438153"/>
                    <a:pt x="56952" y="450323"/>
                  </a:cubicBezTo>
                  <a:cubicBezTo>
                    <a:pt x="51270" y="445312"/>
                    <a:pt x="45722" y="440166"/>
                    <a:pt x="40443" y="434797"/>
                  </a:cubicBezTo>
                  <a:cubicBezTo>
                    <a:pt x="25499" y="417617"/>
                    <a:pt x="15253" y="396767"/>
                    <a:pt x="8497" y="375157"/>
                  </a:cubicBezTo>
                  <a:cubicBezTo>
                    <a:pt x="6484" y="365225"/>
                    <a:pt x="5052" y="355202"/>
                    <a:pt x="3844" y="345180"/>
                  </a:cubicBezTo>
                  <a:lnTo>
                    <a:pt x="3621" y="342765"/>
                  </a:lnTo>
                  <a:cubicBezTo>
                    <a:pt x="2234" y="329118"/>
                    <a:pt x="936" y="315427"/>
                    <a:pt x="444" y="301781"/>
                  </a:cubicBezTo>
                  <a:cubicBezTo>
                    <a:pt x="-317" y="270999"/>
                    <a:pt x="131" y="240217"/>
                    <a:pt x="131" y="209480"/>
                  </a:cubicBezTo>
                  <a:cubicBezTo>
                    <a:pt x="310" y="172523"/>
                    <a:pt x="-675" y="135522"/>
                    <a:pt x="1697" y="98610"/>
                  </a:cubicBezTo>
                  <a:cubicBezTo>
                    <a:pt x="4023" y="62236"/>
                    <a:pt x="20488" y="26532"/>
                    <a:pt x="48675" y="3042"/>
                  </a:cubicBezTo>
                  <a:close/>
                  <a:moveTo>
                    <a:pt x="406831" y="249389"/>
                  </a:moveTo>
                  <a:cubicBezTo>
                    <a:pt x="406249" y="268270"/>
                    <a:pt x="406249" y="287195"/>
                    <a:pt x="406562" y="306121"/>
                  </a:cubicBezTo>
                  <a:cubicBezTo>
                    <a:pt x="441416" y="305987"/>
                    <a:pt x="476269" y="306837"/>
                    <a:pt x="511123" y="306121"/>
                  </a:cubicBezTo>
                  <a:cubicBezTo>
                    <a:pt x="511749" y="287375"/>
                    <a:pt x="511436" y="268672"/>
                    <a:pt x="510138" y="250015"/>
                  </a:cubicBezTo>
                  <a:cubicBezTo>
                    <a:pt x="475688" y="249568"/>
                    <a:pt x="441282" y="249120"/>
                    <a:pt x="406831" y="249389"/>
                  </a:cubicBezTo>
                  <a:close/>
                </a:path>
              </a:pathLst>
            </a:custGeom>
            <a:solidFill>
              <a:srgbClr val="496B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5" name="Freeform: Shape 5384">
              <a:extLst>
                <a:ext uri="{FF2B5EF4-FFF2-40B4-BE49-F238E27FC236}">
                  <a16:creationId xmlns:a16="http://schemas.microsoft.com/office/drawing/2014/main" id="{E76D57A2-032C-9CEB-E8DE-975795E444E9}"/>
                </a:ext>
              </a:extLst>
            </p:cNvPr>
            <p:cNvSpPr/>
            <p:nvPr/>
          </p:nvSpPr>
          <p:spPr>
            <a:xfrm flipH="1">
              <a:off x="3283264" y="4356626"/>
              <a:ext cx="1278518" cy="277474"/>
            </a:xfrm>
            <a:custGeom>
              <a:avLst/>
              <a:gdLst>
                <a:gd name="connsiteX0" fmla="*/ 642315 w 1274151"/>
                <a:gd name="connsiteY0" fmla="*/ 0 h 276526"/>
                <a:gd name="connsiteX1" fmla="*/ 166947 w 1274151"/>
                <a:gd name="connsiteY1" fmla="*/ 1010 h 276526"/>
                <a:gd name="connsiteX2" fmla="*/ 160991 w 1274151"/>
                <a:gd name="connsiteY2" fmla="*/ 905 h 276526"/>
                <a:gd name="connsiteX3" fmla="*/ 53292 w 1274151"/>
                <a:gd name="connsiteY3" fmla="*/ 11169 h 276526"/>
                <a:gd name="connsiteX4" fmla="*/ 1383 w 1274151"/>
                <a:gd name="connsiteY4" fmla="*/ 41219 h 276526"/>
                <a:gd name="connsiteX5" fmla="*/ 0 w 1274151"/>
                <a:gd name="connsiteY5" fmla="*/ 54568 h 276526"/>
                <a:gd name="connsiteX6" fmla="*/ 38985 w 1274151"/>
                <a:gd name="connsiteY6" fmla="*/ 69246 h 276526"/>
                <a:gd name="connsiteX7" fmla="*/ 115412 w 1274151"/>
                <a:gd name="connsiteY7" fmla="*/ 46164 h 276526"/>
                <a:gd name="connsiteX8" fmla="*/ 552964 w 1274151"/>
                <a:gd name="connsiteY8" fmla="*/ 45793 h 276526"/>
                <a:gd name="connsiteX9" fmla="*/ 625827 w 1274151"/>
                <a:gd name="connsiteY9" fmla="*/ 45367 h 276526"/>
                <a:gd name="connsiteX10" fmla="*/ 662206 w 1274151"/>
                <a:gd name="connsiteY10" fmla="*/ 45207 h 276526"/>
                <a:gd name="connsiteX11" fmla="*/ 660823 w 1274151"/>
                <a:gd name="connsiteY11" fmla="*/ 95360 h 276526"/>
                <a:gd name="connsiteX12" fmla="*/ 661408 w 1274151"/>
                <a:gd name="connsiteY12" fmla="*/ 168969 h 276526"/>
                <a:gd name="connsiteX13" fmla="*/ 662472 w 1274151"/>
                <a:gd name="connsiteY13" fmla="*/ 275817 h 276526"/>
                <a:gd name="connsiteX14" fmla="*/ 704648 w 1274151"/>
                <a:gd name="connsiteY14" fmla="*/ 275711 h 276526"/>
                <a:gd name="connsiteX15" fmla="*/ 703743 w 1274151"/>
                <a:gd name="connsiteY15" fmla="*/ 190455 h 276526"/>
                <a:gd name="connsiteX16" fmla="*/ 703956 w 1274151"/>
                <a:gd name="connsiteY16" fmla="*/ 94669 h 276526"/>
                <a:gd name="connsiteX17" fmla="*/ 702626 w 1274151"/>
                <a:gd name="connsiteY17" fmla="*/ 45739 h 276526"/>
                <a:gd name="connsiteX18" fmla="*/ 862607 w 1274151"/>
                <a:gd name="connsiteY18" fmla="*/ 45527 h 276526"/>
                <a:gd name="connsiteX19" fmla="*/ 933874 w 1274151"/>
                <a:gd name="connsiteY19" fmla="*/ 45207 h 276526"/>
                <a:gd name="connsiteX20" fmla="*/ 1000089 w 1274151"/>
                <a:gd name="connsiteY20" fmla="*/ 46589 h 276526"/>
                <a:gd name="connsiteX21" fmla="*/ 1137147 w 1274151"/>
                <a:gd name="connsiteY21" fmla="*/ 47973 h 276526"/>
                <a:gd name="connsiteX22" fmla="*/ 1183418 w 1274151"/>
                <a:gd name="connsiteY22" fmla="*/ 53770 h 276526"/>
                <a:gd name="connsiteX23" fmla="*/ 1250378 w 1274151"/>
                <a:gd name="connsiteY23" fmla="*/ 107434 h 276526"/>
                <a:gd name="connsiteX24" fmla="*/ 1251176 w 1274151"/>
                <a:gd name="connsiteY24" fmla="*/ 85787 h 276526"/>
                <a:gd name="connsiteX25" fmla="*/ 1233678 w 1274151"/>
                <a:gd name="connsiteY25" fmla="*/ 57706 h 276526"/>
                <a:gd name="connsiteX26" fmla="*/ 1242240 w 1274151"/>
                <a:gd name="connsiteY26" fmla="*/ 52973 h 276526"/>
                <a:gd name="connsiteX27" fmla="*/ 1274151 w 1274151"/>
                <a:gd name="connsiteY27" fmla="*/ 63237 h 276526"/>
                <a:gd name="connsiteX28" fmla="*/ 1229104 w 1274151"/>
                <a:gd name="connsiteY28" fmla="*/ 24678 h 276526"/>
                <a:gd name="connsiteX29" fmla="*/ 1185120 w 1274151"/>
                <a:gd name="connsiteY29" fmla="*/ 7339 h 276526"/>
                <a:gd name="connsiteX30" fmla="*/ 1170174 w 1274151"/>
                <a:gd name="connsiteY30" fmla="*/ 4042 h 276526"/>
                <a:gd name="connsiteX31" fmla="*/ 1089705 w 1274151"/>
                <a:gd name="connsiteY31" fmla="*/ 1006 h 276526"/>
                <a:gd name="connsiteX32" fmla="*/ 977434 w 1274151"/>
                <a:gd name="connsiteY32" fmla="*/ 1006 h 276526"/>
                <a:gd name="connsiteX33" fmla="*/ 977432 w 1274151"/>
                <a:gd name="connsiteY33" fmla="*/ 1010 h 276526"/>
                <a:gd name="connsiteX34" fmla="*/ 939353 w 1274151"/>
                <a:gd name="connsiteY34" fmla="*/ 1010 h 276526"/>
                <a:gd name="connsiteX35" fmla="*/ 939351 w 1274151"/>
                <a:gd name="connsiteY35" fmla="*/ 1006 h 276526"/>
                <a:gd name="connsiteX36" fmla="*/ 738720 w 1274151"/>
                <a:gd name="connsiteY36" fmla="*/ 1006 h 276526"/>
                <a:gd name="connsiteX37" fmla="*/ 738720 w 1274151"/>
                <a:gd name="connsiteY37" fmla="*/ 477 h 27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74151" h="276526">
                  <a:moveTo>
                    <a:pt x="642315" y="0"/>
                  </a:moveTo>
                  <a:cubicBezTo>
                    <a:pt x="483877" y="1915"/>
                    <a:pt x="325385" y="319"/>
                    <a:pt x="166947" y="1010"/>
                  </a:cubicBezTo>
                  <a:lnTo>
                    <a:pt x="160991" y="905"/>
                  </a:lnTo>
                  <a:cubicBezTo>
                    <a:pt x="124984" y="1277"/>
                    <a:pt x="87808" y="-1170"/>
                    <a:pt x="53292" y="11169"/>
                  </a:cubicBezTo>
                  <a:cubicBezTo>
                    <a:pt x="34198" y="17604"/>
                    <a:pt x="17073" y="28719"/>
                    <a:pt x="1383" y="41219"/>
                  </a:cubicBezTo>
                  <a:cubicBezTo>
                    <a:pt x="905" y="45632"/>
                    <a:pt x="426" y="50101"/>
                    <a:pt x="0" y="54568"/>
                  </a:cubicBezTo>
                  <a:cubicBezTo>
                    <a:pt x="14254" y="55366"/>
                    <a:pt x="27816" y="60205"/>
                    <a:pt x="38985" y="69246"/>
                  </a:cubicBezTo>
                  <a:cubicBezTo>
                    <a:pt x="60951" y="52973"/>
                    <a:pt x="88234" y="45739"/>
                    <a:pt x="115412" y="46164"/>
                  </a:cubicBezTo>
                  <a:cubicBezTo>
                    <a:pt x="261245" y="45579"/>
                    <a:pt x="407131" y="46111"/>
                    <a:pt x="552964" y="45793"/>
                  </a:cubicBezTo>
                  <a:cubicBezTo>
                    <a:pt x="577216" y="45367"/>
                    <a:pt x="601522" y="45314"/>
                    <a:pt x="625827" y="45367"/>
                  </a:cubicBezTo>
                  <a:cubicBezTo>
                    <a:pt x="637900" y="45314"/>
                    <a:pt x="650080" y="45207"/>
                    <a:pt x="662206" y="45207"/>
                  </a:cubicBezTo>
                  <a:cubicBezTo>
                    <a:pt x="661408" y="61907"/>
                    <a:pt x="660877" y="78607"/>
                    <a:pt x="660823" y="95360"/>
                  </a:cubicBezTo>
                  <a:cubicBezTo>
                    <a:pt x="661408" y="119878"/>
                    <a:pt x="661301" y="144450"/>
                    <a:pt x="661408" y="168969"/>
                  </a:cubicBezTo>
                  <a:cubicBezTo>
                    <a:pt x="662737" y="204550"/>
                    <a:pt x="662844" y="240184"/>
                    <a:pt x="662472" y="275817"/>
                  </a:cubicBezTo>
                  <a:cubicBezTo>
                    <a:pt x="676512" y="276881"/>
                    <a:pt x="690553" y="276668"/>
                    <a:pt x="704648" y="275711"/>
                  </a:cubicBezTo>
                  <a:cubicBezTo>
                    <a:pt x="704381" y="247310"/>
                    <a:pt x="704487" y="218856"/>
                    <a:pt x="703743" y="190455"/>
                  </a:cubicBezTo>
                  <a:cubicBezTo>
                    <a:pt x="702786" y="158544"/>
                    <a:pt x="703371" y="126580"/>
                    <a:pt x="703956" y="94669"/>
                  </a:cubicBezTo>
                  <a:cubicBezTo>
                    <a:pt x="703956" y="78341"/>
                    <a:pt x="703318" y="62014"/>
                    <a:pt x="702626" y="45739"/>
                  </a:cubicBezTo>
                  <a:cubicBezTo>
                    <a:pt x="755917" y="44516"/>
                    <a:pt x="809262" y="45952"/>
                    <a:pt x="862607" y="45527"/>
                  </a:cubicBezTo>
                  <a:cubicBezTo>
                    <a:pt x="886326" y="45048"/>
                    <a:pt x="910101" y="44729"/>
                    <a:pt x="933874" y="45207"/>
                  </a:cubicBezTo>
                  <a:cubicBezTo>
                    <a:pt x="955892" y="45527"/>
                    <a:pt x="977965" y="46484"/>
                    <a:pt x="1000089" y="46589"/>
                  </a:cubicBezTo>
                  <a:cubicBezTo>
                    <a:pt x="1045775" y="45207"/>
                    <a:pt x="1091461" y="47388"/>
                    <a:pt x="1137147" y="47973"/>
                  </a:cubicBezTo>
                  <a:cubicBezTo>
                    <a:pt x="1152677" y="48345"/>
                    <a:pt x="1168366" y="49622"/>
                    <a:pt x="1183418" y="53770"/>
                  </a:cubicBezTo>
                  <a:cubicBezTo>
                    <a:pt x="1210064" y="65205"/>
                    <a:pt x="1235167" y="82064"/>
                    <a:pt x="1250378" y="107434"/>
                  </a:cubicBezTo>
                  <a:cubicBezTo>
                    <a:pt x="1250804" y="100200"/>
                    <a:pt x="1251335" y="92967"/>
                    <a:pt x="1251176" y="85787"/>
                  </a:cubicBezTo>
                  <a:cubicBezTo>
                    <a:pt x="1252079" y="73554"/>
                    <a:pt x="1240325" y="66322"/>
                    <a:pt x="1233678" y="57706"/>
                  </a:cubicBezTo>
                  <a:cubicBezTo>
                    <a:pt x="1235858" y="56535"/>
                    <a:pt x="1240113" y="54142"/>
                    <a:pt x="1242240" y="52973"/>
                  </a:cubicBezTo>
                  <a:cubicBezTo>
                    <a:pt x="1251868" y="59301"/>
                    <a:pt x="1261707" y="67332"/>
                    <a:pt x="1274151" y="63237"/>
                  </a:cubicBezTo>
                  <a:cubicBezTo>
                    <a:pt x="1261494" y="47866"/>
                    <a:pt x="1245857" y="35262"/>
                    <a:pt x="1229104" y="24678"/>
                  </a:cubicBezTo>
                  <a:cubicBezTo>
                    <a:pt x="1215116" y="17285"/>
                    <a:pt x="1200277" y="11541"/>
                    <a:pt x="1185120" y="7339"/>
                  </a:cubicBezTo>
                  <a:cubicBezTo>
                    <a:pt x="1181343" y="6541"/>
                    <a:pt x="1173897" y="4893"/>
                    <a:pt x="1170174" y="4042"/>
                  </a:cubicBezTo>
                  <a:lnTo>
                    <a:pt x="1089705" y="1006"/>
                  </a:lnTo>
                  <a:lnTo>
                    <a:pt x="977434" y="1006"/>
                  </a:lnTo>
                  <a:lnTo>
                    <a:pt x="977432" y="1010"/>
                  </a:lnTo>
                  <a:cubicBezTo>
                    <a:pt x="964669" y="1117"/>
                    <a:pt x="952010" y="1117"/>
                    <a:pt x="939353" y="1010"/>
                  </a:cubicBezTo>
                  <a:lnTo>
                    <a:pt x="939351" y="1006"/>
                  </a:lnTo>
                  <a:lnTo>
                    <a:pt x="738720" y="1006"/>
                  </a:lnTo>
                  <a:lnTo>
                    <a:pt x="738720" y="477"/>
                  </a:lnTo>
                  <a:close/>
                </a:path>
              </a:pathLst>
            </a:custGeom>
            <a:solidFill>
              <a:srgbClr val="4569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5" name="Freeform: Shape 5354">
              <a:extLst>
                <a:ext uri="{FF2B5EF4-FFF2-40B4-BE49-F238E27FC236}">
                  <a16:creationId xmlns:a16="http://schemas.microsoft.com/office/drawing/2014/main" id="{89039F3F-D706-9F0C-9A1E-1DD65D6ED66D}"/>
                </a:ext>
              </a:extLst>
            </p:cNvPr>
            <p:cNvSpPr/>
            <p:nvPr/>
          </p:nvSpPr>
          <p:spPr>
            <a:xfrm flipH="1">
              <a:off x="3263626" y="4822735"/>
              <a:ext cx="1291273" cy="145151"/>
            </a:xfrm>
            <a:custGeom>
              <a:avLst/>
              <a:gdLst>
                <a:gd name="connsiteX0" fmla="*/ 567143 w 1082564"/>
                <a:gd name="connsiteY0" fmla="*/ 44607 h 121690"/>
                <a:gd name="connsiteX1" fmla="*/ 585621 w 1082564"/>
                <a:gd name="connsiteY1" fmla="*/ 90 h 121690"/>
                <a:gd name="connsiteX2" fmla="*/ 586829 w 1082564"/>
                <a:gd name="connsiteY2" fmla="*/ 0 h 121690"/>
                <a:gd name="connsiteX3" fmla="*/ 587187 w 1082564"/>
                <a:gd name="connsiteY3" fmla="*/ 65054 h 121690"/>
                <a:gd name="connsiteX4" fmla="*/ 586918 w 1082564"/>
                <a:gd name="connsiteY4" fmla="*/ 85277 h 121690"/>
                <a:gd name="connsiteX5" fmla="*/ 671435 w 1082564"/>
                <a:gd name="connsiteY5" fmla="*/ 83980 h 121690"/>
                <a:gd name="connsiteX6" fmla="*/ 735102 w 1082564"/>
                <a:gd name="connsiteY6" fmla="*/ 84338 h 121690"/>
                <a:gd name="connsiteX7" fmla="*/ 986146 w 1082564"/>
                <a:gd name="connsiteY7" fmla="*/ 84561 h 121690"/>
                <a:gd name="connsiteX8" fmla="*/ 1044221 w 1082564"/>
                <a:gd name="connsiteY8" fmla="*/ 51095 h 121690"/>
                <a:gd name="connsiteX9" fmla="*/ 1059791 w 1082564"/>
                <a:gd name="connsiteY9" fmla="*/ 69394 h 121690"/>
                <a:gd name="connsiteX10" fmla="*/ 1066368 w 1082564"/>
                <a:gd name="connsiteY10" fmla="*/ 56553 h 121690"/>
                <a:gd name="connsiteX11" fmla="*/ 1082564 w 1082564"/>
                <a:gd name="connsiteY11" fmla="*/ 57045 h 121690"/>
                <a:gd name="connsiteX12" fmla="*/ 1071245 w 1082564"/>
                <a:gd name="connsiteY12" fmla="*/ 74987 h 121690"/>
                <a:gd name="connsiteX13" fmla="*/ 977467 w 1082564"/>
                <a:gd name="connsiteY13" fmla="*/ 121294 h 121690"/>
                <a:gd name="connsiteX14" fmla="*/ 82637 w 1082564"/>
                <a:gd name="connsiteY14" fmla="*/ 121607 h 121690"/>
                <a:gd name="connsiteX15" fmla="*/ 21476 w 1082564"/>
                <a:gd name="connsiteY15" fmla="*/ 109840 h 121690"/>
                <a:gd name="connsiteX16" fmla="*/ 0 w 1082564"/>
                <a:gd name="connsiteY16" fmla="*/ 94225 h 121690"/>
                <a:gd name="connsiteX17" fmla="*/ 19642 w 1082564"/>
                <a:gd name="connsiteY17" fmla="*/ 60893 h 121690"/>
                <a:gd name="connsiteX18" fmla="*/ 34451 w 1082564"/>
                <a:gd name="connsiteY18" fmla="*/ 73018 h 121690"/>
                <a:gd name="connsiteX19" fmla="*/ 54853 w 1082564"/>
                <a:gd name="connsiteY19" fmla="*/ 83845 h 121690"/>
                <a:gd name="connsiteX20" fmla="*/ 118520 w 1082564"/>
                <a:gd name="connsiteY20" fmla="*/ 85769 h 121690"/>
                <a:gd name="connsiteX21" fmla="*/ 553139 w 1082564"/>
                <a:gd name="connsiteY21" fmla="*/ 85411 h 121690"/>
                <a:gd name="connsiteX22" fmla="*/ 555599 w 1082564"/>
                <a:gd name="connsiteY22" fmla="*/ 85277 h 121690"/>
                <a:gd name="connsiteX23" fmla="*/ 567143 w 1082564"/>
                <a:gd name="connsiteY23" fmla="*/ 44607 h 1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82564" h="121690">
                  <a:moveTo>
                    <a:pt x="567143" y="44607"/>
                  </a:moveTo>
                  <a:cubicBezTo>
                    <a:pt x="577702" y="31856"/>
                    <a:pt x="581326" y="15615"/>
                    <a:pt x="585621" y="90"/>
                  </a:cubicBezTo>
                  <a:lnTo>
                    <a:pt x="586829" y="0"/>
                  </a:lnTo>
                  <a:cubicBezTo>
                    <a:pt x="587142" y="21699"/>
                    <a:pt x="587321" y="43354"/>
                    <a:pt x="587187" y="65054"/>
                  </a:cubicBezTo>
                  <a:cubicBezTo>
                    <a:pt x="587053" y="71765"/>
                    <a:pt x="587008" y="78476"/>
                    <a:pt x="586918" y="85277"/>
                  </a:cubicBezTo>
                  <a:cubicBezTo>
                    <a:pt x="615105" y="85188"/>
                    <a:pt x="643293" y="85098"/>
                    <a:pt x="671435" y="83980"/>
                  </a:cubicBezTo>
                  <a:cubicBezTo>
                    <a:pt x="692642" y="84069"/>
                    <a:pt x="713895" y="84203"/>
                    <a:pt x="735102" y="84338"/>
                  </a:cubicBezTo>
                  <a:cubicBezTo>
                    <a:pt x="818769" y="85098"/>
                    <a:pt x="902480" y="86485"/>
                    <a:pt x="986146" y="84561"/>
                  </a:cubicBezTo>
                  <a:cubicBezTo>
                    <a:pt x="1010441" y="85411"/>
                    <a:pt x="1030396" y="69573"/>
                    <a:pt x="1044221" y="51095"/>
                  </a:cubicBezTo>
                  <a:cubicBezTo>
                    <a:pt x="1049366" y="57179"/>
                    <a:pt x="1054601" y="63264"/>
                    <a:pt x="1059791" y="69394"/>
                  </a:cubicBezTo>
                  <a:cubicBezTo>
                    <a:pt x="1061938" y="65054"/>
                    <a:pt x="1064086" y="60759"/>
                    <a:pt x="1066368" y="56553"/>
                  </a:cubicBezTo>
                  <a:cubicBezTo>
                    <a:pt x="1071737" y="56643"/>
                    <a:pt x="1077106" y="56822"/>
                    <a:pt x="1082564" y="57045"/>
                  </a:cubicBezTo>
                  <a:cubicBezTo>
                    <a:pt x="1079030" y="63175"/>
                    <a:pt x="1075316" y="69215"/>
                    <a:pt x="1071245" y="74987"/>
                  </a:cubicBezTo>
                  <a:cubicBezTo>
                    <a:pt x="1048382" y="102726"/>
                    <a:pt x="1014020" y="121876"/>
                    <a:pt x="977467" y="121294"/>
                  </a:cubicBezTo>
                  <a:cubicBezTo>
                    <a:pt x="679175" y="122099"/>
                    <a:pt x="380929" y="120757"/>
                    <a:pt x="82637" y="121607"/>
                  </a:cubicBezTo>
                  <a:cubicBezTo>
                    <a:pt x="61654" y="122323"/>
                    <a:pt x="40670" y="118431"/>
                    <a:pt x="21476" y="109840"/>
                  </a:cubicBezTo>
                  <a:cubicBezTo>
                    <a:pt x="14004" y="105008"/>
                    <a:pt x="6801" y="99908"/>
                    <a:pt x="0" y="94225"/>
                  </a:cubicBezTo>
                  <a:cubicBezTo>
                    <a:pt x="4608" y="82056"/>
                    <a:pt x="11499" y="71005"/>
                    <a:pt x="19642" y="60893"/>
                  </a:cubicBezTo>
                  <a:cubicBezTo>
                    <a:pt x="24339" y="65188"/>
                    <a:pt x="29306" y="69215"/>
                    <a:pt x="34451" y="73018"/>
                  </a:cubicBezTo>
                  <a:cubicBezTo>
                    <a:pt x="40804" y="77224"/>
                    <a:pt x="47202" y="82056"/>
                    <a:pt x="54853" y="83845"/>
                  </a:cubicBezTo>
                  <a:cubicBezTo>
                    <a:pt x="75926" y="86709"/>
                    <a:pt x="97268" y="85635"/>
                    <a:pt x="118520" y="85769"/>
                  </a:cubicBezTo>
                  <a:cubicBezTo>
                    <a:pt x="263393" y="85367"/>
                    <a:pt x="408266" y="85143"/>
                    <a:pt x="553139" y="85411"/>
                  </a:cubicBezTo>
                  <a:lnTo>
                    <a:pt x="555599" y="85277"/>
                  </a:lnTo>
                  <a:cubicBezTo>
                    <a:pt x="557121" y="71139"/>
                    <a:pt x="556986" y="55792"/>
                    <a:pt x="567143" y="44607"/>
                  </a:cubicBezTo>
                  <a:close/>
                </a:path>
              </a:pathLst>
            </a:custGeom>
            <a:solidFill>
              <a:srgbClr val="3F66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57" name="Freeform: Shape 5356">
              <a:extLst>
                <a:ext uri="{FF2B5EF4-FFF2-40B4-BE49-F238E27FC236}">
                  <a16:creationId xmlns:a16="http://schemas.microsoft.com/office/drawing/2014/main" id="{CD24E88C-9E82-A323-6DC3-D0877A2F28E5}"/>
                </a:ext>
              </a:extLst>
            </p:cNvPr>
            <p:cNvSpPr/>
            <p:nvPr/>
          </p:nvSpPr>
          <p:spPr>
            <a:xfrm flipH="1">
              <a:off x="1774952" y="4117276"/>
              <a:ext cx="1100700" cy="607832"/>
            </a:xfrm>
            <a:custGeom>
              <a:avLst/>
              <a:gdLst>
                <a:gd name="connsiteX0" fmla="*/ 659476 w 820189"/>
                <a:gd name="connsiteY0" fmla="*/ 27709 h 437804"/>
                <a:gd name="connsiteX1" fmla="*/ 537556 w 820189"/>
                <a:gd name="connsiteY1" fmla="*/ 0 h 437804"/>
                <a:gd name="connsiteX2" fmla="*/ 421178 w 820189"/>
                <a:gd name="connsiteY2" fmla="*/ 0 h 437804"/>
                <a:gd name="connsiteX3" fmla="*/ 321425 w 820189"/>
                <a:gd name="connsiteY3" fmla="*/ 33251 h 437804"/>
                <a:gd name="connsiteX4" fmla="*/ 0 w 820189"/>
                <a:gd name="connsiteY4" fmla="*/ 160713 h 437804"/>
                <a:gd name="connsiteX5" fmla="*/ 199505 w 820189"/>
                <a:gd name="connsiteY5" fmla="*/ 371302 h 437804"/>
                <a:gd name="connsiteX6" fmla="*/ 820189 w 820189"/>
                <a:gd name="connsiteY6" fmla="*/ 437804 h 437804"/>
                <a:gd name="connsiteX7" fmla="*/ 642851 w 820189"/>
                <a:gd name="connsiteY7" fmla="*/ 166255 h 437804"/>
                <a:gd name="connsiteX8" fmla="*/ 659476 w 820189"/>
                <a:gd name="connsiteY8" fmla="*/ 27709 h 437804"/>
                <a:gd name="connsiteX0" fmla="*/ 659476 w 1096940"/>
                <a:gd name="connsiteY0" fmla="*/ 27709 h 545700"/>
                <a:gd name="connsiteX1" fmla="*/ 537556 w 1096940"/>
                <a:gd name="connsiteY1" fmla="*/ 0 h 545700"/>
                <a:gd name="connsiteX2" fmla="*/ 421178 w 1096940"/>
                <a:gd name="connsiteY2" fmla="*/ 0 h 545700"/>
                <a:gd name="connsiteX3" fmla="*/ 321425 w 1096940"/>
                <a:gd name="connsiteY3" fmla="*/ 33251 h 545700"/>
                <a:gd name="connsiteX4" fmla="*/ 0 w 1096940"/>
                <a:gd name="connsiteY4" fmla="*/ 160713 h 545700"/>
                <a:gd name="connsiteX5" fmla="*/ 199505 w 1096940"/>
                <a:gd name="connsiteY5" fmla="*/ 371302 h 545700"/>
                <a:gd name="connsiteX6" fmla="*/ 820189 w 1096940"/>
                <a:gd name="connsiteY6" fmla="*/ 437804 h 545700"/>
                <a:gd name="connsiteX7" fmla="*/ 1096940 w 1096940"/>
                <a:gd name="connsiteY7" fmla="*/ 545700 h 545700"/>
                <a:gd name="connsiteX8" fmla="*/ 659476 w 1096940"/>
                <a:gd name="connsiteY8" fmla="*/ 27709 h 545700"/>
                <a:gd name="connsiteX0" fmla="*/ 659476 w 1096940"/>
                <a:gd name="connsiteY0" fmla="*/ 27709 h 605755"/>
                <a:gd name="connsiteX1" fmla="*/ 537556 w 1096940"/>
                <a:gd name="connsiteY1" fmla="*/ 0 h 605755"/>
                <a:gd name="connsiteX2" fmla="*/ 421178 w 1096940"/>
                <a:gd name="connsiteY2" fmla="*/ 0 h 605755"/>
                <a:gd name="connsiteX3" fmla="*/ 321425 w 1096940"/>
                <a:gd name="connsiteY3" fmla="*/ 33251 h 605755"/>
                <a:gd name="connsiteX4" fmla="*/ 0 w 1096940"/>
                <a:gd name="connsiteY4" fmla="*/ 160713 h 605755"/>
                <a:gd name="connsiteX5" fmla="*/ 199505 w 1096940"/>
                <a:gd name="connsiteY5" fmla="*/ 371302 h 605755"/>
                <a:gd name="connsiteX6" fmla="*/ 702001 w 1096940"/>
                <a:gd name="connsiteY6" fmla="*/ 605755 h 605755"/>
                <a:gd name="connsiteX7" fmla="*/ 1096940 w 1096940"/>
                <a:gd name="connsiteY7" fmla="*/ 545700 h 605755"/>
                <a:gd name="connsiteX8" fmla="*/ 659476 w 1096940"/>
                <a:gd name="connsiteY8" fmla="*/ 27709 h 6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940" h="605755">
                  <a:moveTo>
                    <a:pt x="659476" y="27709"/>
                  </a:moveTo>
                  <a:lnTo>
                    <a:pt x="537556" y="0"/>
                  </a:lnTo>
                  <a:lnTo>
                    <a:pt x="421178" y="0"/>
                  </a:lnTo>
                  <a:lnTo>
                    <a:pt x="321425" y="33251"/>
                  </a:lnTo>
                  <a:lnTo>
                    <a:pt x="0" y="160713"/>
                  </a:lnTo>
                  <a:lnTo>
                    <a:pt x="199505" y="371302"/>
                  </a:lnTo>
                  <a:lnTo>
                    <a:pt x="702001" y="605755"/>
                  </a:lnTo>
                  <a:lnTo>
                    <a:pt x="1096940" y="545700"/>
                  </a:lnTo>
                  <a:lnTo>
                    <a:pt x="659476" y="277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64" name="Rectangle: Rounded Corners 5363">
              <a:extLst>
                <a:ext uri="{FF2B5EF4-FFF2-40B4-BE49-F238E27FC236}">
                  <a16:creationId xmlns:a16="http://schemas.microsoft.com/office/drawing/2014/main" id="{9C664B1E-5349-4215-145E-2DE28F249DEE}"/>
                </a:ext>
              </a:extLst>
            </p:cNvPr>
            <p:cNvSpPr/>
            <p:nvPr/>
          </p:nvSpPr>
          <p:spPr>
            <a:xfrm flipH="1">
              <a:off x="4013030" y="5057124"/>
              <a:ext cx="734028" cy="103852"/>
            </a:xfrm>
            <a:prstGeom prst="roundRect">
              <a:avLst/>
            </a:prstGeom>
            <a:solidFill>
              <a:srgbClr val="6680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65" name="Rectangle 5364">
              <a:extLst>
                <a:ext uri="{FF2B5EF4-FFF2-40B4-BE49-F238E27FC236}">
                  <a16:creationId xmlns:a16="http://schemas.microsoft.com/office/drawing/2014/main" id="{4B29E500-CCD6-7CF5-55B4-594D905D4AF7}"/>
                </a:ext>
              </a:extLst>
            </p:cNvPr>
            <p:cNvSpPr/>
            <p:nvPr/>
          </p:nvSpPr>
          <p:spPr>
            <a:xfrm flipH="1">
              <a:off x="4768164" y="5061135"/>
              <a:ext cx="57019" cy="99841"/>
            </a:xfrm>
            <a:prstGeom prst="rect">
              <a:avLst/>
            </a:prstGeom>
            <a:solidFill>
              <a:srgbClr val="4A60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2" name="Freeform: Shape 5371">
              <a:extLst>
                <a:ext uri="{FF2B5EF4-FFF2-40B4-BE49-F238E27FC236}">
                  <a16:creationId xmlns:a16="http://schemas.microsoft.com/office/drawing/2014/main" id="{A4C1853E-09F4-AB6F-2BA3-C9FB9BFC0CAA}"/>
                </a:ext>
              </a:extLst>
            </p:cNvPr>
            <p:cNvSpPr/>
            <p:nvPr/>
          </p:nvSpPr>
          <p:spPr>
            <a:xfrm flipH="1">
              <a:off x="2567042"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3" name="Freeform: Shape 5372">
              <a:extLst>
                <a:ext uri="{FF2B5EF4-FFF2-40B4-BE49-F238E27FC236}">
                  <a16:creationId xmlns:a16="http://schemas.microsoft.com/office/drawing/2014/main" id="{EDBC03C4-0E59-0649-E525-1317E1C51FB4}"/>
                </a:ext>
              </a:extLst>
            </p:cNvPr>
            <p:cNvSpPr/>
            <p:nvPr/>
          </p:nvSpPr>
          <p:spPr>
            <a:xfrm flipH="1">
              <a:off x="2762472"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4" name="Freeform: Shape 5373">
              <a:extLst>
                <a:ext uri="{FF2B5EF4-FFF2-40B4-BE49-F238E27FC236}">
                  <a16:creationId xmlns:a16="http://schemas.microsoft.com/office/drawing/2014/main" id="{DB2D985E-3364-EBD5-D014-C2455ECA90F8}"/>
                </a:ext>
              </a:extLst>
            </p:cNvPr>
            <p:cNvSpPr/>
            <p:nvPr/>
          </p:nvSpPr>
          <p:spPr>
            <a:xfrm flipH="1">
              <a:off x="668955" y="2076272"/>
              <a:ext cx="437399" cy="93978"/>
            </a:xfrm>
            <a:custGeom>
              <a:avLst/>
              <a:gdLst>
                <a:gd name="connsiteX0" fmla="*/ 3811 w 366702"/>
                <a:gd name="connsiteY0" fmla="*/ 1163 h 78788"/>
                <a:gd name="connsiteX1" fmla="*/ 203894 w 366702"/>
                <a:gd name="connsiteY1" fmla="*/ 0 h 78788"/>
                <a:gd name="connsiteX2" fmla="*/ 364650 w 366702"/>
                <a:gd name="connsiteY2" fmla="*/ 1790 h 78788"/>
                <a:gd name="connsiteX3" fmla="*/ 364874 w 366702"/>
                <a:gd name="connsiteY3" fmla="*/ 74987 h 78788"/>
                <a:gd name="connsiteX4" fmla="*/ 173336 w 366702"/>
                <a:gd name="connsiteY4" fmla="*/ 76866 h 78788"/>
                <a:gd name="connsiteX5" fmla="*/ 2200 w 366702"/>
                <a:gd name="connsiteY5" fmla="*/ 77313 h 78788"/>
                <a:gd name="connsiteX6" fmla="*/ 3811 w 366702"/>
                <a:gd name="connsiteY6" fmla="*/ 1163 h 78788"/>
                <a:gd name="connsiteX7" fmla="*/ 120854 w 366702"/>
                <a:gd name="connsiteY7" fmla="*/ 22952 h 78788"/>
                <a:gd name="connsiteX8" fmla="*/ 121883 w 366702"/>
                <a:gd name="connsiteY8" fmla="*/ 47247 h 78788"/>
                <a:gd name="connsiteX9" fmla="*/ 147207 w 366702"/>
                <a:gd name="connsiteY9" fmla="*/ 48231 h 78788"/>
                <a:gd name="connsiteX10" fmla="*/ 145417 w 366702"/>
                <a:gd name="connsiteY10" fmla="*/ 27829 h 78788"/>
                <a:gd name="connsiteX11" fmla="*/ 120854 w 366702"/>
                <a:gd name="connsiteY11" fmla="*/ 22952 h 78788"/>
                <a:gd name="connsiteX12" fmla="*/ 175707 w 366702"/>
                <a:gd name="connsiteY12" fmla="*/ 24205 h 78788"/>
                <a:gd name="connsiteX13" fmla="*/ 191814 w 366702"/>
                <a:gd name="connsiteY13" fmla="*/ 49081 h 78788"/>
                <a:gd name="connsiteX14" fmla="*/ 199465 w 366702"/>
                <a:gd name="connsiteY14" fmla="*/ 23981 h 78788"/>
                <a:gd name="connsiteX15" fmla="*/ 175707 w 366702"/>
                <a:gd name="connsiteY15" fmla="*/ 24205 h 7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6702" h="78788">
                  <a:moveTo>
                    <a:pt x="3811" y="1163"/>
                  </a:moveTo>
                  <a:cubicBezTo>
                    <a:pt x="70520" y="313"/>
                    <a:pt x="137230" y="403"/>
                    <a:pt x="203894" y="0"/>
                  </a:cubicBezTo>
                  <a:cubicBezTo>
                    <a:pt x="257450" y="2819"/>
                    <a:pt x="311184" y="-2327"/>
                    <a:pt x="364650" y="1790"/>
                  </a:cubicBezTo>
                  <a:cubicBezTo>
                    <a:pt x="368051" y="26084"/>
                    <a:pt x="366574" y="50603"/>
                    <a:pt x="364874" y="74987"/>
                  </a:cubicBezTo>
                  <a:cubicBezTo>
                    <a:pt x="301207" y="79819"/>
                    <a:pt x="237182" y="77224"/>
                    <a:pt x="173336" y="76866"/>
                  </a:cubicBezTo>
                  <a:cubicBezTo>
                    <a:pt x="116335" y="77582"/>
                    <a:pt x="59200" y="80535"/>
                    <a:pt x="2200" y="77313"/>
                  </a:cubicBezTo>
                  <a:cubicBezTo>
                    <a:pt x="-395" y="51990"/>
                    <a:pt x="-1603" y="26218"/>
                    <a:pt x="3811" y="1163"/>
                  </a:cubicBezTo>
                  <a:close/>
                  <a:moveTo>
                    <a:pt x="120854" y="22952"/>
                  </a:moveTo>
                  <a:cubicBezTo>
                    <a:pt x="119557" y="31006"/>
                    <a:pt x="115575" y="40178"/>
                    <a:pt x="121883" y="47247"/>
                  </a:cubicBezTo>
                  <a:cubicBezTo>
                    <a:pt x="129981" y="50468"/>
                    <a:pt x="138795" y="48366"/>
                    <a:pt x="147207" y="48231"/>
                  </a:cubicBezTo>
                  <a:cubicBezTo>
                    <a:pt x="146581" y="41475"/>
                    <a:pt x="148460" y="34093"/>
                    <a:pt x="145417" y="27829"/>
                  </a:cubicBezTo>
                  <a:cubicBezTo>
                    <a:pt x="139690" y="19999"/>
                    <a:pt x="129042" y="23444"/>
                    <a:pt x="120854" y="22952"/>
                  </a:cubicBezTo>
                  <a:close/>
                  <a:moveTo>
                    <a:pt x="175707" y="24205"/>
                  </a:moveTo>
                  <a:cubicBezTo>
                    <a:pt x="165596" y="35077"/>
                    <a:pt x="177318" y="54719"/>
                    <a:pt x="191814" y="49081"/>
                  </a:cubicBezTo>
                  <a:cubicBezTo>
                    <a:pt x="204610" y="48902"/>
                    <a:pt x="205013" y="32214"/>
                    <a:pt x="199465" y="23981"/>
                  </a:cubicBezTo>
                  <a:cubicBezTo>
                    <a:pt x="192485" y="18568"/>
                    <a:pt x="182866" y="19776"/>
                    <a:pt x="175707" y="24205"/>
                  </a:cubicBezTo>
                  <a:close/>
                </a:path>
              </a:pathLst>
            </a:custGeom>
            <a:solidFill>
              <a:srgbClr val="8093B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5" name="Freeform: Shape 5374">
              <a:extLst>
                <a:ext uri="{FF2B5EF4-FFF2-40B4-BE49-F238E27FC236}">
                  <a16:creationId xmlns:a16="http://schemas.microsoft.com/office/drawing/2014/main" id="{5ABA8E36-85D1-79CA-AC4C-5AA8F81CA0EF}"/>
                </a:ext>
              </a:extLst>
            </p:cNvPr>
            <p:cNvSpPr/>
            <p:nvPr/>
          </p:nvSpPr>
          <p:spPr>
            <a:xfrm flipH="1">
              <a:off x="864387" y="2105550"/>
              <a:ext cx="36912" cy="35420"/>
            </a:xfrm>
            <a:custGeom>
              <a:avLst/>
              <a:gdLst>
                <a:gd name="connsiteX0" fmla="*/ 3794 w 30946"/>
                <a:gd name="connsiteY0" fmla="*/ 3822 h 29695"/>
                <a:gd name="connsiteX1" fmla="*/ 27552 w 30946"/>
                <a:gd name="connsiteY1" fmla="*/ 3599 h 29695"/>
                <a:gd name="connsiteX2" fmla="*/ 19901 w 30946"/>
                <a:gd name="connsiteY2" fmla="*/ 28699 h 29695"/>
                <a:gd name="connsiteX3" fmla="*/ 3794 w 30946"/>
                <a:gd name="connsiteY3" fmla="*/ 3822 h 29695"/>
              </a:gdLst>
              <a:ahLst/>
              <a:cxnLst>
                <a:cxn ang="0">
                  <a:pos x="connsiteX0" y="connsiteY0"/>
                </a:cxn>
                <a:cxn ang="0">
                  <a:pos x="connsiteX1" y="connsiteY1"/>
                </a:cxn>
                <a:cxn ang="0">
                  <a:pos x="connsiteX2" y="connsiteY2"/>
                </a:cxn>
                <a:cxn ang="0">
                  <a:pos x="connsiteX3" y="connsiteY3"/>
                </a:cxn>
              </a:cxnLst>
              <a:rect l="l" t="t" r="r" b="b"/>
              <a:pathLst>
                <a:path w="30946" h="29695">
                  <a:moveTo>
                    <a:pt x="3794" y="3822"/>
                  </a:moveTo>
                  <a:cubicBezTo>
                    <a:pt x="10953" y="-607"/>
                    <a:pt x="20572" y="-1815"/>
                    <a:pt x="27552" y="3599"/>
                  </a:cubicBezTo>
                  <a:cubicBezTo>
                    <a:pt x="33100" y="11831"/>
                    <a:pt x="32697" y="28520"/>
                    <a:pt x="19901" y="28699"/>
                  </a:cubicBezTo>
                  <a:cubicBezTo>
                    <a:pt x="5405" y="34336"/>
                    <a:pt x="-6317" y="14695"/>
                    <a:pt x="3794" y="3822"/>
                  </a:cubicBezTo>
                  <a:close/>
                </a:path>
              </a:pathLst>
            </a:custGeom>
            <a:solidFill>
              <a:srgbClr val="FEF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8" name="Rectangle: Rounded Corners 5377">
              <a:extLst>
                <a:ext uri="{FF2B5EF4-FFF2-40B4-BE49-F238E27FC236}">
                  <a16:creationId xmlns:a16="http://schemas.microsoft.com/office/drawing/2014/main" id="{1AF07643-483C-79A7-8C72-73FA0F043E08}"/>
                </a:ext>
              </a:extLst>
            </p:cNvPr>
            <p:cNvSpPr/>
            <p:nvPr/>
          </p:nvSpPr>
          <p:spPr>
            <a:xfrm>
              <a:off x="1237488" y="4056541"/>
              <a:ext cx="120978" cy="89086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61" name="Rectangle: Rounded Corners 5260">
              <a:extLst>
                <a:ext uri="{FF2B5EF4-FFF2-40B4-BE49-F238E27FC236}">
                  <a16:creationId xmlns:a16="http://schemas.microsoft.com/office/drawing/2014/main" id="{5F440945-5611-FE2B-DBD7-6BF25AA7DA09}"/>
                </a:ext>
              </a:extLst>
            </p:cNvPr>
            <p:cNvSpPr/>
            <p:nvPr/>
          </p:nvSpPr>
          <p:spPr>
            <a:xfrm flipH="1">
              <a:off x="1242417" y="4944893"/>
              <a:ext cx="111119" cy="32980"/>
            </a:xfrm>
            <a:prstGeom prst="roundRect">
              <a:avLst/>
            </a:prstGeom>
            <a:solidFill>
              <a:srgbClr val="FB95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46" name="Freeform: Shape 5145">
              <a:extLst>
                <a:ext uri="{FF2B5EF4-FFF2-40B4-BE49-F238E27FC236}">
                  <a16:creationId xmlns:a16="http://schemas.microsoft.com/office/drawing/2014/main" id="{D4D29EF9-C040-4FE8-6AB9-D780D43A183A}"/>
                </a:ext>
              </a:extLst>
            </p:cNvPr>
            <p:cNvSpPr/>
            <p:nvPr/>
          </p:nvSpPr>
          <p:spPr>
            <a:xfrm flipH="1">
              <a:off x="1676180" y="4322363"/>
              <a:ext cx="1278518" cy="311735"/>
            </a:xfrm>
            <a:custGeom>
              <a:avLst/>
              <a:gdLst>
                <a:gd name="connsiteX0" fmla="*/ 775593 w 1071871"/>
                <a:gd name="connsiteY0" fmla="*/ 0 h 261349"/>
                <a:gd name="connsiteX1" fmla="*/ 790224 w 1071871"/>
                <a:gd name="connsiteY1" fmla="*/ 29574 h 261349"/>
                <a:gd name="connsiteX2" fmla="*/ 822258 w 1071871"/>
                <a:gd name="connsiteY2" fmla="*/ 29574 h 261349"/>
                <a:gd name="connsiteX3" fmla="*/ 838902 w 1071871"/>
                <a:gd name="connsiteY3" fmla="*/ 179 h 261349"/>
                <a:gd name="connsiteX4" fmla="*/ 825972 w 1071871"/>
                <a:gd name="connsiteY4" fmla="*/ 29306 h 261349"/>
                <a:gd name="connsiteX5" fmla="*/ 984401 w 1071871"/>
                <a:gd name="connsiteY5" fmla="*/ 32124 h 261349"/>
                <a:gd name="connsiteX6" fmla="*/ 996974 w 1071871"/>
                <a:gd name="connsiteY6" fmla="*/ 34898 h 261349"/>
                <a:gd name="connsiteX7" fmla="*/ 1033975 w 1071871"/>
                <a:gd name="connsiteY7" fmla="*/ 49484 h 261349"/>
                <a:gd name="connsiteX8" fmla="*/ 1071871 w 1071871"/>
                <a:gd name="connsiteY8" fmla="*/ 81922 h 261349"/>
                <a:gd name="connsiteX9" fmla="*/ 1045026 w 1071871"/>
                <a:gd name="connsiteY9" fmla="*/ 73287 h 261349"/>
                <a:gd name="connsiteX10" fmla="*/ 1037823 w 1071871"/>
                <a:gd name="connsiteY10" fmla="*/ 77269 h 261349"/>
                <a:gd name="connsiteX11" fmla="*/ 1052543 w 1071871"/>
                <a:gd name="connsiteY11" fmla="*/ 100892 h 261349"/>
                <a:gd name="connsiteX12" fmla="*/ 1051872 w 1071871"/>
                <a:gd name="connsiteY12" fmla="*/ 119102 h 261349"/>
                <a:gd name="connsiteX13" fmla="*/ 995542 w 1071871"/>
                <a:gd name="connsiteY13" fmla="*/ 73958 h 261349"/>
                <a:gd name="connsiteX14" fmla="*/ 956617 w 1071871"/>
                <a:gd name="connsiteY14" fmla="*/ 69081 h 261349"/>
                <a:gd name="connsiteX15" fmla="*/ 841318 w 1071871"/>
                <a:gd name="connsiteY15" fmla="*/ 67917 h 261349"/>
                <a:gd name="connsiteX16" fmla="*/ 785615 w 1071871"/>
                <a:gd name="connsiteY16" fmla="*/ 66754 h 261349"/>
                <a:gd name="connsiteX17" fmla="*/ 725662 w 1071871"/>
                <a:gd name="connsiteY17" fmla="*/ 67023 h 261349"/>
                <a:gd name="connsiteX18" fmla="*/ 591079 w 1071871"/>
                <a:gd name="connsiteY18" fmla="*/ 67202 h 261349"/>
                <a:gd name="connsiteX19" fmla="*/ 592198 w 1071871"/>
                <a:gd name="connsiteY19" fmla="*/ 108364 h 261349"/>
                <a:gd name="connsiteX20" fmla="*/ 592019 w 1071871"/>
                <a:gd name="connsiteY20" fmla="*/ 188943 h 261349"/>
                <a:gd name="connsiteX21" fmla="*/ 592780 w 1071871"/>
                <a:gd name="connsiteY21" fmla="*/ 260664 h 261349"/>
                <a:gd name="connsiteX22" fmla="*/ 557300 w 1071871"/>
                <a:gd name="connsiteY22" fmla="*/ 260753 h 261349"/>
                <a:gd name="connsiteX23" fmla="*/ 556405 w 1071871"/>
                <a:gd name="connsiteY23" fmla="*/ 170868 h 261349"/>
                <a:gd name="connsiteX24" fmla="*/ 555913 w 1071871"/>
                <a:gd name="connsiteY24" fmla="*/ 108945 h 261349"/>
                <a:gd name="connsiteX25" fmla="*/ 557076 w 1071871"/>
                <a:gd name="connsiteY25" fmla="*/ 66754 h 261349"/>
                <a:gd name="connsiteX26" fmla="*/ 526473 w 1071871"/>
                <a:gd name="connsiteY26" fmla="*/ 66889 h 261349"/>
                <a:gd name="connsiteX27" fmla="*/ 465177 w 1071871"/>
                <a:gd name="connsiteY27" fmla="*/ 67247 h 261349"/>
                <a:gd name="connsiteX28" fmla="*/ 97089 w 1071871"/>
                <a:gd name="connsiteY28" fmla="*/ 67559 h 261349"/>
                <a:gd name="connsiteX29" fmla="*/ 32796 w 1071871"/>
                <a:gd name="connsiteY29" fmla="*/ 86977 h 261349"/>
                <a:gd name="connsiteX30" fmla="*/ 0 w 1071871"/>
                <a:gd name="connsiteY30" fmla="*/ 74629 h 261349"/>
                <a:gd name="connsiteX31" fmla="*/ 1163 w 1071871"/>
                <a:gd name="connsiteY31" fmla="*/ 63399 h 261349"/>
                <a:gd name="connsiteX32" fmla="*/ 44831 w 1071871"/>
                <a:gd name="connsiteY32" fmla="*/ 38120 h 261349"/>
                <a:gd name="connsiteX33" fmla="*/ 135432 w 1071871"/>
                <a:gd name="connsiteY33" fmla="*/ 29485 h 261349"/>
                <a:gd name="connsiteX34" fmla="*/ 140443 w 1071871"/>
                <a:gd name="connsiteY34" fmla="*/ 29574 h 261349"/>
                <a:gd name="connsiteX35" fmla="*/ 540343 w 1071871"/>
                <a:gd name="connsiteY35" fmla="*/ 28724 h 261349"/>
                <a:gd name="connsiteX36" fmla="*/ 694119 w 1071871"/>
                <a:gd name="connsiteY36" fmla="*/ 29485 h 261349"/>
                <a:gd name="connsiteX37" fmla="*/ 786823 w 1071871"/>
                <a:gd name="connsiteY37" fmla="*/ 29529 h 261349"/>
                <a:gd name="connsiteX38" fmla="*/ 775593 w 1071871"/>
                <a:gd name="connsiteY38" fmla="*/ 0 h 26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1871" h="261349">
                  <a:moveTo>
                    <a:pt x="775593" y="0"/>
                  </a:moveTo>
                  <a:cubicBezTo>
                    <a:pt x="781141" y="9485"/>
                    <a:pt x="786018" y="19373"/>
                    <a:pt x="790224" y="29574"/>
                  </a:cubicBezTo>
                  <a:cubicBezTo>
                    <a:pt x="800872" y="29664"/>
                    <a:pt x="811521" y="29664"/>
                    <a:pt x="822258" y="29574"/>
                  </a:cubicBezTo>
                  <a:cubicBezTo>
                    <a:pt x="827270" y="19462"/>
                    <a:pt x="832683" y="9575"/>
                    <a:pt x="838902" y="179"/>
                  </a:cubicBezTo>
                  <a:cubicBezTo>
                    <a:pt x="834697" y="9932"/>
                    <a:pt x="830312" y="19597"/>
                    <a:pt x="825972" y="29306"/>
                  </a:cubicBezTo>
                  <a:cubicBezTo>
                    <a:pt x="878722" y="30603"/>
                    <a:pt x="931786" y="26621"/>
                    <a:pt x="984401" y="32124"/>
                  </a:cubicBezTo>
                  <a:cubicBezTo>
                    <a:pt x="987533" y="32840"/>
                    <a:pt x="993797" y="34227"/>
                    <a:pt x="996974" y="34898"/>
                  </a:cubicBezTo>
                  <a:cubicBezTo>
                    <a:pt x="1009725" y="38433"/>
                    <a:pt x="1022208" y="43265"/>
                    <a:pt x="1033975" y="49484"/>
                  </a:cubicBezTo>
                  <a:cubicBezTo>
                    <a:pt x="1048069" y="58388"/>
                    <a:pt x="1061223" y="68991"/>
                    <a:pt x="1071871" y="81922"/>
                  </a:cubicBezTo>
                  <a:cubicBezTo>
                    <a:pt x="1061402" y="85367"/>
                    <a:pt x="1053125" y="78611"/>
                    <a:pt x="1045026" y="73287"/>
                  </a:cubicBezTo>
                  <a:cubicBezTo>
                    <a:pt x="1043237" y="74271"/>
                    <a:pt x="1039657" y="76284"/>
                    <a:pt x="1037823" y="77269"/>
                  </a:cubicBezTo>
                  <a:cubicBezTo>
                    <a:pt x="1043415" y="84517"/>
                    <a:pt x="1053303" y="90601"/>
                    <a:pt x="1052543" y="100892"/>
                  </a:cubicBezTo>
                  <a:cubicBezTo>
                    <a:pt x="1052677" y="106932"/>
                    <a:pt x="1052230" y="113017"/>
                    <a:pt x="1051872" y="119102"/>
                  </a:cubicBezTo>
                  <a:cubicBezTo>
                    <a:pt x="1039076" y="97760"/>
                    <a:pt x="1017958" y="83577"/>
                    <a:pt x="995542" y="73958"/>
                  </a:cubicBezTo>
                  <a:cubicBezTo>
                    <a:pt x="982880" y="70468"/>
                    <a:pt x="969682" y="69394"/>
                    <a:pt x="956617" y="69081"/>
                  </a:cubicBezTo>
                  <a:cubicBezTo>
                    <a:pt x="918184" y="68589"/>
                    <a:pt x="879751" y="66754"/>
                    <a:pt x="841318" y="67917"/>
                  </a:cubicBezTo>
                  <a:cubicBezTo>
                    <a:pt x="822706" y="67828"/>
                    <a:pt x="804138" y="67023"/>
                    <a:pt x="785615" y="66754"/>
                  </a:cubicBezTo>
                  <a:cubicBezTo>
                    <a:pt x="765616" y="66352"/>
                    <a:pt x="745616" y="66620"/>
                    <a:pt x="725662" y="67023"/>
                  </a:cubicBezTo>
                  <a:cubicBezTo>
                    <a:pt x="680786" y="67381"/>
                    <a:pt x="635910" y="66173"/>
                    <a:pt x="591079" y="67202"/>
                  </a:cubicBezTo>
                  <a:cubicBezTo>
                    <a:pt x="591661" y="80893"/>
                    <a:pt x="592198" y="94628"/>
                    <a:pt x="592198" y="108364"/>
                  </a:cubicBezTo>
                  <a:cubicBezTo>
                    <a:pt x="591706" y="135209"/>
                    <a:pt x="591214" y="162098"/>
                    <a:pt x="592019" y="188943"/>
                  </a:cubicBezTo>
                  <a:cubicBezTo>
                    <a:pt x="592645" y="212835"/>
                    <a:pt x="592556" y="236772"/>
                    <a:pt x="592780" y="260664"/>
                  </a:cubicBezTo>
                  <a:cubicBezTo>
                    <a:pt x="580923" y="261469"/>
                    <a:pt x="569111" y="261648"/>
                    <a:pt x="557300" y="260753"/>
                  </a:cubicBezTo>
                  <a:cubicBezTo>
                    <a:pt x="557613" y="230777"/>
                    <a:pt x="557523" y="200800"/>
                    <a:pt x="556405" y="170868"/>
                  </a:cubicBezTo>
                  <a:cubicBezTo>
                    <a:pt x="556315" y="150242"/>
                    <a:pt x="556405" y="129571"/>
                    <a:pt x="555913" y="108945"/>
                  </a:cubicBezTo>
                  <a:cubicBezTo>
                    <a:pt x="555958" y="94852"/>
                    <a:pt x="556405" y="80803"/>
                    <a:pt x="557076" y="66754"/>
                  </a:cubicBezTo>
                  <a:cubicBezTo>
                    <a:pt x="546875" y="66754"/>
                    <a:pt x="536629" y="66844"/>
                    <a:pt x="526473" y="66889"/>
                  </a:cubicBezTo>
                  <a:cubicBezTo>
                    <a:pt x="506026" y="66844"/>
                    <a:pt x="485579" y="66889"/>
                    <a:pt x="465177" y="67247"/>
                  </a:cubicBezTo>
                  <a:cubicBezTo>
                    <a:pt x="342496" y="67515"/>
                    <a:pt x="219770" y="67067"/>
                    <a:pt x="97089" y="67559"/>
                  </a:cubicBezTo>
                  <a:cubicBezTo>
                    <a:pt x="74226" y="67202"/>
                    <a:pt x="51274" y="73287"/>
                    <a:pt x="32796" y="86977"/>
                  </a:cubicBezTo>
                  <a:cubicBezTo>
                    <a:pt x="23400" y="79371"/>
                    <a:pt x="11991" y="75300"/>
                    <a:pt x="0" y="74629"/>
                  </a:cubicBezTo>
                  <a:cubicBezTo>
                    <a:pt x="358" y="70871"/>
                    <a:pt x="761" y="67112"/>
                    <a:pt x="1163" y="63399"/>
                  </a:cubicBezTo>
                  <a:cubicBezTo>
                    <a:pt x="14362" y="52884"/>
                    <a:pt x="28769" y="43533"/>
                    <a:pt x="44831" y="38120"/>
                  </a:cubicBezTo>
                  <a:cubicBezTo>
                    <a:pt x="73868" y="27740"/>
                    <a:pt x="105142" y="29798"/>
                    <a:pt x="135432" y="29485"/>
                  </a:cubicBezTo>
                  <a:lnTo>
                    <a:pt x="140443" y="29574"/>
                  </a:lnTo>
                  <a:cubicBezTo>
                    <a:pt x="273728" y="28992"/>
                    <a:pt x="407058" y="30335"/>
                    <a:pt x="540343" y="28724"/>
                  </a:cubicBezTo>
                  <a:cubicBezTo>
                    <a:pt x="591616" y="28187"/>
                    <a:pt x="642845" y="30603"/>
                    <a:pt x="694119" y="29485"/>
                  </a:cubicBezTo>
                  <a:cubicBezTo>
                    <a:pt x="725035" y="29619"/>
                    <a:pt x="755952" y="29708"/>
                    <a:pt x="786823" y="29529"/>
                  </a:cubicBezTo>
                  <a:cubicBezTo>
                    <a:pt x="782976" y="19731"/>
                    <a:pt x="779172" y="9888"/>
                    <a:pt x="775593" y="0"/>
                  </a:cubicBezTo>
                  <a:close/>
                </a:path>
              </a:pathLst>
            </a:custGeom>
            <a:solidFill>
              <a:srgbClr val="4569A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28" name="Freeform: Shape 5127">
              <a:extLst>
                <a:ext uri="{FF2B5EF4-FFF2-40B4-BE49-F238E27FC236}">
                  <a16:creationId xmlns:a16="http://schemas.microsoft.com/office/drawing/2014/main" id="{97D7D417-51CE-810D-0B9F-E836262864FA}"/>
                </a:ext>
              </a:extLst>
            </p:cNvPr>
            <p:cNvSpPr/>
            <p:nvPr/>
          </p:nvSpPr>
          <p:spPr>
            <a:xfrm flipH="1">
              <a:off x="1622654" y="4397985"/>
              <a:ext cx="1393094" cy="537140"/>
            </a:xfrm>
            <a:custGeom>
              <a:avLst/>
              <a:gdLst>
                <a:gd name="connsiteX0" fmla="*/ 48675 w 1167927"/>
                <a:gd name="connsiteY0" fmla="*/ 3042 h 450322"/>
                <a:gd name="connsiteX1" fmla="*/ 52344 w 1167927"/>
                <a:gd name="connsiteY1" fmla="*/ 0 h 450322"/>
                <a:gd name="connsiteX2" fmla="*/ 51181 w 1167927"/>
                <a:gd name="connsiteY2" fmla="*/ 11230 h 450322"/>
                <a:gd name="connsiteX3" fmla="*/ 83976 w 1167927"/>
                <a:gd name="connsiteY3" fmla="*/ 23579 h 450322"/>
                <a:gd name="connsiteX4" fmla="*/ 67556 w 1167927"/>
                <a:gd name="connsiteY4" fmla="*/ 38836 h 450322"/>
                <a:gd name="connsiteX5" fmla="*/ 42546 w 1167927"/>
                <a:gd name="connsiteY5" fmla="*/ 98700 h 450322"/>
                <a:gd name="connsiteX6" fmla="*/ 40174 w 1167927"/>
                <a:gd name="connsiteY6" fmla="*/ 197176 h 450322"/>
                <a:gd name="connsiteX7" fmla="*/ 153594 w 1167927"/>
                <a:gd name="connsiteY7" fmla="*/ 196549 h 450322"/>
                <a:gd name="connsiteX8" fmla="*/ 608480 w 1167927"/>
                <a:gd name="connsiteY8" fmla="*/ 197355 h 450322"/>
                <a:gd name="connsiteX9" fmla="*/ 643960 w 1167927"/>
                <a:gd name="connsiteY9" fmla="*/ 197265 h 450322"/>
                <a:gd name="connsiteX10" fmla="*/ 885564 w 1167927"/>
                <a:gd name="connsiteY10" fmla="*/ 194939 h 450322"/>
                <a:gd name="connsiteX11" fmla="*/ 971826 w 1167927"/>
                <a:gd name="connsiteY11" fmla="*/ 196415 h 450322"/>
                <a:gd name="connsiteX12" fmla="*/ 1007261 w 1167927"/>
                <a:gd name="connsiteY12" fmla="*/ 194625 h 450322"/>
                <a:gd name="connsiteX13" fmla="*/ 1055582 w 1167927"/>
                <a:gd name="connsiteY13" fmla="*/ 197713 h 450322"/>
                <a:gd name="connsiteX14" fmla="*/ 1089048 w 1167927"/>
                <a:gd name="connsiteY14" fmla="*/ 194849 h 450322"/>
                <a:gd name="connsiteX15" fmla="*/ 1119830 w 1167927"/>
                <a:gd name="connsiteY15" fmla="*/ 197534 h 450322"/>
                <a:gd name="connsiteX16" fmla="*/ 1115222 w 1167927"/>
                <a:gd name="connsiteY16" fmla="*/ 166438 h 450322"/>
                <a:gd name="connsiteX17" fmla="*/ 1117549 w 1167927"/>
                <a:gd name="connsiteY17" fmla="*/ 131316 h 450322"/>
                <a:gd name="connsiteX18" fmla="*/ 1113030 w 1167927"/>
                <a:gd name="connsiteY18" fmla="*/ 84696 h 450322"/>
                <a:gd name="connsiteX19" fmla="*/ 1103052 w 1167927"/>
                <a:gd name="connsiteY19" fmla="*/ 55703 h 450322"/>
                <a:gd name="connsiteX20" fmla="*/ 1103724 w 1167927"/>
                <a:gd name="connsiteY20" fmla="*/ 37493 h 450322"/>
                <a:gd name="connsiteX21" fmla="*/ 1089004 w 1167927"/>
                <a:gd name="connsiteY21" fmla="*/ 13870 h 450322"/>
                <a:gd name="connsiteX22" fmla="*/ 1096207 w 1167927"/>
                <a:gd name="connsiteY22" fmla="*/ 9888 h 450322"/>
                <a:gd name="connsiteX23" fmla="*/ 1123052 w 1167927"/>
                <a:gd name="connsiteY23" fmla="*/ 18523 h 450322"/>
                <a:gd name="connsiteX24" fmla="*/ 1142201 w 1167927"/>
                <a:gd name="connsiteY24" fmla="*/ 48276 h 450322"/>
                <a:gd name="connsiteX25" fmla="*/ 1153163 w 1167927"/>
                <a:gd name="connsiteY25" fmla="*/ 92436 h 450322"/>
                <a:gd name="connsiteX26" fmla="*/ 1157100 w 1167927"/>
                <a:gd name="connsiteY26" fmla="*/ 119728 h 450322"/>
                <a:gd name="connsiteX27" fmla="*/ 1159740 w 1167927"/>
                <a:gd name="connsiteY27" fmla="*/ 206169 h 450322"/>
                <a:gd name="connsiteX28" fmla="*/ 1164169 w 1167927"/>
                <a:gd name="connsiteY28" fmla="*/ 253282 h 450322"/>
                <a:gd name="connsiteX29" fmla="*/ 1167928 w 1167927"/>
                <a:gd name="connsiteY29" fmla="*/ 255921 h 450322"/>
                <a:gd name="connsiteX30" fmla="*/ 1160277 w 1167927"/>
                <a:gd name="connsiteY30" fmla="*/ 260798 h 450322"/>
                <a:gd name="connsiteX31" fmla="*/ 1159516 w 1167927"/>
                <a:gd name="connsiteY31" fmla="*/ 351578 h 450322"/>
                <a:gd name="connsiteX32" fmla="*/ 1153073 w 1167927"/>
                <a:gd name="connsiteY32" fmla="*/ 383971 h 450322"/>
                <a:gd name="connsiteX33" fmla="*/ 1139517 w 1167927"/>
                <a:gd name="connsiteY33" fmla="*/ 413143 h 450322"/>
                <a:gd name="connsiteX34" fmla="*/ 1123320 w 1167927"/>
                <a:gd name="connsiteY34" fmla="*/ 412651 h 450322"/>
                <a:gd name="connsiteX35" fmla="*/ 1116743 w 1167927"/>
                <a:gd name="connsiteY35" fmla="*/ 425491 h 450322"/>
                <a:gd name="connsiteX36" fmla="*/ 1101173 w 1167927"/>
                <a:gd name="connsiteY36" fmla="*/ 407192 h 450322"/>
                <a:gd name="connsiteX37" fmla="*/ 1118041 w 1167927"/>
                <a:gd name="connsiteY37" fmla="*/ 356276 h 450322"/>
                <a:gd name="connsiteX38" fmla="*/ 1098131 w 1167927"/>
                <a:gd name="connsiteY38" fmla="*/ 356545 h 450322"/>
                <a:gd name="connsiteX39" fmla="*/ 974063 w 1167927"/>
                <a:gd name="connsiteY39" fmla="*/ 356366 h 450322"/>
                <a:gd name="connsiteX40" fmla="*/ 878898 w 1167927"/>
                <a:gd name="connsiteY40" fmla="*/ 356545 h 450322"/>
                <a:gd name="connsiteX41" fmla="*/ 745702 w 1167927"/>
                <a:gd name="connsiteY41" fmla="*/ 355471 h 450322"/>
                <a:gd name="connsiteX42" fmla="*/ 710044 w 1167927"/>
                <a:gd name="connsiteY42" fmla="*/ 356142 h 450322"/>
                <a:gd name="connsiteX43" fmla="*/ 643781 w 1167927"/>
                <a:gd name="connsiteY43" fmla="*/ 356097 h 450322"/>
                <a:gd name="connsiteX44" fmla="*/ 642573 w 1167927"/>
                <a:gd name="connsiteY44" fmla="*/ 356187 h 450322"/>
                <a:gd name="connsiteX45" fmla="*/ 624095 w 1167927"/>
                <a:gd name="connsiteY45" fmla="*/ 400704 h 450322"/>
                <a:gd name="connsiteX46" fmla="*/ 612552 w 1167927"/>
                <a:gd name="connsiteY46" fmla="*/ 441375 h 450322"/>
                <a:gd name="connsiteX47" fmla="*/ 610091 w 1167927"/>
                <a:gd name="connsiteY47" fmla="*/ 441509 h 450322"/>
                <a:gd name="connsiteX48" fmla="*/ 608659 w 1167927"/>
                <a:gd name="connsiteY48" fmla="*/ 422762 h 450322"/>
                <a:gd name="connsiteX49" fmla="*/ 610091 w 1167927"/>
                <a:gd name="connsiteY49" fmla="*/ 356589 h 450322"/>
                <a:gd name="connsiteX50" fmla="*/ 287102 w 1167927"/>
                <a:gd name="connsiteY50" fmla="*/ 354844 h 450322"/>
                <a:gd name="connsiteX51" fmla="*/ 43575 w 1167927"/>
                <a:gd name="connsiteY51" fmla="*/ 353816 h 450322"/>
                <a:gd name="connsiteX52" fmla="*/ 52255 w 1167927"/>
                <a:gd name="connsiteY52" fmla="*/ 381197 h 450322"/>
                <a:gd name="connsiteX53" fmla="*/ 76594 w 1167927"/>
                <a:gd name="connsiteY53" fmla="*/ 416990 h 450322"/>
                <a:gd name="connsiteX54" fmla="*/ 56952 w 1167927"/>
                <a:gd name="connsiteY54" fmla="*/ 450323 h 450322"/>
                <a:gd name="connsiteX55" fmla="*/ 40443 w 1167927"/>
                <a:gd name="connsiteY55" fmla="*/ 434797 h 450322"/>
                <a:gd name="connsiteX56" fmla="*/ 8497 w 1167927"/>
                <a:gd name="connsiteY56" fmla="*/ 375157 h 450322"/>
                <a:gd name="connsiteX57" fmla="*/ 3844 w 1167927"/>
                <a:gd name="connsiteY57" fmla="*/ 345180 h 450322"/>
                <a:gd name="connsiteX58" fmla="*/ 3621 w 1167927"/>
                <a:gd name="connsiteY58" fmla="*/ 342765 h 450322"/>
                <a:gd name="connsiteX59" fmla="*/ 444 w 1167927"/>
                <a:gd name="connsiteY59" fmla="*/ 301781 h 450322"/>
                <a:gd name="connsiteX60" fmla="*/ 131 w 1167927"/>
                <a:gd name="connsiteY60" fmla="*/ 209480 h 450322"/>
                <a:gd name="connsiteX61" fmla="*/ 1697 w 1167927"/>
                <a:gd name="connsiteY61" fmla="*/ 98610 h 450322"/>
                <a:gd name="connsiteX62" fmla="*/ 48675 w 1167927"/>
                <a:gd name="connsiteY62" fmla="*/ 3042 h 450322"/>
                <a:gd name="connsiteX63" fmla="*/ 406831 w 1167927"/>
                <a:gd name="connsiteY63" fmla="*/ 249389 h 450322"/>
                <a:gd name="connsiteX64" fmla="*/ 406562 w 1167927"/>
                <a:gd name="connsiteY64" fmla="*/ 306121 h 450322"/>
                <a:gd name="connsiteX65" fmla="*/ 511123 w 1167927"/>
                <a:gd name="connsiteY65" fmla="*/ 306121 h 450322"/>
                <a:gd name="connsiteX66" fmla="*/ 510138 w 1167927"/>
                <a:gd name="connsiteY66" fmla="*/ 250015 h 450322"/>
                <a:gd name="connsiteX67" fmla="*/ 406831 w 1167927"/>
                <a:gd name="connsiteY67" fmla="*/ 249389 h 45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7927" h="450322">
                  <a:moveTo>
                    <a:pt x="48675" y="3042"/>
                  </a:moveTo>
                  <a:cubicBezTo>
                    <a:pt x="49615" y="2282"/>
                    <a:pt x="51449" y="761"/>
                    <a:pt x="52344" y="0"/>
                  </a:cubicBezTo>
                  <a:cubicBezTo>
                    <a:pt x="51941" y="3714"/>
                    <a:pt x="51539" y="7472"/>
                    <a:pt x="51181" y="11230"/>
                  </a:cubicBezTo>
                  <a:cubicBezTo>
                    <a:pt x="63172" y="11901"/>
                    <a:pt x="74581" y="15973"/>
                    <a:pt x="83976" y="23579"/>
                  </a:cubicBezTo>
                  <a:cubicBezTo>
                    <a:pt x="78249" y="28366"/>
                    <a:pt x="72746" y="33422"/>
                    <a:pt x="67556" y="38836"/>
                  </a:cubicBezTo>
                  <a:cubicBezTo>
                    <a:pt x="51628" y="54674"/>
                    <a:pt x="45096" y="76955"/>
                    <a:pt x="42546" y="98700"/>
                  </a:cubicBezTo>
                  <a:cubicBezTo>
                    <a:pt x="38922" y="131361"/>
                    <a:pt x="39011" y="164336"/>
                    <a:pt x="40174" y="197176"/>
                  </a:cubicBezTo>
                  <a:cubicBezTo>
                    <a:pt x="77981" y="197310"/>
                    <a:pt x="115832" y="199413"/>
                    <a:pt x="153594" y="196549"/>
                  </a:cubicBezTo>
                  <a:cubicBezTo>
                    <a:pt x="305223" y="196549"/>
                    <a:pt x="456896" y="195118"/>
                    <a:pt x="608480" y="197355"/>
                  </a:cubicBezTo>
                  <a:cubicBezTo>
                    <a:pt x="620292" y="198249"/>
                    <a:pt x="632104" y="198071"/>
                    <a:pt x="643960" y="197265"/>
                  </a:cubicBezTo>
                  <a:cubicBezTo>
                    <a:pt x="724450" y="194715"/>
                    <a:pt x="805119" y="198921"/>
                    <a:pt x="885564" y="194939"/>
                  </a:cubicBezTo>
                  <a:cubicBezTo>
                    <a:pt x="914288" y="196728"/>
                    <a:pt x="943102" y="195431"/>
                    <a:pt x="971826" y="196415"/>
                  </a:cubicBezTo>
                  <a:cubicBezTo>
                    <a:pt x="983593" y="196728"/>
                    <a:pt x="995628" y="197086"/>
                    <a:pt x="1007261" y="194625"/>
                  </a:cubicBezTo>
                  <a:cubicBezTo>
                    <a:pt x="1023278" y="196549"/>
                    <a:pt x="1039385" y="197847"/>
                    <a:pt x="1055582" y="197713"/>
                  </a:cubicBezTo>
                  <a:cubicBezTo>
                    <a:pt x="1066722" y="197489"/>
                    <a:pt x="1077997" y="197131"/>
                    <a:pt x="1089048" y="194849"/>
                  </a:cubicBezTo>
                  <a:cubicBezTo>
                    <a:pt x="1099249" y="195744"/>
                    <a:pt x="1109540" y="196594"/>
                    <a:pt x="1119830" y="197534"/>
                  </a:cubicBezTo>
                  <a:cubicBezTo>
                    <a:pt x="1118265" y="187109"/>
                    <a:pt x="1116788" y="176774"/>
                    <a:pt x="1115222" y="166438"/>
                  </a:cubicBezTo>
                  <a:cubicBezTo>
                    <a:pt x="1119920" y="155208"/>
                    <a:pt x="1119652" y="142994"/>
                    <a:pt x="1117549" y="131316"/>
                  </a:cubicBezTo>
                  <a:cubicBezTo>
                    <a:pt x="1116117" y="115746"/>
                    <a:pt x="1116341" y="99997"/>
                    <a:pt x="1113030" y="84696"/>
                  </a:cubicBezTo>
                  <a:cubicBezTo>
                    <a:pt x="1110345" y="74808"/>
                    <a:pt x="1107124" y="65054"/>
                    <a:pt x="1103052" y="55703"/>
                  </a:cubicBezTo>
                  <a:cubicBezTo>
                    <a:pt x="1103410" y="49618"/>
                    <a:pt x="1103858" y="43534"/>
                    <a:pt x="1103724" y="37493"/>
                  </a:cubicBezTo>
                  <a:cubicBezTo>
                    <a:pt x="1104484" y="27203"/>
                    <a:pt x="1094596" y="21118"/>
                    <a:pt x="1089004" y="13870"/>
                  </a:cubicBezTo>
                  <a:cubicBezTo>
                    <a:pt x="1090838" y="12886"/>
                    <a:pt x="1094417" y="10872"/>
                    <a:pt x="1096207" y="9888"/>
                  </a:cubicBezTo>
                  <a:cubicBezTo>
                    <a:pt x="1104305" y="15212"/>
                    <a:pt x="1112582" y="21968"/>
                    <a:pt x="1123052" y="18523"/>
                  </a:cubicBezTo>
                  <a:cubicBezTo>
                    <a:pt x="1130524" y="27650"/>
                    <a:pt x="1137101" y="37583"/>
                    <a:pt x="1142201" y="48276"/>
                  </a:cubicBezTo>
                  <a:cubicBezTo>
                    <a:pt x="1146094" y="62906"/>
                    <a:pt x="1149628" y="77671"/>
                    <a:pt x="1153163" y="92436"/>
                  </a:cubicBezTo>
                  <a:cubicBezTo>
                    <a:pt x="1154774" y="101429"/>
                    <a:pt x="1155982" y="110556"/>
                    <a:pt x="1157100" y="119728"/>
                  </a:cubicBezTo>
                  <a:cubicBezTo>
                    <a:pt x="1160187" y="148408"/>
                    <a:pt x="1159606" y="177310"/>
                    <a:pt x="1159740" y="206169"/>
                  </a:cubicBezTo>
                  <a:cubicBezTo>
                    <a:pt x="1159919" y="221873"/>
                    <a:pt x="1158398" y="238248"/>
                    <a:pt x="1164169" y="253282"/>
                  </a:cubicBezTo>
                  <a:lnTo>
                    <a:pt x="1167928" y="255921"/>
                  </a:lnTo>
                  <a:cubicBezTo>
                    <a:pt x="1166004" y="257174"/>
                    <a:pt x="1162201" y="259590"/>
                    <a:pt x="1160277" y="260798"/>
                  </a:cubicBezTo>
                  <a:cubicBezTo>
                    <a:pt x="1160187" y="291043"/>
                    <a:pt x="1161574" y="321333"/>
                    <a:pt x="1159516" y="351578"/>
                  </a:cubicBezTo>
                  <a:cubicBezTo>
                    <a:pt x="1158129" y="362495"/>
                    <a:pt x="1155579" y="373233"/>
                    <a:pt x="1153073" y="383971"/>
                  </a:cubicBezTo>
                  <a:cubicBezTo>
                    <a:pt x="1149047" y="393904"/>
                    <a:pt x="1144573" y="403658"/>
                    <a:pt x="1139517" y="413143"/>
                  </a:cubicBezTo>
                  <a:cubicBezTo>
                    <a:pt x="1134058" y="412919"/>
                    <a:pt x="1128689" y="412740"/>
                    <a:pt x="1123320" y="412651"/>
                  </a:cubicBezTo>
                  <a:cubicBezTo>
                    <a:pt x="1121039" y="416856"/>
                    <a:pt x="1118891" y="421151"/>
                    <a:pt x="1116743" y="425491"/>
                  </a:cubicBezTo>
                  <a:cubicBezTo>
                    <a:pt x="1111553" y="419362"/>
                    <a:pt x="1106318" y="413277"/>
                    <a:pt x="1101173" y="407192"/>
                  </a:cubicBezTo>
                  <a:cubicBezTo>
                    <a:pt x="1111017" y="391935"/>
                    <a:pt x="1117549" y="374531"/>
                    <a:pt x="1118041" y="356276"/>
                  </a:cubicBezTo>
                  <a:cubicBezTo>
                    <a:pt x="1111329" y="356321"/>
                    <a:pt x="1104708" y="356411"/>
                    <a:pt x="1098131" y="356545"/>
                  </a:cubicBezTo>
                  <a:cubicBezTo>
                    <a:pt x="1056745" y="356231"/>
                    <a:pt x="1015404" y="356500"/>
                    <a:pt x="974063" y="356366"/>
                  </a:cubicBezTo>
                  <a:cubicBezTo>
                    <a:pt x="942341" y="355874"/>
                    <a:pt x="910619" y="356545"/>
                    <a:pt x="878898" y="356545"/>
                  </a:cubicBezTo>
                  <a:cubicBezTo>
                    <a:pt x="834514" y="356097"/>
                    <a:pt x="790086" y="356768"/>
                    <a:pt x="745702" y="355471"/>
                  </a:cubicBezTo>
                  <a:cubicBezTo>
                    <a:pt x="733801" y="355202"/>
                    <a:pt x="721900" y="355605"/>
                    <a:pt x="710044" y="356142"/>
                  </a:cubicBezTo>
                  <a:cubicBezTo>
                    <a:pt x="687941" y="356903"/>
                    <a:pt x="665839" y="355829"/>
                    <a:pt x="643781" y="356097"/>
                  </a:cubicBezTo>
                  <a:lnTo>
                    <a:pt x="642573" y="356187"/>
                  </a:lnTo>
                  <a:cubicBezTo>
                    <a:pt x="638278" y="371712"/>
                    <a:pt x="634654" y="387953"/>
                    <a:pt x="624095" y="400704"/>
                  </a:cubicBezTo>
                  <a:cubicBezTo>
                    <a:pt x="613939" y="411890"/>
                    <a:pt x="614073" y="427236"/>
                    <a:pt x="612552" y="441375"/>
                  </a:cubicBezTo>
                  <a:lnTo>
                    <a:pt x="610091" y="441509"/>
                  </a:lnTo>
                  <a:cubicBezTo>
                    <a:pt x="609509" y="435200"/>
                    <a:pt x="609017" y="428981"/>
                    <a:pt x="608659" y="422762"/>
                  </a:cubicBezTo>
                  <a:cubicBezTo>
                    <a:pt x="609688" y="400704"/>
                    <a:pt x="610673" y="378647"/>
                    <a:pt x="610091" y="356589"/>
                  </a:cubicBezTo>
                  <a:cubicBezTo>
                    <a:pt x="502488" y="352965"/>
                    <a:pt x="394750" y="354710"/>
                    <a:pt x="287102" y="354844"/>
                  </a:cubicBezTo>
                  <a:cubicBezTo>
                    <a:pt x="205941" y="354531"/>
                    <a:pt x="124736" y="354621"/>
                    <a:pt x="43575" y="353816"/>
                  </a:cubicBezTo>
                  <a:cubicBezTo>
                    <a:pt x="46170" y="362987"/>
                    <a:pt x="48631" y="372249"/>
                    <a:pt x="52255" y="381197"/>
                  </a:cubicBezTo>
                  <a:cubicBezTo>
                    <a:pt x="57981" y="394530"/>
                    <a:pt x="66840" y="406297"/>
                    <a:pt x="76594" y="416990"/>
                  </a:cubicBezTo>
                  <a:cubicBezTo>
                    <a:pt x="68451" y="427102"/>
                    <a:pt x="61561" y="438153"/>
                    <a:pt x="56952" y="450323"/>
                  </a:cubicBezTo>
                  <a:cubicBezTo>
                    <a:pt x="51270" y="445312"/>
                    <a:pt x="45722" y="440166"/>
                    <a:pt x="40443" y="434797"/>
                  </a:cubicBezTo>
                  <a:cubicBezTo>
                    <a:pt x="25499" y="417617"/>
                    <a:pt x="15253" y="396767"/>
                    <a:pt x="8497" y="375157"/>
                  </a:cubicBezTo>
                  <a:cubicBezTo>
                    <a:pt x="6484" y="365225"/>
                    <a:pt x="5052" y="355202"/>
                    <a:pt x="3844" y="345180"/>
                  </a:cubicBezTo>
                  <a:lnTo>
                    <a:pt x="3621" y="342765"/>
                  </a:lnTo>
                  <a:cubicBezTo>
                    <a:pt x="2234" y="329118"/>
                    <a:pt x="936" y="315427"/>
                    <a:pt x="444" y="301781"/>
                  </a:cubicBezTo>
                  <a:cubicBezTo>
                    <a:pt x="-317" y="270999"/>
                    <a:pt x="131" y="240217"/>
                    <a:pt x="131" y="209480"/>
                  </a:cubicBezTo>
                  <a:cubicBezTo>
                    <a:pt x="310" y="172523"/>
                    <a:pt x="-675" y="135522"/>
                    <a:pt x="1697" y="98610"/>
                  </a:cubicBezTo>
                  <a:cubicBezTo>
                    <a:pt x="4023" y="62236"/>
                    <a:pt x="20488" y="26532"/>
                    <a:pt x="48675" y="3042"/>
                  </a:cubicBezTo>
                  <a:close/>
                  <a:moveTo>
                    <a:pt x="406831" y="249389"/>
                  </a:moveTo>
                  <a:cubicBezTo>
                    <a:pt x="406249" y="268270"/>
                    <a:pt x="406249" y="287195"/>
                    <a:pt x="406562" y="306121"/>
                  </a:cubicBezTo>
                  <a:cubicBezTo>
                    <a:pt x="441416" y="305987"/>
                    <a:pt x="476269" y="306837"/>
                    <a:pt x="511123" y="306121"/>
                  </a:cubicBezTo>
                  <a:cubicBezTo>
                    <a:pt x="511749" y="287375"/>
                    <a:pt x="511436" y="268672"/>
                    <a:pt x="510138" y="250015"/>
                  </a:cubicBezTo>
                  <a:cubicBezTo>
                    <a:pt x="475688" y="249568"/>
                    <a:pt x="441282" y="249120"/>
                    <a:pt x="406831" y="249389"/>
                  </a:cubicBezTo>
                  <a:close/>
                </a:path>
              </a:pathLst>
            </a:custGeom>
            <a:solidFill>
              <a:srgbClr val="496BB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43" name="Freeform: Shape 5242">
              <a:extLst>
                <a:ext uri="{FF2B5EF4-FFF2-40B4-BE49-F238E27FC236}">
                  <a16:creationId xmlns:a16="http://schemas.microsoft.com/office/drawing/2014/main" id="{C78A7C25-D55D-EBAE-1F92-2E20C54669B4}"/>
                </a:ext>
              </a:extLst>
            </p:cNvPr>
            <p:cNvSpPr/>
            <p:nvPr/>
          </p:nvSpPr>
          <p:spPr>
            <a:xfrm flipH="1">
              <a:off x="1656542" y="4822735"/>
              <a:ext cx="1291273" cy="145151"/>
            </a:xfrm>
            <a:custGeom>
              <a:avLst/>
              <a:gdLst>
                <a:gd name="connsiteX0" fmla="*/ 567143 w 1082564"/>
                <a:gd name="connsiteY0" fmla="*/ 44607 h 121690"/>
                <a:gd name="connsiteX1" fmla="*/ 585621 w 1082564"/>
                <a:gd name="connsiteY1" fmla="*/ 90 h 121690"/>
                <a:gd name="connsiteX2" fmla="*/ 586829 w 1082564"/>
                <a:gd name="connsiteY2" fmla="*/ 0 h 121690"/>
                <a:gd name="connsiteX3" fmla="*/ 587187 w 1082564"/>
                <a:gd name="connsiteY3" fmla="*/ 65054 h 121690"/>
                <a:gd name="connsiteX4" fmla="*/ 586918 w 1082564"/>
                <a:gd name="connsiteY4" fmla="*/ 85277 h 121690"/>
                <a:gd name="connsiteX5" fmla="*/ 671435 w 1082564"/>
                <a:gd name="connsiteY5" fmla="*/ 83980 h 121690"/>
                <a:gd name="connsiteX6" fmla="*/ 735102 w 1082564"/>
                <a:gd name="connsiteY6" fmla="*/ 84338 h 121690"/>
                <a:gd name="connsiteX7" fmla="*/ 986146 w 1082564"/>
                <a:gd name="connsiteY7" fmla="*/ 84561 h 121690"/>
                <a:gd name="connsiteX8" fmla="*/ 1044221 w 1082564"/>
                <a:gd name="connsiteY8" fmla="*/ 51095 h 121690"/>
                <a:gd name="connsiteX9" fmla="*/ 1059791 w 1082564"/>
                <a:gd name="connsiteY9" fmla="*/ 69394 h 121690"/>
                <a:gd name="connsiteX10" fmla="*/ 1066368 w 1082564"/>
                <a:gd name="connsiteY10" fmla="*/ 56553 h 121690"/>
                <a:gd name="connsiteX11" fmla="*/ 1082564 w 1082564"/>
                <a:gd name="connsiteY11" fmla="*/ 57045 h 121690"/>
                <a:gd name="connsiteX12" fmla="*/ 1071245 w 1082564"/>
                <a:gd name="connsiteY12" fmla="*/ 74987 h 121690"/>
                <a:gd name="connsiteX13" fmla="*/ 977467 w 1082564"/>
                <a:gd name="connsiteY13" fmla="*/ 121294 h 121690"/>
                <a:gd name="connsiteX14" fmla="*/ 82637 w 1082564"/>
                <a:gd name="connsiteY14" fmla="*/ 121607 h 121690"/>
                <a:gd name="connsiteX15" fmla="*/ 21476 w 1082564"/>
                <a:gd name="connsiteY15" fmla="*/ 109840 h 121690"/>
                <a:gd name="connsiteX16" fmla="*/ 0 w 1082564"/>
                <a:gd name="connsiteY16" fmla="*/ 94225 h 121690"/>
                <a:gd name="connsiteX17" fmla="*/ 19642 w 1082564"/>
                <a:gd name="connsiteY17" fmla="*/ 60893 h 121690"/>
                <a:gd name="connsiteX18" fmla="*/ 34451 w 1082564"/>
                <a:gd name="connsiteY18" fmla="*/ 73018 h 121690"/>
                <a:gd name="connsiteX19" fmla="*/ 54853 w 1082564"/>
                <a:gd name="connsiteY19" fmla="*/ 83845 h 121690"/>
                <a:gd name="connsiteX20" fmla="*/ 118520 w 1082564"/>
                <a:gd name="connsiteY20" fmla="*/ 85769 h 121690"/>
                <a:gd name="connsiteX21" fmla="*/ 553139 w 1082564"/>
                <a:gd name="connsiteY21" fmla="*/ 85411 h 121690"/>
                <a:gd name="connsiteX22" fmla="*/ 555599 w 1082564"/>
                <a:gd name="connsiteY22" fmla="*/ 85277 h 121690"/>
                <a:gd name="connsiteX23" fmla="*/ 567143 w 1082564"/>
                <a:gd name="connsiteY23" fmla="*/ 44607 h 1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82564" h="121690">
                  <a:moveTo>
                    <a:pt x="567143" y="44607"/>
                  </a:moveTo>
                  <a:cubicBezTo>
                    <a:pt x="577702" y="31856"/>
                    <a:pt x="581326" y="15615"/>
                    <a:pt x="585621" y="90"/>
                  </a:cubicBezTo>
                  <a:lnTo>
                    <a:pt x="586829" y="0"/>
                  </a:lnTo>
                  <a:cubicBezTo>
                    <a:pt x="587142" y="21699"/>
                    <a:pt x="587321" y="43354"/>
                    <a:pt x="587187" y="65054"/>
                  </a:cubicBezTo>
                  <a:cubicBezTo>
                    <a:pt x="587053" y="71765"/>
                    <a:pt x="587008" y="78476"/>
                    <a:pt x="586918" y="85277"/>
                  </a:cubicBezTo>
                  <a:cubicBezTo>
                    <a:pt x="615105" y="85188"/>
                    <a:pt x="643293" y="85098"/>
                    <a:pt x="671435" y="83980"/>
                  </a:cubicBezTo>
                  <a:cubicBezTo>
                    <a:pt x="692642" y="84069"/>
                    <a:pt x="713895" y="84203"/>
                    <a:pt x="735102" y="84338"/>
                  </a:cubicBezTo>
                  <a:cubicBezTo>
                    <a:pt x="818769" y="85098"/>
                    <a:pt x="902480" y="86485"/>
                    <a:pt x="986146" y="84561"/>
                  </a:cubicBezTo>
                  <a:cubicBezTo>
                    <a:pt x="1010441" y="85411"/>
                    <a:pt x="1030396" y="69573"/>
                    <a:pt x="1044221" y="51095"/>
                  </a:cubicBezTo>
                  <a:cubicBezTo>
                    <a:pt x="1049366" y="57179"/>
                    <a:pt x="1054601" y="63264"/>
                    <a:pt x="1059791" y="69394"/>
                  </a:cubicBezTo>
                  <a:cubicBezTo>
                    <a:pt x="1061938" y="65054"/>
                    <a:pt x="1064086" y="60759"/>
                    <a:pt x="1066368" y="56553"/>
                  </a:cubicBezTo>
                  <a:cubicBezTo>
                    <a:pt x="1071737" y="56643"/>
                    <a:pt x="1077106" y="56822"/>
                    <a:pt x="1082564" y="57045"/>
                  </a:cubicBezTo>
                  <a:cubicBezTo>
                    <a:pt x="1079030" y="63175"/>
                    <a:pt x="1075316" y="69215"/>
                    <a:pt x="1071245" y="74987"/>
                  </a:cubicBezTo>
                  <a:cubicBezTo>
                    <a:pt x="1048382" y="102726"/>
                    <a:pt x="1014020" y="121876"/>
                    <a:pt x="977467" y="121294"/>
                  </a:cubicBezTo>
                  <a:cubicBezTo>
                    <a:pt x="679175" y="122099"/>
                    <a:pt x="380929" y="120757"/>
                    <a:pt x="82637" y="121607"/>
                  </a:cubicBezTo>
                  <a:cubicBezTo>
                    <a:pt x="61654" y="122323"/>
                    <a:pt x="40670" y="118431"/>
                    <a:pt x="21476" y="109840"/>
                  </a:cubicBezTo>
                  <a:cubicBezTo>
                    <a:pt x="14004" y="105008"/>
                    <a:pt x="6801" y="99908"/>
                    <a:pt x="0" y="94225"/>
                  </a:cubicBezTo>
                  <a:cubicBezTo>
                    <a:pt x="4608" y="82056"/>
                    <a:pt x="11499" y="71005"/>
                    <a:pt x="19642" y="60893"/>
                  </a:cubicBezTo>
                  <a:cubicBezTo>
                    <a:pt x="24339" y="65188"/>
                    <a:pt x="29306" y="69215"/>
                    <a:pt x="34451" y="73018"/>
                  </a:cubicBezTo>
                  <a:cubicBezTo>
                    <a:pt x="40804" y="77224"/>
                    <a:pt x="47202" y="82056"/>
                    <a:pt x="54853" y="83845"/>
                  </a:cubicBezTo>
                  <a:cubicBezTo>
                    <a:pt x="75926" y="86709"/>
                    <a:pt x="97268" y="85635"/>
                    <a:pt x="118520" y="85769"/>
                  </a:cubicBezTo>
                  <a:cubicBezTo>
                    <a:pt x="263393" y="85367"/>
                    <a:pt x="408266" y="85143"/>
                    <a:pt x="553139" y="85411"/>
                  </a:cubicBezTo>
                  <a:lnTo>
                    <a:pt x="555599" y="85277"/>
                  </a:lnTo>
                  <a:cubicBezTo>
                    <a:pt x="557121" y="71139"/>
                    <a:pt x="556986" y="55792"/>
                    <a:pt x="567143" y="44607"/>
                  </a:cubicBezTo>
                  <a:close/>
                </a:path>
              </a:pathLst>
            </a:custGeom>
            <a:solidFill>
              <a:srgbClr val="3F66B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74" name="Rectangle: Rounded Corners 5073">
              <a:extLst>
                <a:ext uri="{FF2B5EF4-FFF2-40B4-BE49-F238E27FC236}">
                  <a16:creationId xmlns:a16="http://schemas.microsoft.com/office/drawing/2014/main" id="{412FB975-BFD1-EA21-783A-BC2EF7C03132}"/>
                </a:ext>
              </a:extLst>
            </p:cNvPr>
            <p:cNvSpPr/>
            <p:nvPr/>
          </p:nvSpPr>
          <p:spPr>
            <a:xfrm flipH="1">
              <a:off x="1244690" y="3962820"/>
              <a:ext cx="106573" cy="36672"/>
            </a:xfrm>
            <a:prstGeom prst="roundRect">
              <a:avLst/>
            </a:prstGeom>
            <a:solidFill>
              <a:srgbClr val="FE9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86" name="Rectangle: Rounded Corners 5085">
              <a:extLst>
                <a:ext uri="{FF2B5EF4-FFF2-40B4-BE49-F238E27FC236}">
                  <a16:creationId xmlns:a16="http://schemas.microsoft.com/office/drawing/2014/main" id="{8E04EBCD-DCD5-7135-DC48-FDE8F48C3B2A}"/>
                </a:ext>
              </a:extLst>
            </p:cNvPr>
            <p:cNvSpPr/>
            <p:nvPr/>
          </p:nvSpPr>
          <p:spPr>
            <a:xfrm flipH="1">
              <a:off x="1222228" y="3997409"/>
              <a:ext cx="151499" cy="66231"/>
            </a:xfrm>
            <a:prstGeom prst="round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39" name="Rectangle: Rounded Corners 6138">
              <a:extLst>
                <a:ext uri="{FF2B5EF4-FFF2-40B4-BE49-F238E27FC236}">
                  <a16:creationId xmlns:a16="http://schemas.microsoft.com/office/drawing/2014/main" id="{7FF9907F-BCDA-7319-29AD-24645C8F6964}"/>
                </a:ext>
              </a:extLst>
            </p:cNvPr>
            <p:cNvSpPr/>
            <p:nvPr/>
          </p:nvSpPr>
          <p:spPr>
            <a:xfrm>
              <a:off x="4297367" y="2193945"/>
              <a:ext cx="112690" cy="42204"/>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75" name="Oval 4974">
              <a:extLst>
                <a:ext uri="{FF2B5EF4-FFF2-40B4-BE49-F238E27FC236}">
                  <a16:creationId xmlns:a16="http://schemas.microsoft.com/office/drawing/2014/main" id="{8EDB0E0F-1162-0AB1-CB09-5A1AADC81ECD}"/>
                </a:ext>
              </a:extLst>
            </p:cNvPr>
            <p:cNvSpPr/>
            <p:nvPr/>
          </p:nvSpPr>
          <p:spPr>
            <a:xfrm flipH="1">
              <a:off x="2897298" y="3444840"/>
              <a:ext cx="70543" cy="69986"/>
            </a:xfrm>
            <a:prstGeom prst="ellipse">
              <a:avLst/>
            </a:prstGeom>
            <a:solidFill>
              <a:srgbClr val="1C93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2" name="Freeform: Shape 6141">
              <a:extLst>
                <a:ext uri="{FF2B5EF4-FFF2-40B4-BE49-F238E27FC236}">
                  <a16:creationId xmlns:a16="http://schemas.microsoft.com/office/drawing/2014/main" id="{1B1B492A-BA6C-0A51-94B8-C0EF5F80AA38}"/>
                </a:ext>
              </a:extLst>
            </p:cNvPr>
            <p:cNvSpPr/>
            <p:nvPr/>
          </p:nvSpPr>
          <p:spPr>
            <a:xfrm>
              <a:off x="2039456" y="3362120"/>
              <a:ext cx="215028" cy="615403"/>
            </a:xfrm>
            <a:custGeom>
              <a:avLst/>
              <a:gdLst>
                <a:gd name="connsiteX0" fmla="*/ 0 w 239417"/>
                <a:gd name="connsiteY0" fmla="*/ 647700 h 647700"/>
                <a:gd name="connsiteX1" fmla="*/ 123825 w 239417"/>
                <a:gd name="connsiteY1" fmla="*/ 571500 h 647700"/>
                <a:gd name="connsiteX2" fmla="*/ 180975 w 239417"/>
                <a:gd name="connsiteY2" fmla="*/ 504825 h 647700"/>
                <a:gd name="connsiteX3" fmla="*/ 190500 w 239417"/>
                <a:gd name="connsiteY3" fmla="*/ 466725 h 647700"/>
                <a:gd name="connsiteX4" fmla="*/ 209550 w 239417"/>
                <a:gd name="connsiteY4" fmla="*/ 438150 h 647700"/>
                <a:gd name="connsiteX5" fmla="*/ 228600 w 239417"/>
                <a:gd name="connsiteY5" fmla="*/ 342900 h 647700"/>
                <a:gd name="connsiteX6" fmla="*/ 238125 w 239417"/>
                <a:gd name="connsiteY6" fmla="*/ 314325 h 647700"/>
                <a:gd name="connsiteX7" fmla="*/ 238125 w 239417"/>
                <a:gd name="connsiteY7" fmla="*/ 0 h 647700"/>
                <a:gd name="connsiteX0" fmla="*/ 0 w 220466"/>
                <a:gd name="connsiteY0" fmla="*/ 666652 h 666652"/>
                <a:gd name="connsiteX1" fmla="*/ 104874 w 220466"/>
                <a:gd name="connsiteY1" fmla="*/ 571500 h 666652"/>
                <a:gd name="connsiteX2" fmla="*/ 162024 w 220466"/>
                <a:gd name="connsiteY2" fmla="*/ 504825 h 666652"/>
                <a:gd name="connsiteX3" fmla="*/ 171549 w 220466"/>
                <a:gd name="connsiteY3" fmla="*/ 466725 h 666652"/>
                <a:gd name="connsiteX4" fmla="*/ 190599 w 220466"/>
                <a:gd name="connsiteY4" fmla="*/ 438150 h 666652"/>
                <a:gd name="connsiteX5" fmla="*/ 209649 w 220466"/>
                <a:gd name="connsiteY5" fmla="*/ 342900 h 666652"/>
                <a:gd name="connsiteX6" fmla="*/ 219174 w 220466"/>
                <a:gd name="connsiteY6" fmla="*/ 314325 h 666652"/>
                <a:gd name="connsiteX7" fmla="*/ 219174 w 220466"/>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181074 w 229991"/>
                <a:gd name="connsiteY3" fmla="*/ 466725 h 666652"/>
                <a:gd name="connsiteX4" fmla="*/ 200124 w 229991"/>
                <a:gd name="connsiteY4" fmla="*/ 438150 h 666652"/>
                <a:gd name="connsiteX5" fmla="*/ 219174 w 229991"/>
                <a:gd name="connsiteY5" fmla="*/ 342900 h 666652"/>
                <a:gd name="connsiteX6" fmla="*/ 228699 w 229991"/>
                <a:gd name="connsiteY6" fmla="*/ 314325 h 666652"/>
                <a:gd name="connsiteX7" fmla="*/ 228699 w 229991"/>
                <a:gd name="connsiteY7" fmla="*/ 0 h 666652"/>
                <a:gd name="connsiteX0" fmla="*/ 0 w 229991"/>
                <a:gd name="connsiteY0" fmla="*/ 666652 h 666652"/>
                <a:gd name="connsiteX1" fmla="*/ 114399 w 229991"/>
                <a:gd name="connsiteY1" fmla="*/ 571500 h 666652"/>
                <a:gd name="connsiteX2" fmla="*/ 171549 w 229991"/>
                <a:gd name="connsiteY2" fmla="*/ 504825 h 666652"/>
                <a:gd name="connsiteX3" fmla="*/ 200124 w 229991"/>
                <a:gd name="connsiteY3" fmla="*/ 438150 h 666652"/>
                <a:gd name="connsiteX4" fmla="*/ 219174 w 229991"/>
                <a:gd name="connsiteY4" fmla="*/ 342900 h 666652"/>
                <a:gd name="connsiteX5" fmla="*/ 228699 w 229991"/>
                <a:gd name="connsiteY5" fmla="*/ 314325 h 666652"/>
                <a:gd name="connsiteX6" fmla="*/ 228699 w 229991"/>
                <a:gd name="connsiteY6" fmla="*/ 0 h 666652"/>
                <a:gd name="connsiteX0" fmla="*/ 0 w 232935"/>
                <a:gd name="connsiteY0" fmla="*/ 666652 h 666652"/>
                <a:gd name="connsiteX1" fmla="*/ 114399 w 232935"/>
                <a:gd name="connsiteY1" fmla="*/ 571500 h 666652"/>
                <a:gd name="connsiteX2" fmla="*/ 171549 w 232935"/>
                <a:gd name="connsiteY2" fmla="*/ 504825 h 666652"/>
                <a:gd name="connsiteX3" fmla="*/ 200124 w 232935"/>
                <a:gd name="connsiteY3" fmla="*/ 438150 h 666652"/>
                <a:gd name="connsiteX4" fmla="*/ 219174 w 232935"/>
                <a:gd name="connsiteY4" fmla="*/ 342900 h 666652"/>
                <a:gd name="connsiteX5" fmla="*/ 232176 w 232935"/>
                <a:gd name="connsiteY5" fmla="*/ 196113 h 666652"/>
                <a:gd name="connsiteX6" fmla="*/ 228699 w 232935"/>
                <a:gd name="connsiteY6" fmla="*/ 0 h 66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35" h="666652">
                  <a:moveTo>
                    <a:pt x="0" y="666652"/>
                  </a:moveTo>
                  <a:cubicBezTo>
                    <a:pt x="46854" y="647911"/>
                    <a:pt x="85808" y="598471"/>
                    <a:pt x="114399" y="571500"/>
                  </a:cubicBezTo>
                  <a:cubicBezTo>
                    <a:pt x="142991" y="544529"/>
                    <a:pt x="131749" y="544625"/>
                    <a:pt x="171549" y="504825"/>
                  </a:cubicBezTo>
                  <a:cubicBezTo>
                    <a:pt x="185837" y="482600"/>
                    <a:pt x="192187" y="465137"/>
                    <a:pt x="200124" y="438150"/>
                  </a:cubicBezTo>
                  <a:cubicBezTo>
                    <a:pt x="208061" y="411163"/>
                    <a:pt x="213832" y="383240"/>
                    <a:pt x="219174" y="342900"/>
                  </a:cubicBezTo>
                  <a:cubicBezTo>
                    <a:pt x="224516" y="302560"/>
                    <a:pt x="229267" y="300848"/>
                    <a:pt x="232176" y="196113"/>
                  </a:cubicBezTo>
                  <a:cubicBezTo>
                    <a:pt x="235085" y="91378"/>
                    <a:pt x="228699" y="104775"/>
                    <a:pt x="228699" y="0"/>
                  </a:cubicBezTo>
                </a:path>
              </a:pathLst>
            </a:custGeom>
            <a:noFill/>
            <a:ln w="76200">
              <a:solidFill>
                <a:srgbClr val="D2DB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72" name="Freeform: Shape 5071">
              <a:extLst>
                <a:ext uri="{FF2B5EF4-FFF2-40B4-BE49-F238E27FC236}">
                  <a16:creationId xmlns:a16="http://schemas.microsoft.com/office/drawing/2014/main" id="{ABAECBF1-1BBB-C716-5914-8ADA18D59C6D}"/>
                </a:ext>
              </a:extLst>
            </p:cNvPr>
            <p:cNvSpPr/>
            <p:nvPr/>
          </p:nvSpPr>
          <p:spPr>
            <a:xfrm flipH="1">
              <a:off x="2022770" y="3952047"/>
              <a:ext cx="36415" cy="55128"/>
            </a:xfrm>
            <a:custGeom>
              <a:avLst/>
              <a:gdLst>
                <a:gd name="connsiteX0" fmla="*/ 18736 w 30529"/>
                <a:gd name="connsiteY0" fmla="*/ 2 h 46218"/>
                <a:gd name="connsiteX1" fmla="*/ 28803 w 30529"/>
                <a:gd name="connsiteY1" fmla="*/ 31052 h 46218"/>
                <a:gd name="connsiteX2" fmla="*/ 2226 w 30529"/>
                <a:gd name="connsiteY2" fmla="*/ 40896 h 46218"/>
                <a:gd name="connsiteX3" fmla="*/ 18736 w 30529"/>
                <a:gd name="connsiteY3" fmla="*/ 2 h 46218"/>
              </a:gdLst>
              <a:ahLst/>
              <a:cxnLst>
                <a:cxn ang="0">
                  <a:pos x="connsiteX0" y="connsiteY0"/>
                </a:cxn>
                <a:cxn ang="0">
                  <a:pos x="connsiteX1" y="connsiteY1"/>
                </a:cxn>
                <a:cxn ang="0">
                  <a:pos x="connsiteX2" y="connsiteY2"/>
                </a:cxn>
                <a:cxn ang="0">
                  <a:pos x="connsiteX3" y="connsiteY3"/>
                </a:cxn>
              </a:cxnLst>
              <a:rect l="l" t="t" r="r" b="b"/>
              <a:pathLst>
                <a:path w="30529" h="46218">
                  <a:moveTo>
                    <a:pt x="18736" y="2"/>
                  </a:moveTo>
                  <a:cubicBezTo>
                    <a:pt x="34485" y="-222"/>
                    <a:pt x="30503" y="20762"/>
                    <a:pt x="28803" y="31052"/>
                  </a:cubicBezTo>
                  <a:cubicBezTo>
                    <a:pt x="28579" y="43848"/>
                    <a:pt x="9922" y="52215"/>
                    <a:pt x="2226" y="40896"/>
                  </a:cubicBezTo>
                  <a:cubicBezTo>
                    <a:pt x="-3188" y="26623"/>
                    <a:pt x="884" y="2731"/>
                    <a:pt x="18736" y="2"/>
                  </a:cubicBezTo>
                  <a:close/>
                </a:path>
              </a:pathLst>
            </a:custGeom>
            <a:solidFill>
              <a:srgbClr val="FB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3" name="Rectangle: Rounded Corners 6142">
              <a:extLst>
                <a:ext uri="{FF2B5EF4-FFF2-40B4-BE49-F238E27FC236}">
                  <a16:creationId xmlns:a16="http://schemas.microsoft.com/office/drawing/2014/main" id="{D5EE1E58-3445-A610-6840-773A903214B8}"/>
                </a:ext>
              </a:extLst>
            </p:cNvPr>
            <p:cNvSpPr/>
            <p:nvPr/>
          </p:nvSpPr>
          <p:spPr>
            <a:xfrm>
              <a:off x="2668358" y="2193945"/>
              <a:ext cx="211026" cy="42204"/>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166" name="Group 6165">
              <a:extLst>
                <a:ext uri="{FF2B5EF4-FFF2-40B4-BE49-F238E27FC236}">
                  <a16:creationId xmlns:a16="http://schemas.microsoft.com/office/drawing/2014/main" id="{17406437-CBFD-F06E-76DE-E690EAC2AD78}"/>
                </a:ext>
              </a:extLst>
            </p:cNvPr>
            <p:cNvGrpSpPr/>
            <p:nvPr/>
          </p:nvGrpSpPr>
          <p:grpSpPr>
            <a:xfrm>
              <a:off x="1276589" y="2822659"/>
              <a:ext cx="233273" cy="541699"/>
              <a:chOff x="1335680" y="2721561"/>
              <a:chExt cx="330300" cy="767013"/>
            </a:xfrm>
          </p:grpSpPr>
          <p:sp>
            <p:nvSpPr>
              <p:cNvPr id="6145" name="Freeform: Shape 6144">
                <a:extLst>
                  <a:ext uri="{FF2B5EF4-FFF2-40B4-BE49-F238E27FC236}">
                    <a16:creationId xmlns:a16="http://schemas.microsoft.com/office/drawing/2014/main" id="{4698D40F-5227-D7ED-8058-1AF44A75BF0B}"/>
                  </a:ext>
                </a:extLst>
              </p:cNvPr>
              <p:cNvSpPr/>
              <p:nvPr/>
            </p:nvSpPr>
            <p:spPr>
              <a:xfrm>
                <a:off x="1416289" y="2721561"/>
                <a:ext cx="175454" cy="94605"/>
              </a:xfrm>
              <a:custGeom>
                <a:avLst/>
                <a:gdLst>
                  <a:gd name="connsiteX0" fmla="*/ 0 w 136691"/>
                  <a:gd name="connsiteY0" fmla="*/ 488 h 73703"/>
                  <a:gd name="connsiteX1" fmla="*/ 135370 w 136691"/>
                  <a:gd name="connsiteY1" fmla="*/ 1301 h 73703"/>
                  <a:gd name="connsiteX2" fmla="*/ 122667 w 136691"/>
                  <a:gd name="connsiteY2" fmla="*/ 11210 h 73703"/>
                  <a:gd name="connsiteX3" fmla="*/ 136692 w 136691"/>
                  <a:gd name="connsiteY3" fmla="*/ 17765 h 73703"/>
                  <a:gd name="connsiteX4" fmla="*/ 82269 w 136691"/>
                  <a:gd name="connsiteY4" fmla="*/ 18680 h 73703"/>
                  <a:gd name="connsiteX5" fmla="*/ 90908 w 136691"/>
                  <a:gd name="connsiteY5" fmla="*/ 73509 h 73703"/>
                  <a:gd name="connsiteX6" fmla="*/ 38467 w 136691"/>
                  <a:gd name="connsiteY6" fmla="*/ 73204 h 73703"/>
                  <a:gd name="connsiteX7" fmla="*/ 47461 w 136691"/>
                  <a:gd name="connsiteY7" fmla="*/ 17969 h 73703"/>
                  <a:gd name="connsiteX8" fmla="*/ 53610 w 136691"/>
                  <a:gd name="connsiteY8" fmla="*/ 11363 h 73703"/>
                  <a:gd name="connsiteX9" fmla="*/ 711 w 136691"/>
                  <a:gd name="connsiteY9" fmla="*/ 3385 h 73703"/>
                  <a:gd name="connsiteX10" fmla="*/ 0 w 136691"/>
                  <a:gd name="connsiteY10" fmla="*/ 488 h 7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691" h="73703">
                    <a:moveTo>
                      <a:pt x="0" y="488"/>
                    </a:moveTo>
                    <a:cubicBezTo>
                      <a:pt x="45123" y="488"/>
                      <a:pt x="90298" y="-1036"/>
                      <a:pt x="135370" y="1301"/>
                    </a:cubicBezTo>
                    <a:cubicBezTo>
                      <a:pt x="131102" y="4554"/>
                      <a:pt x="126884" y="7857"/>
                      <a:pt x="122667" y="11210"/>
                    </a:cubicBezTo>
                    <a:cubicBezTo>
                      <a:pt x="127342" y="13345"/>
                      <a:pt x="132017" y="15530"/>
                      <a:pt x="136692" y="17765"/>
                    </a:cubicBezTo>
                    <a:cubicBezTo>
                      <a:pt x="118551" y="18070"/>
                      <a:pt x="100410" y="18274"/>
                      <a:pt x="82269" y="18680"/>
                    </a:cubicBezTo>
                    <a:cubicBezTo>
                      <a:pt x="83133" y="37177"/>
                      <a:pt x="85826" y="55622"/>
                      <a:pt x="90908" y="73509"/>
                    </a:cubicBezTo>
                    <a:cubicBezTo>
                      <a:pt x="73427" y="73865"/>
                      <a:pt x="55947" y="73712"/>
                      <a:pt x="38467" y="73204"/>
                    </a:cubicBezTo>
                    <a:cubicBezTo>
                      <a:pt x="42786" y="55013"/>
                      <a:pt x="45581" y="36516"/>
                      <a:pt x="47461" y="17969"/>
                    </a:cubicBezTo>
                    <a:cubicBezTo>
                      <a:pt x="48985" y="16343"/>
                      <a:pt x="52085" y="12989"/>
                      <a:pt x="53610" y="11363"/>
                    </a:cubicBezTo>
                    <a:cubicBezTo>
                      <a:pt x="35926" y="8873"/>
                      <a:pt x="18192" y="6840"/>
                      <a:pt x="711" y="3385"/>
                    </a:cubicBezTo>
                    <a:lnTo>
                      <a:pt x="0" y="488"/>
                    </a:lnTo>
                    <a:close/>
                  </a:path>
                </a:pathLst>
              </a:custGeom>
              <a:solidFill>
                <a:srgbClr val="EBF4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6" name="Freeform: Shape 6145">
                <a:extLst>
                  <a:ext uri="{FF2B5EF4-FFF2-40B4-BE49-F238E27FC236}">
                    <a16:creationId xmlns:a16="http://schemas.microsoft.com/office/drawing/2014/main" id="{6E04FF94-343D-7109-047D-8B7548B3F69C}"/>
                  </a:ext>
                </a:extLst>
              </p:cNvPr>
              <p:cNvSpPr/>
              <p:nvPr/>
            </p:nvSpPr>
            <p:spPr>
              <a:xfrm>
                <a:off x="1335680" y="2806222"/>
                <a:ext cx="330300" cy="607509"/>
              </a:xfrm>
              <a:custGeom>
                <a:avLst/>
                <a:gdLst>
                  <a:gd name="connsiteX0" fmla="*/ 61886 w 257326"/>
                  <a:gd name="connsiteY0" fmla="*/ 13590 h 473291"/>
                  <a:gd name="connsiteX1" fmla="*/ 163109 w 257326"/>
                  <a:gd name="connsiteY1" fmla="*/ 2360 h 473291"/>
                  <a:gd name="connsiteX2" fmla="*/ 257217 w 257326"/>
                  <a:gd name="connsiteY2" fmla="*/ 115524 h 473291"/>
                  <a:gd name="connsiteX3" fmla="*/ 256100 w 257326"/>
                  <a:gd name="connsiteY3" fmla="*/ 359333 h 473291"/>
                  <a:gd name="connsiteX4" fmla="*/ 149236 w 257326"/>
                  <a:gd name="connsiteY4" fmla="*/ 455627 h 473291"/>
                  <a:gd name="connsiteX5" fmla="*/ 146340 w 257326"/>
                  <a:gd name="connsiteY5" fmla="*/ 471126 h 473291"/>
                  <a:gd name="connsiteX6" fmla="*/ 111379 w 257326"/>
                  <a:gd name="connsiteY6" fmla="*/ 472600 h 473291"/>
                  <a:gd name="connsiteX7" fmla="*/ 105535 w 257326"/>
                  <a:gd name="connsiteY7" fmla="*/ 455831 h 473291"/>
                  <a:gd name="connsiteX8" fmla="*/ 18134 w 257326"/>
                  <a:gd name="connsiteY8" fmla="*/ 408166 h 473291"/>
                  <a:gd name="connsiteX9" fmla="*/ 197 w 257326"/>
                  <a:gd name="connsiteY9" fmla="*/ 324170 h 473291"/>
                  <a:gd name="connsiteX10" fmla="*/ 654 w 257326"/>
                  <a:gd name="connsiteY10" fmla="*/ 115372 h 473291"/>
                  <a:gd name="connsiteX11" fmla="*/ 61886 w 257326"/>
                  <a:gd name="connsiteY11" fmla="*/ 13590 h 473291"/>
                  <a:gd name="connsiteX12" fmla="*/ 36580 w 257326"/>
                  <a:gd name="connsiteY12" fmla="*/ 165526 h 473291"/>
                  <a:gd name="connsiteX13" fmla="*/ 103198 w 257326"/>
                  <a:gd name="connsiteY13" fmla="*/ 165170 h 473291"/>
                  <a:gd name="connsiteX14" fmla="*/ 36580 w 257326"/>
                  <a:gd name="connsiteY14" fmla="*/ 165526 h 473291"/>
                  <a:gd name="connsiteX15" fmla="*/ 140191 w 257326"/>
                  <a:gd name="connsiteY15" fmla="*/ 172437 h 473291"/>
                  <a:gd name="connsiteX16" fmla="*/ 156909 w 257326"/>
                  <a:gd name="connsiteY16" fmla="*/ 174673 h 473291"/>
                  <a:gd name="connsiteX17" fmla="*/ 140191 w 257326"/>
                  <a:gd name="connsiteY17" fmla="*/ 172437 h 473291"/>
                  <a:gd name="connsiteX18" fmla="*/ 35411 w 257326"/>
                  <a:gd name="connsiteY18" fmla="*/ 200436 h 473291"/>
                  <a:gd name="connsiteX19" fmla="*/ 103909 w 257326"/>
                  <a:gd name="connsiteY19" fmla="*/ 201046 h 473291"/>
                  <a:gd name="connsiteX20" fmla="*/ 71896 w 257326"/>
                  <a:gd name="connsiteY20" fmla="*/ 192255 h 473291"/>
                  <a:gd name="connsiteX21" fmla="*/ 35411 w 257326"/>
                  <a:gd name="connsiteY21" fmla="*/ 200436 h 473291"/>
                  <a:gd name="connsiteX22" fmla="*/ 140496 w 257326"/>
                  <a:gd name="connsiteY22" fmla="*/ 209684 h 473291"/>
                  <a:gd name="connsiteX23" fmla="*/ 137803 w 257326"/>
                  <a:gd name="connsiteY23" fmla="*/ 239360 h 473291"/>
                  <a:gd name="connsiteX24" fmla="*/ 157570 w 257326"/>
                  <a:gd name="connsiteY24" fmla="*/ 222337 h 473291"/>
                  <a:gd name="connsiteX25" fmla="*/ 140496 w 257326"/>
                  <a:gd name="connsiteY25" fmla="*/ 209684 h 473291"/>
                  <a:gd name="connsiteX26" fmla="*/ 38613 w 257326"/>
                  <a:gd name="connsiteY26" fmla="*/ 221981 h 473291"/>
                  <a:gd name="connsiteX27" fmla="*/ 39222 w 257326"/>
                  <a:gd name="connsiteY27" fmla="*/ 354811 h 473291"/>
                  <a:gd name="connsiteX28" fmla="*/ 46336 w 257326"/>
                  <a:gd name="connsiteY28" fmla="*/ 368226 h 473291"/>
                  <a:gd name="connsiteX29" fmla="*/ 96033 w 257326"/>
                  <a:gd name="connsiteY29" fmla="*/ 367007 h 473291"/>
                  <a:gd name="connsiteX30" fmla="*/ 101064 w 257326"/>
                  <a:gd name="connsiteY30" fmla="*/ 344699 h 473291"/>
                  <a:gd name="connsiteX31" fmla="*/ 101216 w 257326"/>
                  <a:gd name="connsiteY31" fmla="*/ 222489 h 473291"/>
                  <a:gd name="connsiteX32" fmla="*/ 38613 w 257326"/>
                  <a:gd name="connsiteY32" fmla="*/ 221981 h 473291"/>
                  <a:gd name="connsiteX33" fmla="*/ 134093 w 257326"/>
                  <a:gd name="connsiteY33" fmla="*/ 290378 h 473291"/>
                  <a:gd name="connsiteX34" fmla="*/ 129927 w 257326"/>
                  <a:gd name="connsiteY34" fmla="*/ 306791 h 473291"/>
                  <a:gd name="connsiteX35" fmla="*/ 158027 w 257326"/>
                  <a:gd name="connsiteY35" fmla="*/ 304047 h 473291"/>
                  <a:gd name="connsiteX36" fmla="*/ 134093 w 257326"/>
                  <a:gd name="connsiteY36" fmla="*/ 290378 h 473291"/>
                  <a:gd name="connsiteX37" fmla="*/ 134093 w 257326"/>
                  <a:gd name="connsiteY37" fmla="*/ 370005 h 473291"/>
                  <a:gd name="connsiteX38" fmla="*/ 129114 w 257326"/>
                  <a:gd name="connsiteY38" fmla="*/ 389111 h 473291"/>
                  <a:gd name="connsiteX39" fmla="*/ 157824 w 257326"/>
                  <a:gd name="connsiteY39" fmla="*/ 384639 h 473291"/>
                  <a:gd name="connsiteX40" fmla="*/ 134093 w 257326"/>
                  <a:gd name="connsiteY40" fmla="*/ 370005 h 47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7326" h="473291">
                    <a:moveTo>
                      <a:pt x="61886" y="13590"/>
                    </a:moveTo>
                    <a:cubicBezTo>
                      <a:pt x="92679" y="-3331"/>
                      <a:pt x="129368" y="-943"/>
                      <a:pt x="163109" y="2360"/>
                    </a:cubicBezTo>
                    <a:cubicBezTo>
                      <a:pt x="216972" y="9830"/>
                      <a:pt x="258539" y="61712"/>
                      <a:pt x="257217" y="115524"/>
                    </a:cubicBezTo>
                    <a:cubicBezTo>
                      <a:pt x="256913" y="196777"/>
                      <a:pt x="258183" y="278081"/>
                      <a:pt x="256100" y="359333"/>
                    </a:cubicBezTo>
                    <a:cubicBezTo>
                      <a:pt x="254270" y="413959"/>
                      <a:pt x="202388" y="456440"/>
                      <a:pt x="149236" y="455627"/>
                    </a:cubicBezTo>
                    <a:cubicBezTo>
                      <a:pt x="148474" y="459489"/>
                      <a:pt x="147051" y="467264"/>
                      <a:pt x="146340" y="471126"/>
                    </a:cubicBezTo>
                    <a:cubicBezTo>
                      <a:pt x="135567" y="475445"/>
                      <a:pt x="122863" y="471837"/>
                      <a:pt x="111379" y="472600"/>
                    </a:cubicBezTo>
                    <a:cubicBezTo>
                      <a:pt x="109448" y="466959"/>
                      <a:pt x="107517" y="461369"/>
                      <a:pt x="105535" y="455831"/>
                    </a:cubicBezTo>
                    <a:cubicBezTo>
                      <a:pt x="71947" y="451257"/>
                      <a:pt x="37393" y="437436"/>
                      <a:pt x="18134" y="408166"/>
                    </a:cubicBezTo>
                    <a:cubicBezTo>
                      <a:pt x="95" y="384029"/>
                      <a:pt x="44" y="352829"/>
                      <a:pt x="197" y="324170"/>
                    </a:cubicBezTo>
                    <a:cubicBezTo>
                      <a:pt x="552" y="254553"/>
                      <a:pt x="-718" y="184937"/>
                      <a:pt x="654" y="115372"/>
                    </a:cubicBezTo>
                    <a:cubicBezTo>
                      <a:pt x="756" y="73805"/>
                      <a:pt x="24435" y="32391"/>
                      <a:pt x="61886" y="13590"/>
                    </a:cubicBezTo>
                    <a:close/>
                    <a:moveTo>
                      <a:pt x="36580" y="165526"/>
                    </a:moveTo>
                    <a:cubicBezTo>
                      <a:pt x="58684" y="167711"/>
                      <a:pt x="81144" y="168118"/>
                      <a:pt x="103198" y="165170"/>
                    </a:cubicBezTo>
                    <a:cubicBezTo>
                      <a:pt x="81043" y="162985"/>
                      <a:pt x="58684" y="163239"/>
                      <a:pt x="36580" y="165526"/>
                    </a:cubicBezTo>
                    <a:close/>
                    <a:moveTo>
                      <a:pt x="140191" y="172437"/>
                    </a:moveTo>
                    <a:cubicBezTo>
                      <a:pt x="140140" y="179653"/>
                      <a:pt x="152996" y="178433"/>
                      <a:pt x="156909" y="174673"/>
                    </a:cubicBezTo>
                    <a:cubicBezTo>
                      <a:pt x="156909" y="167355"/>
                      <a:pt x="144053" y="168524"/>
                      <a:pt x="140191" y="172437"/>
                    </a:cubicBezTo>
                    <a:close/>
                    <a:moveTo>
                      <a:pt x="35411" y="200436"/>
                    </a:moveTo>
                    <a:cubicBezTo>
                      <a:pt x="58176" y="202773"/>
                      <a:pt x="81144" y="202672"/>
                      <a:pt x="103909" y="201046"/>
                    </a:cubicBezTo>
                    <a:cubicBezTo>
                      <a:pt x="97202" y="189561"/>
                      <a:pt x="83025" y="192814"/>
                      <a:pt x="71896" y="192255"/>
                    </a:cubicBezTo>
                    <a:cubicBezTo>
                      <a:pt x="59548" y="193068"/>
                      <a:pt x="44761" y="190222"/>
                      <a:pt x="35411" y="200436"/>
                    </a:cubicBezTo>
                    <a:close/>
                    <a:moveTo>
                      <a:pt x="140496" y="209684"/>
                    </a:moveTo>
                    <a:cubicBezTo>
                      <a:pt x="125658" y="210650"/>
                      <a:pt x="124845" y="234431"/>
                      <a:pt x="137803" y="239360"/>
                    </a:cubicBezTo>
                    <a:cubicBezTo>
                      <a:pt x="148017" y="241494"/>
                      <a:pt x="159348" y="233364"/>
                      <a:pt x="157570" y="222337"/>
                    </a:cubicBezTo>
                    <a:cubicBezTo>
                      <a:pt x="157417" y="213698"/>
                      <a:pt x="148677" y="207499"/>
                      <a:pt x="140496" y="209684"/>
                    </a:cubicBezTo>
                    <a:close/>
                    <a:moveTo>
                      <a:pt x="38613" y="221981"/>
                    </a:moveTo>
                    <a:cubicBezTo>
                      <a:pt x="39222" y="266241"/>
                      <a:pt x="37495" y="310551"/>
                      <a:pt x="39222" y="354811"/>
                    </a:cubicBezTo>
                    <a:cubicBezTo>
                      <a:pt x="39680" y="359943"/>
                      <a:pt x="39019" y="367820"/>
                      <a:pt x="46336" y="368226"/>
                    </a:cubicBezTo>
                    <a:cubicBezTo>
                      <a:pt x="62597" y="372240"/>
                      <a:pt x="79925" y="371173"/>
                      <a:pt x="96033" y="367007"/>
                    </a:cubicBezTo>
                    <a:cubicBezTo>
                      <a:pt x="101064" y="360858"/>
                      <a:pt x="100251" y="352118"/>
                      <a:pt x="101064" y="344699"/>
                    </a:cubicBezTo>
                    <a:cubicBezTo>
                      <a:pt x="102080" y="303945"/>
                      <a:pt x="100302" y="263192"/>
                      <a:pt x="101216" y="222489"/>
                    </a:cubicBezTo>
                    <a:cubicBezTo>
                      <a:pt x="80382" y="220508"/>
                      <a:pt x="59447" y="220355"/>
                      <a:pt x="38613" y="221981"/>
                    </a:cubicBezTo>
                    <a:close/>
                    <a:moveTo>
                      <a:pt x="134093" y="290378"/>
                    </a:moveTo>
                    <a:cubicBezTo>
                      <a:pt x="131197" y="294951"/>
                      <a:pt x="126014" y="301303"/>
                      <a:pt x="129927" y="306791"/>
                    </a:cubicBezTo>
                    <a:cubicBezTo>
                      <a:pt x="134144" y="319444"/>
                      <a:pt x="157671" y="319241"/>
                      <a:pt x="158027" y="304047"/>
                    </a:cubicBezTo>
                    <a:cubicBezTo>
                      <a:pt x="161889" y="290683"/>
                      <a:pt x="143697" y="282705"/>
                      <a:pt x="134093" y="290378"/>
                    </a:cubicBezTo>
                    <a:close/>
                    <a:moveTo>
                      <a:pt x="134093" y="370005"/>
                    </a:moveTo>
                    <a:cubicBezTo>
                      <a:pt x="127081" y="373155"/>
                      <a:pt x="127742" y="382810"/>
                      <a:pt x="129114" y="389111"/>
                    </a:cubicBezTo>
                    <a:cubicBezTo>
                      <a:pt x="133179" y="403796"/>
                      <a:pt x="157671" y="399121"/>
                      <a:pt x="157824" y="384639"/>
                    </a:cubicBezTo>
                    <a:cubicBezTo>
                      <a:pt x="161838" y="370919"/>
                      <a:pt x="144561" y="361163"/>
                      <a:pt x="134093" y="370005"/>
                    </a:cubicBezTo>
                    <a:close/>
                  </a:path>
                </a:pathLst>
              </a:custGeom>
              <a:solidFill>
                <a:srgbClr val="F6F7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7" name="Freeform: Shape 6146">
                <a:extLst>
                  <a:ext uri="{FF2B5EF4-FFF2-40B4-BE49-F238E27FC236}">
                    <a16:creationId xmlns:a16="http://schemas.microsoft.com/office/drawing/2014/main" id="{7BA9FB93-D710-F324-D854-159006C61F16}"/>
                  </a:ext>
                </a:extLst>
              </p:cNvPr>
              <p:cNvSpPr/>
              <p:nvPr/>
            </p:nvSpPr>
            <p:spPr>
              <a:xfrm>
                <a:off x="1515627" y="3023577"/>
                <a:ext cx="21459" cy="10711"/>
              </a:xfrm>
              <a:custGeom>
                <a:avLst/>
                <a:gdLst>
                  <a:gd name="connsiteX0" fmla="*/ 0 w 16718"/>
                  <a:gd name="connsiteY0" fmla="*/ 3103 h 8345"/>
                  <a:gd name="connsiteX1" fmla="*/ 16718 w 16718"/>
                  <a:gd name="connsiteY1" fmla="*/ 5339 h 8345"/>
                  <a:gd name="connsiteX2" fmla="*/ 0 w 16718"/>
                  <a:gd name="connsiteY2" fmla="*/ 3103 h 8345"/>
                </a:gdLst>
                <a:ahLst/>
                <a:cxnLst>
                  <a:cxn ang="0">
                    <a:pos x="connsiteX0" y="connsiteY0"/>
                  </a:cxn>
                  <a:cxn ang="0">
                    <a:pos x="connsiteX1" y="connsiteY1"/>
                  </a:cxn>
                  <a:cxn ang="0">
                    <a:pos x="connsiteX2" y="connsiteY2"/>
                  </a:cxn>
                </a:cxnLst>
                <a:rect l="l" t="t" r="r" b="b"/>
                <a:pathLst>
                  <a:path w="16718" h="8345">
                    <a:moveTo>
                      <a:pt x="0" y="3103"/>
                    </a:moveTo>
                    <a:cubicBezTo>
                      <a:pt x="3862" y="-810"/>
                      <a:pt x="16718" y="-1979"/>
                      <a:pt x="16718" y="5339"/>
                    </a:cubicBezTo>
                    <a:cubicBezTo>
                      <a:pt x="12805" y="9099"/>
                      <a:pt x="-51" y="10319"/>
                      <a:pt x="0" y="3103"/>
                    </a:cubicBezTo>
                    <a:close/>
                  </a:path>
                </a:pathLst>
              </a:custGeom>
              <a:solidFill>
                <a:srgbClr val="B8B7B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8" name="Freeform: Shape 6147">
                <a:extLst>
                  <a:ext uri="{FF2B5EF4-FFF2-40B4-BE49-F238E27FC236}">
                    <a16:creationId xmlns:a16="http://schemas.microsoft.com/office/drawing/2014/main" id="{EE994D4F-34F5-BE8B-2735-DD2BDEB7BFD3}"/>
                  </a:ext>
                </a:extLst>
              </p:cNvPr>
              <p:cNvSpPr/>
              <p:nvPr/>
            </p:nvSpPr>
            <p:spPr>
              <a:xfrm>
                <a:off x="1381133" y="3052963"/>
                <a:ext cx="87923" cy="12842"/>
              </a:xfrm>
              <a:custGeom>
                <a:avLst/>
                <a:gdLst>
                  <a:gd name="connsiteX0" fmla="*/ 0 w 68498"/>
                  <a:gd name="connsiteY0" fmla="*/ 8208 h 10005"/>
                  <a:gd name="connsiteX1" fmla="*/ 36485 w 68498"/>
                  <a:gd name="connsiteY1" fmla="*/ 26 h 10005"/>
                  <a:gd name="connsiteX2" fmla="*/ 68498 w 68498"/>
                  <a:gd name="connsiteY2" fmla="*/ 8818 h 10005"/>
                  <a:gd name="connsiteX3" fmla="*/ 0 w 68498"/>
                  <a:gd name="connsiteY3" fmla="*/ 8208 h 10005"/>
                </a:gdLst>
                <a:ahLst/>
                <a:cxnLst>
                  <a:cxn ang="0">
                    <a:pos x="connsiteX0" y="connsiteY0"/>
                  </a:cxn>
                  <a:cxn ang="0">
                    <a:pos x="connsiteX1" y="connsiteY1"/>
                  </a:cxn>
                  <a:cxn ang="0">
                    <a:pos x="connsiteX2" y="connsiteY2"/>
                  </a:cxn>
                  <a:cxn ang="0">
                    <a:pos x="connsiteX3" y="connsiteY3"/>
                  </a:cxn>
                </a:cxnLst>
                <a:rect l="l" t="t" r="r" b="b"/>
                <a:pathLst>
                  <a:path w="68498" h="10005">
                    <a:moveTo>
                      <a:pt x="0" y="8208"/>
                    </a:moveTo>
                    <a:cubicBezTo>
                      <a:pt x="9350" y="-2006"/>
                      <a:pt x="24137" y="840"/>
                      <a:pt x="36485" y="26"/>
                    </a:cubicBezTo>
                    <a:cubicBezTo>
                      <a:pt x="47613" y="586"/>
                      <a:pt x="61791" y="-2667"/>
                      <a:pt x="68498" y="8818"/>
                    </a:cubicBezTo>
                    <a:cubicBezTo>
                      <a:pt x="45733" y="10444"/>
                      <a:pt x="22765" y="10545"/>
                      <a:pt x="0" y="8208"/>
                    </a:cubicBezTo>
                    <a:close/>
                  </a:path>
                </a:pathLst>
              </a:custGeom>
              <a:solidFill>
                <a:srgbClr val="D2DD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49" name="Freeform: Shape 6148">
                <a:extLst>
                  <a:ext uri="{FF2B5EF4-FFF2-40B4-BE49-F238E27FC236}">
                    <a16:creationId xmlns:a16="http://schemas.microsoft.com/office/drawing/2014/main" id="{328D7DDA-CFFE-5901-1843-35DE2E4F328A}"/>
                  </a:ext>
                </a:extLst>
              </p:cNvPr>
              <p:cNvSpPr/>
              <p:nvPr/>
            </p:nvSpPr>
            <p:spPr>
              <a:xfrm>
                <a:off x="1500857" y="3074804"/>
                <a:ext cx="37314" cy="39095"/>
              </a:xfrm>
              <a:custGeom>
                <a:avLst/>
                <a:gdLst>
                  <a:gd name="connsiteX0" fmla="*/ 11811 w 29070"/>
                  <a:gd name="connsiteY0" fmla="*/ 441 h 30458"/>
                  <a:gd name="connsiteX1" fmla="*/ 28885 w 29070"/>
                  <a:gd name="connsiteY1" fmla="*/ 13094 h 30458"/>
                  <a:gd name="connsiteX2" fmla="*/ 9118 w 29070"/>
                  <a:gd name="connsiteY2" fmla="*/ 30117 h 30458"/>
                  <a:gd name="connsiteX3" fmla="*/ 11811 w 29070"/>
                  <a:gd name="connsiteY3" fmla="*/ 441 h 30458"/>
                </a:gdLst>
                <a:ahLst/>
                <a:cxnLst>
                  <a:cxn ang="0">
                    <a:pos x="connsiteX0" y="connsiteY0"/>
                  </a:cxn>
                  <a:cxn ang="0">
                    <a:pos x="connsiteX1" y="connsiteY1"/>
                  </a:cxn>
                  <a:cxn ang="0">
                    <a:pos x="connsiteX2" y="connsiteY2"/>
                  </a:cxn>
                  <a:cxn ang="0">
                    <a:pos x="connsiteX3" y="connsiteY3"/>
                  </a:cxn>
                </a:cxnLst>
                <a:rect l="l" t="t" r="r" b="b"/>
                <a:pathLst>
                  <a:path w="29070" h="30458">
                    <a:moveTo>
                      <a:pt x="11811" y="441"/>
                    </a:moveTo>
                    <a:cubicBezTo>
                      <a:pt x="19993" y="-1744"/>
                      <a:pt x="28733" y="4456"/>
                      <a:pt x="28885" y="13094"/>
                    </a:cubicBezTo>
                    <a:cubicBezTo>
                      <a:pt x="30664" y="24121"/>
                      <a:pt x="19332" y="32251"/>
                      <a:pt x="9118" y="30117"/>
                    </a:cubicBezTo>
                    <a:cubicBezTo>
                      <a:pt x="-3839" y="25188"/>
                      <a:pt x="-3026" y="1407"/>
                      <a:pt x="11811" y="441"/>
                    </a:cubicBezTo>
                    <a:close/>
                  </a:path>
                </a:pathLst>
              </a:custGeom>
              <a:solidFill>
                <a:srgbClr val="D3273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0" name="Freeform: Shape 6149">
                <a:extLst>
                  <a:ext uri="{FF2B5EF4-FFF2-40B4-BE49-F238E27FC236}">
                    <a16:creationId xmlns:a16="http://schemas.microsoft.com/office/drawing/2014/main" id="{4C219F9A-873C-47F8-353D-DBB1F89A622C}"/>
                  </a:ext>
                </a:extLst>
              </p:cNvPr>
              <p:cNvSpPr/>
              <p:nvPr/>
            </p:nvSpPr>
            <p:spPr>
              <a:xfrm>
                <a:off x="1385007" y="3089729"/>
                <a:ext cx="80812" cy="192373"/>
              </a:xfrm>
              <a:custGeom>
                <a:avLst/>
                <a:gdLst>
                  <a:gd name="connsiteX0" fmla="*/ 183 w 62958"/>
                  <a:gd name="connsiteY0" fmla="*/ 1110 h 149872"/>
                  <a:gd name="connsiteX1" fmla="*/ 62787 w 62958"/>
                  <a:gd name="connsiteY1" fmla="*/ 1618 h 149872"/>
                  <a:gd name="connsiteX2" fmla="*/ 62634 w 62958"/>
                  <a:gd name="connsiteY2" fmla="*/ 123828 h 149872"/>
                  <a:gd name="connsiteX3" fmla="*/ 57604 w 62958"/>
                  <a:gd name="connsiteY3" fmla="*/ 146135 h 149872"/>
                  <a:gd name="connsiteX4" fmla="*/ 7907 w 62958"/>
                  <a:gd name="connsiteY4" fmla="*/ 147355 h 149872"/>
                  <a:gd name="connsiteX5" fmla="*/ 793 w 62958"/>
                  <a:gd name="connsiteY5" fmla="*/ 133940 h 149872"/>
                  <a:gd name="connsiteX6" fmla="*/ 183 w 62958"/>
                  <a:gd name="connsiteY6" fmla="*/ 1110 h 14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58" h="149872">
                    <a:moveTo>
                      <a:pt x="183" y="1110"/>
                    </a:moveTo>
                    <a:cubicBezTo>
                      <a:pt x="21017" y="-516"/>
                      <a:pt x="41953" y="-363"/>
                      <a:pt x="62787" y="1618"/>
                    </a:cubicBezTo>
                    <a:cubicBezTo>
                      <a:pt x="61872" y="42321"/>
                      <a:pt x="63651" y="83074"/>
                      <a:pt x="62634" y="123828"/>
                    </a:cubicBezTo>
                    <a:cubicBezTo>
                      <a:pt x="61821" y="131247"/>
                      <a:pt x="62634" y="139987"/>
                      <a:pt x="57604" y="146135"/>
                    </a:cubicBezTo>
                    <a:cubicBezTo>
                      <a:pt x="41495" y="150302"/>
                      <a:pt x="24168" y="151369"/>
                      <a:pt x="7907" y="147355"/>
                    </a:cubicBezTo>
                    <a:cubicBezTo>
                      <a:pt x="590" y="146948"/>
                      <a:pt x="1250" y="139072"/>
                      <a:pt x="793" y="133940"/>
                    </a:cubicBezTo>
                    <a:cubicBezTo>
                      <a:pt x="-935" y="89680"/>
                      <a:pt x="793" y="45370"/>
                      <a:pt x="183" y="1110"/>
                    </a:cubicBezTo>
                    <a:close/>
                  </a:path>
                </a:pathLst>
              </a:custGeom>
              <a:solidFill>
                <a:srgbClr val="60C3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1" name="Freeform: Shape 6150">
                <a:extLst>
                  <a:ext uri="{FF2B5EF4-FFF2-40B4-BE49-F238E27FC236}">
                    <a16:creationId xmlns:a16="http://schemas.microsoft.com/office/drawing/2014/main" id="{946DDEFC-B159-F7C5-53BF-BE533A717EDE}"/>
                  </a:ext>
                </a:extLst>
              </p:cNvPr>
              <p:cNvSpPr/>
              <p:nvPr/>
            </p:nvSpPr>
            <p:spPr>
              <a:xfrm>
                <a:off x="1500644" y="3175104"/>
                <a:ext cx="38557" cy="36591"/>
              </a:xfrm>
              <a:custGeom>
                <a:avLst/>
                <a:gdLst>
                  <a:gd name="connsiteX0" fmla="*/ 5574 w 30038"/>
                  <a:gd name="connsiteY0" fmla="*/ 2994 h 28507"/>
                  <a:gd name="connsiteX1" fmla="*/ 29508 w 30038"/>
                  <a:gd name="connsiteY1" fmla="*/ 16663 h 28507"/>
                  <a:gd name="connsiteX2" fmla="*/ 1408 w 30038"/>
                  <a:gd name="connsiteY2" fmla="*/ 19407 h 28507"/>
                  <a:gd name="connsiteX3" fmla="*/ 5574 w 30038"/>
                  <a:gd name="connsiteY3" fmla="*/ 2994 h 28507"/>
                </a:gdLst>
                <a:ahLst/>
                <a:cxnLst>
                  <a:cxn ang="0">
                    <a:pos x="connsiteX0" y="connsiteY0"/>
                  </a:cxn>
                  <a:cxn ang="0">
                    <a:pos x="connsiteX1" y="connsiteY1"/>
                  </a:cxn>
                  <a:cxn ang="0">
                    <a:pos x="connsiteX2" y="connsiteY2"/>
                  </a:cxn>
                  <a:cxn ang="0">
                    <a:pos x="connsiteX3" y="connsiteY3"/>
                  </a:cxn>
                </a:cxnLst>
                <a:rect l="l" t="t" r="r" b="b"/>
                <a:pathLst>
                  <a:path w="30038" h="28507">
                    <a:moveTo>
                      <a:pt x="5574" y="2994"/>
                    </a:moveTo>
                    <a:cubicBezTo>
                      <a:pt x="15178" y="-4679"/>
                      <a:pt x="33370" y="3299"/>
                      <a:pt x="29508" y="16663"/>
                    </a:cubicBezTo>
                    <a:cubicBezTo>
                      <a:pt x="29152" y="31857"/>
                      <a:pt x="5625" y="32060"/>
                      <a:pt x="1408" y="19407"/>
                    </a:cubicBezTo>
                    <a:cubicBezTo>
                      <a:pt x="-2505" y="13920"/>
                      <a:pt x="2678" y="7568"/>
                      <a:pt x="5574" y="2994"/>
                    </a:cubicBezTo>
                    <a:close/>
                  </a:path>
                </a:pathLst>
              </a:custGeom>
              <a:solidFill>
                <a:srgbClr val="CF24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52" name="Freeform: Shape 6151">
                <a:extLst>
                  <a:ext uri="{FF2B5EF4-FFF2-40B4-BE49-F238E27FC236}">
                    <a16:creationId xmlns:a16="http://schemas.microsoft.com/office/drawing/2014/main" id="{A46C32CB-1324-5B1B-4338-F7678A87DF29}"/>
                  </a:ext>
                </a:extLst>
              </p:cNvPr>
              <p:cNvSpPr/>
              <p:nvPr/>
            </p:nvSpPr>
            <p:spPr>
              <a:xfrm>
                <a:off x="1500276" y="3276813"/>
                <a:ext cx="38744" cy="40377"/>
              </a:xfrm>
              <a:custGeom>
                <a:avLst/>
                <a:gdLst>
                  <a:gd name="connsiteX0" fmla="*/ 5861 w 30184"/>
                  <a:gd name="connsiteY0" fmla="*/ 3383 h 31456"/>
                  <a:gd name="connsiteX1" fmla="*/ 29591 w 30184"/>
                  <a:gd name="connsiteY1" fmla="*/ 18018 h 31456"/>
                  <a:gd name="connsiteX2" fmla="*/ 881 w 30184"/>
                  <a:gd name="connsiteY2" fmla="*/ 22490 h 31456"/>
                  <a:gd name="connsiteX3" fmla="*/ 5861 w 30184"/>
                  <a:gd name="connsiteY3" fmla="*/ 3383 h 31456"/>
                </a:gdLst>
                <a:ahLst/>
                <a:cxnLst>
                  <a:cxn ang="0">
                    <a:pos x="connsiteX0" y="connsiteY0"/>
                  </a:cxn>
                  <a:cxn ang="0">
                    <a:pos x="connsiteX1" y="connsiteY1"/>
                  </a:cxn>
                  <a:cxn ang="0">
                    <a:pos x="connsiteX2" y="connsiteY2"/>
                  </a:cxn>
                  <a:cxn ang="0">
                    <a:pos x="connsiteX3" y="connsiteY3"/>
                  </a:cxn>
                </a:cxnLst>
                <a:rect l="l" t="t" r="r" b="b"/>
                <a:pathLst>
                  <a:path w="30184" h="31456">
                    <a:moveTo>
                      <a:pt x="5861" y="3383"/>
                    </a:moveTo>
                    <a:cubicBezTo>
                      <a:pt x="16328" y="-5458"/>
                      <a:pt x="33605" y="4298"/>
                      <a:pt x="29591" y="18018"/>
                    </a:cubicBezTo>
                    <a:cubicBezTo>
                      <a:pt x="29439" y="32500"/>
                      <a:pt x="4946" y="37175"/>
                      <a:pt x="881" y="22490"/>
                    </a:cubicBezTo>
                    <a:cubicBezTo>
                      <a:pt x="-491" y="16189"/>
                      <a:pt x="-1152" y="6534"/>
                      <a:pt x="5861" y="3383"/>
                    </a:cubicBezTo>
                    <a:close/>
                  </a:path>
                </a:pathLst>
              </a:custGeom>
              <a:solidFill>
                <a:srgbClr val="2375D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60" name="Rectangle 6159">
                <a:extLst>
                  <a:ext uri="{FF2B5EF4-FFF2-40B4-BE49-F238E27FC236}">
                    <a16:creationId xmlns:a16="http://schemas.microsoft.com/office/drawing/2014/main" id="{24094CC4-BA15-470B-14CA-18EED5E4231A}"/>
                  </a:ext>
                </a:extLst>
              </p:cNvPr>
              <p:cNvSpPr/>
              <p:nvPr/>
            </p:nvSpPr>
            <p:spPr>
              <a:xfrm>
                <a:off x="1411119" y="3414653"/>
                <a:ext cx="182880" cy="739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6164" name="Freeform: Shape 6163">
              <a:extLst>
                <a:ext uri="{FF2B5EF4-FFF2-40B4-BE49-F238E27FC236}">
                  <a16:creationId xmlns:a16="http://schemas.microsoft.com/office/drawing/2014/main" id="{5DF637B2-F857-AB4F-822B-8F758C69A882}"/>
                </a:ext>
              </a:extLst>
            </p:cNvPr>
            <p:cNvSpPr/>
            <p:nvPr/>
          </p:nvSpPr>
          <p:spPr>
            <a:xfrm>
              <a:off x="1308173" y="5665414"/>
              <a:ext cx="175856" cy="88655"/>
            </a:xfrm>
            <a:custGeom>
              <a:avLst/>
              <a:gdLst>
                <a:gd name="connsiteX0" fmla="*/ 191163 w 382326"/>
                <a:gd name="connsiteY0" fmla="*/ 0 h 192744"/>
                <a:gd name="connsiteX1" fmla="*/ 382326 w 382326"/>
                <a:gd name="connsiteY1" fmla="*/ 191163 h 192744"/>
                <a:gd name="connsiteX2" fmla="*/ 382326 w 382326"/>
                <a:gd name="connsiteY2" fmla="*/ 192744 h 192744"/>
                <a:gd name="connsiteX3" fmla="*/ 0 w 382326"/>
                <a:gd name="connsiteY3" fmla="*/ 192744 h 192744"/>
                <a:gd name="connsiteX4" fmla="*/ 0 w 382326"/>
                <a:gd name="connsiteY4" fmla="*/ 191163 h 192744"/>
                <a:gd name="connsiteX5" fmla="*/ 191163 w 382326"/>
                <a:gd name="connsiteY5" fmla="*/ 0 h 19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326" h="192744">
                  <a:moveTo>
                    <a:pt x="191163" y="0"/>
                  </a:moveTo>
                  <a:cubicBezTo>
                    <a:pt x="296739" y="0"/>
                    <a:pt x="382326" y="85587"/>
                    <a:pt x="382326" y="191163"/>
                  </a:cubicBezTo>
                  <a:lnTo>
                    <a:pt x="382326" y="192744"/>
                  </a:lnTo>
                  <a:lnTo>
                    <a:pt x="0" y="192744"/>
                  </a:lnTo>
                  <a:lnTo>
                    <a:pt x="0" y="191163"/>
                  </a:lnTo>
                  <a:cubicBezTo>
                    <a:pt x="0" y="85587"/>
                    <a:pt x="85587" y="0"/>
                    <a:pt x="1911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90" name="Oval 4989">
              <a:extLst>
                <a:ext uri="{FF2B5EF4-FFF2-40B4-BE49-F238E27FC236}">
                  <a16:creationId xmlns:a16="http://schemas.microsoft.com/office/drawing/2014/main" id="{11E7A813-78A1-283D-2B59-2A3AB8F22C56}"/>
                </a:ext>
              </a:extLst>
            </p:cNvPr>
            <p:cNvSpPr/>
            <p:nvPr/>
          </p:nvSpPr>
          <p:spPr>
            <a:xfrm flipH="1">
              <a:off x="3246184" y="3507510"/>
              <a:ext cx="41187" cy="45720"/>
            </a:xfrm>
            <a:prstGeom prst="ellipse">
              <a:avLst/>
            </a:prstGeom>
            <a:solidFill>
              <a:srgbClr val="198F6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val 14">
              <a:extLst>
                <a:ext uri="{FF2B5EF4-FFF2-40B4-BE49-F238E27FC236}">
                  <a16:creationId xmlns:a16="http://schemas.microsoft.com/office/drawing/2014/main" id="{7D6F7591-714D-6197-F00C-1346D9A11559}"/>
                </a:ext>
              </a:extLst>
            </p:cNvPr>
            <p:cNvSpPr/>
            <p:nvPr/>
          </p:nvSpPr>
          <p:spPr>
            <a:xfrm flipH="1">
              <a:off x="3105410" y="3469521"/>
              <a:ext cx="41187" cy="45720"/>
            </a:xfrm>
            <a:prstGeom prst="ellipse">
              <a:avLst/>
            </a:prstGeom>
            <a:solidFill>
              <a:srgbClr val="198F6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37" name="Freeform: Shape 4836">
              <a:extLst>
                <a:ext uri="{FF2B5EF4-FFF2-40B4-BE49-F238E27FC236}">
                  <a16:creationId xmlns:a16="http://schemas.microsoft.com/office/drawing/2014/main" id="{F0DD898B-9CC1-7DC0-2EA6-29E0767B7131}"/>
                </a:ext>
              </a:extLst>
            </p:cNvPr>
            <p:cNvSpPr/>
            <p:nvPr/>
          </p:nvSpPr>
          <p:spPr>
            <a:xfrm flipH="1">
              <a:off x="3124386" y="3260625"/>
              <a:ext cx="64008" cy="59288"/>
            </a:xfrm>
            <a:custGeom>
              <a:avLst/>
              <a:gdLst>
                <a:gd name="connsiteX0" fmla="*/ 2539 w 39717"/>
                <a:gd name="connsiteY0" fmla="*/ 3398 h 49705"/>
                <a:gd name="connsiteX1" fmla="*/ 32426 w 39717"/>
                <a:gd name="connsiteY1" fmla="*/ 4651 h 49705"/>
                <a:gd name="connsiteX2" fmla="*/ 37974 w 39717"/>
                <a:gd name="connsiteY2" fmla="*/ 40534 h 49705"/>
                <a:gd name="connsiteX3" fmla="*/ 9205 w 39717"/>
                <a:gd name="connsiteY3" fmla="*/ 49706 h 49705"/>
                <a:gd name="connsiteX4" fmla="*/ 2539 w 39717"/>
                <a:gd name="connsiteY4" fmla="*/ 3398 h 49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17" h="49705">
                  <a:moveTo>
                    <a:pt x="2539" y="3398"/>
                  </a:moveTo>
                  <a:cubicBezTo>
                    <a:pt x="12203" y="2414"/>
                    <a:pt x="24686" y="-4431"/>
                    <a:pt x="32426" y="4651"/>
                  </a:cubicBezTo>
                  <a:cubicBezTo>
                    <a:pt x="43164" y="13197"/>
                    <a:pt x="39227" y="28767"/>
                    <a:pt x="37974" y="40534"/>
                  </a:cubicBezTo>
                  <a:cubicBezTo>
                    <a:pt x="31934" y="50959"/>
                    <a:pt x="19362" y="49258"/>
                    <a:pt x="9205" y="49706"/>
                  </a:cubicBezTo>
                  <a:cubicBezTo>
                    <a:pt x="-1264" y="36104"/>
                    <a:pt x="-1756" y="19371"/>
                    <a:pt x="2539" y="3398"/>
                  </a:cubicBezTo>
                  <a:close/>
                </a:path>
              </a:pathLst>
            </a:custGeom>
            <a:solidFill>
              <a:schemeClr val="bg2">
                <a:lumMod val="40000"/>
                <a:lumOff val="6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86" name="Oval 4985">
              <a:extLst>
                <a:ext uri="{FF2B5EF4-FFF2-40B4-BE49-F238E27FC236}">
                  <a16:creationId xmlns:a16="http://schemas.microsoft.com/office/drawing/2014/main" id="{9D4BC037-82EC-27FD-C559-B0B716888BC5}"/>
                </a:ext>
              </a:extLst>
            </p:cNvPr>
            <p:cNvSpPr/>
            <p:nvPr/>
          </p:nvSpPr>
          <p:spPr>
            <a:xfrm flipH="1">
              <a:off x="3389322" y="3483139"/>
              <a:ext cx="64008" cy="64008"/>
            </a:xfrm>
            <a:prstGeom prst="ellipse">
              <a:avLst/>
            </a:prstGeom>
            <a:solidFill>
              <a:srgbClr val="386A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0" name="Rectangle: Rounded Corners 4619">
              <a:extLst>
                <a:ext uri="{FF2B5EF4-FFF2-40B4-BE49-F238E27FC236}">
                  <a16:creationId xmlns:a16="http://schemas.microsoft.com/office/drawing/2014/main" id="{B81FD872-2595-55F0-D4EB-A1E297890C1B}"/>
                </a:ext>
              </a:extLst>
            </p:cNvPr>
            <p:cNvSpPr/>
            <p:nvPr/>
          </p:nvSpPr>
          <p:spPr>
            <a:xfrm flipH="1">
              <a:off x="2683008" y="2867205"/>
              <a:ext cx="184117" cy="217598"/>
            </a:xfrm>
            <a:prstGeom prst="roundRect">
              <a:avLst/>
            </a:prstGeom>
            <a:solidFill>
              <a:srgbClr val="F6F6F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28" name="Freeform: Shape 4627">
              <a:extLst>
                <a:ext uri="{FF2B5EF4-FFF2-40B4-BE49-F238E27FC236}">
                  <a16:creationId xmlns:a16="http://schemas.microsoft.com/office/drawing/2014/main" id="{D6875EDB-50C5-08F1-9857-4F84D0E4006B}"/>
                </a:ext>
              </a:extLst>
            </p:cNvPr>
            <p:cNvSpPr/>
            <p:nvPr/>
          </p:nvSpPr>
          <p:spPr>
            <a:xfrm flipH="1">
              <a:off x="2741207" y="2912037"/>
              <a:ext cx="67719" cy="69157"/>
            </a:xfrm>
            <a:custGeom>
              <a:avLst/>
              <a:gdLst>
                <a:gd name="connsiteX0" fmla="*/ 14207 w 56773"/>
                <a:gd name="connsiteY0" fmla="*/ 3572 h 57979"/>
                <a:gd name="connsiteX1" fmla="*/ 56219 w 56773"/>
                <a:gd name="connsiteY1" fmla="*/ 24645 h 57979"/>
                <a:gd name="connsiteX2" fmla="*/ 12731 w 56773"/>
                <a:gd name="connsiteY2" fmla="*/ 51982 h 57979"/>
                <a:gd name="connsiteX3" fmla="*/ 14207 w 56773"/>
                <a:gd name="connsiteY3" fmla="*/ 3572 h 57979"/>
              </a:gdLst>
              <a:ahLst/>
              <a:cxnLst>
                <a:cxn ang="0">
                  <a:pos x="connsiteX0" y="connsiteY0"/>
                </a:cxn>
                <a:cxn ang="0">
                  <a:pos x="connsiteX1" y="connsiteY1"/>
                </a:cxn>
                <a:cxn ang="0">
                  <a:pos x="connsiteX2" y="connsiteY2"/>
                </a:cxn>
                <a:cxn ang="0">
                  <a:pos x="connsiteX3" y="connsiteY3"/>
                </a:cxn>
              </a:cxnLst>
              <a:rect l="l" t="t" r="r" b="b"/>
              <a:pathLst>
                <a:path w="56773" h="57979">
                  <a:moveTo>
                    <a:pt x="14207" y="3572"/>
                  </a:moveTo>
                  <a:cubicBezTo>
                    <a:pt x="30762" y="-6092"/>
                    <a:pt x="55056" y="4825"/>
                    <a:pt x="56219" y="24645"/>
                  </a:cubicBezTo>
                  <a:cubicBezTo>
                    <a:pt x="61231" y="47463"/>
                    <a:pt x="31075" y="68716"/>
                    <a:pt x="12731" y="51982"/>
                  </a:cubicBezTo>
                  <a:cubicBezTo>
                    <a:pt x="-4853" y="41647"/>
                    <a:pt x="-4092" y="12655"/>
                    <a:pt x="14207" y="3572"/>
                  </a:cubicBezTo>
                  <a:close/>
                </a:path>
              </a:pathLst>
            </a:custGeom>
            <a:solidFill>
              <a:srgbClr val="8DA5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16" name="Freeform: Shape 4515">
              <a:extLst>
                <a:ext uri="{FF2B5EF4-FFF2-40B4-BE49-F238E27FC236}">
                  <a16:creationId xmlns:a16="http://schemas.microsoft.com/office/drawing/2014/main" id="{B03A0D19-0208-60A7-3B3A-91784B8795A6}"/>
                </a:ext>
              </a:extLst>
            </p:cNvPr>
            <p:cNvSpPr/>
            <p:nvPr/>
          </p:nvSpPr>
          <p:spPr>
            <a:xfrm flipH="1">
              <a:off x="2752207" y="2999653"/>
              <a:ext cx="45719" cy="46690"/>
            </a:xfrm>
            <a:custGeom>
              <a:avLst/>
              <a:gdLst>
                <a:gd name="connsiteX0" fmla="*/ 14207 w 56773"/>
                <a:gd name="connsiteY0" fmla="*/ 3572 h 57979"/>
                <a:gd name="connsiteX1" fmla="*/ 56219 w 56773"/>
                <a:gd name="connsiteY1" fmla="*/ 24645 h 57979"/>
                <a:gd name="connsiteX2" fmla="*/ 12731 w 56773"/>
                <a:gd name="connsiteY2" fmla="*/ 51982 h 57979"/>
                <a:gd name="connsiteX3" fmla="*/ 14207 w 56773"/>
                <a:gd name="connsiteY3" fmla="*/ 3572 h 57979"/>
              </a:gdLst>
              <a:ahLst/>
              <a:cxnLst>
                <a:cxn ang="0">
                  <a:pos x="connsiteX0" y="connsiteY0"/>
                </a:cxn>
                <a:cxn ang="0">
                  <a:pos x="connsiteX1" y="connsiteY1"/>
                </a:cxn>
                <a:cxn ang="0">
                  <a:pos x="connsiteX2" y="connsiteY2"/>
                </a:cxn>
                <a:cxn ang="0">
                  <a:pos x="connsiteX3" y="connsiteY3"/>
                </a:cxn>
              </a:cxnLst>
              <a:rect l="l" t="t" r="r" b="b"/>
              <a:pathLst>
                <a:path w="56773" h="57979">
                  <a:moveTo>
                    <a:pt x="14207" y="3572"/>
                  </a:moveTo>
                  <a:cubicBezTo>
                    <a:pt x="30762" y="-6092"/>
                    <a:pt x="55056" y="4825"/>
                    <a:pt x="56219" y="24645"/>
                  </a:cubicBezTo>
                  <a:cubicBezTo>
                    <a:pt x="61231" y="47463"/>
                    <a:pt x="31075" y="68716"/>
                    <a:pt x="12731" y="51982"/>
                  </a:cubicBezTo>
                  <a:cubicBezTo>
                    <a:pt x="-4853" y="41647"/>
                    <a:pt x="-4092" y="12655"/>
                    <a:pt x="14207" y="3572"/>
                  </a:cubicBezTo>
                  <a:close/>
                </a:path>
              </a:pathLst>
            </a:custGeom>
            <a:solidFill>
              <a:srgbClr val="8DA5C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11" name="Oval 4910">
              <a:extLst>
                <a:ext uri="{FF2B5EF4-FFF2-40B4-BE49-F238E27FC236}">
                  <a16:creationId xmlns:a16="http://schemas.microsoft.com/office/drawing/2014/main" id="{E456DFFF-8A98-C547-EF67-D2870D176A9E}"/>
                </a:ext>
              </a:extLst>
            </p:cNvPr>
            <p:cNvSpPr/>
            <p:nvPr/>
          </p:nvSpPr>
          <p:spPr>
            <a:xfrm flipH="1">
              <a:off x="3501338" y="3243333"/>
              <a:ext cx="46494" cy="45719"/>
            </a:xfrm>
            <a:prstGeom prst="ellipse">
              <a:avLst/>
            </a:prstGeom>
            <a:solidFill>
              <a:srgbClr val="FF694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9" name="Rectangle: Rounded Corners 5378">
              <a:extLst>
                <a:ext uri="{FF2B5EF4-FFF2-40B4-BE49-F238E27FC236}">
                  <a16:creationId xmlns:a16="http://schemas.microsoft.com/office/drawing/2014/main" id="{8F7BA2C4-748B-7D5D-3B01-3D35E406EB89}"/>
                </a:ext>
              </a:extLst>
            </p:cNvPr>
            <p:cNvSpPr/>
            <p:nvPr/>
          </p:nvSpPr>
          <p:spPr>
            <a:xfrm>
              <a:off x="4927872" y="4056539"/>
              <a:ext cx="104906" cy="10627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80" name="Rectangle: Rounded Corners 5379">
              <a:extLst>
                <a:ext uri="{FF2B5EF4-FFF2-40B4-BE49-F238E27FC236}">
                  <a16:creationId xmlns:a16="http://schemas.microsoft.com/office/drawing/2014/main" id="{52BF2D9B-CE5E-3982-0E7B-6563E10497D6}"/>
                </a:ext>
              </a:extLst>
            </p:cNvPr>
            <p:cNvSpPr/>
            <p:nvPr/>
          </p:nvSpPr>
          <p:spPr>
            <a:xfrm flipH="1">
              <a:off x="4927038" y="3962820"/>
              <a:ext cx="106573" cy="36672"/>
            </a:xfrm>
            <a:prstGeom prst="roundRect">
              <a:avLst/>
            </a:prstGeom>
            <a:solidFill>
              <a:srgbClr val="FE9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1" name="Rectangle: Rounded Corners 5380">
              <a:extLst>
                <a:ext uri="{FF2B5EF4-FFF2-40B4-BE49-F238E27FC236}">
                  <a16:creationId xmlns:a16="http://schemas.microsoft.com/office/drawing/2014/main" id="{0B0BF00B-78EE-6518-8E3E-9B353760D6B8}"/>
                </a:ext>
              </a:extLst>
            </p:cNvPr>
            <p:cNvSpPr/>
            <p:nvPr/>
          </p:nvSpPr>
          <p:spPr>
            <a:xfrm flipH="1">
              <a:off x="4904576" y="3997409"/>
              <a:ext cx="151499" cy="66231"/>
            </a:xfrm>
            <a:prstGeom prst="roundRect">
              <a:avLst/>
            </a:prstGeom>
            <a:solidFill>
              <a:srgbClr val="2250A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3" name="Rectangle: Rounded Corners 5382">
              <a:extLst>
                <a:ext uri="{FF2B5EF4-FFF2-40B4-BE49-F238E27FC236}">
                  <a16:creationId xmlns:a16="http://schemas.microsoft.com/office/drawing/2014/main" id="{C3DE28BA-DBB8-47DF-D786-5046C4FC59AB}"/>
                </a:ext>
              </a:extLst>
            </p:cNvPr>
            <p:cNvSpPr/>
            <p:nvPr/>
          </p:nvSpPr>
          <p:spPr>
            <a:xfrm flipH="1">
              <a:off x="4924501" y="4976434"/>
              <a:ext cx="111648" cy="69644"/>
            </a:xfrm>
            <a:prstGeom prst="roundRect">
              <a:avLst/>
            </a:prstGeom>
            <a:solidFill>
              <a:srgbClr val="204BB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82" name="Rectangle: Rounded Corners 5381">
              <a:extLst>
                <a:ext uri="{FF2B5EF4-FFF2-40B4-BE49-F238E27FC236}">
                  <a16:creationId xmlns:a16="http://schemas.microsoft.com/office/drawing/2014/main" id="{2E6B1553-D4BC-3230-E829-952E51A532A6}"/>
                </a:ext>
              </a:extLst>
            </p:cNvPr>
            <p:cNvSpPr/>
            <p:nvPr/>
          </p:nvSpPr>
          <p:spPr>
            <a:xfrm flipH="1">
              <a:off x="4924766" y="4944893"/>
              <a:ext cx="111119" cy="32980"/>
            </a:xfrm>
            <a:prstGeom prst="roundRect">
              <a:avLst/>
            </a:prstGeom>
            <a:solidFill>
              <a:srgbClr val="FB95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43" name="Rectangle 4542">
              <a:extLst>
                <a:ext uri="{FF2B5EF4-FFF2-40B4-BE49-F238E27FC236}">
                  <a16:creationId xmlns:a16="http://schemas.microsoft.com/office/drawing/2014/main" id="{BD30A2CA-B1DD-B9D3-8935-C48BC9CDD999}"/>
                </a:ext>
              </a:extLst>
            </p:cNvPr>
            <p:cNvSpPr/>
            <p:nvPr/>
          </p:nvSpPr>
          <p:spPr>
            <a:xfrm flipH="1">
              <a:off x="4303206" y="2516415"/>
              <a:ext cx="91440" cy="37896"/>
            </a:xfrm>
            <a:prstGeom prst="rect">
              <a:avLst/>
            </a:prstGeom>
            <a:solidFill>
              <a:srgbClr val="FAF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Oval 36">
              <a:extLst>
                <a:ext uri="{FF2B5EF4-FFF2-40B4-BE49-F238E27FC236}">
                  <a16:creationId xmlns:a16="http://schemas.microsoft.com/office/drawing/2014/main" id="{3025BCD8-334A-9AD4-8396-189A20497A5D}"/>
                </a:ext>
              </a:extLst>
            </p:cNvPr>
            <p:cNvSpPr/>
            <p:nvPr/>
          </p:nvSpPr>
          <p:spPr>
            <a:xfrm flipH="1">
              <a:off x="4498272"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09" name="Freeform: Shape 5308">
              <a:extLst>
                <a:ext uri="{FF2B5EF4-FFF2-40B4-BE49-F238E27FC236}">
                  <a16:creationId xmlns:a16="http://schemas.microsoft.com/office/drawing/2014/main" id="{B464A56A-1585-6AAE-C854-82F07843847D}"/>
                </a:ext>
              </a:extLst>
            </p:cNvPr>
            <p:cNvSpPr/>
            <p:nvPr/>
          </p:nvSpPr>
          <p:spPr>
            <a:xfrm flipH="1">
              <a:off x="4608976"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2" name="Oval 4521">
              <a:extLst>
                <a:ext uri="{FF2B5EF4-FFF2-40B4-BE49-F238E27FC236}">
                  <a16:creationId xmlns:a16="http://schemas.microsoft.com/office/drawing/2014/main" id="{B520389A-1A91-ABE5-634B-3275FFFF3E89}"/>
                </a:ext>
              </a:extLst>
            </p:cNvPr>
            <p:cNvSpPr/>
            <p:nvPr/>
          </p:nvSpPr>
          <p:spPr>
            <a:xfrm flipH="1">
              <a:off x="2220898"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4" name="Oval 4523">
              <a:extLst>
                <a:ext uri="{FF2B5EF4-FFF2-40B4-BE49-F238E27FC236}">
                  <a16:creationId xmlns:a16="http://schemas.microsoft.com/office/drawing/2014/main" id="{B0713201-F3EA-F0C4-16F6-EE7EA3FBA583}"/>
                </a:ext>
              </a:extLst>
            </p:cNvPr>
            <p:cNvSpPr/>
            <p:nvPr/>
          </p:nvSpPr>
          <p:spPr>
            <a:xfrm flipH="1">
              <a:off x="2256528"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5" name="Freeform: Shape 4524">
              <a:extLst>
                <a:ext uri="{FF2B5EF4-FFF2-40B4-BE49-F238E27FC236}">
                  <a16:creationId xmlns:a16="http://schemas.microsoft.com/office/drawing/2014/main" id="{12974BAA-0C80-A0BE-3E26-6FAD820EE01A}"/>
                </a:ext>
              </a:extLst>
            </p:cNvPr>
            <p:cNvSpPr/>
            <p:nvPr/>
          </p:nvSpPr>
          <p:spPr>
            <a:xfrm flipH="1">
              <a:off x="2367232"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6" name="Oval 4525">
              <a:extLst>
                <a:ext uri="{FF2B5EF4-FFF2-40B4-BE49-F238E27FC236}">
                  <a16:creationId xmlns:a16="http://schemas.microsoft.com/office/drawing/2014/main" id="{ABF78092-9308-535E-6941-AEF025BE76EB}"/>
                </a:ext>
              </a:extLst>
            </p:cNvPr>
            <p:cNvSpPr/>
            <p:nvPr/>
          </p:nvSpPr>
          <p:spPr>
            <a:xfrm flipH="1">
              <a:off x="1594081" y="5497380"/>
              <a:ext cx="234444" cy="237744"/>
            </a:xfrm>
            <a:prstGeom prst="ellipse">
              <a:avLst/>
            </a:prstGeom>
            <a:solidFill>
              <a:srgbClr val="2C45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8" name="Oval 4527">
              <a:extLst>
                <a:ext uri="{FF2B5EF4-FFF2-40B4-BE49-F238E27FC236}">
                  <a16:creationId xmlns:a16="http://schemas.microsoft.com/office/drawing/2014/main" id="{8A44A23A-0B0F-B6BA-5F8C-CC55E00A99D5}"/>
                </a:ext>
              </a:extLst>
            </p:cNvPr>
            <p:cNvSpPr/>
            <p:nvPr/>
          </p:nvSpPr>
          <p:spPr>
            <a:xfrm flipH="1">
              <a:off x="1629711" y="5524218"/>
              <a:ext cx="171242" cy="182933"/>
            </a:xfrm>
            <a:prstGeom prst="ellipse">
              <a:avLst/>
            </a:pr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29" name="Freeform: Shape 4528">
              <a:extLst>
                <a:ext uri="{FF2B5EF4-FFF2-40B4-BE49-F238E27FC236}">
                  <a16:creationId xmlns:a16="http://schemas.microsoft.com/office/drawing/2014/main" id="{DD04C2D1-F912-D4F1-98A3-E27CF639EC57}"/>
                </a:ext>
              </a:extLst>
            </p:cNvPr>
            <p:cNvSpPr/>
            <p:nvPr/>
          </p:nvSpPr>
          <p:spPr>
            <a:xfrm flipH="1">
              <a:off x="1740415" y="5510582"/>
              <a:ext cx="72206" cy="38480"/>
            </a:xfrm>
            <a:custGeom>
              <a:avLst/>
              <a:gdLst>
                <a:gd name="connsiteX0" fmla="*/ 12259 w 60535"/>
                <a:gd name="connsiteY0" fmla="*/ 360 h 32260"/>
                <a:gd name="connsiteX1" fmla="*/ 60222 w 60535"/>
                <a:gd name="connsiteY1" fmla="*/ 1792 h 32260"/>
                <a:gd name="connsiteX2" fmla="*/ 60535 w 60535"/>
                <a:gd name="connsiteY2" fmla="*/ 5371 h 32260"/>
                <a:gd name="connsiteX3" fmla="*/ 59954 w 60535"/>
                <a:gd name="connsiteY3" fmla="*/ 6177 h 32260"/>
                <a:gd name="connsiteX4" fmla="*/ 30961 w 60535"/>
                <a:gd name="connsiteY4" fmla="*/ 32261 h 32260"/>
                <a:gd name="connsiteX5" fmla="*/ 15615 w 60535"/>
                <a:gd name="connsiteY5" fmla="*/ 19197 h 32260"/>
                <a:gd name="connsiteX6" fmla="*/ 0 w 60535"/>
                <a:gd name="connsiteY6" fmla="*/ 19599 h 32260"/>
                <a:gd name="connsiteX7" fmla="*/ 12259 w 60535"/>
                <a:gd name="connsiteY7" fmla="*/ 360 h 3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535" h="32260">
                  <a:moveTo>
                    <a:pt x="12259" y="360"/>
                  </a:moveTo>
                  <a:cubicBezTo>
                    <a:pt x="28232" y="226"/>
                    <a:pt x="44339" y="-937"/>
                    <a:pt x="60222" y="1792"/>
                  </a:cubicBezTo>
                  <a:cubicBezTo>
                    <a:pt x="60312" y="2687"/>
                    <a:pt x="60446" y="4477"/>
                    <a:pt x="60535" y="5371"/>
                  </a:cubicBezTo>
                  <a:lnTo>
                    <a:pt x="59954" y="6177"/>
                  </a:lnTo>
                  <a:cubicBezTo>
                    <a:pt x="48768" y="12977"/>
                    <a:pt x="38164" y="21120"/>
                    <a:pt x="30961" y="32261"/>
                  </a:cubicBezTo>
                  <a:cubicBezTo>
                    <a:pt x="25816" y="27876"/>
                    <a:pt x="20671" y="23581"/>
                    <a:pt x="15615" y="19197"/>
                  </a:cubicBezTo>
                  <a:cubicBezTo>
                    <a:pt x="10425" y="19331"/>
                    <a:pt x="5190" y="19375"/>
                    <a:pt x="0" y="19599"/>
                  </a:cubicBezTo>
                  <a:cubicBezTo>
                    <a:pt x="4027" y="13112"/>
                    <a:pt x="8188" y="6714"/>
                    <a:pt x="12259" y="360"/>
                  </a:cubicBezTo>
                  <a:close/>
                </a:path>
              </a:pathLst>
            </a:custGeom>
            <a:solidFill>
              <a:srgbClr val="233B7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29" name="Oval 5228">
              <a:extLst>
                <a:ext uri="{FF2B5EF4-FFF2-40B4-BE49-F238E27FC236}">
                  <a16:creationId xmlns:a16="http://schemas.microsoft.com/office/drawing/2014/main" id="{E1B3BFB3-918D-3D75-E577-1AC13D23DFC7}"/>
                </a:ext>
              </a:extLst>
            </p:cNvPr>
            <p:cNvSpPr/>
            <p:nvPr/>
          </p:nvSpPr>
          <p:spPr>
            <a:xfrm flipH="1">
              <a:off x="2448013" y="4714383"/>
              <a:ext cx="44452" cy="44454"/>
            </a:xfrm>
            <a:prstGeom prst="ellipse">
              <a:avLst/>
            </a:prstGeom>
            <a:solidFill>
              <a:srgbClr val="E3F0F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30" name="Freeform: Shape 4529">
              <a:extLst>
                <a:ext uri="{FF2B5EF4-FFF2-40B4-BE49-F238E27FC236}">
                  <a16:creationId xmlns:a16="http://schemas.microsoft.com/office/drawing/2014/main" id="{4557E643-598B-989B-6494-15DD738018EF}"/>
                </a:ext>
              </a:extLst>
            </p:cNvPr>
            <p:cNvSpPr/>
            <p:nvPr/>
          </p:nvSpPr>
          <p:spPr>
            <a:xfrm flipH="1">
              <a:off x="3325656" y="3510020"/>
              <a:ext cx="142564" cy="587265"/>
            </a:xfrm>
            <a:custGeom>
              <a:avLst/>
              <a:gdLst>
                <a:gd name="connsiteX0" fmla="*/ 32169 w 119521"/>
                <a:gd name="connsiteY0" fmla="*/ 20357 h 492345"/>
                <a:gd name="connsiteX1" fmla="*/ 43444 w 119521"/>
                <a:gd name="connsiteY1" fmla="*/ 0 h 492345"/>
                <a:gd name="connsiteX2" fmla="*/ 44294 w 119521"/>
                <a:gd name="connsiteY2" fmla="*/ 20402 h 492345"/>
                <a:gd name="connsiteX3" fmla="*/ 43847 w 119521"/>
                <a:gd name="connsiteY3" fmla="*/ 54450 h 492345"/>
                <a:gd name="connsiteX4" fmla="*/ 55927 w 119521"/>
                <a:gd name="connsiteY4" fmla="*/ 123934 h 492345"/>
                <a:gd name="connsiteX5" fmla="*/ 117894 w 119521"/>
                <a:gd name="connsiteY5" fmla="*/ 382718 h 492345"/>
                <a:gd name="connsiteX6" fmla="*/ 111809 w 119521"/>
                <a:gd name="connsiteY6" fmla="*/ 458600 h 492345"/>
                <a:gd name="connsiteX7" fmla="*/ 42370 w 119521"/>
                <a:gd name="connsiteY7" fmla="*/ 488711 h 492345"/>
                <a:gd name="connsiteX8" fmla="*/ 6712 w 119521"/>
                <a:gd name="connsiteY8" fmla="*/ 445893 h 492345"/>
                <a:gd name="connsiteX9" fmla="*/ 358 w 119521"/>
                <a:gd name="connsiteY9" fmla="*/ 374441 h 492345"/>
                <a:gd name="connsiteX10" fmla="*/ 761 w 119521"/>
                <a:gd name="connsiteY10" fmla="*/ 367775 h 492345"/>
                <a:gd name="connsiteX11" fmla="*/ 3759 w 119521"/>
                <a:gd name="connsiteY11" fmla="*/ 336814 h 492345"/>
                <a:gd name="connsiteX12" fmla="*/ 16197 w 119521"/>
                <a:gd name="connsiteY12" fmla="*/ 201694 h 492345"/>
                <a:gd name="connsiteX13" fmla="*/ 23669 w 119521"/>
                <a:gd name="connsiteY13" fmla="*/ 115746 h 492345"/>
                <a:gd name="connsiteX14" fmla="*/ 28680 w 119521"/>
                <a:gd name="connsiteY14" fmla="*/ 54406 h 492345"/>
                <a:gd name="connsiteX15" fmla="*/ 32169 w 119521"/>
                <a:gd name="connsiteY15" fmla="*/ 20357 h 492345"/>
                <a:gd name="connsiteX16" fmla="*/ 37449 w 119521"/>
                <a:gd name="connsiteY16" fmla="*/ 117088 h 492345"/>
                <a:gd name="connsiteX17" fmla="*/ 34899 w 119521"/>
                <a:gd name="connsiteY17" fmla="*/ 167557 h 492345"/>
                <a:gd name="connsiteX18" fmla="*/ 23087 w 119521"/>
                <a:gd name="connsiteY18" fmla="*/ 308358 h 492345"/>
                <a:gd name="connsiteX19" fmla="*/ 15347 w 119521"/>
                <a:gd name="connsiteY19" fmla="*/ 378110 h 492345"/>
                <a:gd name="connsiteX20" fmla="*/ 32751 w 119521"/>
                <a:gd name="connsiteY20" fmla="*/ 462493 h 492345"/>
                <a:gd name="connsiteX21" fmla="*/ 71989 w 119521"/>
                <a:gd name="connsiteY21" fmla="*/ 476004 h 492345"/>
                <a:gd name="connsiteX22" fmla="*/ 103398 w 119521"/>
                <a:gd name="connsiteY22" fmla="*/ 432158 h 492345"/>
                <a:gd name="connsiteX23" fmla="*/ 88633 w 119521"/>
                <a:gd name="connsiteY23" fmla="*/ 299186 h 492345"/>
                <a:gd name="connsiteX24" fmla="*/ 49977 w 119521"/>
                <a:gd name="connsiteY24" fmla="*/ 157758 h 492345"/>
                <a:gd name="connsiteX25" fmla="*/ 37449 w 119521"/>
                <a:gd name="connsiteY25" fmla="*/ 117088 h 49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521" h="492345">
                  <a:moveTo>
                    <a:pt x="32169" y="20357"/>
                  </a:moveTo>
                  <a:cubicBezTo>
                    <a:pt x="33288" y="12170"/>
                    <a:pt x="36375" y="4743"/>
                    <a:pt x="43444" y="0"/>
                  </a:cubicBezTo>
                  <a:cubicBezTo>
                    <a:pt x="43892" y="6756"/>
                    <a:pt x="44205" y="13557"/>
                    <a:pt x="44294" y="20402"/>
                  </a:cubicBezTo>
                  <a:cubicBezTo>
                    <a:pt x="44160" y="31722"/>
                    <a:pt x="43623" y="43086"/>
                    <a:pt x="43847" y="54450"/>
                  </a:cubicBezTo>
                  <a:cubicBezTo>
                    <a:pt x="43892" y="78163"/>
                    <a:pt x="48545" y="101474"/>
                    <a:pt x="55927" y="123934"/>
                  </a:cubicBezTo>
                  <a:cubicBezTo>
                    <a:pt x="80624" y="209122"/>
                    <a:pt x="107514" y="294309"/>
                    <a:pt x="117894" y="382718"/>
                  </a:cubicBezTo>
                  <a:cubicBezTo>
                    <a:pt x="119907" y="407953"/>
                    <a:pt x="121876" y="434708"/>
                    <a:pt x="111809" y="458600"/>
                  </a:cubicBezTo>
                  <a:cubicBezTo>
                    <a:pt x="100982" y="484282"/>
                    <a:pt x="68634" y="499807"/>
                    <a:pt x="42370" y="488711"/>
                  </a:cubicBezTo>
                  <a:cubicBezTo>
                    <a:pt x="24384" y="481060"/>
                    <a:pt x="13512" y="463432"/>
                    <a:pt x="6712" y="445893"/>
                  </a:cubicBezTo>
                  <a:cubicBezTo>
                    <a:pt x="90" y="422717"/>
                    <a:pt x="-626" y="398378"/>
                    <a:pt x="358" y="374441"/>
                  </a:cubicBezTo>
                  <a:cubicBezTo>
                    <a:pt x="448" y="372786"/>
                    <a:pt x="627" y="369475"/>
                    <a:pt x="761" y="367775"/>
                  </a:cubicBezTo>
                  <a:cubicBezTo>
                    <a:pt x="1611" y="357439"/>
                    <a:pt x="2685" y="347149"/>
                    <a:pt x="3759" y="336814"/>
                  </a:cubicBezTo>
                  <a:cubicBezTo>
                    <a:pt x="7785" y="291759"/>
                    <a:pt x="14228" y="246883"/>
                    <a:pt x="16197" y="201694"/>
                  </a:cubicBezTo>
                  <a:cubicBezTo>
                    <a:pt x="19060" y="173105"/>
                    <a:pt x="20447" y="144336"/>
                    <a:pt x="23669" y="115746"/>
                  </a:cubicBezTo>
                  <a:cubicBezTo>
                    <a:pt x="26487" y="95389"/>
                    <a:pt x="27337" y="74853"/>
                    <a:pt x="28680" y="54406"/>
                  </a:cubicBezTo>
                  <a:cubicBezTo>
                    <a:pt x="29574" y="43041"/>
                    <a:pt x="30693" y="31677"/>
                    <a:pt x="32169" y="20357"/>
                  </a:cubicBezTo>
                  <a:close/>
                  <a:moveTo>
                    <a:pt x="37449" y="117088"/>
                  </a:moveTo>
                  <a:cubicBezTo>
                    <a:pt x="35704" y="133822"/>
                    <a:pt x="35704" y="150734"/>
                    <a:pt x="34899" y="167557"/>
                  </a:cubicBezTo>
                  <a:cubicBezTo>
                    <a:pt x="31722" y="214535"/>
                    <a:pt x="23669" y="261335"/>
                    <a:pt x="23087" y="308358"/>
                  </a:cubicBezTo>
                  <a:cubicBezTo>
                    <a:pt x="18792" y="331355"/>
                    <a:pt x="17047" y="354755"/>
                    <a:pt x="15347" y="378110"/>
                  </a:cubicBezTo>
                  <a:cubicBezTo>
                    <a:pt x="13691" y="406834"/>
                    <a:pt x="15168" y="438287"/>
                    <a:pt x="32751" y="462493"/>
                  </a:cubicBezTo>
                  <a:cubicBezTo>
                    <a:pt x="40983" y="474886"/>
                    <a:pt x="57762" y="481508"/>
                    <a:pt x="71989" y="476004"/>
                  </a:cubicBezTo>
                  <a:cubicBezTo>
                    <a:pt x="90244" y="469696"/>
                    <a:pt x="101832" y="450904"/>
                    <a:pt x="103398" y="432158"/>
                  </a:cubicBezTo>
                  <a:cubicBezTo>
                    <a:pt x="107961" y="387282"/>
                    <a:pt x="98253" y="342720"/>
                    <a:pt x="88633" y="299186"/>
                  </a:cubicBezTo>
                  <a:cubicBezTo>
                    <a:pt x="78701" y="251268"/>
                    <a:pt x="64741" y="204334"/>
                    <a:pt x="49977" y="157758"/>
                  </a:cubicBezTo>
                  <a:cubicBezTo>
                    <a:pt x="46308" y="144023"/>
                    <a:pt x="43668" y="129929"/>
                    <a:pt x="37449" y="117088"/>
                  </a:cubicBezTo>
                  <a:close/>
                </a:path>
              </a:pathLst>
            </a:custGeom>
            <a:solidFill>
              <a:srgbClr val="FAFF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 name="TextBox 3">
            <a:extLst>
              <a:ext uri="{FF2B5EF4-FFF2-40B4-BE49-F238E27FC236}">
                <a16:creationId xmlns:a16="http://schemas.microsoft.com/office/drawing/2014/main" id="{6A4CF625-51C6-FECD-BE19-DE379589C8BB}"/>
              </a:ext>
            </a:extLst>
          </p:cNvPr>
          <p:cNvSpPr txBox="1"/>
          <p:nvPr>
            <p:custDataLst>
              <p:tags r:id="rId8"/>
            </p:custDataLst>
          </p:nvPr>
        </p:nvSpPr>
        <p:spPr bwMode="auto">
          <a:xfrm>
            <a:off x="5275029" y="3363535"/>
            <a:ext cx="6747811" cy="178510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u-RU" sz="2000" b="1" i="0" u="none" strike="noStrike" kern="1200" cap="none" spc="0" normalizeH="0" baseline="0" noProof="0" dirty="0">
                <a:ln>
                  <a:noFill/>
                </a:ln>
                <a:solidFill>
                  <a:srgbClr val="051DB4"/>
                </a:solidFill>
                <a:effectLst/>
                <a:uLnTx/>
                <a:uFillTx/>
                <a:latin typeface="Calibri"/>
                <a:ea typeface="+mn-ea"/>
                <a:cs typeface="+mn-cs"/>
              </a:rPr>
              <a:t>Serious Illness Conversation</a:t>
            </a:r>
            <a:endParaRPr kumimoji="0" lang="en-US" sz="20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The </a:t>
            </a:r>
            <a:r>
              <a:rPr kumimoji="0" lang="en-US" sz="1800" b="0" i="0" u="none" strike="noStrike" kern="1200" cap="none" spc="0" normalizeH="0" baseline="0" noProof="0" dirty="0">
                <a:ln>
                  <a:noFill/>
                </a:ln>
                <a:effectLst/>
                <a:uLnTx/>
                <a:uFillTx/>
                <a:latin typeface="Calibri"/>
                <a:ea typeface="Open Sans" panose="020B0606030504020204" pitchFamily="34" charset="0"/>
                <a:cs typeface="Open Sans" panose="020B0606030504020204" pitchFamily="34" charset="0"/>
              </a:rPr>
              <a:t>primary medical team meets with the patient and/or surrogate decision maker to discuss the patient’s prognosis, the treatment plan, and implications of treatment and elicits the patient’s and/or surrogate’s preferences. The provider completes and documents an ACP note within three days of identifying the patient’s ACP needs.</a:t>
            </a:r>
            <a:endParaRPr kumimoji="0" lang="ru-RU" sz="1800" b="0" i="0" u="none" strike="noStrike" kern="1200" cap="none" spc="0" normalizeH="0" baseline="0" noProof="0" dirty="0">
              <a:ln>
                <a:noFill/>
              </a:ln>
              <a:effectLst/>
              <a:uLnTx/>
              <a:uFillTx/>
              <a:latin typeface="Calibri"/>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0C89722A-58BC-30D9-5E17-88CC8C59B0F3}"/>
              </a:ext>
            </a:extLst>
          </p:cNvPr>
          <p:cNvSpPr txBox="1"/>
          <p:nvPr>
            <p:custDataLst>
              <p:tags r:id="rId9"/>
            </p:custDataLst>
          </p:nvPr>
        </p:nvSpPr>
        <p:spPr bwMode="auto">
          <a:xfrm>
            <a:off x="5287677" y="5421725"/>
            <a:ext cx="6747811" cy="677108"/>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u-RU" sz="2000" b="1" i="0" u="none" strike="noStrike" kern="1200" cap="none" spc="0" normalizeH="0" baseline="0" noProof="0" dirty="0">
                <a:ln>
                  <a:noFill/>
                </a:ln>
                <a:solidFill>
                  <a:srgbClr val="000064"/>
                </a:solidFill>
                <a:effectLst/>
                <a:uLnTx/>
                <a:uFillTx/>
                <a:latin typeface="Calibri"/>
                <a:ea typeface="+mn-ea"/>
                <a:cs typeface="+mn-cs"/>
              </a:rPr>
              <a:t>Palliative Care Consult</a:t>
            </a:r>
            <a:endParaRPr kumimoji="0" lang="en-US" sz="20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The primary medical team consults palliative care as appropriate.  </a:t>
            </a:r>
            <a:endParaRPr kumimoji="0" lang="ru-RU"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5A421595-7C4F-5D04-266E-593067795C87}"/>
              </a:ext>
            </a:extLst>
          </p:cNvPr>
          <p:cNvSpPr txBox="1"/>
          <p:nvPr>
            <p:custDataLst>
              <p:tags r:id="rId10"/>
            </p:custDataLst>
          </p:nvPr>
        </p:nvSpPr>
        <p:spPr bwMode="auto">
          <a:xfrm>
            <a:off x="5309044" y="1977905"/>
            <a:ext cx="6747811" cy="1231106"/>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u-RU" sz="2000" b="1" i="0" u="none" strike="noStrike" kern="1200" cap="none" spc="0" normalizeH="0" baseline="0" noProof="0" dirty="0">
                <a:ln>
                  <a:noFill/>
                </a:ln>
                <a:solidFill>
                  <a:srgbClr val="2C48F9"/>
                </a:solidFill>
                <a:effectLst/>
                <a:uLnTx/>
                <a:uFillTx/>
                <a:latin typeface="Calibri"/>
                <a:ea typeface="+mn-ea"/>
                <a:cs typeface="+mn-cs"/>
              </a:rPr>
              <a:t>ACP Screen</a:t>
            </a:r>
            <a:endParaRPr kumimoji="0" lang="en-US" sz="2000" b="1" i="0" u="none" strike="noStrike" kern="1200" cap="none" spc="0" normalizeH="0" baseline="0" noProof="0" dirty="0">
              <a:ln>
                <a:noFill/>
              </a:ln>
              <a:solidFill>
                <a:srgbClr val="2C48F9"/>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Best practice for all ICU patients is to have an ACP conversation early within their admission. The primary medical </a:t>
            </a:r>
            <a:r>
              <a:rPr kumimoji="0" lang="en-US" sz="1800" b="0" i="0" u="none" strike="noStrike" kern="1200" cap="none" spc="0" normalizeH="0" baseline="0" noProof="0" dirty="0">
                <a:ln>
                  <a:noFill/>
                </a:ln>
                <a:effectLst/>
                <a:uLnTx/>
                <a:uFillTx/>
                <a:latin typeface="Calibri"/>
                <a:ea typeface="Open Sans" panose="020B0606030504020204" pitchFamily="34" charset="0"/>
                <a:cs typeface="Open Sans" panose="020B0606030504020204" pitchFamily="34" charset="0"/>
              </a:rPr>
              <a:t>team reviews the unit patient </a:t>
            </a:r>
            <a:r>
              <a:rPr kumimoji="0" lang="en-US"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list to identify patients to prioritize for that day. </a:t>
            </a:r>
            <a:endParaRPr kumimoji="0" lang="ru-RU" sz="18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Tree>
    <p:custDataLst>
      <p:tags r:id="rId1"/>
    </p:custDataLst>
    <p:extLst>
      <p:ext uri="{BB962C8B-B14F-4D97-AF65-F5344CB8AC3E}">
        <p14:creationId xmlns:p14="http://schemas.microsoft.com/office/powerpoint/2010/main" val="1073022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1" name="think-cell data - do not delete" hidden="1">
            <a:extLst>
              <a:ext uri="{FF2B5EF4-FFF2-40B4-BE49-F238E27FC236}">
                <a16:creationId xmlns:a16="http://schemas.microsoft.com/office/drawing/2014/main" id="{F5F0A726-7D21-6872-594A-AC88A32918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091" name="think-cell data - do not delete" hidden="1">
                        <a:extLst>
                          <a:ext uri="{FF2B5EF4-FFF2-40B4-BE49-F238E27FC236}">
                            <a16:creationId xmlns:a16="http://schemas.microsoft.com/office/drawing/2014/main" id="{F5F0A726-7D21-6872-594A-AC88A3291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A8B495-E710-46DB-AFE6-356FB6AD9407}"/>
              </a:ext>
            </a:extLst>
          </p:cNvPr>
          <p:cNvSpPr>
            <a:spLocks noGrp="1"/>
          </p:cNvSpPr>
          <p:nvPr>
            <p:ph type="title"/>
          </p:nvPr>
        </p:nvSpPr>
        <p:spPr/>
        <p:txBody>
          <a:bodyPr vert="horz"/>
          <a:lstStyle/>
          <a:p>
            <a:r>
              <a:rPr lang="en-US" dirty="0"/>
              <a:t>Best Case, Worst Case, Most Likely Tool </a:t>
            </a:r>
          </a:p>
        </p:txBody>
      </p:sp>
      <p:sp>
        <p:nvSpPr>
          <p:cNvPr id="601" name="Slide Number Placeholder 600">
            <a:extLst>
              <a:ext uri="{FF2B5EF4-FFF2-40B4-BE49-F238E27FC236}">
                <a16:creationId xmlns:a16="http://schemas.microsoft.com/office/drawing/2014/main" id="{990A3D14-2553-57C4-3764-7A7B4C403BD5}"/>
              </a:ext>
            </a:extLst>
          </p:cNvPr>
          <p:cNvSpPr>
            <a:spLocks noGrp="1"/>
          </p:cNvSpPr>
          <p:nvPr>
            <p:ph type="sldNum" sz="quarter" idx="4"/>
          </p:nvPr>
        </p:nvSpPr>
        <p:spPr>
          <a:prstGeom prst="rect">
            <a:avLst/>
          </a:prstGeom>
        </p:spPr>
        <p:txBody>
          <a:bodyPr lIns="0" rIns="0" anchor="ctr" anchorCtr="0"/>
          <a:lstStyle>
            <a:defPPr>
              <a:defRPr lang="en-US"/>
            </a:defPPr>
            <a:lvl1pPr marL="0" algn="l" defTabSz="914400" rtl="0" eaLnBrk="1" latinLnBrk="0" hangingPunct="1">
              <a:defRPr sz="1600" kern="1200">
                <a:solidFill>
                  <a:schemeClr val="accent3">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1E1">
                    <a:lumMod val="75000"/>
                  </a:srgbClr>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91E1">
                    <a:lumMod val="75000"/>
                  </a:srgb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US" sz="1600" b="0" i="0" u="none" strike="noStrike" kern="1200" cap="none" spc="0" normalizeH="0" baseline="0" noProof="0">
                <a:ln>
                  <a:noFill/>
                </a:ln>
                <a:solidFill>
                  <a:srgbClr val="0091E1">
                    <a:lumMod val="75000"/>
                  </a:srgbClr>
                </a:solidFill>
                <a:effectLst/>
                <a:uLnTx/>
                <a:uFillTx/>
                <a:latin typeface="Calibri"/>
                <a:ea typeface="+mn-ea"/>
                <a:cs typeface="+mn-cs"/>
              </a:rPr>
              <a:t>   </a:t>
            </a:r>
          </a:p>
        </p:txBody>
      </p:sp>
      <p:sp>
        <p:nvSpPr>
          <p:cNvPr id="4046" name="Freeform: Shape 4045">
            <a:extLst>
              <a:ext uri="{FF2B5EF4-FFF2-40B4-BE49-F238E27FC236}">
                <a16:creationId xmlns:a16="http://schemas.microsoft.com/office/drawing/2014/main" id="{B0282C39-3677-3788-D428-779D7D519237}"/>
              </a:ext>
            </a:extLst>
          </p:cNvPr>
          <p:cNvSpPr/>
          <p:nvPr/>
        </p:nvSpPr>
        <p:spPr>
          <a:xfrm>
            <a:off x="2339381" y="1434370"/>
            <a:ext cx="7513238" cy="4623530"/>
          </a:xfrm>
          <a:custGeom>
            <a:avLst/>
            <a:gdLst>
              <a:gd name="connsiteX0" fmla="*/ 0 w 7513238"/>
              <a:gd name="connsiteY0" fmla="*/ 0 h 4623530"/>
              <a:gd name="connsiteX1" fmla="*/ 7513238 w 7513238"/>
              <a:gd name="connsiteY1" fmla="*/ 0 h 4623530"/>
              <a:gd name="connsiteX2" fmla="*/ 7513238 w 7513238"/>
              <a:gd name="connsiteY2" fmla="*/ 4623530 h 4623530"/>
              <a:gd name="connsiteX3" fmla="*/ 0 w 7513238"/>
              <a:gd name="connsiteY3" fmla="*/ 4623530 h 4623530"/>
            </a:gdLst>
            <a:ahLst/>
            <a:cxnLst>
              <a:cxn ang="0">
                <a:pos x="connsiteX0" y="connsiteY0"/>
              </a:cxn>
              <a:cxn ang="0">
                <a:pos x="connsiteX1" y="connsiteY1"/>
              </a:cxn>
              <a:cxn ang="0">
                <a:pos x="connsiteX2" y="connsiteY2"/>
              </a:cxn>
              <a:cxn ang="0">
                <a:pos x="connsiteX3" y="connsiteY3"/>
              </a:cxn>
            </a:cxnLst>
            <a:rect l="l" t="t" r="r" b="b"/>
            <a:pathLst>
              <a:path w="7513238" h="4623530">
                <a:moveTo>
                  <a:pt x="0" y="0"/>
                </a:moveTo>
                <a:lnTo>
                  <a:pt x="7513238" y="0"/>
                </a:lnTo>
                <a:lnTo>
                  <a:pt x="7513238" y="4623530"/>
                </a:lnTo>
                <a:lnTo>
                  <a:pt x="0" y="4623530"/>
                </a:lnTo>
                <a:close/>
              </a:path>
            </a:pathLst>
          </a:custGeom>
          <a:solidFill>
            <a:schemeClr val="tx2">
              <a:lumMod val="60000"/>
              <a:lumOff val="4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611" name="Group 610">
            <a:extLst>
              <a:ext uri="{FF2B5EF4-FFF2-40B4-BE49-F238E27FC236}">
                <a16:creationId xmlns:a16="http://schemas.microsoft.com/office/drawing/2014/main" id="{99208DA6-D03A-8141-94DF-24872C50B2F8}"/>
              </a:ext>
            </a:extLst>
          </p:cNvPr>
          <p:cNvGrpSpPr/>
          <p:nvPr/>
        </p:nvGrpSpPr>
        <p:grpSpPr>
          <a:xfrm>
            <a:off x="2862899" y="1992258"/>
            <a:ext cx="6466202" cy="3507755"/>
            <a:chOff x="2507452" y="2497800"/>
            <a:chExt cx="5910684" cy="3206400"/>
          </a:xfrm>
        </p:grpSpPr>
        <p:grpSp>
          <p:nvGrpSpPr>
            <p:cNvPr id="4048" name="Graphic 4043">
              <a:extLst>
                <a:ext uri="{FF2B5EF4-FFF2-40B4-BE49-F238E27FC236}">
                  <a16:creationId xmlns:a16="http://schemas.microsoft.com/office/drawing/2014/main" id="{7BF948CA-0986-6585-9A64-D62057CB004E}"/>
                </a:ext>
              </a:extLst>
            </p:cNvPr>
            <p:cNvGrpSpPr/>
            <p:nvPr/>
          </p:nvGrpSpPr>
          <p:grpSpPr>
            <a:xfrm>
              <a:off x="2715910" y="3335969"/>
              <a:ext cx="5493769" cy="2356816"/>
              <a:chOff x="3021975" y="3381671"/>
              <a:chExt cx="4881639" cy="2094213"/>
            </a:xfrm>
          </p:grpSpPr>
          <p:grpSp>
            <p:nvGrpSpPr>
              <p:cNvPr id="4049" name="Graphic 4043">
                <a:extLst>
                  <a:ext uri="{FF2B5EF4-FFF2-40B4-BE49-F238E27FC236}">
                    <a16:creationId xmlns:a16="http://schemas.microsoft.com/office/drawing/2014/main" id="{45C2786B-2BCB-CFF5-060A-E78B82AD7C45}"/>
                  </a:ext>
                </a:extLst>
              </p:cNvPr>
              <p:cNvGrpSpPr/>
              <p:nvPr/>
            </p:nvGrpSpPr>
            <p:grpSpPr>
              <a:xfrm>
                <a:off x="6704328" y="3381671"/>
                <a:ext cx="1199285" cy="2094213"/>
                <a:chOff x="6704328" y="3381671"/>
                <a:chExt cx="1199285" cy="2094213"/>
              </a:xfrm>
            </p:grpSpPr>
            <p:sp>
              <p:nvSpPr>
                <p:cNvPr id="4050" name="Freeform: Shape 4049">
                  <a:extLst>
                    <a:ext uri="{FF2B5EF4-FFF2-40B4-BE49-F238E27FC236}">
                      <a16:creationId xmlns:a16="http://schemas.microsoft.com/office/drawing/2014/main" id="{52B46791-B6F5-A0A5-7429-0212AA0E541B}"/>
                    </a:ext>
                  </a:extLst>
                </p:cNvPr>
                <p:cNvSpPr/>
                <p:nvPr/>
              </p:nvSpPr>
              <p:spPr>
                <a:xfrm>
                  <a:off x="7665531" y="3517878"/>
                  <a:ext cx="89065" cy="65567"/>
                </a:xfrm>
                <a:custGeom>
                  <a:avLst/>
                  <a:gdLst>
                    <a:gd name="connsiteX0" fmla="*/ 52275 w 89065"/>
                    <a:gd name="connsiteY0" fmla="*/ 65567 h 65567"/>
                    <a:gd name="connsiteX1" fmla="*/ 89061 w 89065"/>
                    <a:gd name="connsiteY1" fmla="*/ 8582 h 65567"/>
                    <a:gd name="connsiteX2" fmla="*/ 16933 w 89065"/>
                    <a:gd name="connsiteY2" fmla="*/ 0 h 65567"/>
                    <a:gd name="connsiteX3" fmla="*/ 0 w 89065"/>
                    <a:gd name="connsiteY3" fmla="*/ 55540 h 65567"/>
                    <a:gd name="connsiteX4" fmla="*/ 52246 w 89065"/>
                    <a:gd name="connsiteY4" fmla="*/ 65567 h 65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65" h="65567">
                      <a:moveTo>
                        <a:pt x="52275" y="65567"/>
                      </a:moveTo>
                      <a:cubicBezTo>
                        <a:pt x="52275" y="65567"/>
                        <a:pt x="88396" y="8582"/>
                        <a:pt x="89061" y="8582"/>
                      </a:cubicBezTo>
                      <a:cubicBezTo>
                        <a:pt x="89726" y="8582"/>
                        <a:pt x="16933" y="0"/>
                        <a:pt x="16933" y="0"/>
                      </a:cubicBezTo>
                      <a:lnTo>
                        <a:pt x="0" y="55540"/>
                      </a:lnTo>
                      <a:lnTo>
                        <a:pt x="52246" y="65567"/>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51" name="Graphic 4043">
                  <a:extLst>
                    <a:ext uri="{FF2B5EF4-FFF2-40B4-BE49-F238E27FC236}">
                      <a16:creationId xmlns:a16="http://schemas.microsoft.com/office/drawing/2014/main" id="{47CCF881-4A80-1560-942B-5EECCA7128FE}"/>
                    </a:ext>
                  </a:extLst>
                </p:cNvPr>
                <p:cNvGrpSpPr/>
                <p:nvPr/>
              </p:nvGrpSpPr>
              <p:grpSpPr>
                <a:xfrm>
                  <a:off x="6704328" y="5205871"/>
                  <a:ext cx="188199" cy="264783"/>
                  <a:chOff x="6704328" y="5205871"/>
                  <a:chExt cx="188199" cy="264783"/>
                </a:xfrm>
              </p:grpSpPr>
              <p:sp>
                <p:nvSpPr>
                  <p:cNvPr id="4052" name="Freeform: Shape 4051">
                    <a:extLst>
                      <a:ext uri="{FF2B5EF4-FFF2-40B4-BE49-F238E27FC236}">
                        <a16:creationId xmlns:a16="http://schemas.microsoft.com/office/drawing/2014/main" id="{3693A4A4-8E51-ED85-4B9F-B430E0E7328F}"/>
                      </a:ext>
                    </a:extLst>
                  </p:cNvPr>
                  <p:cNvSpPr/>
                  <p:nvPr/>
                </p:nvSpPr>
                <p:spPr>
                  <a:xfrm>
                    <a:off x="6704328" y="5253638"/>
                    <a:ext cx="188199" cy="217016"/>
                  </a:xfrm>
                  <a:custGeom>
                    <a:avLst/>
                    <a:gdLst>
                      <a:gd name="connsiteX0" fmla="*/ 47478 w 188199"/>
                      <a:gd name="connsiteY0" fmla="*/ 122379 h 217016"/>
                      <a:gd name="connsiteX1" fmla="*/ 0 w 188199"/>
                      <a:gd name="connsiteY1" fmla="*/ 88772 h 217016"/>
                      <a:gd name="connsiteX2" fmla="*/ 5144 w 188199"/>
                      <a:gd name="connsiteY2" fmla="*/ 72820 h 217016"/>
                      <a:gd name="connsiteX3" fmla="*/ 70278 w 188199"/>
                      <a:gd name="connsiteY3" fmla="*/ 0 h 217016"/>
                      <a:gd name="connsiteX4" fmla="*/ 125847 w 188199"/>
                      <a:gd name="connsiteY4" fmla="*/ 39329 h 217016"/>
                      <a:gd name="connsiteX5" fmla="*/ 181589 w 188199"/>
                      <a:gd name="connsiteY5" fmla="*/ 176041 h 217016"/>
                      <a:gd name="connsiteX6" fmla="*/ 181127 w 188199"/>
                      <a:gd name="connsiteY6" fmla="*/ 217017 h 217016"/>
                      <a:gd name="connsiteX7" fmla="*/ 47507 w 188199"/>
                      <a:gd name="connsiteY7" fmla="*/ 122379 h 2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99" h="217016">
                        <a:moveTo>
                          <a:pt x="47478" y="122379"/>
                        </a:moveTo>
                        <a:lnTo>
                          <a:pt x="0" y="88772"/>
                        </a:lnTo>
                        <a:lnTo>
                          <a:pt x="5144" y="72820"/>
                        </a:lnTo>
                        <a:cubicBezTo>
                          <a:pt x="5346" y="72243"/>
                          <a:pt x="26614" y="9507"/>
                          <a:pt x="70278" y="0"/>
                        </a:cubicBezTo>
                        <a:lnTo>
                          <a:pt x="125847" y="39329"/>
                        </a:lnTo>
                        <a:cubicBezTo>
                          <a:pt x="131857" y="66665"/>
                          <a:pt x="153386" y="156073"/>
                          <a:pt x="181589" y="176041"/>
                        </a:cubicBezTo>
                        <a:cubicBezTo>
                          <a:pt x="193408" y="184392"/>
                          <a:pt x="186906" y="204389"/>
                          <a:pt x="181127" y="217017"/>
                        </a:cubicBezTo>
                        <a:lnTo>
                          <a:pt x="47507" y="122379"/>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53" name="Freeform: Shape 4052">
                    <a:extLst>
                      <a:ext uri="{FF2B5EF4-FFF2-40B4-BE49-F238E27FC236}">
                        <a16:creationId xmlns:a16="http://schemas.microsoft.com/office/drawing/2014/main" id="{F7B7D682-CB1B-6C84-DFB0-25033A03A31D}"/>
                      </a:ext>
                    </a:extLst>
                  </p:cNvPr>
                  <p:cNvSpPr/>
                  <p:nvPr/>
                </p:nvSpPr>
                <p:spPr>
                  <a:xfrm>
                    <a:off x="6775328" y="5205871"/>
                    <a:ext cx="85015" cy="84639"/>
                  </a:xfrm>
                  <a:custGeom>
                    <a:avLst/>
                    <a:gdLst>
                      <a:gd name="connsiteX0" fmla="*/ 51957 w 85015"/>
                      <a:gd name="connsiteY0" fmla="*/ 84639 h 84639"/>
                      <a:gd name="connsiteX1" fmla="*/ 85015 w 85015"/>
                      <a:gd name="connsiteY1" fmla="*/ 39791 h 84639"/>
                      <a:gd name="connsiteX2" fmla="*/ 30429 w 85015"/>
                      <a:gd name="connsiteY2" fmla="*/ 0 h 84639"/>
                      <a:gd name="connsiteX3" fmla="*/ 0 w 85015"/>
                      <a:gd name="connsiteY3" fmla="*/ 49212 h 84639"/>
                      <a:gd name="connsiteX4" fmla="*/ 51957 w 85015"/>
                      <a:gd name="connsiteY4" fmla="*/ 84639 h 84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15" h="84639">
                        <a:moveTo>
                          <a:pt x="51957" y="84639"/>
                        </a:moveTo>
                        <a:lnTo>
                          <a:pt x="85015" y="39791"/>
                        </a:lnTo>
                        <a:lnTo>
                          <a:pt x="30429" y="0"/>
                        </a:lnTo>
                        <a:lnTo>
                          <a:pt x="0" y="49212"/>
                        </a:lnTo>
                        <a:lnTo>
                          <a:pt x="51957" y="84639"/>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54" name="Freeform: Shape 4053">
                  <a:extLst>
                    <a:ext uri="{FF2B5EF4-FFF2-40B4-BE49-F238E27FC236}">
                      <a16:creationId xmlns:a16="http://schemas.microsoft.com/office/drawing/2014/main" id="{7CA561D3-2AEB-F19B-CB84-7A051FA1CE84}"/>
                    </a:ext>
                  </a:extLst>
                </p:cNvPr>
                <p:cNvSpPr/>
                <p:nvPr/>
              </p:nvSpPr>
              <p:spPr>
                <a:xfrm>
                  <a:off x="6794429" y="4277899"/>
                  <a:ext cx="456226" cy="977963"/>
                </a:xfrm>
                <a:custGeom>
                  <a:avLst/>
                  <a:gdLst>
                    <a:gd name="connsiteX0" fmla="*/ 456227 w 456226"/>
                    <a:gd name="connsiteY0" fmla="*/ 15113 h 977963"/>
                    <a:gd name="connsiteX1" fmla="*/ 413373 w 456226"/>
                    <a:gd name="connsiteY1" fmla="*/ 516882 h 977963"/>
                    <a:gd name="connsiteX2" fmla="*/ 392249 w 456226"/>
                    <a:gd name="connsiteY2" fmla="*/ 578548 h 977963"/>
                    <a:gd name="connsiteX3" fmla="*/ 78947 w 456226"/>
                    <a:gd name="connsiteY3" fmla="*/ 977963 h 977963"/>
                    <a:gd name="connsiteX4" fmla="*/ 0 w 456226"/>
                    <a:gd name="connsiteY4" fmla="*/ 921787 h 977963"/>
                    <a:gd name="connsiteX5" fmla="*/ 220716 w 456226"/>
                    <a:gd name="connsiteY5" fmla="*/ 521505 h 977963"/>
                    <a:gd name="connsiteX6" fmla="*/ 242071 w 456226"/>
                    <a:gd name="connsiteY6" fmla="*/ 0 h 977963"/>
                    <a:gd name="connsiteX7" fmla="*/ 456198 w 456226"/>
                    <a:gd name="connsiteY7" fmla="*/ 15142 h 97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226" h="977963">
                      <a:moveTo>
                        <a:pt x="456227" y="15113"/>
                      </a:moveTo>
                      <a:lnTo>
                        <a:pt x="413373" y="516882"/>
                      </a:lnTo>
                      <a:cubicBezTo>
                        <a:pt x="416089" y="539566"/>
                        <a:pt x="408316" y="562279"/>
                        <a:pt x="392249" y="578548"/>
                      </a:cubicBezTo>
                      <a:lnTo>
                        <a:pt x="78947" y="977963"/>
                      </a:lnTo>
                      <a:lnTo>
                        <a:pt x="0" y="921787"/>
                      </a:lnTo>
                      <a:lnTo>
                        <a:pt x="220716" y="521505"/>
                      </a:lnTo>
                      <a:lnTo>
                        <a:pt x="242071" y="0"/>
                      </a:lnTo>
                      <a:lnTo>
                        <a:pt x="456198" y="15142"/>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55" name="Graphic 4043">
                  <a:extLst>
                    <a:ext uri="{FF2B5EF4-FFF2-40B4-BE49-F238E27FC236}">
                      <a16:creationId xmlns:a16="http://schemas.microsoft.com/office/drawing/2014/main" id="{C52BA159-DC97-A938-7A16-E5ABF25D02F4}"/>
                    </a:ext>
                  </a:extLst>
                </p:cNvPr>
                <p:cNvGrpSpPr/>
                <p:nvPr/>
              </p:nvGrpSpPr>
              <p:grpSpPr>
                <a:xfrm>
                  <a:off x="7222725" y="5300277"/>
                  <a:ext cx="231366" cy="175607"/>
                  <a:chOff x="7222725" y="5300277"/>
                  <a:chExt cx="231366" cy="175607"/>
                </a:xfrm>
              </p:grpSpPr>
              <p:sp>
                <p:nvSpPr>
                  <p:cNvPr id="4056" name="Freeform: Shape 4055">
                    <a:extLst>
                      <a:ext uri="{FF2B5EF4-FFF2-40B4-BE49-F238E27FC236}">
                        <a16:creationId xmlns:a16="http://schemas.microsoft.com/office/drawing/2014/main" id="{91209CC3-818C-BF23-5912-CDB5D76DF431}"/>
                      </a:ext>
                    </a:extLst>
                  </p:cNvPr>
                  <p:cNvSpPr/>
                  <p:nvPr/>
                </p:nvSpPr>
                <p:spPr>
                  <a:xfrm>
                    <a:off x="7222725" y="5357262"/>
                    <a:ext cx="231366" cy="118622"/>
                  </a:xfrm>
                  <a:custGeom>
                    <a:avLst/>
                    <a:gdLst>
                      <a:gd name="connsiteX0" fmla="*/ 10449 w 231366"/>
                      <a:gd name="connsiteY0" fmla="*/ 113132 h 118622"/>
                      <a:gd name="connsiteX1" fmla="*/ 4929 w 231366"/>
                      <a:gd name="connsiteY1" fmla="*/ 96776 h 118622"/>
                      <a:gd name="connsiteX2" fmla="*/ 18511 w 231366"/>
                      <a:gd name="connsiteY2" fmla="*/ 0 h 118622"/>
                      <a:gd name="connsiteX3" fmla="*/ 86563 w 231366"/>
                      <a:gd name="connsiteY3" fmla="*/ 1763 h 118622"/>
                      <a:gd name="connsiteX4" fmla="*/ 208971 w 231366"/>
                      <a:gd name="connsiteY4" fmla="*/ 84321 h 118622"/>
                      <a:gd name="connsiteX5" fmla="*/ 231367 w 231366"/>
                      <a:gd name="connsiteY5" fmla="*/ 118622 h 118622"/>
                      <a:gd name="connsiteX6" fmla="*/ 10449 w 231366"/>
                      <a:gd name="connsiteY6" fmla="*/ 113103 h 11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366" h="118622">
                        <a:moveTo>
                          <a:pt x="10449" y="113132"/>
                        </a:moveTo>
                        <a:lnTo>
                          <a:pt x="4929" y="96776"/>
                        </a:lnTo>
                        <a:cubicBezTo>
                          <a:pt x="4756" y="96198"/>
                          <a:pt x="-12467" y="32220"/>
                          <a:pt x="18511" y="0"/>
                        </a:cubicBezTo>
                        <a:lnTo>
                          <a:pt x="86563" y="1763"/>
                        </a:lnTo>
                        <a:cubicBezTo>
                          <a:pt x="106762" y="21124"/>
                          <a:pt x="174411" y="83426"/>
                          <a:pt x="208971" y="84321"/>
                        </a:cubicBezTo>
                        <a:cubicBezTo>
                          <a:pt x="223333" y="84697"/>
                          <a:pt x="229113" y="104896"/>
                          <a:pt x="231367" y="118622"/>
                        </a:cubicBezTo>
                        <a:lnTo>
                          <a:pt x="10449" y="113103"/>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57" name="Freeform: Shape 4056">
                    <a:extLst>
                      <a:ext uri="{FF2B5EF4-FFF2-40B4-BE49-F238E27FC236}">
                        <a16:creationId xmlns:a16="http://schemas.microsoft.com/office/drawing/2014/main" id="{26053170-C6BB-D09B-80A2-72D1685056F5}"/>
                      </a:ext>
                    </a:extLst>
                  </p:cNvPr>
                  <p:cNvSpPr/>
                  <p:nvPr/>
                </p:nvSpPr>
                <p:spPr>
                  <a:xfrm>
                    <a:off x="7233636" y="5300277"/>
                    <a:ext cx="75074" cy="58719"/>
                  </a:xfrm>
                  <a:custGeom>
                    <a:avLst/>
                    <a:gdLst>
                      <a:gd name="connsiteX0" fmla="*/ 75075 w 75074"/>
                      <a:gd name="connsiteY0" fmla="*/ 58719 h 58719"/>
                      <a:gd name="connsiteX1" fmla="*/ 70509 w 75074"/>
                      <a:gd name="connsiteY1" fmla="*/ 2052 h 58719"/>
                      <a:gd name="connsiteX2" fmla="*/ 0 w 75074"/>
                      <a:gd name="connsiteY2" fmla="*/ 0 h 58719"/>
                      <a:gd name="connsiteX3" fmla="*/ 8987 w 75074"/>
                      <a:gd name="connsiteY3" fmla="*/ 56349 h 58719"/>
                      <a:gd name="connsiteX4" fmla="*/ 75075 w 75074"/>
                      <a:gd name="connsiteY4" fmla="*/ 58719 h 58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74" h="58719">
                        <a:moveTo>
                          <a:pt x="75075" y="58719"/>
                        </a:moveTo>
                        <a:lnTo>
                          <a:pt x="70509" y="2052"/>
                        </a:lnTo>
                        <a:lnTo>
                          <a:pt x="0" y="0"/>
                        </a:lnTo>
                        <a:lnTo>
                          <a:pt x="8987" y="56349"/>
                        </a:lnTo>
                        <a:lnTo>
                          <a:pt x="75075" y="58719"/>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58" name="Freeform: Shape 4057">
                  <a:extLst>
                    <a:ext uri="{FF2B5EF4-FFF2-40B4-BE49-F238E27FC236}">
                      <a16:creationId xmlns:a16="http://schemas.microsoft.com/office/drawing/2014/main" id="{E218877A-1103-D250-F0C8-14366ED6FA77}"/>
                    </a:ext>
                  </a:extLst>
                </p:cNvPr>
                <p:cNvSpPr/>
                <p:nvPr/>
              </p:nvSpPr>
              <p:spPr>
                <a:xfrm>
                  <a:off x="7036529" y="4271571"/>
                  <a:ext cx="286109" cy="1032405"/>
                </a:xfrm>
                <a:custGeom>
                  <a:avLst/>
                  <a:gdLst>
                    <a:gd name="connsiteX0" fmla="*/ 268801 w 286109"/>
                    <a:gd name="connsiteY0" fmla="*/ 0 h 1032405"/>
                    <a:gd name="connsiteX1" fmla="*/ 286110 w 286109"/>
                    <a:gd name="connsiteY1" fmla="*/ 1032405 h 1032405"/>
                    <a:gd name="connsiteX2" fmla="*/ 187369 w 286109"/>
                    <a:gd name="connsiteY2" fmla="*/ 1028100 h 1032405"/>
                    <a:gd name="connsiteX3" fmla="*/ 18812 w 286109"/>
                    <a:gd name="connsiteY3" fmla="*/ 170926 h 1032405"/>
                    <a:gd name="connsiteX4" fmla="*/ 0 w 286109"/>
                    <a:gd name="connsiteY4" fmla="*/ 6300 h 1032405"/>
                    <a:gd name="connsiteX5" fmla="*/ 268801 w 286109"/>
                    <a:gd name="connsiteY5" fmla="*/ 0 h 103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09" h="1032405">
                      <a:moveTo>
                        <a:pt x="268801" y="0"/>
                      </a:moveTo>
                      <a:lnTo>
                        <a:pt x="286110" y="1032405"/>
                      </a:lnTo>
                      <a:lnTo>
                        <a:pt x="187369" y="1028100"/>
                      </a:lnTo>
                      <a:lnTo>
                        <a:pt x="18812" y="170926"/>
                      </a:lnTo>
                      <a:lnTo>
                        <a:pt x="0" y="6300"/>
                      </a:lnTo>
                      <a:lnTo>
                        <a:pt x="268801" y="0"/>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59" name="Freeform: Shape 4058">
                  <a:extLst>
                    <a:ext uri="{FF2B5EF4-FFF2-40B4-BE49-F238E27FC236}">
                      <a16:creationId xmlns:a16="http://schemas.microsoft.com/office/drawing/2014/main" id="{7EDB248A-DACD-1E21-AECA-EF927BFA7536}"/>
                    </a:ext>
                  </a:extLst>
                </p:cNvPr>
                <p:cNvSpPr/>
                <p:nvPr/>
              </p:nvSpPr>
              <p:spPr>
                <a:xfrm>
                  <a:off x="7319315" y="3567956"/>
                  <a:ext cx="410511" cy="290108"/>
                </a:xfrm>
                <a:custGeom>
                  <a:avLst/>
                  <a:gdLst>
                    <a:gd name="connsiteX0" fmla="*/ 29 w 410511"/>
                    <a:gd name="connsiteY0" fmla="*/ 119721 h 290108"/>
                    <a:gd name="connsiteX1" fmla="*/ 209793 w 410511"/>
                    <a:gd name="connsiteY1" fmla="*/ 201384 h 290108"/>
                    <a:gd name="connsiteX2" fmla="*/ 343066 w 410511"/>
                    <a:gd name="connsiteY2" fmla="*/ 0 h 290108"/>
                    <a:gd name="connsiteX3" fmla="*/ 410512 w 410511"/>
                    <a:gd name="connsiteY3" fmla="*/ 14275 h 290108"/>
                    <a:gd name="connsiteX4" fmla="*/ 281862 w 410511"/>
                    <a:gd name="connsiteY4" fmla="*/ 260998 h 290108"/>
                    <a:gd name="connsiteX5" fmla="*/ 191761 w 410511"/>
                    <a:gd name="connsiteY5" fmla="*/ 288422 h 290108"/>
                    <a:gd name="connsiteX6" fmla="*/ 10692 w 410511"/>
                    <a:gd name="connsiteY6" fmla="*/ 254352 h 290108"/>
                    <a:gd name="connsiteX7" fmla="*/ 0 w 410511"/>
                    <a:gd name="connsiteY7" fmla="*/ 119749 h 29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11" h="290108">
                      <a:moveTo>
                        <a:pt x="29" y="119721"/>
                      </a:moveTo>
                      <a:lnTo>
                        <a:pt x="209793" y="201384"/>
                      </a:lnTo>
                      <a:lnTo>
                        <a:pt x="343066" y="0"/>
                      </a:lnTo>
                      <a:lnTo>
                        <a:pt x="410512" y="14275"/>
                      </a:lnTo>
                      <a:cubicBezTo>
                        <a:pt x="410512" y="14275"/>
                        <a:pt x="299547" y="244382"/>
                        <a:pt x="281862" y="260998"/>
                      </a:cubicBezTo>
                      <a:cubicBezTo>
                        <a:pt x="259380" y="282093"/>
                        <a:pt x="222536" y="294895"/>
                        <a:pt x="191761" y="288422"/>
                      </a:cubicBezTo>
                      <a:lnTo>
                        <a:pt x="10692" y="254352"/>
                      </a:lnTo>
                      <a:lnTo>
                        <a:pt x="0" y="119749"/>
                      </a:lnTo>
                      <a:close/>
                    </a:path>
                  </a:pathLst>
                </a:custGeom>
                <a:solidFill>
                  <a:srgbClr val="4D81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60" name="Graphic 4043">
                  <a:extLst>
                    <a:ext uri="{FF2B5EF4-FFF2-40B4-BE49-F238E27FC236}">
                      <a16:creationId xmlns:a16="http://schemas.microsoft.com/office/drawing/2014/main" id="{FB371F09-26A5-1B7B-913D-526F7835090A}"/>
                    </a:ext>
                  </a:extLst>
                </p:cNvPr>
                <p:cNvGrpSpPr/>
                <p:nvPr/>
              </p:nvGrpSpPr>
              <p:grpSpPr>
                <a:xfrm>
                  <a:off x="7098360" y="3381671"/>
                  <a:ext cx="225564" cy="328978"/>
                  <a:chOff x="7098360" y="3381671"/>
                  <a:chExt cx="225564" cy="328978"/>
                </a:xfrm>
              </p:grpSpPr>
              <p:sp>
                <p:nvSpPr>
                  <p:cNvPr id="4061" name="Freeform: Shape 4060">
                    <a:extLst>
                      <a:ext uri="{FF2B5EF4-FFF2-40B4-BE49-F238E27FC236}">
                        <a16:creationId xmlns:a16="http://schemas.microsoft.com/office/drawing/2014/main" id="{625983EA-B4D6-F435-7C3A-58E9A80FE2FB}"/>
                      </a:ext>
                    </a:extLst>
                  </p:cNvPr>
                  <p:cNvSpPr/>
                  <p:nvPr/>
                </p:nvSpPr>
                <p:spPr>
                  <a:xfrm>
                    <a:off x="7141454" y="3602604"/>
                    <a:ext cx="134139" cy="108045"/>
                  </a:xfrm>
                  <a:custGeom>
                    <a:avLst/>
                    <a:gdLst>
                      <a:gd name="connsiteX0" fmla="*/ 134140 w 134139"/>
                      <a:gd name="connsiteY0" fmla="*/ 31267 h 108045"/>
                      <a:gd name="connsiteX1" fmla="*/ 119460 w 134139"/>
                      <a:gd name="connsiteY1" fmla="*/ 55020 h 108045"/>
                      <a:gd name="connsiteX2" fmla="*/ 114461 w 134139"/>
                      <a:gd name="connsiteY2" fmla="*/ 108046 h 108045"/>
                      <a:gd name="connsiteX3" fmla="*/ 0 w 134139"/>
                      <a:gd name="connsiteY3" fmla="*/ 70711 h 108045"/>
                      <a:gd name="connsiteX4" fmla="*/ 12079 w 134139"/>
                      <a:gd name="connsiteY4" fmla="*/ 0 h 108045"/>
                      <a:gd name="connsiteX5" fmla="*/ 25025 w 134139"/>
                      <a:gd name="connsiteY5" fmla="*/ 3265 h 108045"/>
                      <a:gd name="connsiteX6" fmla="*/ 56147 w 134139"/>
                      <a:gd name="connsiteY6" fmla="*/ 11299 h 108045"/>
                      <a:gd name="connsiteX7" fmla="*/ 134111 w 134139"/>
                      <a:gd name="connsiteY7" fmla="*/ 31267 h 10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39" h="108045">
                        <a:moveTo>
                          <a:pt x="134140" y="31267"/>
                        </a:moveTo>
                        <a:cubicBezTo>
                          <a:pt x="127812" y="37162"/>
                          <a:pt x="123130" y="45426"/>
                          <a:pt x="119460" y="55020"/>
                        </a:cubicBezTo>
                        <a:cubicBezTo>
                          <a:pt x="115155" y="66261"/>
                          <a:pt x="117004" y="94349"/>
                          <a:pt x="114461" y="108046"/>
                        </a:cubicBezTo>
                        <a:lnTo>
                          <a:pt x="0" y="70711"/>
                        </a:lnTo>
                        <a:lnTo>
                          <a:pt x="12079" y="0"/>
                        </a:lnTo>
                        <a:lnTo>
                          <a:pt x="25025" y="3265"/>
                        </a:lnTo>
                        <a:lnTo>
                          <a:pt x="56147" y="11299"/>
                        </a:lnTo>
                        <a:lnTo>
                          <a:pt x="134111" y="31267"/>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62" name="Freeform: Shape 4061">
                    <a:extLst>
                      <a:ext uri="{FF2B5EF4-FFF2-40B4-BE49-F238E27FC236}">
                        <a16:creationId xmlns:a16="http://schemas.microsoft.com/office/drawing/2014/main" id="{A6A4BCAD-CD59-D1EC-EFC7-597FA268A0A7}"/>
                      </a:ext>
                    </a:extLst>
                  </p:cNvPr>
                  <p:cNvSpPr/>
                  <p:nvPr/>
                </p:nvSpPr>
                <p:spPr>
                  <a:xfrm>
                    <a:off x="7187863" y="3602604"/>
                    <a:ext cx="98452" cy="55019"/>
                  </a:xfrm>
                  <a:custGeom>
                    <a:avLst/>
                    <a:gdLst>
                      <a:gd name="connsiteX0" fmla="*/ 98453 w 98452"/>
                      <a:gd name="connsiteY0" fmla="*/ 15691 h 55019"/>
                      <a:gd name="connsiteX1" fmla="*/ 94869 w 98452"/>
                      <a:gd name="connsiteY1" fmla="*/ 31267 h 55019"/>
                      <a:gd name="connsiteX2" fmla="*/ 87731 w 98452"/>
                      <a:gd name="connsiteY2" fmla="*/ 31267 h 55019"/>
                      <a:gd name="connsiteX3" fmla="*/ 73052 w 98452"/>
                      <a:gd name="connsiteY3" fmla="*/ 55020 h 55019"/>
                      <a:gd name="connsiteX4" fmla="*/ 18321 w 98452"/>
                      <a:gd name="connsiteY4" fmla="*/ 18985 h 55019"/>
                      <a:gd name="connsiteX5" fmla="*/ 9767 w 98452"/>
                      <a:gd name="connsiteY5" fmla="*/ 11328 h 55019"/>
                      <a:gd name="connsiteX6" fmla="*/ 0 w 98452"/>
                      <a:gd name="connsiteY6" fmla="*/ 0 h 55019"/>
                      <a:gd name="connsiteX7" fmla="*/ 98453 w 98452"/>
                      <a:gd name="connsiteY7" fmla="*/ 15720 h 5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452" h="55019">
                        <a:moveTo>
                          <a:pt x="98453" y="15691"/>
                        </a:moveTo>
                        <a:lnTo>
                          <a:pt x="94869" y="31267"/>
                        </a:lnTo>
                        <a:cubicBezTo>
                          <a:pt x="92644" y="31353"/>
                          <a:pt x="90245" y="31353"/>
                          <a:pt x="87731" y="31267"/>
                        </a:cubicBezTo>
                        <a:cubicBezTo>
                          <a:pt x="81403" y="37162"/>
                          <a:pt x="76722" y="45426"/>
                          <a:pt x="73052" y="55020"/>
                        </a:cubicBezTo>
                        <a:cubicBezTo>
                          <a:pt x="46611" y="40485"/>
                          <a:pt x="29417" y="28204"/>
                          <a:pt x="18321" y="18985"/>
                        </a:cubicBezTo>
                        <a:cubicBezTo>
                          <a:pt x="14882" y="16153"/>
                          <a:pt x="12079" y="13610"/>
                          <a:pt x="9767" y="11328"/>
                        </a:cubicBezTo>
                        <a:cubicBezTo>
                          <a:pt x="2167" y="4017"/>
                          <a:pt x="0" y="0"/>
                          <a:pt x="0" y="0"/>
                        </a:cubicBezTo>
                        <a:lnTo>
                          <a:pt x="98453" y="15720"/>
                        </a:lnTo>
                        <a:close/>
                      </a:path>
                    </a:pathLst>
                  </a:custGeom>
                  <a:solidFill>
                    <a:srgbClr val="808080">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63" name="Freeform: Shape 4062">
                    <a:extLst>
                      <a:ext uri="{FF2B5EF4-FFF2-40B4-BE49-F238E27FC236}">
                        <a16:creationId xmlns:a16="http://schemas.microsoft.com/office/drawing/2014/main" id="{528C8775-8C81-0F47-58D7-B81B69A8CA86}"/>
                      </a:ext>
                    </a:extLst>
                  </p:cNvPr>
                  <p:cNvSpPr/>
                  <p:nvPr/>
                </p:nvSpPr>
                <p:spPr>
                  <a:xfrm>
                    <a:off x="7136062" y="3434300"/>
                    <a:ext cx="186733" cy="199635"/>
                  </a:xfrm>
                  <a:custGeom>
                    <a:avLst/>
                    <a:gdLst>
                      <a:gd name="connsiteX0" fmla="*/ 180479 w 186733"/>
                      <a:gd name="connsiteY0" fmla="*/ 189890 h 199635"/>
                      <a:gd name="connsiteX1" fmla="*/ 146670 w 186733"/>
                      <a:gd name="connsiteY1" fmla="*/ 199570 h 199635"/>
                      <a:gd name="connsiteX2" fmla="*/ 139532 w 186733"/>
                      <a:gd name="connsiteY2" fmla="*/ 199570 h 199635"/>
                      <a:gd name="connsiteX3" fmla="*/ 70121 w 186733"/>
                      <a:gd name="connsiteY3" fmla="*/ 187289 h 199635"/>
                      <a:gd name="connsiteX4" fmla="*/ 31544 w 186733"/>
                      <a:gd name="connsiteY4" fmla="*/ 175008 h 199635"/>
                      <a:gd name="connsiteX5" fmla="*/ 30417 w 186733"/>
                      <a:gd name="connsiteY5" fmla="*/ 171569 h 199635"/>
                      <a:gd name="connsiteX6" fmla="*/ 9206 w 186733"/>
                      <a:gd name="connsiteY6" fmla="*/ 11162 h 199635"/>
                      <a:gd name="connsiteX7" fmla="*/ 158142 w 186733"/>
                      <a:gd name="connsiteY7" fmla="*/ 11162 h 199635"/>
                      <a:gd name="connsiteX8" fmla="*/ 180479 w 186733"/>
                      <a:gd name="connsiteY8" fmla="*/ 189890 h 1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733" h="199635">
                        <a:moveTo>
                          <a:pt x="180479" y="189890"/>
                        </a:moveTo>
                        <a:cubicBezTo>
                          <a:pt x="180479" y="189890"/>
                          <a:pt x="173717" y="198906"/>
                          <a:pt x="146670" y="199570"/>
                        </a:cubicBezTo>
                        <a:cubicBezTo>
                          <a:pt x="144445" y="199657"/>
                          <a:pt x="142046" y="199657"/>
                          <a:pt x="139532" y="199570"/>
                        </a:cubicBezTo>
                        <a:cubicBezTo>
                          <a:pt x="123234" y="199195"/>
                          <a:pt x="100810" y="195929"/>
                          <a:pt x="70121" y="187289"/>
                        </a:cubicBezTo>
                        <a:cubicBezTo>
                          <a:pt x="58505" y="184024"/>
                          <a:pt x="45703" y="179978"/>
                          <a:pt x="31544" y="175008"/>
                        </a:cubicBezTo>
                        <a:cubicBezTo>
                          <a:pt x="31544" y="175008"/>
                          <a:pt x="31110" y="173823"/>
                          <a:pt x="30417" y="171569"/>
                        </a:cubicBezTo>
                        <a:cubicBezTo>
                          <a:pt x="22817" y="149289"/>
                          <a:pt x="-17928" y="24714"/>
                          <a:pt x="9206" y="11162"/>
                        </a:cubicBezTo>
                        <a:cubicBezTo>
                          <a:pt x="38999" y="-3721"/>
                          <a:pt x="128349" y="-3721"/>
                          <a:pt x="158142" y="11162"/>
                        </a:cubicBezTo>
                        <a:cubicBezTo>
                          <a:pt x="158142" y="11162"/>
                          <a:pt x="202817" y="115422"/>
                          <a:pt x="180479" y="18989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64" name="Freeform: Shape 4063">
                    <a:extLst>
                      <a:ext uri="{FF2B5EF4-FFF2-40B4-BE49-F238E27FC236}">
                        <a16:creationId xmlns:a16="http://schemas.microsoft.com/office/drawing/2014/main" id="{9DC4A0A6-9444-3ED9-854B-8A5F6F4AA62F}"/>
                      </a:ext>
                    </a:extLst>
                  </p:cNvPr>
                  <p:cNvSpPr/>
                  <p:nvPr/>
                </p:nvSpPr>
                <p:spPr>
                  <a:xfrm>
                    <a:off x="7098360" y="3381671"/>
                    <a:ext cx="225564" cy="239484"/>
                  </a:xfrm>
                  <a:custGeom>
                    <a:avLst/>
                    <a:gdLst>
                      <a:gd name="connsiteX0" fmla="*/ 49856 w 225564"/>
                      <a:gd name="connsiteY0" fmla="*/ 239485 h 239484"/>
                      <a:gd name="connsiteX1" fmla="*/ 13417 w 225564"/>
                      <a:gd name="connsiteY1" fmla="*/ 171779 h 239484"/>
                      <a:gd name="connsiteX2" fmla="*/ 28299 w 225564"/>
                      <a:gd name="connsiteY2" fmla="*/ 67518 h 239484"/>
                      <a:gd name="connsiteX3" fmla="*/ 53439 w 225564"/>
                      <a:gd name="connsiteY3" fmla="*/ 35876 h 239484"/>
                      <a:gd name="connsiteX4" fmla="*/ 79128 w 225564"/>
                      <a:gd name="connsiteY4" fmla="*/ 24433 h 239484"/>
                      <a:gd name="connsiteX5" fmla="*/ 110251 w 225564"/>
                      <a:gd name="connsiteY5" fmla="*/ 23306 h 239484"/>
                      <a:gd name="connsiteX6" fmla="*/ 128456 w 225564"/>
                      <a:gd name="connsiteY6" fmla="*/ 4320 h 239484"/>
                      <a:gd name="connsiteX7" fmla="*/ 151602 w 225564"/>
                      <a:gd name="connsiteY7" fmla="*/ 10389 h 239484"/>
                      <a:gd name="connsiteX8" fmla="*/ 179286 w 225564"/>
                      <a:gd name="connsiteY8" fmla="*/ 130 h 239484"/>
                      <a:gd name="connsiteX9" fmla="*/ 195294 w 225564"/>
                      <a:gd name="connsiteY9" fmla="*/ 16168 h 239484"/>
                      <a:gd name="connsiteX10" fmla="*/ 207027 w 225564"/>
                      <a:gd name="connsiteY10" fmla="*/ 20560 h 239484"/>
                      <a:gd name="connsiteX11" fmla="*/ 219973 w 225564"/>
                      <a:gd name="connsiteY11" fmla="*/ 31686 h 239484"/>
                      <a:gd name="connsiteX12" fmla="*/ 224856 w 225564"/>
                      <a:gd name="connsiteY12" fmla="*/ 56826 h 239484"/>
                      <a:gd name="connsiteX13" fmla="*/ 220291 w 225564"/>
                      <a:gd name="connsiteY13" fmla="*/ 66449 h 239484"/>
                      <a:gd name="connsiteX14" fmla="*/ 206940 w 225564"/>
                      <a:gd name="connsiteY14" fmla="*/ 73297 h 239484"/>
                      <a:gd name="connsiteX15" fmla="*/ 192174 w 225564"/>
                      <a:gd name="connsiteY15" fmla="*/ 80348 h 239484"/>
                      <a:gd name="connsiteX16" fmla="*/ 168940 w 225564"/>
                      <a:gd name="connsiteY16" fmla="*/ 76707 h 239484"/>
                      <a:gd name="connsiteX17" fmla="*/ 143713 w 225564"/>
                      <a:gd name="connsiteY17" fmla="*/ 81533 h 239484"/>
                      <a:gd name="connsiteX18" fmla="*/ 125624 w 225564"/>
                      <a:gd name="connsiteY18" fmla="*/ 114505 h 239484"/>
                      <a:gd name="connsiteX19" fmla="*/ 125046 w 225564"/>
                      <a:gd name="connsiteY19" fmla="*/ 137854 h 239484"/>
                      <a:gd name="connsiteX20" fmla="*/ 99790 w 225564"/>
                      <a:gd name="connsiteY20" fmla="*/ 130889 h 239484"/>
                      <a:gd name="connsiteX21" fmla="*/ 105569 w 225564"/>
                      <a:gd name="connsiteY21" fmla="*/ 174322 h 239484"/>
                      <a:gd name="connsiteX22" fmla="*/ 49885 w 225564"/>
                      <a:gd name="connsiteY22" fmla="*/ 239456 h 23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5564" h="239484">
                        <a:moveTo>
                          <a:pt x="49856" y="239485"/>
                        </a:moveTo>
                        <a:cubicBezTo>
                          <a:pt x="49856" y="239485"/>
                          <a:pt x="50636" y="223909"/>
                          <a:pt x="13417" y="171779"/>
                        </a:cubicBezTo>
                        <a:cubicBezTo>
                          <a:pt x="-23832" y="119648"/>
                          <a:pt x="28299" y="67518"/>
                          <a:pt x="28299" y="67518"/>
                        </a:cubicBezTo>
                        <a:cubicBezTo>
                          <a:pt x="31246" y="60496"/>
                          <a:pt x="38326" y="46539"/>
                          <a:pt x="53439" y="35876"/>
                        </a:cubicBezTo>
                        <a:cubicBezTo>
                          <a:pt x="57889" y="32726"/>
                          <a:pt x="66558" y="26600"/>
                          <a:pt x="79128" y="24433"/>
                        </a:cubicBezTo>
                        <a:cubicBezTo>
                          <a:pt x="95224" y="21658"/>
                          <a:pt x="100657" y="28334"/>
                          <a:pt x="110251" y="23306"/>
                        </a:cubicBezTo>
                        <a:cubicBezTo>
                          <a:pt x="120913" y="17700"/>
                          <a:pt x="119122" y="6834"/>
                          <a:pt x="128456" y="4320"/>
                        </a:cubicBezTo>
                        <a:cubicBezTo>
                          <a:pt x="136951" y="2037"/>
                          <a:pt x="140014" y="10562"/>
                          <a:pt x="151602" y="10389"/>
                        </a:cubicBezTo>
                        <a:cubicBezTo>
                          <a:pt x="165010" y="10186"/>
                          <a:pt x="169432" y="-1344"/>
                          <a:pt x="179286" y="130"/>
                        </a:cubicBezTo>
                        <a:cubicBezTo>
                          <a:pt x="188735" y="1575"/>
                          <a:pt x="189573" y="10707"/>
                          <a:pt x="195294" y="16168"/>
                        </a:cubicBezTo>
                        <a:cubicBezTo>
                          <a:pt x="198445" y="19173"/>
                          <a:pt x="202461" y="18364"/>
                          <a:pt x="207027" y="20560"/>
                        </a:cubicBezTo>
                        <a:cubicBezTo>
                          <a:pt x="212200" y="23045"/>
                          <a:pt x="216736" y="26918"/>
                          <a:pt x="219973" y="31686"/>
                        </a:cubicBezTo>
                        <a:cubicBezTo>
                          <a:pt x="224885" y="38939"/>
                          <a:pt x="226706" y="48244"/>
                          <a:pt x="224856" y="56826"/>
                        </a:cubicBezTo>
                        <a:cubicBezTo>
                          <a:pt x="224105" y="60352"/>
                          <a:pt x="222718" y="63819"/>
                          <a:pt x="220291" y="66449"/>
                        </a:cubicBezTo>
                        <a:cubicBezTo>
                          <a:pt x="216534" y="70523"/>
                          <a:pt x="211621" y="71015"/>
                          <a:pt x="206940" y="73297"/>
                        </a:cubicBezTo>
                        <a:cubicBezTo>
                          <a:pt x="201883" y="75754"/>
                          <a:pt x="197837" y="79048"/>
                          <a:pt x="192174" y="80348"/>
                        </a:cubicBezTo>
                        <a:cubicBezTo>
                          <a:pt x="184169" y="82227"/>
                          <a:pt x="175991" y="80840"/>
                          <a:pt x="168940" y="76707"/>
                        </a:cubicBezTo>
                        <a:cubicBezTo>
                          <a:pt x="160618" y="71824"/>
                          <a:pt x="149811" y="74078"/>
                          <a:pt x="143713" y="81533"/>
                        </a:cubicBezTo>
                        <a:cubicBezTo>
                          <a:pt x="138512" y="87890"/>
                          <a:pt x="119498" y="110575"/>
                          <a:pt x="125624" y="114505"/>
                        </a:cubicBezTo>
                        <a:cubicBezTo>
                          <a:pt x="138830" y="123000"/>
                          <a:pt x="139206" y="130456"/>
                          <a:pt x="125046" y="137854"/>
                        </a:cubicBezTo>
                        <a:cubicBezTo>
                          <a:pt x="120133" y="140425"/>
                          <a:pt x="101813" y="127393"/>
                          <a:pt x="99790" y="130889"/>
                        </a:cubicBezTo>
                        <a:cubicBezTo>
                          <a:pt x="92016" y="144327"/>
                          <a:pt x="104240" y="160047"/>
                          <a:pt x="105569" y="174322"/>
                        </a:cubicBezTo>
                        <a:cubicBezTo>
                          <a:pt x="106870" y="188539"/>
                          <a:pt x="97940" y="209778"/>
                          <a:pt x="49885" y="239456"/>
                        </a:cubicBezTo>
                        <a:close/>
                      </a:path>
                    </a:pathLst>
                  </a:custGeom>
                  <a:solidFill>
                    <a:srgbClr val="050C0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65" name="Freeform: Shape 4064">
                  <a:extLst>
                    <a:ext uri="{FF2B5EF4-FFF2-40B4-BE49-F238E27FC236}">
                      <a16:creationId xmlns:a16="http://schemas.microsoft.com/office/drawing/2014/main" id="{076AFED3-7A5E-80D1-A38C-0F5582A79F87}"/>
                    </a:ext>
                  </a:extLst>
                </p:cNvPr>
                <p:cNvSpPr/>
                <p:nvPr/>
              </p:nvSpPr>
              <p:spPr>
                <a:xfrm>
                  <a:off x="7031294" y="3667593"/>
                  <a:ext cx="309290" cy="623530"/>
                </a:xfrm>
                <a:custGeom>
                  <a:avLst/>
                  <a:gdLst>
                    <a:gd name="connsiteX0" fmla="*/ 309262 w 309290"/>
                    <a:gd name="connsiteY0" fmla="*/ 110271 h 623530"/>
                    <a:gd name="connsiteX1" fmla="*/ 307325 w 309290"/>
                    <a:gd name="connsiteY1" fmla="*/ 125182 h 623530"/>
                    <a:gd name="connsiteX2" fmla="*/ 278891 w 309290"/>
                    <a:gd name="connsiteY2" fmla="*/ 533584 h 623530"/>
                    <a:gd name="connsiteX3" fmla="*/ 278746 w 309290"/>
                    <a:gd name="connsiteY3" fmla="*/ 535780 h 623530"/>
                    <a:gd name="connsiteX4" fmla="*/ 278486 w 309290"/>
                    <a:gd name="connsiteY4" fmla="*/ 539768 h 623530"/>
                    <a:gd name="connsiteX5" fmla="*/ 274412 w 309290"/>
                    <a:gd name="connsiteY5" fmla="*/ 603255 h 623530"/>
                    <a:gd name="connsiteX6" fmla="*/ 274267 w 309290"/>
                    <a:gd name="connsiteY6" fmla="*/ 603342 h 623530"/>
                    <a:gd name="connsiteX7" fmla="*/ 180236 w 309290"/>
                    <a:gd name="connsiteY7" fmla="*/ 623367 h 623530"/>
                    <a:gd name="connsiteX8" fmla="*/ 180236 w 309290"/>
                    <a:gd name="connsiteY8" fmla="*/ 623367 h 623530"/>
                    <a:gd name="connsiteX9" fmla="*/ 114957 w 309290"/>
                    <a:gd name="connsiteY9" fmla="*/ 621518 h 623530"/>
                    <a:gd name="connsiteX10" fmla="*/ 6044 w 309290"/>
                    <a:gd name="connsiteY10" fmla="*/ 610450 h 623530"/>
                    <a:gd name="connsiteX11" fmla="*/ 525 w 309290"/>
                    <a:gd name="connsiteY11" fmla="*/ 601059 h 623530"/>
                    <a:gd name="connsiteX12" fmla="*/ 24423 w 309290"/>
                    <a:gd name="connsiteY12" fmla="*/ 171013 h 623530"/>
                    <a:gd name="connsiteX13" fmla="*/ 26012 w 309290"/>
                    <a:gd name="connsiteY13" fmla="*/ 134863 h 623530"/>
                    <a:gd name="connsiteX14" fmla="*/ 73432 w 309290"/>
                    <a:gd name="connsiteY14" fmla="*/ 31267 h 623530"/>
                    <a:gd name="connsiteX15" fmla="*/ 110883 w 309290"/>
                    <a:gd name="connsiteY15" fmla="*/ 1705 h 623530"/>
                    <a:gd name="connsiteX16" fmla="*/ 222137 w 309290"/>
                    <a:gd name="connsiteY16" fmla="*/ 41034 h 623530"/>
                    <a:gd name="connsiteX17" fmla="*/ 224651 w 309290"/>
                    <a:gd name="connsiteY17" fmla="*/ 41930 h 623530"/>
                    <a:gd name="connsiteX18" fmla="*/ 225893 w 309290"/>
                    <a:gd name="connsiteY18" fmla="*/ 24071 h 623530"/>
                    <a:gd name="connsiteX19" fmla="*/ 227541 w 309290"/>
                    <a:gd name="connsiteY19" fmla="*/ 0 h 623530"/>
                    <a:gd name="connsiteX20" fmla="*/ 288080 w 309290"/>
                    <a:gd name="connsiteY20" fmla="*/ 20170 h 623530"/>
                    <a:gd name="connsiteX21" fmla="*/ 309290 w 309290"/>
                    <a:gd name="connsiteY21" fmla="*/ 110358 h 62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290" h="623530">
                      <a:moveTo>
                        <a:pt x="309262" y="110271"/>
                      </a:moveTo>
                      <a:cubicBezTo>
                        <a:pt x="308597" y="115299"/>
                        <a:pt x="307961" y="120298"/>
                        <a:pt x="307325" y="125182"/>
                      </a:cubicBezTo>
                      <a:cubicBezTo>
                        <a:pt x="294091" y="230599"/>
                        <a:pt x="292732" y="312030"/>
                        <a:pt x="278891" y="533584"/>
                      </a:cubicBezTo>
                      <a:cubicBezTo>
                        <a:pt x="278862" y="534307"/>
                        <a:pt x="278804" y="535029"/>
                        <a:pt x="278746" y="535780"/>
                      </a:cubicBezTo>
                      <a:cubicBezTo>
                        <a:pt x="278659" y="537110"/>
                        <a:pt x="278573" y="538439"/>
                        <a:pt x="278486" y="539768"/>
                      </a:cubicBezTo>
                      <a:cubicBezTo>
                        <a:pt x="277214" y="559765"/>
                        <a:pt x="275885" y="580918"/>
                        <a:pt x="274412" y="603255"/>
                      </a:cubicBezTo>
                      <a:cubicBezTo>
                        <a:pt x="274354" y="603255"/>
                        <a:pt x="274325" y="603313"/>
                        <a:pt x="274267" y="603342"/>
                      </a:cubicBezTo>
                      <a:cubicBezTo>
                        <a:pt x="252247" y="616577"/>
                        <a:pt x="219652" y="622356"/>
                        <a:pt x="180236" y="623367"/>
                      </a:cubicBezTo>
                      <a:lnTo>
                        <a:pt x="180236" y="623367"/>
                      </a:lnTo>
                      <a:cubicBezTo>
                        <a:pt x="160095" y="623888"/>
                        <a:pt x="138162" y="623136"/>
                        <a:pt x="114957" y="621518"/>
                      </a:cubicBezTo>
                      <a:cubicBezTo>
                        <a:pt x="75860" y="618744"/>
                        <a:pt x="33005" y="613687"/>
                        <a:pt x="6044" y="610450"/>
                      </a:cubicBezTo>
                      <a:cubicBezTo>
                        <a:pt x="1536" y="609901"/>
                        <a:pt x="-1209" y="605249"/>
                        <a:pt x="525" y="601059"/>
                      </a:cubicBezTo>
                      <a:cubicBezTo>
                        <a:pt x="21389" y="550749"/>
                        <a:pt x="30578" y="280793"/>
                        <a:pt x="24423" y="171013"/>
                      </a:cubicBezTo>
                      <a:cubicBezTo>
                        <a:pt x="23758" y="158934"/>
                        <a:pt x="24047" y="146797"/>
                        <a:pt x="26012" y="134863"/>
                      </a:cubicBezTo>
                      <a:cubicBezTo>
                        <a:pt x="32659" y="94522"/>
                        <a:pt x="48350" y="59904"/>
                        <a:pt x="73432" y="31267"/>
                      </a:cubicBezTo>
                      <a:lnTo>
                        <a:pt x="110883" y="1705"/>
                      </a:lnTo>
                      <a:lnTo>
                        <a:pt x="222137" y="41034"/>
                      </a:lnTo>
                      <a:lnTo>
                        <a:pt x="224651" y="41930"/>
                      </a:lnTo>
                      <a:lnTo>
                        <a:pt x="225893" y="24071"/>
                      </a:lnTo>
                      <a:lnTo>
                        <a:pt x="227541" y="0"/>
                      </a:lnTo>
                      <a:lnTo>
                        <a:pt x="288080" y="20170"/>
                      </a:lnTo>
                      <a:lnTo>
                        <a:pt x="309290" y="110358"/>
                      </a:lnTo>
                      <a:close/>
                    </a:path>
                  </a:pathLst>
                </a:custGeom>
                <a:solidFill>
                  <a:srgbClr val="619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68" name="Freeform: Shape 4067">
                  <a:extLst>
                    <a:ext uri="{FF2B5EF4-FFF2-40B4-BE49-F238E27FC236}">
                      <a16:creationId xmlns:a16="http://schemas.microsoft.com/office/drawing/2014/main" id="{150FF64A-39F5-FB19-D092-6BB4343FE9FB}"/>
                    </a:ext>
                  </a:extLst>
                </p:cNvPr>
                <p:cNvSpPr/>
                <p:nvPr/>
              </p:nvSpPr>
              <p:spPr>
                <a:xfrm>
                  <a:off x="7127612" y="3669269"/>
                  <a:ext cx="125789" cy="84552"/>
                </a:xfrm>
                <a:custGeom>
                  <a:avLst/>
                  <a:gdLst>
                    <a:gd name="connsiteX0" fmla="*/ 0 w 125789"/>
                    <a:gd name="connsiteY0" fmla="*/ 10750 h 84552"/>
                    <a:gd name="connsiteX1" fmla="*/ 106457 w 125789"/>
                    <a:gd name="connsiteY1" fmla="*/ 84553 h 84552"/>
                    <a:gd name="connsiteX2" fmla="*/ 125789 w 125789"/>
                    <a:gd name="connsiteY2" fmla="*/ 39300 h 84552"/>
                    <a:gd name="connsiteX3" fmla="*/ 14535 w 125789"/>
                    <a:gd name="connsiteY3" fmla="*/ 0 h 84552"/>
                    <a:gd name="connsiteX4" fmla="*/ 0 w 125789"/>
                    <a:gd name="connsiteY4" fmla="*/ 10750 h 8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89" h="84552">
                      <a:moveTo>
                        <a:pt x="0" y="10750"/>
                      </a:moveTo>
                      <a:lnTo>
                        <a:pt x="106457" y="84553"/>
                      </a:lnTo>
                      <a:lnTo>
                        <a:pt x="125789" y="39300"/>
                      </a:lnTo>
                      <a:lnTo>
                        <a:pt x="14535" y="0"/>
                      </a:lnTo>
                      <a:lnTo>
                        <a:pt x="0" y="10750"/>
                      </a:lnTo>
                      <a:close/>
                    </a:path>
                  </a:pathLst>
                </a:custGeom>
                <a:solidFill>
                  <a:srgbClr val="538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69" name="Freeform: Shape 4068">
                  <a:extLst>
                    <a:ext uri="{FF2B5EF4-FFF2-40B4-BE49-F238E27FC236}">
                      <a16:creationId xmlns:a16="http://schemas.microsoft.com/office/drawing/2014/main" id="{076401CB-8F54-B0D7-BF54-8FABB0EAF090}"/>
                    </a:ext>
                  </a:extLst>
                </p:cNvPr>
                <p:cNvSpPr/>
                <p:nvPr/>
              </p:nvSpPr>
              <p:spPr>
                <a:xfrm>
                  <a:off x="7253401" y="3667507"/>
                  <a:ext cx="39733" cy="62591"/>
                </a:xfrm>
                <a:custGeom>
                  <a:avLst/>
                  <a:gdLst>
                    <a:gd name="connsiteX0" fmla="*/ 5404 w 39733"/>
                    <a:gd name="connsiteY0" fmla="*/ 0 h 62591"/>
                    <a:gd name="connsiteX1" fmla="*/ 0 w 39733"/>
                    <a:gd name="connsiteY1" fmla="*/ 42219 h 62591"/>
                    <a:gd name="connsiteX2" fmla="*/ 39733 w 39733"/>
                    <a:gd name="connsiteY2" fmla="*/ 62591 h 62591"/>
                    <a:gd name="connsiteX3" fmla="*/ 22193 w 39733"/>
                    <a:gd name="connsiteY3" fmla="*/ 2659 h 62591"/>
                    <a:gd name="connsiteX4" fmla="*/ 5404 w 39733"/>
                    <a:gd name="connsiteY4" fmla="*/ 0 h 62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33" h="62591">
                      <a:moveTo>
                        <a:pt x="5404" y="0"/>
                      </a:moveTo>
                      <a:lnTo>
                        <a:pt x="0" y="42219"/>
                      </a:lnTo>
                      <a:lnTo>
                        <a:pt x="39733" y="62591"/>
                      </a:lnTo>
                      <a:lnTo>
                        <a:pt x="22193" y="2659"/>
                      </a:lnTo>
                      <a:lnTo>
                        <a:pt x="5404" y="0"/>
                      </a:lnTo>
                      <a:close/>
                    </a:path>
                  </a:pathLst>
                </a:custGeom>
                <a:solidFill>
                  <a:srgbClr val="538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0" name="Freeform: Shape 4069">
                  <a:extLst>
                    <a:ext uri="{FF2B5EF4-FFF2-40B4-BE49-F238E27FC236}">
                      <a16:creationId xmlns:a16="http://schemas.microsoft.com/office/drawing/2014/main" id="{7CA657C2-3862-4597-9CF3-C75F12E231F9}"/>
                    </a:ext>
                  </a:extLst>
                </p:cNvPr>
                <p:cNvSpPr/>
                <p:nvPr/>
              </p:nvSpPr>
              <p:spPr>
                <a:xfrm>
                  <a:off x="7247044" y="3708569"/>
                  <a:ext cx="21990" cy="29995"/>
                </a:xfrm>
                <a:custGeom>
                  <a:avLst/>
                  <a:gdLst>
                    <a:gd name="connsiteX0" fmla="*/ 0 w 21990"/>
                    <a:gd name="connsiteY0" fmla="*/ 17974 h 29995"/>
                    <a:gd name="connsiteX1" fmla="*/ 6358 w 21990"/>
                    <a:gd name="connsiteY1" fmla="*/ 29995 h 29995"/>
                    <a:gd name="connsiteX2" fmla="*/ 19419 w 21990"/>
                    <a:gd name="connsiteY2" fmla="*/ 28868 h 29995"/>
                    <a:gd name="connsiteX3" fmla="*/ 21991 w 21990"/>
                    <a:gd name="connsiteY3" fmla="*/ 9189 h 29995"/>
                    <a:gd name="connsiteX4" fmla="*/ 6358 w 21990"/>
                    <a:gd name="connsiteY4" fmla="*/ 0 h 29995"/>
                    <a:gd name="connsiteX5" fmla="*/ 0 w 21990"/>
                    <a:gd name="connsiteY5" fmla="*/ 17974 h 2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90" h="29995">
                      <a:moveTo>
                        <a:pt x="0" y="17974"/>
                      </a:moveTo>
                      <a:lnTo>
                        <a:pt x="6358" y="29995"/>
                      </a:lnTo>
                      <a:lnTo>
                        <a:pt x="19419" y="28868"/>
                      </a:lnTo>
                      <a:lnTo>
                        <a:pt x="21991" y="9189"/>
                      </a:lnTo>
                      <a:lnTo>
                        <a:pt x="6358" y="0"/>
                      </a:lnTo>
                      <a:lnTo>
                        <a:pt x="0" y="17974"/>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71" name="Graphic 4043">
                  <a:extLst>
                    <a:ext uri="{FF2B5EF4-FFF2-40B4-BE49-F238E27FC236}">
                      <a16:creationId xmlns:a16="http://schemas.microsoft.com/office/drawing/2014/main" id="{D6A69F55-CDC9-86E4-864A-468734F26B06}"/>
                    </a:ext>
                  </a:extLst>
                </p:cNvPr>
                <p:cNvGrpSpPr/>
                <p:nvPr/>
              </p:nvGrpSpPr>
              <p:grpSpPr>
                <a:xfrm>
                  <a:off x="7344153" y="3460199"/>
                  <a:ext cx="559461" cy="103653"/>
                  <a:chOff x="7344153" y="3460199"/>
                  <a:chExt cx="559461" cy="103653"/>
                </a:xfrm>
              </p:grpSpPr>
              <p:sp>
                <p:nvSpPr>
                  <p:cNvPr id="4072" name="Freeform: Shape 4071">
                    <a:extLst>
                      <a:ext uri="{FF2B5EF4-FFF2-40B4-BE49-F238E27FC236}">
                        <a16:creationId xmlns:a16="http://schemas.microsoft.com/office/drawing/2014/main" id="{1C60D7E5-2F3F-75B7-16E7-0A7069BECFBE}"/>
                      </a:ext>
                    </a:extLst>
                  </p:cNvPr>
                  <p:cNvSpPr/>
                  <p:nvPr/>
                </p:nvSpPr>
                <p:spPr>
                  <a:xfrm>
                    <a:off x="7357604" y="3474301"/>
                    <a:ext cx="254525" cy="75508"/>
                  </a:xfrm>
                  <a:custGeom>
                    <a:avLst/>
                    <a:gdLst>
                      <a:gd name="connsiteX0" fmla="*/ 254525 w 254525"/>
                      <a:gd name="connsiteY0" fmla="*/ 0 h 75508"/>
                      <a:gd name="connsiteX1" fmla="*/ 254525 w 254525"/>
                      <a:gd name="connsiteY1" fmla="*/ 75508 h 75508"/>
                      <a:gd name="connsiteX2" fmla="*/ 13235 w 254525"/>
                      <a:gd name="connsiteY2" fmla="*/ 75508 h 75508"/>
                      <a:gd name="connsiteX3" fmla="*/ 13235 w 254525"/>
                      <a:gd name="connsiteY3" fmla="*/ 0 h 75508"/>
                      <a:gd name="connsiteX4" fmla="*/ 254525 w 254525"/>
                      <a:gd name="connsiteY4" fmla="*/ 0 h 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25" h="75508">
                        <a:moveTo>
                          <a:pt x="254525" y="0"/>
                        </a:moveTo>
                        <a:lnTo>
                          <a:pt x="254525" y="75508"/>
                        </a:lnTo>
                        <a:lnTo>
                          <a:pt x="13235" y="75508"/>
                        </a:lnTo>
                        <a:cubicBezTo>
                          <a:pt x="-3844" y="51899"/>
                          <a:pt x="-4971" y="26845"/>
                          <a:pt x="13235" y="0"/>
                        </a:cubicBezTo>
                        <a:lnTo>
                          <a:pt x="254525" y="0"/>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3" name="Freeform: Shape 4072">
                    <a:extLst>
                      <a:ext uri="{FF2B5EF4-FFF2-40B4-BE49-F238E27FC236}">
                        <a16:creationId xmlns:a16="http://schemas.microsoft.com/office/drawing/2014/main" id="{89971D08-601E-4466-E069-947A48E15ED4}"/>
                      </a:ext>
                    </a:extLst>
                  </p:cNvPr>
                  <p:cNvSpPr/>
                  <p:nvPr/>
                </p:nvSpPr>
                <p:spPr>
                  <a:xfrm>
                    <a:off x="7497176" y="3467250"/>
                    <a:ext cx="254526" cy="89609"/>
                  </a:xfrm>
                  <a:custGeom>
                    <a:avLst/>
                    <a:gdLst>
                      <a:gd name="connsiteX0" fmla="*/ 254526 w 254526"/>
                      <a:gd name="connsiteY0" fmla="*/ 0 h 89609"/>
                      <a:gd name="connsiteX1" fmla="*/ 254526 w 254526"/>
                      <a:gd name="connsiteY1" fmla="*/ 89610 h 89609"/>
                      <a:gd name="connsiteX2" fmla="*/ 19679 w 254526"/>
                      <a:gd name="connsiteY2" fmla="*/ 89610 h 89609"/>
                      <a:gd name="connsiteX3" fmla="*/ 15749 w 254526"/>
                      <a:gd name="connsiteY3" fmla="*/ 82559 h 89609"/>
                      <a:gd name="connsiteX4" fmla="*/ 9305 w 254526"/>
                      <a:gd name="connsiteY4" fmla="*/ 82559 h 89609"/>
                      <a:gd name="connsiteX5" fmla="*/ 9508 w 254526"/>
                      <a:gd name="connsiteY5" fmla="*/ 7051 h 89609"/>
                      <a:gd name="connsiteX6" fmla="*/ 15952 w 254526"/>
                      <a:gd name="connsiteY6" fmla="*/ 7051 h 89609"/>
                      <a:gd name="connsiteX7" fmla="*/ 19679 w 254526"/>
                      <a:gd name="connsiteY7" fmla="*/ 0 h 89609"/>
                      <a:gd name="connsiteX8" fmla="*/ 254526 w 254526"/>
                      <a:gd name="connsiteY8" fmla="*/ 0 h 8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526" h="89609">
                        <a:moveTo>
                          <a:pt x="254526" y="0"/>
                        </a:moveTo>
                        <a:lnTo>
                          <a:pt x="254526" y="89610"/>
                        </a:lnTo>
                        <a:lnTo>
                          <a:pt x="19679" y="89610"/>
                        </a:lnTo>
                        <a:cubicBezTo>
                          <a:pt x="18263" y="87269"/>
                          <a:pt x="16934" y="84929"/>
                          <a:pt x="15749" y="82559"/>
                        </a:cubicBezTo>
                        <a:lnTo>
                          <a:pt x="9305" y="82559"/>
                        </a:lnTo>
                        <a:cubicBezTo>
                          <a:pt x="-2831" y="58719"/>
                          <a:pt x="-3438" y="33636"/>
                          <a:pt x="9508" y="7051"/>
                        </a:cubicBezTo>
                        <a:lnTo>
                          <a:pt x="15952" y="7051"/>
                        </a:lnTo>
                        <a:cubicBezTo>
                          <a:pt x="17079" y="4710"/>
                          <a:pt x="18350" y="2370"/>
                          <a:pt x="19679" y="0"/>
                        </a:cubicBezTo>
                        <a:lnTo>
                          <a:pt x="254526" y="0"/>
                        </a:lnTo>
                        <a:close/>
                      </a:path>
                    </a:pathLst>
                  </a:custGeom>
                  <a:solidFill>
                    <a:srgbClr val="0C103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4" name="Freeform: Shape 4073">
                    <a:extLst>
                      <a:ext uri="{FF2B5EF4-FFF2-40B4-BE49-F238E27FC236}">
                        <a16:creationId xmlns:a16="http://schemas.microsoft.com/office/drawing/2014/main" id="{BAC3D528-0BE4-4E9B-D7BF-CACA8CC0D2BA}"/>
                      </a:ext>
                    </a:extLst>
                  </p:cNvPr>
                  <p:cNvSpPr/>
                  <p:nvPr/>
                </p:nvSpPr>
                <p:spPr>
                  <a:xfrm>
                    <a:off x="7503592" y="3467250"/>
                    <a:ext cx="254526" cy="89609"/>
                  </a:xfrm>
                  <a:custGeom>
                    <a:avLst/>
                    <a:gdLst>
                      <a:gd name="connsiteX0" fmla="*/ 254526 w 254526"/>
                      <a:gd name="connsiteY0" fmla="*/ 0 h 89609"/>
                      <a:gd name="connsiteX1" fmla="*/ 254526 w 254526"/>
                      <a:gd name="connsiteY1" fmla="*/ 89610 h 89609"/>
                      <a:gd name="connsiteX2" fmla="*/ 13236 w 254526"/>
                      <a:gd name="connsiteY2" fmla="*/ 89610 h 89609"/>
                      <a:gd name="connsiteX3" fmla="*/ 9305 w 254526"/>
                      <a:gd name="connsiteY3" fmla="*/ 82559 h 89609"/>
                      <a:gd name="connsiteX4" fmla="*/ 9508 w 254526"/>
                      <a:gd name="connsiteY4" fmla="*/ 7051 h 89609"/>
                      <a:gd name="connsiteX5" fmla="*/ 13236 w 254526"/>
                      <a:gd name="connsiteY5" fmla="*/ 0 h 89609"/>
                      <a:gd name="connsiteX6" fmla="*/ 254526 w 254526"/>
                      <a:gd name="connsiteY6" fmla="*/ 0 h 8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26" h="89609">
                        <a:moveTo>
                          <a:pt x="254526" y="0"/>
                        </a:moveTo>
                        <a:lnTo>
                          <a:pt x="254526" y="89610"/>
                        </a:lnTo>
                        <a:lnTo>
                          <a:pt x="13236" y="89610"/>
                        </a:lnTo>
                        <a:cubicBezTo>
                          <a:pt x="11819" y="87269"/>
                          <a:pt x="10490" y="84929"/>
                          <a:pt x="9305" y="82559"/>
                        </a:cubicBezTo>
                        <a:cubicBezTo>
                          <a:pt x="-2831" y="58719"/>
                          <a:pt x="-3438" y="33636"/>
                          <a:pt x="9508" y="7051"/>
                        </a:cubicBezTo>
                        <a:cubicBezTo>
                          <a:pt x="10635" y="4710"/>
                          <a:pt x="11906" y="2370"/>
                          <a:pt x="13236" y="0"/>
                        </a:cubicBezTo>
                        <a:lnTo>
                          <a:pt x="254526" y="0"/>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5" name="Freeform: Shape 4074">
                    <a:extLst>
                      <a:ext uri="{FF2B5EF4-FFF2-40B4-BE49-F238E27FC236}">
                        <a16:creationId xmlns:a16="http://schemas.microsoft.com/office/drawing/2014/main" id="{94EE6DF4-EBDD-BE0C-F419-EA92D333E617}"/>
                      </a:ext>
                    </a:extLst>
                  </p:cNvPr>
                  <p:cNvSpPr/>
                  <p:nvPr/>
                </p:nvSpPr>
                <p:spPr>
                  <a:xfrm>
                    <a:off x="7653352" y="3460199"/>
                    <a:ext cx="217868" cy="103653"/>
                  </a:xfrm>
                  <a:custGeom>
                    <a:avLst/>
                    <a:gdLst>
                      <a:gd name="connsiteX0" fmla="*/ 217869 w 217868"/>
                      <a:gd name="connsiteY0" fmla="*/ 29 h 103653"/>
                      <a:gd name="connsiteX1" fmla="*/ 217869 w 217868"/>
                      <a:gd name="connsiteY1" fmla="*/ 103654 h 103653"/>
                      <a:gd name="connsiteX2" fmla="*/ 24229 w 217868"/>
                      <a:gd name="connsiteY2" fmla="*/ 103654 h 103653"/>
                      <a:gd name="connsiteX3" fmla="*/ 19837 w 217868"/>
                      <a:gd name="connsiteY3" fmla="*/ 96632 h 103653"/>
                      <a:gd name="connsiteX4" fmla="*/ 12266 w 217868"/>
                      <a:gd name="connsiteY4" fmla="*/ 96632 h 103653"/>
                      <a:gd name="connsiteX5" fmla="*/ 12642 w 217868"/>
                      <a:gd name="connsiteY5" fmla="*/ 7022 h 103653"/>
                      <a:gd name="connsiteX6" fmla="*/ 20213 w 217868"/>
                      <a:gd name="connsiteY6" fmla="*/ 7022 h 103653"/>
                      <a:gd name="connsiteX7" fmla="*/ 24229 w 217868"/>
                      <a:gd name="connsiteY7" fmla="*/ 0 h 103653"/>
                      <a:gd name="connsiteX8" fmla="*/ 217869 w 217868"/>
                      <a:gd name="connsiteY8" fmla="*/ 0 h 10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868" h="103653">
                        <a:moveTo>
                          <a:pt x="217869" y="29"/>
                        </a:moveTo>
                        <a:lnTo>
                          <a:pt x="217869" y="103654"/>
                        </a:lnTo>
                        <a:lnTo>
                          <a:pt x="24229" y="103654"/>
                        </a:lnTo>
                        <a:cubicBezTo>
                          <a:pt x="22669" y="101342"/>
                          <a:pt x="21195" y="99001"/>
                          <a:pt x="19837" y="96632"/>
                        </a:cubicBezTo>
                        <a:lnTo>
                          <a:pt x="12266" y="96632"/>
                        </a:lnTo>
                        <a:cubicBezTo>
                          <a:pt x="-3454" y="69324"/>
                          <a:pt x="-4841" y="39705"/>
                          <a:pt x="12642" y="7022"/>
                        </a:cubicBezTo>
                        <a:lnTo>
                          <a:pt x="20213" y="7022"/>
                        </a:lnTo>
                        <a:cubicBezTo>
                          <a:pt x="21455" y="4710"/>
                          <a:pt x="22784" y="2370"/>
                          <a:pt x="24229" y="0"/>
                        </a:cubicBezTo>
                        <a:lnTo>
                          <a:pt x="217869" y="0"/>
                        </a:lnTo>
                        <a:close/>
                      </a:path>
                    </a:pathLst>
                  </a:custGeom>
                  <a:solidFill>
                    <a:srgbClr val="0C103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6" name="Freeform: Shape 4075">
                    <a:extLst>
                      <a:ext uri="{FF2B5EF4-FFF2-40B4-BE49-F238E27FC236}">
                        <a16:creationId xmlns:a16="http://schemas.microsoft.com/office/drawing/2014/main" id="{EACD8FA2-7F13-1178-7EFE-1D10A1C4E533}"/>
                      </a:ext>
                    </a:extLst>
                  </p:cNvPr>
                  <p:cNvSpPr/>
                  <p:nvPr/>
                </p:nvSpPr>
                <p:spPr>
                  <a:xfrm>
                    <a:off x="7660934" y="3460199"/>
                    <a:ext cx="217857" cy="103653"/>
                  </a:xfrm>
                  <a:custGeom>
                    <a:avLst/>
                    <a:gdLst>
                      <a:gd name="connsiteX0" fmla="*/ 217858 w 217857"/>
                      <a:gd name="connsiteY0" fmla="*/ 29 h 103653"/>
                      <a:gd name="connsiteX1" fmla="*/ 217858 w 217857"/>
                      <a:gd name="connsiteY1" fmla="*/ 103654 h 103653"/>
                      <a:gd name="connsiteX2" fmla="*/ 16647 w 217857"/>
                      <a:gd name="connsiteY2" fmla="*/ 103654 h 103653"/>
                      <a:gd name="connsiteX3" fmla="*/ 12255 w 217857"/>
                      <a:gd name="connsiteY3" fmla="*/ 96632 h 103653"/>
                      <a:gd name="connsiteX4" fmla="*/ 12631 w 217857"/>
                      <a:gd name="connsiteY4" fmla="*/ 7022 h 103653"/>
                      <a:gd name="connsiteX5" fmla="*/ 16647 w 217857"/>
                      <a:gd name="connsiteY5" fmla="*/ 0 h 103653"/>
                      <a:gd name="connsiteX6" fmla="*/ 217858 w 217857"/>
                      <a:gd name="connsiteY6" fmla="*/ 0 h 10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857" h="103653">
                        <a:moveTo>
                          <a:pt x="217858" y="29"/>
                        </a:moveTo>
                        <a:lnTo>
                          <a:pt x="217858" y="103654"/>
                        </a:lnTo>
                        <a:lnTo>
                          <a:pt x="16647" y="103654"/>
                        </a:lnTo>
                        <a:cubicBezTo>
                          <a:pt x="15087" y="101342"/>
                          <a:pt x="13613" y="99001"/>
                          <a:pt x="12255" y="96632"/>
                        </a:cubicBezTo>
                        <a:cubicBezTo>
                          <a:pt x="-3465" y="69324"/>
                          <a:pt x="-4823" y="39705"/>
                          <a:pt x="12631" y="7022"/>
                        </a:cubicBezTo>
                        <a:cubicBezTo>
                          <a:pt x="13873" y="4710"/>
                          <a:pt x="15202" y="2370"/>
                          <a:pt x="16647" y="0"/>
                        </a:cubicBezTo>
                        <a:lnTo>
                          <a:pt x="217858" y="0"/>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7" name="Freeform: Shape 4076">
                    <a:extLst>
                      <a:ext uri="{FF2B5EF4-FFF2-40B4-BE49-F238E27FC236}">
                        <a16:creationId xmlns:a16="http://schemas.microsoft.com/office/drawing/2014/main" id="{D2416696-036F-9D5A-72D1-2006D0466BF8}"/>
                      </a:ext>
                    </a:extLst>
                  </p:cNvPr>
                  <p:cNvSpPr/>
                  <p:nvPr/>
                </p:nvSpPr>
                <p:spPr>
                  <a:xfrm>
                    <a:off x="7873272" y="3460228"/>
                    <a:ext cx="30341" cy="103624"/>
                  </a:xfrm>
                  <a:custGeom>
                    <a:avLst/>
                    <a:gdLst>
                      <a:gd name="connsiteX0" fmla="*/ 30342 w 30341"/>
                      <a:gd name="connsiteY0" fmla="*/ 51812 h 103624"/>
                      <a:gd name="connsiteX1" fmla="*/ 3872 w 30341"/>
                      <a:gd name="connsiteY1" fmla="*/ 103625 h 103624"/>
                      <a:gd name="connsiteX2" fmla="*/ 0 w 30341"/>
                      <a:gd name="connsiteY2" fmla="*/ 103076 h 103624"/>
                      <a:gd name="connsiteX3" fmla="*/ 22598 w 30341"/>
                      <a:gd name="connsiteY3" fmla="*/ 51812 h 103624"/>
                      <a:gd name="connsiteX4" fmla="*/ 0 w 30341"/>
                      <a:gd name="connsiteY4" fmla="*/ 549 h 103624"/>
                      <a:gd name="connsiteX5" fmla="*/ 3872 w 30341"/>
                      <a:gd name="connsiteY5" fmla="*/ 0 h 103624"/>
                      <a:gd name="connsiteX6" fmla="*/ 30342 w 30341"/>
                      <a:gd name="connsiteY6" fmla="*/ 51812 h 10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 h="103624">
                        <a:moveTo>
                          <a:pt x="30342" y="51812"/>
                        </a:moveTo>
                        <a:cubicBezTo>
                          <a:pt x="30342" y="80421"/>
                          <a:pt x="18495" y="103625"/>
                          <a:pt x="3872" y="103625"/>
                        </a:cubicBezTo>
                        <a:cubicBezTo>
                          <a:pt x="2572" y="103625"/>
                          <a:pt x="1272" y="103451"/>
                          <a:pt x="0" y="103076"/>
                        </a:cubicBezTo>
                        <a:cubicBezTo>
                          <a:pt x="12773" y="99406"/>
                          <a:pt x="22598" y="77849"/>
                          <a:pt x="22598" y="51812"/>
                        </a:cubicBezTo>
                        <a:cubicBezTo>
                          <a:pt x="22598" y="25776"/>
                          <a:pt x="12802" y="4219"/>
                          <a:pt x="0" y="549"/>
                        </a:cubicBezTo>
                        <a:cubicBezTo>
                          <a:pt x="1272" y="173"/>
                          <a:pt x="2572" y="0"/>
                          <a:pt x="3872" y="0"/>
                        </a:cubicBezTo>
                        <a:cubicBezTo>
                          <a:pt x="18495" y="0"/>
                          <a:pt x="30342" y="23204"/>
                          <a:pt x="30342" y="51812"/>
                        </a:cubicBez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8" name="Freeform: Shape 4077">
                    <a:extLst>
                      <a:ext uri="{FF2B5EF4-FFF2-40B4-BE49-F238E27FC236}">
                        <a16:creationId xmlns:a16="http://schemas.microsoft.com/office/drawing/2014/main" id="{16C1C30A-8696-7C84-7EFC-90A6737D0D63}"/>
                      </a:ext>
                    </a:extLst>
                  </p:cNvPr>
                  <p:cNvSpPr/>
                  <p:nvPr/>
                </p:nvSpPr>
                <p:spPr>
                  <a:xfrm>
                    <a:off x="7841543" y="3460228"/>
                    <a:ext cx="30341" cy="103624"/>
                  </a:xfrm>
                  <a:custGeom>
                    <a:avLst/>
                    <a:gdLst>
                      <a:gd name="connsiteX0" fmla="*/ 0 w 30341"/>
                      <a:gd name="connsiteY0" fmla="*/ 51812 h 103624"/>
                      <a:gd name="connsiteX1" fmla="*/ 26470 w 30341"/>
                      <a:gd name="connsiteY1" fmla="*/ 103625 h 103624"/>
                      <a:gd name="connsiteX2" fmla="*/ 30342 w 30341"/>
                      <a:gd name="connsiteY2" fmla="*/ 103076 h 103624"/>
                      <a:gd name="connsiteX3" fmla="*/ 7745 w 30341"/>
                      <a:gd name="connsiteY3" fmla="*/ 51812 h 103624"/>
                      <a:gd name="connsiteX4" fmla="*/ 30342 w 30341"/>
                      <a:gd name="connsiteY4" fmla="*/ 549 h 103624"/>
                      <a:gd name="connsiteX5" fmla="*/ 26470 w 30341"/>
                      <a:gd name="connsiteY5" fmla="*/ 0 h 103624"/>
                      <a:gd name="connsiteX6" fmla="*/ 0 w 30341"/>
                      <a:gd name="connsiteY6" fmla="*/ 51812 h 10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 h="103624">
                        <a:moveTo>
                          <a:pt x="0" y="51812"/>
                        </a:moveTo>
                        <a:cubicBezTo>
                          <a:pt x="0" y="80421"/>
                          <a:pt x="11848" y="103625"/>
                          <a:pt x="26470" y="103625"/>
                        </a:cubicBezTo>
                        <a:cubicBezTo>
                          <a:pt x="27770" y="103625"/>
                          <a:pt x="29071" y="103451"/>
                          <a:pt x="30342" y="103076"/>
                        </a:cubicBezTo>
                        <a:cubicBezTo>
                          <a:pt x="17570" y="99406"/>
                          <a:pt x="7745" y="77849"/>
                          <a:pt x="7745" y="51812"/>
                        </a:cubicBezTo>
                        <a:cubicBezTo>
                          <a:pt x="7745" y="25776"/>
                          <a:pt x="17541" y="4219"/>
                          <a:pt x="30342" y="549"/>
                        </a:cubicBezTo>
                        <a:cubicBezTo>
                          <a:pt x="29071" y="173"/>
                          <a:pt x="27770" y="0"/>
                          <a:pt x="26470" y="0"/>
                        </a:cubicBezTo>
                        <a:cubicBezTo>
                          <a:pt x="11848" y="0"/>
                          <a:pt x="0" y="23204"/>
                          <a:pt x="0" y="51812"/>
                        </a:cubicBezTo>
                        <a:close/>
                      </a:path>
                    </a:pathLst>
                  </a:custGeom>
                  <a:solidFill>
                    <a:srgbClr val="0C103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79" name="Freeform: Shape 4078">
                    <a:extLst>
                      <a:ext uri="{FF2B5EF4-FFF2-40B4-BE49-F238E27FC236}">
                        <a16:creationId xmlns:a16="http://schemas.microsoft.com/office/drawing/2014/main" id="{54D4800A-6B26-06F3-EF18-C0D81BAEAA83}"/>
                      </a:ext>
                    </a:extLst>
                  </p:cNvPr>
                  <p:cNvSpPr/>
                  <p:nvPr/>
                </p:nvSpPr>
                <p:spPr>
                  <a:xfrm>
                    <a:off x="7844549" y="3460228"/>
                    <a:ext cx="30341" cy="103624"/>
                  </a:xfrm>
                  <a:custGeom>
                    <a:avLst/>
                    <a:gdLst>
                      <a:gd name="connsiteX0" fmla="*/ 0 w 30341"/>
                      <a:gd name="connsiteY0" fmla="*/ 51812 h 103624"/>
                      <a:gd name="connsiteX1" fmla="*/ 26469 w 30341"/>
                      <a:gd name="connsiteY1" fmla="*/ 103625 h 103624"/>
                      <a:gd name="connsiteX2" fmla="*/ 30342 w 30341"/>
                      <a:gd name="connsiteY2" fmla="*/ 103076 h 103624"/>
                      <a:gd name="connsiteX3" fmla="*/ 7744 w 30341"/>
                      <a:gd name="connsiteY3" fmla="*/ 51812 h 103624"/>
                      <a:gd name="connsiteX4" fmla="*/ 30342 w 30341"/>
                      <a:gd name="connsiteY4" fmla="*/ 549 h 103624"/>
                      <a:gd name="connsiteX5" fmla="*/ 26469 w 30341"/>
                      <a:gd name="connsiteY5" fmla="*/ 0 h 103624"/>
                      <a:gd name="connsiteX6" fmla="*/ 0 w 30341"/>
                      <a:gd name="connsiteY6" fmla="*/ 51812 h 10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1" h="103624">
                        <a:moveTo>
                          <a:pt x="0" y="51812"/>
                        </a:moveTo>
                        <a:cubicBezTo>
                          <a:pt x="0" y="80421"/>
                          <a:pt x="11848" y="103625"/>
                          <a:pt x="26469" y="103625"/>
                        </a:cubicBezTo>
                        <a:cubicBezTo>
                          <a:pt x="27770" y="103625"/>
                          <a:pt x="29071" y="103451"/>
                          <a:pt x="30342" y="103076"/>
                        </a:cubicBezTo>
                        <a:cubicBezTo>
                          <a:pt x="17570" y="99406"/>
                          <a:pt x="7744" y="77849"/>
                          <a:pt x="7744" y="51812"/>
                        </a:cubicBezTo>
                        <a:cubicBezTo>
                          <a:pt x="7744" y="25776"/>
                          <a:pt x="17541" y="4219"/>
                          <a:pt x="30342" y="549"/>
                        </a:cubicBezTo>
                        <a:cubicBezTo>
                          <a:pt x="29071" y="173"/>
                          <a:pt x="27770" y="0"/>
                          <a:pt x="26469" y="0"/>
                        </a:cubicBezTo>
                        <a:cubicBezTo>
                          <a:pt x="11848" y="0"/>
                          <a:pt x="0" y="23204"/>
                          <a:pt x="0" y="51812"/>
                        </a:cubicBez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0" name="Freeform: Shape 4079">
                    <a:extLst>
                      <a:ext uri="{FF2B5EF4-FFF2-40B4-BE49-F238E27FC236}">
                        <a16:creationId xmlns:a16="http://schemas.microsoft.com/office/drawing/2014/main" id="{B59D095C-8F83-6B62-1605-80303E37989B}"/>
                      </a:ext>
                    </a:extLst>
                  </p:cNvPr>
                  <p:cNvSpPr/>
                  <p:nvPr/>
                </p:nvSpPr>
                <p:spPr>
                  <a:xfrm>
                    <a:off x="7852929" y="3462193"/>
                    <a:ext cx="43923" cy="99665"/>
                  </a:xfrm>
                  <a:custGeom>
                    <a:avLst/>
                    <a:gdLst>
                      <a:gd name="connsiteX0" fmla="*/ 43923 w 43923"/>
                      <a:gd name="connsiteY0" fmla="*/ 49847 h 99665"/>
                      <a:gd name="connsiteX1" fmla="*/ 21961 w 43923"/>
                      <a:gd name="connsiteY1" fmla="*/ 99666 h 99665"/>
                      <a:gd name="connsiteX2" fmla="*/ 0 w 43923"/>
                      <a:gd name="connsiteY2" fmla="*/ 49847 h 99665"/>
                      <a:gd name="connsiteX3" fmla="*/ 21961 w 43923"/>
                      <a:gd name="connsiteY3" fmla="*/ 0 h 99665"/>
                      <a:gd name="connsiteX4" fmla="*/ 43923 w 43923"/>
                      <a:gd name="connsiteY4" fmla="*/ 49847 h 99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3" h="99665">
                        <a:moveTo>
                          <a:pt x="43923" y="49847"/>
                        </a:moveTo>
                        <a:cubicBezTo>
                          <a:pt x="43923" y="75161"/>
                          <a:pt x="34387" y="96112"/>
                          <a:pt x="21961" y="99666"/>
                        </a:cubicBezTo>
                        <a:cubicBezTo>
                          <a:pt x="9535" y="96112"/>
                          <a:pt x="0" y="75161"/>
                          <a:pt x="0" y="49847"/>
                        </a:cubicBezTo>
                        <a:cubicBezTo>
                          <a:pt x="0" y="24534"/>
                          <a:pt x="9535" y="3583"/>
                          <a:pt x="21961" y="0"/>
                        </a:cubicBezTo>
                        <a:cubicBezTo>
                          <a:pt x="34387" y="3583"/>
                          <a:pt x="43923" y="24534"/>
                          <a:pt x="43923" y="49847"/>
                        </a:cubicBezTo>
                        <a:close/>
                      </a:path>
                    </a:pathLst>
                  </a:custGeom>
                  <a:solidFill>
                    <a:srgbClr val="63C8B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1" name="Freeform: Shape 4080">
                    <a:extLst>
                      <a:ext uri="{FF2B5EF4-FFF2-40B4-BE49-F238E27FC236}">
                        <a16:creationId xmlns:a16="http://schemas.microsoft.com/office/drawing/2014/main" id="{44948FF5-7A4B-32DD-445C-052755876D0F}"/>
                      </a:ext>
                    </a:extLst>
                  </p:cNvPr>
                  <p:cNvSpPr/>
                  <p:nvPr/>
                </p:nvSpPr>
                <p:spPr>
                  <a:xfrm>
                    <a:off x="7350568" y="3461644"/>
                    <a:ext cx="28622" cy="100792"/>
                  </a:xfrm>
                  <a:custGeom>
                    <a:avLst/>
                    <a:gdLst>
                      <a:gd name="connsiteX0" fmla="*/ 28623 w 28622"/>
                      <a:gd name="connsiteY0" fmla="*/ 88165 h 100792"/>
                      <a:gd name="connsiteX1" fmla="*/ 22178 w 28622"/>
                      <a:gd name="connsiteY1" fmla="*/ 88165 h 100792"/>
                      <a:gd name="connsiteX2" fmla="*/ 21947 w 28622"/>
                      <a:gd name="connsiteY2" fmla="*/ 99724 h 100792"/>
                      <a:gd name="connsiteX3" fmla="*/ 20531 w 28622"/>
                      <a:gd name="connsiteY3" fmla="*/ 100793 h 100792"/>
                      <a:gd name="connsiteX4" fmla="*/ 15301 w 28622"/>
                      <a:gd name="connsiteY4" fmla="*/ 96661 h 100792"/>
                      <a:gd name="connsiteX5" fmla="*/ 15301 w 28622"/>
                      <a:gd name="connsiteY5" fmla="*/ 4132 h 100792"/>
                      <a:gd name="connsiteX6" fmla="*/ 20531 w 28622"/>
                      <a:gd name="connsiteY6" fmla="*/ 0 h 100792"/>
                      <a:gd name="connsiteX7" fmla="*/ 21947 w 28622"/>
                      <a:gd name="connsiteY7" fmla="*/ 1069 h 100792"/>
                      <a:gd name="connsiteX8" fmla="*/ 23970 w 28622"/>
                      <a:gd name="connsiteY8" fmla="*/ 6531 h 100792"/>
                      <a:gd name="connsiteX9" fmla="*/ 22178 w 28622"/>
                      <a:gd name="connsiteY9" fmla="*/ 12628 h 100792"/>
                      <a:gd name="connsiteX10" fmla="*/ 28623 w 28622"/>
                      <a:gd name="connsiteY10" fmla="*/ 12628 h 100792"/>
                      <a:gd name="connsiteX11" fmla="*/ 28016 w 28622"/>
                      <a:gd name="connsiteY11" fmla="*/ 13524 h 100792"/>
                      <a:gd name="connsiteX12" fmla="*/ 28016 w 28622"/>
                      <a:gd name="connsiteY12" fmla="*/ 87240 h 100792"/>
                      <a:gd name="connsiteX13" fmla="*/ 28623 w 28622"/>
                      <a:gd name="connsiteY13" fmla="*/ 88136 h 10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22" h="100792">
                        <a:moveTo>
                          <a:pt x="28623" y="88165"/>
                        </a:moveTo>
                        <a:lnTo>
                          <a:pt x="22178" y="88165"/>
                        </a:lnTo>
                        <a:cubicBezTo>
                          <a:pt x="24519" y="91950"/>
                          <a:pt x="24750" y="96805"/>
                          <a:pt x="21947" y="99724"/>
                        </a:cubicBezTo>
                        <a:cubicBezTo>
                          <a:pt x="21543" y="100157"/>
                          <a:pt x="21052" y="100533"/>
                          <a:pt x="20531" y="100793"/>
                        </a:cubicBezTo>
                        <a:cubicBezTo>
                          <a:pt x="18624" y="100042"/>
                          <a:pt x="16775" y="98655"/>
                          <a:pt x="15301" y="96661"/>
                        </a:cubicBezTo>
                        <a:cubicBezTo>
                          <a:pt x="-5100" y="69266"/>
                          <a:pt x="-5100" y="31527"/>
                          <a:pt x="15301" y="4132"/>
                        </a:cubicBezTo>
                        <a:cubicBezTo>
                          <a:pt x="16775" y="2138"/>
                          <a:pt x="18624" y="751"/>
                          <a:pt x="20531" y="0"/>
                        </a:cubicBezTo>
                        <a:cubicBezTo>
                          <a:pt x="21052" y="289"/>
                          <a:pt x="21543" y="636"/>
                          <a:pt x="21947" y="1069"/>
                        </a:cubicBezTo>
                        <a:cubicBezTo>
                          <a:pt x="23334" y="2543"/>
                          <a:pt x="23970" y="4479"/>
                          <a:pt x="23970" y="6531"/>
                        </a:cubicBezTo>
                        <a:cubicBezTo>
                          <a:pt x="23970" y="8583"/>
                          <a:pt x="23334" y="10750"/>
                          <a:pt x="22178" y="12628"/>
                        </a:cubicBezTo>
                        <a:lnTo>
                          <a:pt x="28623" y="12628"/>
                        </a:lnTo>
                        <a:cubicBezTo>
                          <a:pt x="28449" y="12946"/>
                          <a:pt x="28247" y="13235"/>
                          <a:pt x="28016" y="13524"/>
                        </a:cubicBezTo>
                        <a:cubicBezTo>
                          <a:pt x="11776" y="35341"/>
                          <a:pt x="11776" y="65423"/>
                          <a:pt x="28016" y="87240"/>
                        </a:cubicBezTo>
                        <a:cubicBezTo>
                          <a:pt x="28218" y="87529"/>
                          <a:pt x="28420" y="87818"/>
                          <a:pt x="28623" y="88136"/>
                        </a:cubicBezTo>
                        <a:close/>
                      </a:path>
                    </a:pathLst>
                  </a:custGeom>
                  <a:solidFill>
                    <a:srgbClr val="0C103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2" name="Freeform: Shape 4081">
                    <a:extLst>
                      <a:ext uri="{FF2B5EF4-FFF2-40B4-BE49-F238E27FC236}">
                        <a16:creationId xmlns:a16="http://schemas.microsoft.com/office/drawing/2014/main" id="{C8DB14DF-7A01-3B17-5BD8-F435A7D4B6F0}"/>
                      </a:ext>
                    </a:extLst>
                  </p:cNvPr>
                  <p:cNvSpPr/>
                  <p:nvPr/>
                </p:nvSpPr>
                <p:spPr>
                  <a:xfrm>
                    <a:off x="7344153" y="3460948"/>
                    <a:ext cx="30406" cy="102185"/>
                  </a:xfrm>
                  <a:custGeom>
                    <a:avLst/>
                    <a:gdLst>
                      <a:gd name="connsiteX0" fmla="*/ 28593 w 30406"/>
                      <a:gd name="connsiteY0" fmla="*/ 88861 h 102185"/>
                      <a:gd name="connsiteX1" fmla="*/ 28362 w 30406"/>
                      <a:gd name="connsiteY1" fmla="*/ 100420 h 102185"/>
                      <a:gd name="connsiteX2" fmla="*/ 26946 w 30406"/>
                      <a:gd name="connsiteY2" fmla="*/ 101489 h 102185"/>
                      <a:gd name="connsiteX3" fmla="*/ 15301 w 30406"/>
                      <a:gd name="connsiteY3" fmla="*/ 97357 h 102185"/>
                      <a:gd name="connsiteX4" fmla="*/ 15301 w 30406"/>
                      <a:gd name="connsiteY4" fmla="*/ 4828 h 102185"/>
                      <a:gd name="connsiteX5" fmla="*/ 26946 w 30406"/>
                      <a:gd name="connsiteY5" fmla="*/ 696 h 102185"/>
                      <a:gd name="connsiteX6" fmla="*/ 28362 w 30406"/>
                      <a:gd name="connsiteY6" fmla="*/ 1765 h 102185"/>
                      <a:gd name="connsiteX7" fmla="*/ 30385 w 30406"/>
                      <a:gd name="connsiteY7" fmla="*/ 7227 h 102185"/>
                      <a:gd name="connsiteX8" fmla="*/ 28593 w 30406"/>
                      <a:gd name="connsiteY8" fmla="*/ 13324 h 102185"/>
                      <a:gd name="connsiteX9" fmla="*/ 27987 w 30406"/>
                      <a:gd name="connsiteY9" fmla="*/ 14220 h 102185"/>
                      <a:gd name="connsiteX10" fmla="*/ 27987 w 30406"/>
                      <a:gd name="connsiteY10" fmla="*/ 87936 h 102185"/>
                      <a:gd name="connsiteX11" fmla="*/ 28593 w 30406"/>
                      <a:gd name="connsiteY11" fmla="*/ 88832 h 10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06" h="102185">
                        <a:moveTo>
                          <a:pt x="28593" y="88861"/>
                        </a:moveTo>
                        <a:cubicBezTo>
                          <a:pt x="30934" y="92647"/>
                          <a:pt x="31165" y="97501"/>
                          <a:pt x="28362" y="100420"/>
                        </a:cubicBezTo>
                        <a:cubicBezTo>
                          <a:pt x="27958" y="100853"/>
                          <a:pt x="27467" y="101229"/>
                          <a:pt x="26946" y="101489"/>
                        </a:cubicBezTo>
                        <a:cubicBezTo>
                          <a:pt x="23681" y="103194"/>
                          <a:pt x="18566" y="101749"/>
                          <a:pt x="15301" y="97357"/>
                        </a:cubicBezTo>
                        <a:cubicBezTo>
                          <a:pt x="-5100" y="69962"/>
                          <a:pt x="-5100" y="32223"/>
                          <a:pt x="15301" y="4828"/>
                        </a:cubicBezTo>
                        <a:cubicBezTo>
                          <a:pt x="18566" y="436"/>
                          <a:pt x="23681" y="-1009"/>
                          <a:pt x="26946" y="696"/>
                        </a:cubicBezTo>
                        <a:cubicBezTo>
                          <a:pt x="27467" y="985"/>
                          <a:pt x="27958" y="1332"/>
                          <a:pt x="28362" y="1765"/>
                        </a:cubicBezTo>
                        <a:cubicBezTo>
                          <a:pt x="29749" y="3239"/>
                          <a:pt x="30385" y="5175"/>
                          <a:pt x="30385" y="7227"/>
                        </a:cubicBezTo>
                        <a:cubicBezTo>
                          <a:pt x="30385" y="9279"/>
                          <a:pt x="29749" y="11446"/>
                          <a:pt x="28593" y="13324"/>
                        </a:cubicBezTo>
                        <a:cubicBezTo>
                          <a:pt x="28420" y="13642"/>
                          <a:pt x="28218" y="13931"/>
                          <a:pt x="27987" y="14220"/>
                        </a:cubicBezTo>
                        <a:cubicBezTo>
                          <a:pt x="11747" y="36037"/>
                          <a:pt x="11747" y="66119"/>
                          <a:pt x="27987" y="87936"/>
                        </a:cubicBezTo>
                        <a:cubicBezTo>
                          <a:pt x="28189" y="88225"/>
                          <a:pt x="28391" y="88514"/>
                          <a:pt x="28593" y="88832"/>
                        </a:cubicBez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083" name="Graphic 4043">
                  <a:extLst>
                    <a:ext uri="{FF2B5EF4-FFF2-40B4-BE49-F238E27FC236}">
                      <a16:creationId xmlns:a16="http://schemas.microsoft.com/office/drawing/2014/main" id="{97910274-0C0B-9A0C-C6DB-FC79B72C2510}"/>
                    </a:ext>
                  </a:extLst>
                </p:cNvPr>
                <p:cNvGrpSpPr/>
                <p:nvPr/>
              </p:nvGrpSpPr>
              <p:grpSpPr>
                <a:xfrm>
                  <a:off x="7694486" y="3448698"/>
                  <a:ext cx="70653" cy="44790"/>
                  <a:chOff x="7694486" y="3448698"/>
                  <a:chExt cx="70653" cy="44790"/>
                </a:xfrm>
                <a:solidFill>
                  <a:srgbClr val="F7B98F"/>
                </a:solidFill>
              </p:grpSpPr>
              <p:sp>
                <p:nvSpPr>
                  <p:cNvPr id="4084" name="Freeform: Shape 4083">
                    <a:extLst>
                      <a:ext uri="{FF2B5EF4-FFF2-40B4-BE49-F238E27FC236}">
                        <a16:creationId xmlns:a16="http://schemas.microsoft.com/office/drawing/2014/main" id="{98B523F2-2676-3C8C-2F0E-2FB135026B7A}"/>
                      </a:ext>
                    </a:extLst>
                  </p:cNvPr>
                  <p:cNvSpPr/>
                  <p:nvPr/>
                </p:nvSpPr>
                <p:spPr>
                  <a:xfrm>
                    <a:off x="7694486" y="3448698"/>
                    <a:ext cx="18089" cy="39039"/>
                  </a:xfrm>
                  <a:custGeom>
                    <a:avLst/>
                    <a:gdLst>
                      <a:gd name="connsiteX0" fmla="*/ 9883 w 18089"/>
                      <a:gd name="connsiteY0" fmla="*/ 0 h 39039"/>
                      <a:gd name="connsiteX1" fmla="*/ 18090 w 18089"/>
                      <a:gd name="connsiteY1" fmla="*/ 8207 h 39039"/>
                      <a:gd name="connsiteX2" fmla="*/ 18090 w 18089"/>
                      <a:gd name="connsiteY2" fmla="*/ 30833 h 39039"/>
                      <a:gd name="connsiteX3" fmla="*/ 9883 w 18089"/>
                      <a:gd name="connsiteY3" fmla="*/ 39040 h 39039"/>
                      <a:gd name="connsiteX4" fmla="*/ 8206 w 18089"/>
                      <a:gd name="connsiteY4" fmla="*/ 39040 h 39039"/>
                      <a:gd name="connsiteX5" fmla="*/ -1 w 18089"/>
                      <a:gd name="connsiteY5" fmla="*/ 30833 h 39039"/>
                      <a:gd name="connsiteX6" fmla="*/ -1 w 18089"/>
                      <a:gd name="connsiteY6" fmla="*/ 8207 h 39039"/>
                      <a:gd name="connsiteX7" fmla="*/ 8206 w 18089"/>
                      <a:gd name="connsiteY7" fmla="*/ 0 h 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89" h="39039">
                        <a:moveTo>
                          <a:pt x="9883" y="0"/>
                        </a:moveTo>
                        <a:cubicBezTo>
                          <a:pt x="14415" y="0"/>
                          <a:pt x="18090" y="3674"/>
                          <a:pt x="18090" y="8207"/>
                        </a:cubicBezTo>
                        <a:lnTo>
                          <a:pt x="18090" y="30833"/>
                        </a:lnTo>
                        <a:cubicBezTo>
                          <a:pt x="18090" y="35366"/>
                          <a:pt x="14415" y="39040"/>
                          <a:pt x="9883" y="39040"/>
                        </a:cubicBezTo>
                        <a:lnTo>
                          <a:pt x="8206" y="39040"/>
                        </a:lnTo>
                        <a:cubicBezTo>
                          <a:pt x="3674" y="39040"/>
                          <a:pt x="-1" y="35366"/>
                          <a:pt x="-1" y="30833"/>
                        </a:cubicBezTo>
                        <a:lnTo>
                          <a:pt x="-1" y="8207"/>
                        </a:lnTo>
                        <a:cubicBezTo>
                          <a:pt x="-1" y="3674"/>
                          <a:pt x="3674" y="0"/>
                          <a:pt x="8206" y="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5" name="Freeform: Shape 4084">
                    <a:extLst>
                      <a:ext uri="{FF2B5EF4-FFF2-40B4-BE49-F238E27FC236}">
                        <a16:creationId xmlns:a16="http://schemas.microsoft.com/office/drawing/2014/main" id="{9B2D2D3E-58A3-D3B8-FCC7-160C46A28D8E}"/>
                      </a:ext>
                    </a:extLst>
                  </p:cNvPr>
                  <p:cNvSpPr/>
                  <p:nvPr/>
                </p:nvSpPr>
                <p:spPr>
                  <a:xfrm>
                    <a:off x="7712605" y="3448698"/>
                    <a:ext cx="18089" cy="44790"/>
                  </a:xfrm>
                  <a:custGeom>
                    <a:avLst/>
                    <a:gdLst>
                      <a:gd name="connsiteX0" fmla="*/ 9883 w 18089"/>
                      <a:gd name="connsiteY0" fmla="*/ 0 h 44790"/>
                      <a:gd name="connsiteX1" fmla="*/ 18090 w 18089"/>
                      <a:gd name="connsiteY1" fmla="*/ 8207 h 44790"/>
                      <a:gd name="connsiteX2" fmla="*/ 18090 w 18089"/>
                      <a:gd name="connsiteY2" fmla="*/ 36584 h 44790"/>
                      <a:gd name="connsiteX3" fmla="*/ 9883 w 18089"/>
                      <a:gd name="connsiteY3" fmla="*/ 44791 h 44790"/>
                      <a:gd name="connsiteX4" fmla="*/ 8206 w 18089"/>
                      <a:gd name="connsiteY4" fmla="*/ 44791 h 44790"/>
                      <a:gd name="connsiteX5" fmla="*/ -1 w 18089"/>
                      <a:gd name="connsiteY5" fmla="*/ 36584 h 44790"/>
                      <a:gd name="connsiteX6" fmla="*/ -1 w 18089"/>
                      <a:gd name="connsiteY6" fmla="*/ 8207 h 44790"/>
                      <a:gd name="connsiteX7" fmla="*/ 8206 w 18089"/>
                      <a:gd name="connsiteY7" fmla="*/ 0 h 4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89" h="44790">
                        <a:moveTo>
                          <a:pt x="9883" y="0"/>
                        </a:moveTo>
                        <a:cubicBezTo>
                          <a:pt x="14416" y="0"/>
                          <a:pt x="18090" y="3674"/>
                          <a:pt x="18090" y="8207"/>
                        </a:cubicBezTo>
                        <a:lnTo>
                          <a:pt x="18090" y="36584"/>
                        </a:lnTo>
                        <a:cubicBezTo>
                          <a:pt x="18090" y="41116"/>
                          <a:pt x="14416" y="44791"/>
                          <a:pt x="9883" y="44791"/>
                        </a:cubicBezTo>
                        <a:lnTo>
                          <a:pt x="8206" y="44791"/>
                        </a:lnTo>
                        <a:cubicBezTo>
                          <a:pt x="3674" y="44791"/>
                          <a:pt x="-1" y="41116"/>
                          <a:pt x="-1" y="36584"/>
                        </a:cubicBezTo>
                        <a:lnTo>
                          <a:pt x="-1" y="8207"/>
                        </a:lnTo>
                        <a:cubicBezTo>
                          <a:pt x="-1" y="3674"/>
                          <a:pt x="3674" y="0"/>
                          <a:pt x="8206" y="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6" name="Freeform: Shape 4085">
                    <a:extLst>
                      <a:ext uri="{FF2B5EF4-FFF2-40B4-BE49-F238E27FC236}">
                        <a16:creationId xmlns:a16="http://schemas.microsoft.com/office/drawing/2014/main" id="{B2C8B6FB-3899-2583-3499-5817D05C45E4}"/>
                      </a:ext>
                    </a:extLst>
                  </p:cNvPr>
                  <p:cNvSpPr/>
                  <p:nvPr/>
                </p:nvSpPr>
                <p:spPr>
                  <a:xfrm>
                    <a:off x="7730694" y="3448698"/>
                    <a:ext cx="18089" cy="42045"/>
                  </a:xfrm>
                  <a:custGeom>
                    <a:avLst/>
                    <a:gdLst>
                      <a:gd name="connsiteX0" fmla="*/ 9883 w 18089"/>
                      <a:gd name="connsiteY0" fmla="*/ 0 h 42045"/>
                      <a:gd name="connsiteX1" fmla="*/ 18090 w 18089"/>
                      <a:gd name="connsiteY1" fmla="*/ 8207 h 42045"/>
                      <a:gd name="connsiteX2" fmla="*/ 18090 w 18089"/>
                      <a:gd name="connsiteY2" fmla="*/ 33839 h 42045"/>
                      <a:gd name="connsiteX3" fmla="*/ 9883 w 18089"/>
                      <a:gd name="connsiteY3" fmla="*/ 42045 h 42045"/>
                      <a:gd name="connsiteX4" fmla="*/ 8207 w 18089"/>
                      <a:gd name="connsiteY4" fmla="*/ 42045 h 42045"/>
                      <a:gd name="connsiteX5" fmla="*/ -1 w 18089"/>
                      <a:gd name="connsiteY5" fmla="*/ 33839 h 42045"/>
                      <a:gd name="connsiteX6" fmla="*/ -1 w 18089"/>
                      <a:gd name="connsiteY6" fmla="*/ 8207 h 42045"/>
                      <a:gd name="connsiteX7" fmla="*/ 8207 w 18089"/>
                      <a:gd name="connsiteY7" fmla="*/ 0 h 4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89" h="42045">
                        <a:moveTo>
                          <a:pt x="9883" y="0"/>
                        </a:moveTo>
                        <a:cubicBezTo>
                          <a:pt x="14416" y="0"/>
                          <a:pt x="18090" y="3674"/>
                          <a:pt x="18090" y="8207"/>
                        </a:cubicBezTo>
                        <a:lnTo>
                          <a:pt x="18090" y="33839"/>
                        </a:lnTo>
                        <a:cubicBezTo>
                          <a:pt x="18090" y="38371"/>
                          <a:pt x="14416" y="42045"/>
                          <a:pt x="9883" y="42045"/>
                        </a:cubicBezTo>
                        <a:lnTo>
                          <a:pt x="8207" y="42045"/>
                        </a:lnTo>
                        <a:cubicBezTo>
                          <a:pt x="3674" y="42045"/>
                          <a:pt x="-1" y="38371"/>
                          <a:pt x="-1" y="33839"/>
                        </a:cubicBezTo>
                        <a:lnTo>
                          <a:pt x="-1" y="8207"/>
                        </a:lnTo>
                        <a:cubicBezTo>
                          <a:pt x="-1" y="3674"/>
                          <a:pt x="3674" y="0"/>
                          <a:pt x="8207" y="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7" name="Freeform: Shape 4086">
                    <a:extLst>
                      <a:ext uri="{FF2B5EF4-FFF2-40B4-BE49-F238E27FC236}">
                        <a16:creationId xmlns:a16="http://schemas.microsoft.com/office/drawing/2014/main" id="{82E9C39A-103A-D08F-ED05-6002EA4F3F41}"/>
                      </a:ext>
                    </a:extLst>
                  </p:cNvPr>
                  <p:cNvSpPr/>
                  <p:nvPr/>
                </p:nvSpPr>
                <p:spPr>
                  <a:xfrm>
                    <a:off x="7748784" y="3448698"/>
                    <a:ext cx="16355" cy="36525"/>
                  </a:xfrm>
                  <a:custGeom>
                    <a:avLst/>
                    <a:gdLst>
                      <a:gd name="connsiteX0" fmla="*/ 8178 w 16355"/>
                      <a:gd name="connsiteY0" fmla="*/ 0 h 36525"/>
                      <a:gd name="connsiteX1" fmla="*/ 16356 w 16355"/>
                      <a:gd name="connsiteY1" fmla="*/ 8178 h 36525"/>
                      <a:gd name="connsiteX2" fmla="*/ 16356 w 16355"/>
                      <a:gd name="connsiteY2" fmla="*/ 28348 h 36525"/>
                      <a:gd name="connsiteX3" fmla="*/ 8178 w 16355"/>
                      <a:gd name="connsiteY3" fmla="*/ 36526 h 36525"/>
                      <a:gd name="connsiteX4" fmla="*/ 8178 w 16355"/>
                      <a:gd name="connsiteY4" fmla="*/ 36526 h 36525"/>
                      <a:gd name="connsiteX5" fmla="*/ 0 w 16355"/>
                      <a:gd name="connsiteY5" fmla="*/ 28348 h 36525"/>
                      <a:gd name="connsiteX6" fmla="*/ 0 w 16355"/>
                      <a:gd name="connsiteY6" fmla="*/ 8178 h 36525"/>
                      <a:gd name="connsiteX7" fmla="*/ 8178 w 16355"/>
                      <a:gd name="connsiteY7" fmla="*/ 0 h 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5" h="36525">
                        <a:moveTo>
                          <a:pt x="8178" y="0"/>
                        </a:moveTo>
                        <a:cubicBezTo>
                          <a:pt x="12694" y="0"/>
                          <a:pt x="16356" y="3661"/>
                          <a:pt x="16356" y="8178"/>
                        </a:cubicBezTo>
                        <a:lnTo>
                          <a:pt x="16356" y="28348"/>
                        </a:lnTo>
                        <a:cubicBezTo>
                          <a:pt x="16356" y="32865"/>
                          <a:pt x="12694" y="36526"/>
                          <a:pt x="8178" y="36526"/>
                        </a:cubicBezTo>
                        <a:lnTo>
                          <a:pt x="8178" y="36526"/>
                        </a:lnTo>
                        <a:cubicBezTo>
                          <a:pt x="3661" y="36526"/>
                          <a:pt x="0" y="32865"/>
                          <a:pt x="0" y="28348"/>
                        </a:cubicBezTo>
                        <a:lnTo>
                          <a:pt x="0" y="8178"/>
                        </a:lnTo>
                        <a:cubicBezTo>
                          <a:pt x="0" y="3661"/>
                          <a:pt x="3661" y="0"/>
                          <a:pt x="8178" y="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88" name="Freeform: Shape 4087">
                  <a:extLst>
                    <a:ext uri="{FF2B5EF4-FFF2-40B4-BE49-F238E27FC236}">
                      <a16:creationId xmlns:a16="http://schemas.microsoft.com/office/drawing/2014/main" id="{3D56D64B-6F10-EAD0-58D5-0EE3BB2BB6DB}"/>
                    </a:ext>
                  </a:extLst>
                </p:cNvPr>
                <p:cNvSpPr/>
                <p:nvPr/>
              </p:nvSpPr>
              <p:spPr>
                <a:xfrm>
                  <a:off x="6969199" y="3747407"/>
                  <a:ext cx="299847" cy="493186"/>
                </a:xfrm>
                <a:custGeom>
                  <a:avLst/>
                  <a:gdLst>
                    <a:gd name="connsiteX0" fmla="*/ 297900 w 299847"/>
                    <a:gd name="connsiteY0" fmla="*/ 29 h 493186"/>
                    <a:gd name="connsiteX1" fmla="*/ 62100 w 299847"/>
                    <a:gd name="connsiteY1" fmla="*/ 493186 h 493186"/>
                    <a:gd name="connsiteX2" fmla="*/ 0 w 299847"/>
                    <a:gd name="connsiteY2" fmla="*/ 484344 h 493186"/>
                    <a:gd name="connsiteX3" fmla="*/ 32682 w 299847"/>
                    <a:gd name="connsiteY3" fmla="*/ 425278 h 493186"/>
                    <a:gd name="connsiteX4" fmla="*/ 287728 w 299847"/>
                    <a:gd name="connsiteY4" fmla="*/ 2196 h 493186"/>
                    <a:gd name="connsiteX5" fmla="*/ 297871 w 299847"/>
                    <a:gd name="connsiteY5" fmla="*/ 0 h 49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847" h="493186">
                      <a:moveTo>
                        <a:pt x="297900" y="29"/>
                      </a:moveTo>
                      <a:cubicBezTo>
                        <a:pt x="315469" y="214387"/>
                        <a:pt x="212365" y="396930"/>
                        <a:pt x="62100" y="493186"/>
                      </a:cubicBezTo>
                      <a:cubicBezTo>
                        <a:pt x="40889" y="491423"/>
                        <a:pt x="20170" y="488476"/>
                        <a:pt x="0" y="484344"/>
                      </a:cubicBezTo>
                      <a:cubicBezTo>
                        <a:pt x="12888" y="465040"/>
                        <a:pt x="23753" y="445246"/>
                        <a:pt x="32682" y="425278"/>
                      </a:cubicBezTo>
                      <a:cubicBezTo>
                        <a:pt x="168094" y="357457"/>
                        <a:pt x="282382" y="204996"/>
                        <a:pt x="287728" y="2196"/>
                      </a:cubicBezTo>
                      <a:cubicBezTo>
                        <a:pt x="291109" y="1474"/>
                        <a:pt x="294490" y="751"/>
                        <a:pt x="297871" y="0"/>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89" name="Freeform: Shape 4088">
                  <a:extLst>
                    <a:ext uri="{FF2B5EF4-FFF2-40B4-BE49-F238E27FC236}">
                      <a16:creationId xmlns:a16="http://schemas.microsoft.com/office/drawing/2014/main" id="{6347D84C-E40B-B21A-F520-758062B495D6}"/>
                    </a:ext>
                  </a:extLst>
                </p:cNvPr>
                <p:cNvSpPr/>
                <p:nvPr/>
              </p:nvSpPr>
              <p:spPr>
                <a:xfrm>
                  <a:off x="7081534" y="3556860"/>
                  <a:ext cx="513747" cy="325060"/>
                </a:xfrm>
                <a:custGeom>
                  <a:avLst/>
                  <a:gdLst>
                    <a:gd name="connsiteX0" fmla="*/ 91736 w 513747"/>
                    <a:gd name="connsiteY0" fmla="*/ 159281 h 325060"/>
                    <a:gd name="connsiteX1" fmla="*/ 409488 w 513747"/>
                    <a:gd name="connsiteY1" fmla="*/ 221496 h 325060"/>
                    <a:gd name="connsiteX2" fmla="*/ 367241 w 513747"/>
                    <a:gd name="connsiteY2" fmla="*/ 0 h 325060"/>
                    <a:gd name="connsiteX3" fmla="*/ 447575 w 513747"/>
                    <a:gd name="connsiteY3" fmla="*/ 0 h 325060"/>
                    <a:gd name="connsiteX4" fmla="*/ 511957 w 513747"/>
                    <a:gd name="connsiteY4" fmla="*/ 235020 h 325060"/>
                    <a:gd name="connsiteX5" fmla="*/ 466647 w 513747"/>
                    <a:gd name="connsiteY5" fmla="*/ 309632 h 325060"/>
                    <a:gd name="connsiteX6" fmla="*/ 406050 w 513747"/>
                    <a:gd name="connsiteY6" fmla="*/ 322520 h 325060"/>
                    <a:gd name="connsiteX7" fmla="*/ 96793 w 513747"/>
                    <a:gd name="connsiteY7" fmla="*/ 324456 h 325060"/>
                    <a:gd name="connsiteX8" fmla="*/ 4178 w 513747"/>
                    <a:gd name="connsiteY8" fmla="*/ 267587 h 325060"/>
                    <a:gd name="connsiteX9" fmla="*/ 9900 w 513747"/>
                    <a:gd name="connsiteY9" fmla="*/ 206585 h 325060"/>
                    <a:gd name="connsiteX10" fmla="*/ 91736 w 513747"/>
                    <a:gd name="connsiteY10" fmla="*/ 159281 h 32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747" h="325060">
                      <a:moveTo>
                        <a:pt x="91736" y="159281"/>
                      </a:moveTo>
                      <a:lnTo>
                        <a:pt x="409488" y="221496"/>
                      </a:lnTo>
                      <a:lnTo>
                        <a:pt x="367241" y="0"/>
                      </a:lnTo>
                      <a:lnTo>
                        <a:pt x="447575" y="0"/>
                      </a:lnTo>
                      <a:lnTo>
                        <a:pt x="511957" y="235020"/>
                      </a:lnTo>
                      <a:cubicBezTo>
                        <a:pt x="521147" y="275042"/>
                        <a:pt x="493290" y="297495"/>
                        <a:pt x="466647" y="309632"/>
                      </a:cubicBezTo>
                      <a:cubicBezTo>
                        <a:pt x="447661" y="318301"/>
                        <a:pt x="426913" y="322376"/>
                        <a:pt x="406050" y="322520"/>
                      </a:cubicBezTo>
                      <a:lnTo>
                        <a:pt x="96793" y="324456"/>
                      </a:lnTo>
                      <a:cubicBezTo>
                        <a:pt x="56482" y="329166"/>
                        <a:pt x="17355" y="305962"/>
                        <a:pt x="4178" y="267587"/>
                      </a:cubicBezTo>
                      <a:cubicBezTo>
                        <a:pt x="-1948" y="249728"/>
                        <a:pt x="-2353" y="228951"/>
                        <a:pt x="9900" y="206585"/>
                      </a:cubicBezTo>
                      <a:cubicBezTo>
                        <a:pt x="26140" y="176966"/>
                        <a:pt x="57956" y="159281"/>
                        <a:pt x="91736" y="159281"/>
                      </a:cubicBezTo>
                      <a:close/>
                    </a:path>
                  </a:pathLst>
                </a:custGeom>
                <a:solidFill>
                  <a:srgbClr val="619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90" name="Freeform: Shape 4089">
                  <a:extLst>
                    <a:ext uri="{FF2B5EF4-FFF2-40B4-BE49-F238E27FC236}">
                      <a16:creationId xmlns:a16="http://schemas.microsoft.com/office/drawing/2014/main" id="{FDED9FE4-F637-3551-3A70-5DF744542B25}"/>
                    </a:ext>
                  </a:extLst>
                </p:cNvPr>
                <p:cNvSpPr/>
                <p:nvPr/>
              </p:nvSpPr>
              <p:spPr>
                <a:xfrm>
                  <a:off x="7430743" y="3455780"/>
                  <a:ext cx="119625" cy="101079"/>
                </a:xfrm>
                <a:custGeom>
                  <a:avLst/>
                  <a:gdLst>
                    <a:gd name="connsiteX0" fmla="*/ 18003 w 119625"/>
                    <a:gd name="connsiteY0" fmla="*/ 101080 h 101079"/>
                    <a:gd name="connsiteX1" fmla="*/ 0 w 119625"/>
                    <a:gd name="connsiteY1" fmla="*/ 52301 h 101079"/>
                    <a:gd name="connsiteX2" fmla="*/ 1821 w 119625"/>
                    <a:gd name="connsiteY2" fmla="*/ 27305 h 101079"/>
                    <a:gd name="connsiteX3" fmla="*/ 30804 w 119625"/>
                    <a:gd name="connsiteY3" fmla="*/ 13348 h 101079"/>
                    <a:gd name="connsiteX4" fmla="*/ 30197 w 119625"/>
                    <a:gd name="connsiteY4" fmla="*/ 31351 h 101079"/>
                    <a:gd name="connsiteX5" fmla="*/ 21037 w 119625"/>
                    <a:gd name="connsiteY5" fmla="*/ 35079 h 101079"/>
                    <a:gd name="connsiteX6" fmla="*/ 21731 w 119625"/>
                    <a:gd name="connsiteY6" fmla="*/ 42794 h 101079"/>
                    <a:gd name="connsiteX7" fmla="*/ 33289 w 119625"/>
                    <a:gd name="connsiteY7" fmla="*/ 44701 h 101079"/>
                    <a:gd name="connsiteX8" fmla="*/ 37479 w 119625"/>
                    <a:gd name="connsiteY8" fmla="*/ 10314 h 101079"/>
                    <a:gd name="connsiteX9" fmla="*/ 56378 w 119625"/>
                    <a:gd name="connsiteY9" fmla="*/ 4448 h 101079"/>
                    <a:gd name="connsiteX10" fmla="*/ 71058 w 119625"/>
                    <a:gd name="connsiteY10" fmla="*/ 807 h 101079"/>
                    <a:gd name="connsiteX11" fmla="*/ 88945 w 119625"/>
                    <a:gd name="connsiteY11" fmla="*/ 2425 h 101079"/>
                    <a:gd name="connsiteX12" fmla="*/ 102267 w 119625"/>
                    <a:gd name="connsiteY12" fmla="*/ 8465 h 101079"/>
                    <a:gd name="connsiteX13" fmla="*/ 113016 w 119625"/>
                    <a:gd name="connsiteY13" fmla="*/ 17163 h 101079"/>
                    <a:gd name="connsiteX14" fmla="*/ 114288 w 119625"/>
                    <a:gd name="connsiteY14" fmla="*/ 18896 h 101079"/>
                    <a:gd name="connsiteX15" fmla="*/ 118102 w 119625"/>
                    <a:gd name="connsiteY15" fmla="*/ 44152 h 101079"/>
                    <a:gd name="connsiteX16" fmla="*/ 98250 w 119625"/>
                    <a:gd name="connsiteY16" fmla="*/ 101051 h 101079"/>
                    <a:gd name="connsiteX17" fmla="*/ 17916 w 119625"/>
                    <a:gd name="connsiteY17" fmla="*/ 101051 h 1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9625" h="101079">
                      <a:moveTo>
                        <a:pt x="18003" y="101080"/>
                      </a:moveTo>
                      <a:lnTo>
                        <a:pt x="0" y="52301"/>
                      </a:lnTo>
                      <a:lnTo>
                        <a:pt x="1821" y="27305"/>
                      </a:lnTo>
                      <a:lnTo>
                        <a:pt x="30804" y="13348"/>
                      </a:lnTo>
                      <a:lnTo>
                        <a:pt x="30197" y="31351"/>
                      </a:lnTo>
                      <a:lnTo>
                        <a:pt x="21037" y="35079"/>
                      </a:lnTo>
                      <a:lnTo>
                        <a:pt x="21731" y="42794"/>
                      </a:lnTo>
                      <a:lnTo>
                        <a:pt x="33289" y="44701"/>
                      </a:lnTo>
                      <a:lnTo>
                        <a:pt x="37479" y="10314"/>
                      </a:lnTo>
                      <a:lnTo>
                        <a:pt x="56378" y="4448"/>
                      </a:lnTo>
                      <a:lnTo>
                        <a:pt x="71058" y="807"/>
                      </a:lnTo>
                      <a:cubicBezTo>
                        <a:pt x="77040" y="-667"/>
                        <a:pt x="83339" y="-118"/>
                        <a:pt x="88945" y="2425"/>
                      </a:cubicBezTo>
                      <a:lnTo>
                        <a:pt x="102267" y="8465"/>
                      </a:lnTo>
                      <a:cubicBezTo>
                        <a:pt x="106543" y="10401"/>
                        <a:pt x="110242" y="13406"/>
                        <a:pt x="113016" y="17163"/>
                      </a:cubicBezTo>
                      <a:lnTo>
                        <a:pt x="114288" y="18896"/>
                      </a:lnTo>
                      <a:cubicBezTo>
                        <a:pt x="119634" y="26178"/>
                        <a:pt x="121079" y="35628"/>
                        <a:pt x="118102" y="44152"/>
                      </a:cubicBezTo>
                      <a:lnTo>
                        <a:pt x="98250" y="101051"/>
                      </a:lnTo>
                      <a:lnTo>
                        <a:pt x="17916" y="101051"/>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91" name="Freeform: Shape 4090">
                  <a:extLst>
                    <a:ext uri="{FF2B5EF4-FFF2-40B4-BE49-F238E27FC236}">
                      <a16:creationId xmlns:a16="http://schemas.microsoft.com/office/drawing/2014/main" id="{DE0CA540-FE60-E3E8-92A8-1AF88FCD8675}"/>
                    </a:ext>
                  </a:extLst>
                </p:cNvPr>
                <p:cNvSpPr/>
                <p:nvPr/>
              </p:nvSpPr>
              <p:spPr>
                <a:xfrm>
                  <a:off x="7178327" y="3880362"/>
                  <a:ext cx="151333" cy="47160"/>
                </a:xfrm>
                <a:custGeom>
                  <a:avLst/>
                  <a:gdLst>
                    <a:gd name="connsiteX0" fmla="*/ 0 w 151333"/>
                    <a:gd name="connsiteY0" fmla="*/ 954 h 47160"/>
                    <a:gd name="connsiteX1" fmla="*/ 147490 w 151333"/>
                    <a:gd name="connsiteY1" fmla="*/ 47160 h 47160"/>
                    <a:gd name="connsiteX2" fmla="*/ 151334 w 151333"/>
                    <a:gd name="connsiteY2" fmla="*/ 0 h 47160"/>
                    <a:gd name="connsiteX3" fmla="*/ 0 w 151333"/>
                    <a:gd name="connsiteY3" fmla="*/ 954 h 47160"/>
                  </a:gdLst>
                  <a:ahLst/>
                  <a:cxnLst>
                    <a:cxn ang="0">
                      <a:pos x="connsiteX0" y="connsiteY0"/>
                    </a:cxn>
                    <a:cxn ang="0">
                      <a:pos x="connsiteX1" y="connsiteY1"/>
                    </a:cxn>
                    <a:cxn ang="0">
                      <a:pos x="connsiteX2" y="connsiteY2"/>
                    </a:cxn>
                    <a:cxn ang="0">
                      <a:pos x="connsiteX3" y="connsiteY3"/>
                    </a:cxn>
                  </a:cxnLst>
                  <a:rect l="l" t="t" r="r" b="b"/>
                  <a:pathLst>
                    <a:path w="151333" h="47160">
                      <a:moveTo>
                        <a:pt x="0" y="954"/>
                      </a:moveTo>
                      <a:lnTo>
                        <a:pt x="147490" y="47160"/>
                      </a:lnTo>
                      <a:lnTo>
                        <a:pt x="151334" y="0"/>
                      </a:lnTo>
                      <a:lnTo>
                        <a:pt x="0" y="954"/>
                      </a:lnTo>
                      <a:close/>
                    </a:path>
                  </a:pathLst>
                </a:custGeom>
                <a:solidFill>
                  <a:srgbClr val="66666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092" name="Graphic 4043">
                <a:extLst>
                  <a:ext uri="{FF2B5EF4-FFF2-40B4-BE49-F238E27FC236}">
                    <a16:creationId xmlns:a16="http://schemas.microsoft.com/office/drawing/2014/main" id="{C2187A22-D475-FAF3-A3EF-5E5320264FCE}"/>
                  </a:ext>
                </a:extLst>
              </p:cNvPr>
              <p:cNvGrpSpPr/>
              <p:nvPr/>
            </p:nvGrpSpPr>
            <p:grpSpPr>
              <a:xfrm>
                <a:off x="3021975" y="3796798"/>
                <a:ext cx="1254190" cy="1679086"/>
                <a:chOff x="3021975" y="3796798"/>
                <a:chExt cx="1254190" cy="1679086"/>
              </a:xfrm>
            </p:grpSpPr>
            <p:grpSp>
              <p:nvGrpSpPr>
                <p:cNvPr id="4093" name="Graphic 4043">
                  <a:extLst>
                    <a:ext uri="{FF2B5EF4-FFF2-40B4-BE49-F238E27FC236}">
                      <a16:creationId xmlns:a16="http://schemas.microsoft.com/office/drawing/2014/main" id="{8E89DC8A-2547-44FA-28D7-6EC5E3C14FFC}"/>
                    </a:ext>
                  </a:extLst>
                </p:cNvPr>
                <p:cNvGrpSpPr/>
                <p:nvPr/>
              </p:nvGrpSpPr>
              <p:grpSpPr>
                <a:xfrm>
                  <a:off x="4104488" y="5242024"/>
                  <a:ext cx="171677" cy="233861"/>
                  <a:chOff x="4104488" y="5242024"/>
                  <a:chExt cx="171677" cy="233861"/>
                </a:xfrm>
              </p:grpSpPr>
              <p:sp>
                <p:nvSpPr>
                  <p:cNvPr id="4095" name="Freeform: Shape 4094">
                    <a:extLst>
                      <a:ext uri="{FF2B5EF4-FFF2-40B4-BE49-F238E27FC236}">
                        <a16:creationId xmlns:a16="http://schemas.microsoft.com/office/drawing/2014/main" id="{2D5FACCA-13BB-DF33-859C-54254AB41A69}"/>
                      </a:ext>
                    </a:extLst>
                  </p:cNvPr>
                  <p:cNvSpPr/>
                  <p:nvPr/>
                </p:nvSpPr>
                <p:spPr>
                  <a:xfrm>
                    <a:off x="4161675" y="5242024"/>
                    <a:ext cx="114490" cy="233861"/>
                  </a:xfrm>
                  <a:custGeom>
                    <a:avLst/>
                    <a:gdLst>
                      <a:gd name="connsiteX0" fmla="*/ 114490 w 114490"/>
                      <a:gd name="connsiteY0" fmla="*/ 12943 h 233861"/>
                      <a:gd name="connsiteX1" fmla="*/ 98394 w 114490"/>
                      <a:gd name="connsiteY1" fmla="*/ 6730 h 233861"/>
                      <a:gd name="connsiteX2" fmla="*/ 1127 w 114490"/>
                      <a:gd name="connsiteY2" fmla="*/ 16209 h 233861"/>
                      <a:gd name="connsiteX3" fmla="*/ 0 w 114490"/>
                      <a:gd name="connsiteY3" fmla="*/ 84261 h 233861"/>
                      <a:gd name="connsiteX4" fmla="*/ 77300 w 114490"/>
                      <a:gd name="connsiteY4" fmla="*/ 210050 h 233861"/>
                      <a:gd name="connsiteX5" fmla="*/ 110618 w 114490"/>
                      <a:gd name="connsiteY5" fmla="*/ 233861 h 233861"/>
                      <a:gd name="connsiteX6" fmla="*/ 114461 w 114490"/>
                      <a:gd name="connsiteY6" fmla="*/ 12914 h 2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90" h="233861">
                        <a:moveTo>
                          <a:pt x="114490" y="12943"/>
                        </a:moveTo>
                        <a:lnTo>
                          <a:pt x="98394" y="6730"/>
                        </a:lnTo>
                        <a:cubicBezTo>
                          <a:pt x="97817" y="6557"/>
                          <a:pt x="34648" y="-13382"/>
                          <a:pt x="1127" y="16209"/>
                        </a:cubicBezTo>
                        <a:lnTo>
                          <a:pt x="0" y="84261"/>
                        </a:lnTo>
                        <a:cubicBezTo>
                          <a:pt x="18494" y="105269"/>
                          <a:pt x="77878" y="175518"/>
                          <a:pt x="77300" y="210050"/>
                        </a:cubicBezTo>
                        <a:cubicBezTo>
                          <a:pt x="77068" y="224412"/>
                          <a:pt x="97007" y="231029"/>
                          <a:pt x="110618" y="233861"/>
                        </a:cubicBezTo>
                        <a:lnTo>
                          <a:pt x="114461" y="12914"/>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96" name="Freeform: Shape 4095">
                    <a:extLst>
                      <a:ext uri="{FF2B5EF4-FFF2-40B4-BE49-F238E27FC236}">
                        <a16:creationId xmlns:a16="http://schemas.microsoft.com/office/drawing/2014/main" id="{25F4F0D8-F459-8CEC-FE62-4876C6CC65B1}"/>
                      </a:ext>
                    </a:extLst>
                  </p:cNvPr>
                  <p:cNvSpPr/>
                  <p:nvPr/>
                </p:nvSpPr>
                <p:spPr>
                  <a:xfrm>
                    <a:off x="4104488" y="5244159"/>
                    <a:ext cx="57620" cy="81576"/>
                  </a:xfrm>
                  <a:custGeom>
                    <a:avLst/>
                    <a:gdLst>
                      <a:gd name="connsiteX0" fmla="*/ 57187 w 57620"/>
                      <a:gd name="connsiteY0" fmla="*/ 81576 h 81576"/>
                      <a:gd name="connsiteX1" fmla="*/ 0 w 57620"/>
                      <a:gd name="connsiteY1" fmla="*/ 70566 h 81576"/>
                      <a:gd name="connsiteX2" fmla="*/ 925 w 57620"/>
                      <a:gd name="connsiteY2" fmla="*/ 0 h 81576"/>
                      <a:gd name="connsiteX3" fmla="*/ 57621 w 57620"/>
                      <a:gd name="connsiteY3" fmla="*/ 15431 h 81576"/>
                      <a:gd name="connsiteX4" fmla="*/ 57187 w 57620"/>
                      <a:gd name="connsiteY4" fmla="*/ 81576 h 81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20" h="81576">
                        <a:moveTo>
                          <a:pt x="57187" y="81576"/>
                        </a:moveTo>
                        <a:lnTo>
                          <a:pt x="0" y="70566"/>
                        </a:lnTo>
                        <a:lnTo>
                          <a:pt x="925" y="0"/>
                        </a:lnTo>
                        <a:lnTo>
                          <a:pt x="57621" y="15431"/>
                        </a:lnTo>
                        <a:lnTo>
                          <a:pt x="57187" y="81576"/>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97" name="Freeform: Shape 4096">
                  <a:extLst>
                    <a:ext uri="{FF2B5EF4-FFF2-40B4-BE49-F238E27FC236}">
                      <a16:creationId xmlns:a16="http://schemas.microsoft.com/office/drawing/2014/main" id="{F3E9F2A9-3B69-07CB-ECA4-5ED64106DF46}"/>
                    </a:ext>
                  </a:extLst>
                </p:cNvPr>
                <p:cNvSpPr/>
                <p:nvPr/>
              </p:nvSpPr>
              <p:spPr>
                <a:xfrm>
                  <a:off x="3629651" y="4666449"/>
                  <a:ext cx="503878" cy="667233"/>
                </a:xfrm>
                <a:custGeom>
                  <a:avLst/>
                  <a:gdLst>
                    <a:gd name="connsiteX0" fmla="*/ 0 w 503878"/>
                    <a:gd name="connsiteY0" fmla="*/ 0 h 667233"/>
                    <a:gd name="connsiteX1" fmla="*/ 0 w 503878"/>
                    <a:gd name="connsiteY1" fmla="*/ 529914 h 667233"/>
                    <a:gd name="connsiteX2" fmla="*/ 81692 w 503878"/>
                    <a:gd name="connsiteY2" fmla="*/ 622125 h 667233"/>
                    <a:gd name="connsiteX3" fmla="*/ 501335 w 503878"/>
                    <a:gd name="connsiteY3" fmla="*/ 667233 h 667233"/>
                    <a:gd name="connsiteX4" fmla="*/ 503878 w 503878"/>
                    <a:gd name="connsiteY4" fmla="*/ 582623 h 667233"/>
                    <a:gd name="connsiteX5" fmla="*/ 176388 w 503878"/>
                    <a:gd name="connsiteY5" fmla="*/ 472409 h 667233"/>
                    <a:gd name="connsiteX6" fmla="*/ 255855 w 503878"/>
                    <a:gd name="connsiteY6" fmla="*/ 5404 h 667233"/>
                    <a:gd name="connsiteX7" fmla="*/ 0 w 503878"/>
                    <a:gd name="connsiteY7" fmla="*/ 0 h 66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878" h="667233">
                      <a:moveTo>
                        <a:pt x="0" y="0"/>
                      </a:moveTo>
                      <a:lnTo>
                        <a:pt x="0" y="529914"/>
                      </a:lnTo>
                      <a:cubicBezTo>
                        <a:pt x="0" y="576872"/>
                        <a:pt x="35052" y="616461"/>
                        <a:pt x="81692" y="622125"/>
                      </a:cubicBezTo>
                      <a:lnTo>
                        <a:pt x="501335" y="667233"/>
                      </a:lnTo>
                      <a:lnTo>
                        <a:pt x="503878" y="582623"/>
                      </a:lnTo>
                      <a:lnTo>
                        <a:pt x="176388" y="472409"/>
                      </a:lnTo>
                      <a:lnTo>
                        <a:pt x="255855" y="5404"/>
                      </a:lnTo>
                      <a:lnTo>
                        <a:pt x="0" y="0"/>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098" name="Graphic 4043">
                  <a:extLst>
                    <a:ext uri="{FF2B5EF4-FFF2-40B4-BE49-F238E27FC236}">
                      <a16:creationId xmlns:a16="http://schemas.microsoft.com/office/drawing/2014/main" id="{3D966FF7-CA13-48BB-5F95-8068E0CF5673}"/>
                    </a:ext>
                  </a:extLst>
                </p:cNvPr>
                <p:cNvGrpSpPr/>
                <p:nvPr/>
              </p:nvGrpSpPr>
              <p:grpSpPr>
                <a:xfrm>
                  <a:off x="3021975" y="5300277"/>
                  <a:ext cx="231366" cy="175607"/>
                  <a:chOff x="3021975" y="5300277"/>
                  <a:chExt cx="231366" cy="175607"/>
                </a:xfrm>
              </p:grpSpPr>
              <p:sp>
                <p:nvSpPr>
                  <p:cNvPr id="4099" name="Freeform: Shape 4098">
                    <a:extLst>
                      <a:ext uri="{FF2B5EF4-FFF2-40B4-BE49-F238E27FC236}">
                        <a16:creationId xmlns:a16="http://schemas.microsoft.com/office/drawing/2014/main" id="{D346FE14-7924-225F-8962-6A77441BC032}"/>
                      </a:ext>
                    </a:extLst>
                  </p:cNvPr>
                  <p:cNvSpPr/>
                  <p:nvPr/>
                </p:nvSpPr>
                <p:spPr>
                  <a:xfrm>
                    <a:off x="3021975" y="5357262"/>
                    <a:ext cx="231366" cy="118622"/>
                  </a:xfrm>
                  <a:custGeom>
                    <a:avLst/>
                    <a:gdLst>
                      <a:gd name="connsiteX0" fmla="*/ 220918 w 231366"/>
                      <a:gd name="connsiteY0" fmla="*/ 113132 h 118622"/>
                      <a:gd name="connsiteX1" fmla="*/ 226437 w 231366"/>
                      <a:gd name="connsiteY1" fmla="*/ 96776 h 118622"/>
                      <a:gd name="connsiteX2" fmla="*/ 212856 w 231366"/>
                      <a:gd name="connsiteY2" fmla="*/ 0 h 118622"/>
                      <a:gd name="connsiteX3" fmla="*/ 144803 w 231366"/>
                      <a:gd name="connsiteY3" fmla="*/ 1763 h 118622"/>
                      <a:gd name="connsiteX4" fmla="*/ 22395 w 231366"/>
                      <a:gd name="connsiteY4" fmla="*/ 84321 h 118622"/>
                      <a:gd name="connsiteX5" fmla="*/ 0 w 231366"/>
                      <a:gd name="connsiteY5" fmla="*/ 118622 h 118622"/>
                      <a:gd name="connsiteX6" fmla="*/ 220918 w 231366"/>
                      <a:gd name="connsiteY6" fmla="*/ 113103 h 11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366" h="118622">
                        <a:moveTo>
                          <a:pt x="220918" y="113132"/>
                        </a:moveTo>
                        <a:lnTo>
                          <a:pt x="226437" y="96776"/>
                        </a:lnTo>
                        <a:cubicBezTo>
                          <a:pt x="226611" y="96198"/>
                          <a:pt x="243833" y="32220"/>
                          <a:pt x="212856" y="0"/>
                        </a:cubicBezTo>
                        <a:lnTo>
                          <a:pt x="144803" y="1763"/>
                        </a:lnTo>
                        <a:cubicBezTo>
                          <a:pt x="124604" y="21124"/>
                          <a:pt x="56956" y="83426"/>
                          <a:pt x="22395" y="84321"/>
                        </a:cubicBezTo>
                        <a:cubicBezTo>
                          <a:pt x="8033" y="84697"/>
                          <a:pt x="2254" y="104896"/>
                          <a:pt x="0" y="118622"/>
                        </a:cubicBezTo>
                        <a:lnTo>
                          <a:pt x="220918" y="113103"/>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0" name="Freeform: Shape 4099">
                    <a:extLst>
                      <a:ext uri="{FF2B5EF4-FFF2-40B4-BE49-F238E27FC236}">
                        <a16:creationId xmlns:a16="http://schemas.microsoft.com/office/drawing/2014/main" id="{B5674050-9E7B-3EF4-C42E-9610B89A94C6}"/>
                      </a:ext>
                    </a:extLst>
                  </p:cNvPr>
                  <p:cNvSpPr/>
                  <p:nvPr/>
                </p:nvSpPr>
                <p:spPr>
                  <a:xfrm>
                    <a:off x="3164957" y="5300277"/>
                    <a:ext cx="70537" cy="58719"/>
                  </a:xfrm>
                  <a:custGeom>
                    <a:avLst/>
                    <a:gdLst>
                      <a:gd name="connsiteX0" fmla="*/ 2370 w 70537"/>
                      <a:gd name="connsiteY0" fmla="*/ 58719 h 58719"/>
                      <a:gd name="connsiteX1" fmla="*/ 0 w 70537"/>
                      <a:gd name="connsiteY1" fmla="*/ 2052 h 58719"/>
                      <a:gd name="connsiteX2" fmla="*/ 70538 w 70537"/>
                      <a:gd name="connsiteY2" fmla="*/ 0 h 58719"/>
                      <a:gd name="connsiteX3" fmla="*/ 68486 w 70537"/>
                      <a:gd name="connsiteY3" fmla="*/ 56349 h 58719"/>
                      <a:gd name="connsiteX4" fmla="*/ 2370 w 70537"/>
                      <a:gd name="connsiteY4" fmla="*/ 58719 h 58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37" h="58719">
                        <a:moveTo>
                          <a:pt x="2370" y="58719"/>
                        </a:moveTo>
                        <a:lnTo>
                          <a:pt x="0" y="2052"/>
                        </a:lnTo>
                        <a:lnTo>
                          <a:pt x="70538" y="0"/>
                        </a:lnTo>
                        <a:lnTo>
                          <a:pt x="68486" y="56349"/>
                        </a:lnTo>
                        <a:lnTo>
                          <a:pt x="2370" y="58719"/>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01" name="Freeform: Shape 4100">
                  <a:extLst>
                    <a:ext uri="{FF2B5EF4-FFF2-40B4-BE49-F238E27FC236}">
                      <a16:creationId xmlns:a16="http://schemas.microsoft.com/office/drawing/2014/main" id="{3583638B-A090-93F5-7591-CE85ABAD2A56}"/>
                    </a:ext>
                  </a:extLst>
                </p:cNvPr>
                <p:cNvSpPr/>
                <p:nvPr/>
              </p:nvSpPr>
              <p:spPr>
                <a:xfrm>
                  <a:off x="3129703" y="4665669"/>
                  <a:ext cx="755860" cy="660471"/>
                </a:xfrm>
                <a:custGeom>
                  <a:avLst/>
                  <a:gdLst>
                    <a:gd name="connsiteX0" fmla="*/ 508010 w 755860"/>
                    <a:gd name="connsiteY0" fmla="*/ 0 h 660471"/>
                    <a:gd name="connsiteX1" fmla="*/ 120819 w 755860"/>
                    <a:gd name="connsiteY1" fmla="*/ 38115 h 660471"/>
                    <a:gd name="connsiteX2" fmla="*/ 0 w 755860"/>
                    <a:gd name="connsiteY2" fmla="*/ 158934 h 660471"/>
                    <a:gd name="connsiteX3" fmla="*/ 23840 w 755860"/>
                    <a:gd name="connsiteY3" fmla="*/ 660471 h 660471"/>
                    <a:gd name="connsiteX4" fmla="*/ 118709 w 755860"/>
                    <a:gd name="connsiteY4" fmla="*/ 656830 h 660471"/>
                    <a:gd name="connsiteX5" fmla="*/ 173353 w 755860"/>
                    <a:gd name="connsiteY5" fmla="*/ 220282 h 660471"/>
                    <a:gd name="connsiteX6" fmla="*/ 582074 w 755860"/>
                    <a:gd name="connsiteY6" fmla="*/ 206065 h 660471"/>
                    <a:gd name="connsiteX7" fmla="*/ 740748 w 755860"/>
                    <a:gd name="connsiteY7" fmla="*/ 94956 h 660471"/>
                    <a:gd name="connsiteX8" fmla="*/ 755861 w 755860"/>
                    <a:gd name="connsiteY8" fmla="*/ 6213 h 660471"/>
                    <a:gd name="connsiteX9" fmla="*/ 508068 w 755860"/>
                    <a:gd name="connsiteY9" fmla="*/ 29 h 66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5860" h="660471">
                      <a:moveTo>
                        <a:pt x="508010" y="0"/>
                      </a:moveTo>
                      <a:lnTo>
                        <a:pt x="120819" y="38115"/>
                      </a:lnTo>
                      <a:cubicBezTo>
                        <a:pt x="54095" y="38115"/>
                        <a:pt x="0" y="92211"/>
                        <a:pt x="0" y="158934"/>
                      </a:cubicBezTo>
                      <a:lnTo>
                        <a:pt x="23840" y="660471"/>
                      </a:lnTo>
                      <a:lnTo>
                        <a:pt x="118709" y="656830"/>
                      </a:lnTo>
                      <a:lnTo>
                        <a:pt x="173353" y="220282"/>
                      </a:lnTo>
                      <a:lnTo>
                        <a:pt x="582074" y="206065"/>
                      </a:lnTo>
                      <a:cubicBezTo>
                        <a:pt x="650126" y="203695"/>
                        <a:pt x="724045" y="160957"/>
                        <a:pt x="740748" y="94956"/>
                      </a:cubicBezTo>
                      <a:lnTo>
                        <a:pt x="755861" y="6213"/>
                      </a:lnTo>
                      <a:lnTo>
                        <a:pt x="508068" y="29"/>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2" name="Freeform: Shape 4101">
                  <a:extLst>
                    <a:ext uri="{FF2B5EF4-FFF2-40B4-BE49-F238E27FC236}">
                      <a16:creationId xmlns:a16="http://schemas.microsoft.com/office/drawing/2014/main" id="{3595937A-C17B-A0E2-2C3A-E3CB98B082B9}"/>
                    </a:ext>
                  </a:extLst>
                </p:cNvPr>
                <p:cNvSpPr/>
                <p:nvPr/>
              </p:nvSpPr>
              <p:spPr>
                <a:xfrm>
                  <a:off x="3291342" y="3944514"/>
                  <a:ext cx="335448" cy="330086"/>
                </a:xfrm>
                <a:custGeom>
                  <a:avLst/>
                  <a:gdLst>
                    <a:gd name="connsiteX0" fmla="*/ 335448 w 335448"/>
                    <a:gd name="connsiteY0" fmla="*/ 163008 h 330086"/>
                    <a:gd name="connsiteX1" fmla="*/ 141838 w 335448"/>
                    <a:gd name="connsiteY1" fmla="*/ 209070 h 330086"/>
                    <a:gd name="connsiteX2" fmla="*/ 213185 w 335448"/>
                    <a:gd name="connsiteY2" fmla="*/ 0 h 330086"/>
                    <a:gd name="connsiteX3" fmla="*/ 146952 w 335448"/>
                    <a:gd name="connsiteY3" fmla="*/ 2052 h 330086"/>
                    <a:gd name="connsiteX4" fmla="*/ 12003 w 335448"/>
                    <a:gd name="connsiteY4" fmla="*/ 237620 h 330086"/>
                    <a:gd name="connsiteX5" fmla="*/ 762 w 335448"/>
                    <a:gd name="connsiteY5" fmla="*/ 292843 h 330086"/>
                    <a:gd name="connsiteX6" fmla="*/ 22320 w 335448"/>
                    <a:gd name="connsiteY6" fmla="*/ 325179 h 330086"/>
                    <a:gd name="connsiteX7" fmla="*/ 329177 w 335448"/>
                    <a:gd name="connsiteY7" fmla="*/ 327490 h 330086"/>
                    <a:gd name="connsiteX8" fmla="*/ 335448 w 335448"/>
                    <a:gd name="connsiteY8" fmla="*/ 163008 h 3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448" h="330086">
                      <a:moveTo>
                        <a:pt x="335448" y="163008"/>
                      </a:moveTo>
                      <a:lnTo>
                        <a:pt x="141838" y="209070"/>
                      </a:lnTo>
                      <a:lnTo>
                        <a:pt x="213185" y="0"/>
                      </a:lnTo>
                      <a:lnTo>
                        <a:pt x="146952" y="2052"/>
                      </a:lnTo>
                      <a:lnTo>
                        <a:pt x="12003" y="237620"/>
                      </a:lnTo>
                      <a:cubicBezTo>
                        <a:pt x="2409" y="254352"/>
                        <a:pt x="-1867" y="273742"/>
                        <a:pt x="762" y="292843"/>
                      </a:cubicBezTo>
                      <a:cubicBezTo>
                        <a:pt x="2727" y="307147"/>
                        <a:pt x="8391" y="321017"/>
                        <a:pt x="22320" y="325179"/>
                      </a:cubicBezTo>
                      <a:cubicBezTo>
                        <a:pt x="54193" y="334657"/>
                        <a:pt x="329177" y="327490"/>
                        <a:pt x="329177" y="327490"/>
                      </a:cubicBezTo>
                      <a:lnTo>
                        <a:pt x="335448" y="163008"/>
                      </a:lnTo>
                      <a:close/>
                    </a:path>
                  </a:pathLst>
                </a:custGeom>
                <a:solidFill>
                  <a:srgbClr val="BF5C6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103" name="Graphic 4043">
                  <a:extLst>
                    <a:ext uri="{FF2B5EF4-FFF2-40B4-BE49-F238E27FC236}">
                      <a16:creationId xmlns:a16="http://schemas.microsoft.com/office/drawing/2014/main" id="{4BBB165A-DC87-24BB-7079-38C1170749E1}"/>
                    </a:ext>
                  </a:extLst>
                </p:cNvPr>
                <p:cNvGrpSpPr/>
                <p:nvPr/>
              </p:nvGrpSpPr>
              <p:grpSpPr>
                <a:xfrm>
                  <a:off x="3592454" y="3796798"/>
                  <a:ext cx="231972" cy="307689"/>
                  <a:chOff x="3592454" y="3796798"/>
                  <a:chExt cx="231972" cy="307689"/>
                </a:xfrm>
              </p:grpSpPr>
              <p:sp>
                <p:nvSpPr>
                  <p:cNvPr id="4104" name="Freeform: Shape 4103">
                    <a:extLst>
                      <a:ext uri="{FF2B5EF4-FFF2-40B4-BE49-F238E27FC236}">
                        <a16:creationId xmlns:a16="http://schemas.microsoft.com/office/drawing/2014/main" id="{59927CB5-53C0-E065-4BAB-52982F89B80B}"/>
                      </a:ext>
                    </a:extLst>
                  </p:cNvPr>
                  <p:cNvSpPr/>
                  <p:nvPr/>
                </p:nvSpPr>
                <p:spPr>
                  <a:xfrm>
                    <a:off x="3647192" y="3996442"/>
                    <a:ext cx="134140" cy="108046"/>
                  </a:xfrm>
                  <a:custGeom>
                    <a:avLst/>
                    <a:gdLst>
                      <a:gd name="connsiteX0" fmla="*/ 0 w 134140"/>
                      <a:gd name="connsiteY0" fmla="*/ 31267 h 108046"/>
                      <a:gd name="connsiteX1" fmla="*/ 14680 w 134140"/>
                      <a:gd name="connsiteY1" fmla="*/ 55020 h 108046"/>
                      <a:gd name="connsiteX2" fmla="*/ 19679 w 134140"/>
                      <a:gd name="connsiteY2" fmla="*/ 108046 h 108046"/>
                      <a:gd name="connsiteX3" fmla="*/ 134140 w 134140"/>
                      <a:gd name="connsiteY3" fmla="*/ 70711 h 108046"/>
                      <a:gd name="connsiteX4" fmla="*/ 122061 w 134140"/>
                      <a:gd name="connsiteY4" fmla="*/ 0 h 108046"/>
                      <a:gd name="connsiteX5" fmla="*/ 109115 w 134140"/>
                      <a:gd name="connsiteY5" fmla="*/ 3265 h 108046"/>
                      <a:gd name="connsiteX6" fmla="*/ 77993 w 134140"/>
                      <a:gd name="connsiteY6" fmla="*/ 11299 h 108046"/>
                      <a:gd name="connsiteX7" fmla="*/ 29 w 134140"/>
                      <a:gd name="connsiteY7" fmla="*/ 31267 h 10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40" h="108046">
                        <a:moveTo>
                          <a:pt x="0" y="31267"/>
                        </a:moveTo>
                        <a:cubicBezTo>
                          <a:pt x="6328" y="37162"/>
                          <a:pt x="11010" y="45426"/>
                          <a:pt x="14680" y="55020"/>
                        </a:cubicBezTo>
                        <a:cubicBezTo>
                          <a:pt x="18985" y="66261"/>
                          <a:pt x="17136" y="94349"/>
                          <a:pt x="19679" y="108046"/>
                        </a:cubicBezTo>
                        <a:lnTo>
                          <a:pt x="134140" y="70711"/>
                        </a:lnTo>
                        <a:lnTo>
                          <a:pt x="122061" y="0"/>
                        </a:lnTo>
                        <a:lnTo>
                          <a:pt x="109115" y="3265"/>
                        </a:lnTo>
                        <a:lnTo>
                          <a:pt x="77993" y="11299"/>
                        </a:lnTo>
                        <a:lnTo>
                          <a:pt x="29" y="31267"/>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5" name="Freeform: Shape 4104">
                    <a:extLst>
                      <a:ext uri="{FF2B5EF4-FFF2-40B4-BE49-F238E27FC236}">
                        <a16:creationId xmlns:a16="http://schemas.microsoft.com/office/drawing/2014/main" id="{6B194718-2763-E808-6256-AA834E287683}"/>
                      </a:ext>
                    </a:extLst>
                  </p:cNvPr>
                  <p:cNvSpPr/>
                  <p:nvPr/>
                </p:nvSpPr>
                <p:spPr>
                  <a:xfrm>
                    <a:off x="3636471" y="3996442"/>
                    <a:ext cx="98452" cy="55019"/>
                  </a:xfrm>
                  <a:custGeom>
                    <a:avLst/>
                    <a:gdLst>
                      <a:gd name="connsiteX0" fmla="*/ 0 w 98452"/>
                      <a:gd name="connsiteY0" fmla="*/ 15691 h 55019"/>
                      <a:gd name="connsiteX1" fmla="*/ 3583 w 98452"/>
                      <a:gd name="connsiteY1" fmla="*/ 31267 h 55019"/>
                      <a:gd name="connsiteX2" fmla="*/ 10721 w 98452"/>
                      <a:gd name="connsiteY2" fmla="*/ 31267 h 55019"/>
                      <a:gd name="connsiteX3" fmla="*/ 25401 w 98452"/>
                      <a:gd name="connsiteY3" fmla="*/ 55020 h 55019"/>
                      <a:gd name="connsiteX4" fmla="*/ 80132 w 98452"/>
                      <a:gd name="connsiteY4" fmla="*/ 18985 h 55019"/>
                      <a:gd name="connsiteX5" fmla="*/ 88685 w 98452"/>
                      <a:gd name="connsiteY5" fmla="*/ 11328 h 55019"/>
                      <a:gd name="connsiteX6" fmla="*/ 98452 w 98452"/>
                      <a:gd name="connsiteY6" fmla="*/ 0 h 55019"/>
                      <a:gd name="connsiteX7" fmla="*/ 0 w 98452"/>
                      <a:gd name="connsiteY7" fmla="*/ 15720 h 5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452" h="55019">
                        <a:moveTo>
                          <a:pt x="0" y="15691"/>
                        </a:moveTo>
                        <a:lnTo>
                          <a:pt x="3583" y="31267"/>
                        </a:lnTo>
                        <a:cubicBezTo>
                          <a:pt x="5808" y="31353"/>
                          <a:pt x="8207" y="31353"/>
                          <a:pt x="10721" y="31267"/>
                        </a:cubicBezTo>
                        <a:cubicBezTo>
                          <a:pt x="17049" y="37162"/>
                          <a:pt x="21731" y="45426"/>
                          <a:pt x="25401" y="55020"/>
                        </a:cubicBezTo>
                        <a:cubicBezTo>
                          <a:pt x="51841" y="40514"/>
                          <a:pt x="69035" y="28204"/>
                          <a:pt x="80132" y="18985"/>
                        </a:cubicBezTo>
                        <a:cubicBezTo>
                          <a:pt x="83570" y="16154"/>
                          <a:pt x="86373" y="13611"/>
                          <a:pt x="88685" y="11328"/>
                        </a:cubicBezTo>
                        <a:cubicBezTo>
                          <a:pt x="96285" y="4017"/>
                          <a:pt x="98452" y="0"/>
                          <a:pt x="98452" y="0"/>
                        </a:cubicBezTo>
                        <a:lnTo>
                          <a:pt x="0" y="15720"/>
                        </a:lnTo>
                        <a:close/>
                      </a:path>
                    </a:pathLst>
                  </a:custGeom>
                  <a:solidFill>
                    <a:srgbClr val="808080">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6" name="Freeform: Shape 4105">
                    <a:extLst>
                      <a:ext uri="{FF2B5EF4-FFF2-40B4-BE49-F238E27FC236}">
                        <a16:creationId xmlns:a16="http://schemas.microsoft.com/office/drawing/2014/main" id="{99D863B7-253A-93E7-C250-74153A6D485C}"/>
                      </a:ext>
                    </a:extLst>
                  </p:cNvPr>
                  <p:cNvSpPr/>
                  <p:nvPr/>
                </p:nvSpPr>
                <p:spPr>
                  <a:xfrm>
                    <a:off x="3599990" y="3828138"/>
                    <a:ext cx="186733" cy="199635"/>
                  </a:xfrm>
                  <a:custGeom>
                    <a:avLst/>
                    <a:gdLst>
                      <a:gd name="connsiteX0" fmla="*/ 6255 w 186733"/>
                      <a:gd name="connsiteY0" fmla="*/ 189890 h 199635"/>
                      <a:gd name="connsiteX1" fmla="*/ 40064 w 186733"/>
                      <a:gd name="connsiteY1" fmla="*/ 199570 h 199635"/>
                      <a:gd name="connsiteX2" fmla="*/ 47202 w 186733"/>
                      <a:gd name="connsiteY2" fmla="*/ 199570 h 199635"/>
                      <a:gd name="connsiteX3" fmla="*/ 116612 w 186733"/>
                      <a:gd name="connsiteY3" fmla="*/ 187289 h 199635"/>
                      <a:gd name="connsiteX4" fmla="*/ 155190 w 186733"/>
                      <a:gd name="connsiteY4" fmla="*/ 175008 h 199635"/>
                      <a:gd name="connsiteX5" fmla="*/ 156317 w 186733"/>
                      <a:gd name="connsiteY5" fmla="*/ 171569 h 199635"/>
                      <a:gd name="connsiteX6" fmla="*/ 177527 w 186733"/>
                      <a:gd name="connsiteY6" fmla="*/ 11161 h 199635"/>
                      <a:gd name="connsiteX7" fmla="*/ 28592 w 186733"/>
                      <a:gd name="connsiteY7" fmla="*/ 11161 h 199635"/>
                      <a:gd name="connsiteX8" fmla="*/ 6255 w 186733"/>
                      <a:gd name="connsiteY8" fmla="*/ 189890 h 1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733" h="199635">
                        <a:moveTo>
                          <a:pt x="6255" y="189890"/>
                        </a:moveTo>
                        <a:cubicBezTo>
                          <a:pt x="6255" y="189890"/>
                          <a:pt x="13016" y="198906"/>
                          <a:pt x="40064" y="199570"/>
                        </a:cubicBezTo>
                        <a:cubicBezTo>
                          <a:pt x="42289" y="199657"/>
                          <a:pt x="44688" y="199657"/>
                          <a:pt x="47202" y="199570"/>
                        </a:cubicBezTo>
                        <a:cubicBezTo>
                          <a:pt x="63500" y="199195"/>
                          <a:pt x="85924" y="195929"/>
                          <a:pt x="116612" y="187289"/>
                        </a:cubicBezTo>
                        <a:cubicBezTo>
                          <a:pt x="128229" y="184024"/>
                          <a:pt x="141030" y="179978"/>
                          <a:pt x="155190" y="175008"/>
                        </a:cubicBezTo>
                        <a:cubicBezTo>
                          <a:pt x="155190" y="175008"/>
                          <a:pt x="155623" y="173823"/>
                          <a:pt x="156317" y="171569"/>
                        </a:cubicBezTo>
                        <a:cubicBezTo>
                          <a:pt x="163917" y="149289"/>
                          <a:pt x="204662" y="24714"/>
                          <a:pt x="177527" y="11161"/>
                        </a:cubicBezTo>
                        <a:cubicBezTo>
                          <a:pt x="147734" y="-3720"/>
                          <a:pt x="58385" y="-3720"/>
                          <a:pt x="28592" y="11161"/>
                        </a:cubicBezTo>
                        <a:cubicBezTo>
                          <a:pt x="28592" y="11161"/>
                          <a:pt x="-16083" y="115422"/>
                          <a:pt x="6255" y="189890"/>
                        </a:cubicBez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7" name="Freeform: Shape 4106">
                    <a:extLst>
                      <a:ext uri="{FF2B5EF4-FFF2-40B4-BE49-F238E27FC236}">
                        <a16:creationId xmlns:a16="http://schemas.microsoft.com/office/drawing/2014/main" id="{DBB7C633-F2E5-6951-571B-2FA8D3155BF6}"/>
                      </a:ext>
                    </a:extLst>
                  </p:cNvPr>
                  <p:cNvSpPr/>
                  <p:nvPr/>
                </p:nvSpPr>
                <p:spPr>
                  <a:xfrm>
                    <a:off x="3592454" y="3796798"/>
                    <a:ext cx="231972" cy="218195"/>
                  </a:xfrm>
                  <a:custGeom>
                    <a:avLst/>
                    <a:gdLst>
                      <a:gd name="connsiteX0" fmla="*/ 182116 w 231972"/>
                      <a:gd name="connsiteY0" fmla="*/ 218196 h 218195"/>
                      <a:gd name="connsiteX1" fmla="*/ 218556 w 231972"/>
                      <a:gd name="connsiteY1" fmla="*/ 150490 h 218195"/>
                      <a:gd name="connsiteX2" fmla="*/ 203674 w 231972"/>
                      <a:gd name="connsiteY2" fmla="*/ 46229 h 218195"/>
                      <a:gd name="connsiteX3" fmla="*/ 47283 w 231972"/>
                      <a:gd name="connsiteY3" fmla="*/ 16436 h 218195"/>
                      <a:gd name="connsiteX4" fmla="*/ 2752 w 231972"/>
                      <a:gd name="connsiteY4" fmla="*/ 2161 h 218195"/>
                      <a:gd name="connsiteX5" fmla="*/ 26361 w 231972"/>
                      <a:gd name="connsiteY5" fmla="*/ 52991 h 218195"/>
                      <a:gd name="connsiteX6" fmla="*/ 63061 w 231972"/>
                      <a:gd name="connsiteY6" fmla="*/ 55447 h 218195"/>
                      <a:gd name="connsiteX7" fmla="*/ 88288 w 231972"/>
                      <a:gd name="connsiteY7" fmla="*/ 60273 h 218195"/>
                      <a:gd name="connsiteX8" fmla="*/ 90542 w 231972"/>
                      <a:gd name="connsiteY8" fmla="*/ 77525 h 218195"/>
                      <a:gd name="connsiteX9" fmla="*/ 84878 w 231972"/>
                      <a:gd name="connsiteY9" fmla="*/ 131129 h 218195"/>
                      <a:gd name="connsiteX10" fmla="*/ 121693 w 231972"/>
                      <a:gd name="connsiteY10" fmla="*/ 101278 h 218195"/>
                      <a:gd name="connsiteX11" fmla="*/ 126403 w 231972"/>
                      <a:gd name="connsiteY11" fmla="*/ 153033 h 218195"/>
                      <a:gd name="connsiteX12" fmla="*/ 182088 w 231972"/>
                      <a:gd name="connsiteY12" fmla="*/ 218167 h 218195"/>
                      <a:gd name="connsiteX13" fmla="*/ 182088 w 231972"/>
                      <a:gd name="connsiteY13" fmla="*/ 218167 h 21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1972" h="218195">
                        <a:moveTo>
                          <a:pt x="182116" y="218196"/>
                        </a:moveTo>
                        <a:cubicBezTo>
                          <a:pt x="182116" y="218196"/>
                          <a:pt x="181336" y="202620"/>
                          <a:pt x="218556" y="150490"/>
                        </a:cubicBezTo>
                        <a:cubicBezTo>
                          <a:pt x="255804" y="98360"/>
                          <a:pt x="203674" y="46229"/>
                          <a:pt x="203674" y="46229"/>
                        </a:cubicBezTo>
                        <a:cubicBezTo>
                          <a:pt x="203674" y="46229"/>
                          <a:pt x="188792" y="-28238"/>
                          <a:pt x="47283" y="16436"/>
                        </a:cubicBezTo>
                        <a:cubicBezTo>
                          <a:pt x="47283" y="16436"/>
                          <a:pt x="8416" y="14587"/>
                          <a:pt x="2752" y="2161"/>
                        </a:cubicBezTo>
                        <a:cubicBezTo>
                          <a:pt x="-2912" y="-10265"/>
                          <a:pt x="-1958" y="34121"/>
                          <a:pt x="26361" y="52991"/>
                        </a:cubicBezTo>
                        <a:cubicBezTo>
                          <a:pt x="41994" y="63423"/>
                          <a:pt x="54767" y="60302"/>
                          <a:pt x="63061" y="55447"/>
                        </a:cubicBezTo>
                        <a:cubicBezTo>
                          <a:pt x="71383" y="50564"/>
                          <a:pt x="82190" y="52818"/>
                          <a:pt x="88288" y="60273"/>
                        </a:cubicBezTo>
                        <a:cubicBezTo>
                          <a:pt x="93489" y="66631"/>
                          <a:pt x="96668" y="73595"/>
                          <a:pt x="90542" y="77525"/>
                        </a:cubicBezTo>
                        <a:cubicBezTo>
                          <a:pt x="77336" y="86020"/>
                          <a:pt x="84878" y="120755"/>
                          <a:pt x="84878" y="131129"/>
                        </a:cubicBezTo>
                        <a:cubicBezTo>
                          <a:pt x="84878" y="141503"/>
                          <a:pt x="107533" y="93909"/>
                          <a:pt x="121693" y="101278"/>
                        </a:cubicBezTo>
                        <a:cubicBezTo>
                          <a:pt x="135852" y="108647"/>
                          <a:pt x="138684" y="113386"/>
                          <a:pt x="126403" y="153033"/>
                        </a:cubicBezTo>
                        <a:cubicBezTo>
                          <a:pt x="114122" y="192680"/>
                          <a:pt x="182088" y="218167"/>
                          <a:pt x="182088" y="218167"/>
                        </a:cubicBezTo>
                        <a:lnTo>
                          <a:pt x="182088" y="218167"/>
                        </a:lnTo>
                        <a:close/>
                      </a:path>
                    </a:pathLst>
                  </a:custGeom>
                  <a:solidFill>
                    <a:srgbClr val="050C0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08" name="Freeform: Shape 4107">
                  <a:extLst>
                    <a:ext uri="{FF2B5EF4-FFF2-40B4-BE49-F238E27FC236}">
                      <a16:creationId xmlns:a16="http://schemas.microsoft.com/office/drawing/2014/main" id="{A1756811-5945-CD92-074E-B32DB157FC4D}"/>
                    </a:ext>
                  </a:extLst>
                </p:cNvPr>
                <p:cNvSpPr/>
                <p:nvPr/>
              </p:nvSpPr>
              <p:spPr>
                <a:xfrm>
                  <a:off x="3608817" y="4063050"/>
                  <a:ext cx="282710" cy="621883"/>
                </a:xfrm>
                <a:custGeom>
                  <a:avLst/>
                  <a:gdLst>
                    <a:gd name="connsiteX0" fmla="*/ 3814 w 282710"/>
                    <a:gd name="connsiteY0" fmla="*/ 531995 h 621883"/>
                    <a:gd name="connsiteX1" fmla="*/ 3958 w 282710"/>
                    <a:gd name="connsiteY1" fmla="*/ 534162 h 621883"/>
                    <a:gd name="connsiteX2" fmla="*/ 4219 w 282710"/>
                    <a:gd name="connsiteY2" fmla="*/ 538150 h 621883"/>
                    <a:gd name="connsiteX3" fmla="*/ 6241 w 282710"/>
                    <a:gd name="connsiteY3" fmla="*/ 595019 h 621883"/>
                    <a:gd name="connsiteX4" fmla="*/ 27249 w 282710"/>
                    <a:gd name="connsiteY4" fmla="*/ 615825 h 621883"/>
                    <a:gd name="connsiteX5" fmla="*/ 102498 w 282710"/>
                    <a:gd name="connsiteY5" fmla="*/ 621720 h 621883"/>
                    <a:gd name="connsiteX6" fmla="*/ 102498 w 282710"/>
                    <a:gd name="connsiteY6" fmla="*/ 621720 h 621883"/>
                    <a:gd name="connsiteX7" fmla="*/ 167776 w 282710"/>
                    <a:gd name="connsiteY7" fmla="*/ 619871 h 621883"/>
                    <a:gd name="connsiteX8" fmla="*/ 276689 w 282710"/>
                    <a:gd name="connsiteY8" fmla="*/ 608803 h 621883"/>
                    <a:gd name="connsiteX9" fmla="*/ 282179 w 282710"/>
                    <a:gd name="connsiteY9" fmla="*/ 599325 h 621883"/>
                    <a:gd name="connsiteX10" fmla="*/ 258339 w 282710"/>
                    <a:gd name="connsiteY10" fmla="*/ 168586 h 621883"/>
                    <a:gd name="connsiteX11" fmla="*/ 256605 w 282710"/>
                    <a:gd name="connsiteY11" fmla="*/ 132493 h 621883"/>
                    <a:gd name="connsiteX12" fmla="*/ 209301 w 282710"/>
                    <a:gd name="connsiteY12" fmla="*/ 29562 h 621883"/>
                    <a:gd name="connsiteX13" fmla="*/ 171850 w 282710"/>
                    <a:gd name="connsiteY13" fmla="*/ 0 h 621883"/>
                    <a:gd name="connsiteX14" fmla="*/ 60597 w 282710"/>
                    <a:gd name="connsiteY14" fmla="*/ 39329 h 621883"/>
                    <a:gd name="connsiteX15" fmla="*/ 56956 w 282710"/>
                    <a:gd name="connsiteY15" fmla="*/ 28117 h 621883"/>
                    <a:gd name="connsiteX16" fmla="*/ 18002 w 282710"/>
                    <a:gd name="connsiteY16" fmla="*/ 44444 h 621883"/>
                    <a:gd name="connsiteX17" fmla="*/ 3843 w 282710"/>
                    <a:gd name="connsiteY17" fmla="*/ 531937 h 62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2710" h="621883">
                      <a:moveTo>
                        <a:pt x="3814" y="531995"/>
                      </a:moveTo>
                      <a:cubicBezTo>
                        <a:pt x="3843" y="532717"/>
                        <a:pt x="3901" y="533440"/>
                        <a:pt x="3958" y="534162"/>
                      </a:cubicBezTo>
                      <a:cubicBezTo>
                        <a:pt x="4045" y="535491"/>
                        <a:pt x="4132" y="536821"/>
                        <a:pt x="4219" y="538150"/>
                      </a:cubicBezTo>
                      <a:cubicBezTo>
                        <a:pt x="5114" y="552339"/>
                        <a:pt x="5548" y="575023"/>
                        <a:pt x="6241" y="595019"/>
                      </a:cubicBezTo>
                      <a:cubicBezTo>
                        <a:pt x="6646" y="606434"/>
                        <a:pt x="15835" y="615537"/>
                        <a:pt x="27249" y="615825"/>
                      </a:cubicBezTo>
                      <a:cubicBezTo>
                        <a:pt x="47449" y="616345"/>
                        <a:pt x="73831" y="620998"/>
                        <a:pt x="102498" y="621720"/>
                      </a:cubicBezTo>
                      <a:lnTo>
                        <a:pt x="102498" y="621720"/>
                      </a:lnTo>
                      <a:cubicBezTo>
                        <a:pt x="122639" y="622241"/>
                        <a:pt x="144572" y="621489"/>
                        <a:pt x="167776" y="619871"/>
                      </a:cubicBezTo>
                      <a:cubicBezTo>
                        <a:pt x="206874" y="617097"/>
                        <a:pt x="249728" y="612040"/>
                        <a:pt x="276689" y="608803"/>
                      </a:cubicBezTo>
                      <a:cubicBezTo>
                        <a:pt x="281226" y="608254"/>
                        <a:pt x="283913" y="603544"/>
                        <a:pt x="282179" y="599325"/>
                      </a:cubicBezTo>
                      <a:cubicBezTo>
                        <a:pt x="261287" y="548669"/>
                        <a:pt x="252126" y="277845"/>
                        <a:pt x="258339" y="168586"/>
                      </a:cubicBezTo>
                      <a:cubicBezTo>
                        <a:pt x="259033" y="156536"/>
                        <a:pt x="258599" y="144428"/>
                        <a:pt x="256605" y="132493"/>
                      </a:cubicBezTo>
                      <a:cubicBezTo>
                        <a:pt x="249901" y="92442"/>
                        <a:pt x="234239" y="58054"/>
                        <a:pt x="209301" y="29562"/>
                      </a:cubicBezTo>
                      <a:lnTo>
                        <a:pt x="171850" y="0"/>
                      </a:lnTo>
                      <a:lnTo>
                        <a:pt x="60597" y="39329"/>
                      </a:lnTo>
                      <a:lnTo>
                        <a:pt x="56956" y="28117"/>
                      </a:lnTo>
                      <a:lnTo>
                        <a:pt x="18002" y="44444"/>
                      </a:lnTo>
                      <a:cubicBezTo>
                        <a:pt x="18002" y="44444"/>
                        <a:pt x="-9999" y="310383"/>
                        <a:pt x="3843" y="531937"/>
                      </a:cubicBezTo>
                      <a:close/>
                    </a:path>
                  </a:pathLst>
                </a:custGeom>
                <a:solidFill>
                  <a:srgbClr val="FF7B8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09" name="Freeform: Shape 4108">
                  <a:extLst>
                    <a:ext uri="{FF2B5EF4-FFF2-40B4-BE49-F238E27FC236}">
                      <a16:creationId xmlns:a16="http://schemas.microsoft.com/office/drawing/2014/main" id="{501B1E2D-1389-0425-C0F8-9699876AF243}"/>
                    </a:ext>
                  </a:extLst>
                </p:cNvPr>
                <p:cNvSpPr/>
                <p:nvPr/>
              </p:nvSpPr>
              <p:spPr>
                <a:xfrm>
                  <a:off x="3669385" y="4063107"/>
                  <a:ext cx="125788" cy="79871"/>
                </a:xfrm>
                <a:custGeom>
                  <a:avLst/>
                  <a:gdLst>
                    <a:gd name="connsiteX0" fmla="*/ 125789 w 125788"/>
                    <a:gd name="connsiteY0" fmla="*/ 10779 h 79871"/>
                    <a:gd name="connsiteX1" fmla="*/ 7455 w 125788"/>
                    <a:gd name="connsiteY1" fmla="*/ 79872 h 79871"/>
                    <a:gd name="connsiteX2" fmla="*/ 0 w 125788"/>
                    <a:gd name="connsiteY2" fmla="*/ 39300 h 79871"/>
                    <a:gd name="connsiteX3" fmla="*/ 111283 w 125788"/>
                    <a:gd name="connsiteY3" fmla="*/ 0 h 79871"/>
                    <a:gd name="connsiteX4" fmla="*/ 125789 w 125788"/>
                    <a:gd name="connsiteY4" fmla="*/ 10779 h 79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88" h="79871">
                      <a:moveTo>
                        <a:pt x="125789" y="10779"/>
                      </a:moveTo>
                      <a:lnTo>
                        <a:pt x="7455" y="79872"/>
                      </a:lnTo>
                      <a:lnTo>
                        <a:pt x="0" y="39300"/>
                      </a:lnTo>
                      <a:lnTo>
                        <a:pt x="111283" y="0"/>
                      </a:lnTo>
                      <a:lnTo>
                        <a:pt x="125789" y="10779"/>
                      </a:lnTo>
                      <a:close/>
                    </a:path>
                  </a:pathLst>
                </a:custGeom>
                <a:solidFill>
                  <a:srgbClr val="BF5C6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0" name="Freeform: Shape 4109">
                  <a:extLst>
                    <a:ext uri="{FF2B5EF4-FFF2-40B4-BE49-F238E27FC236}">
                      <a16:creationId xmlns:a16="http://schemas.microsoft.com/office/drawing/2014/main" id="{AFADA8F9-D529-C46E-764E-C99735E811FC}"/>
                    </a:ext>
                  </a:extLst>
                </p:cNvPr>
                <p:cNvSpPr/>
                <p:nvPr/>
              </p:nvSpPr>
              <p:spPr>
                <a:xfrm>
                  <a:off x="3629651" y="4090502"/>
                  <a:ext cx="39733" cy="33462"/>
                </a:xfrm>
                <a:custGeom>
                  <a:avLst/>
                  <a:gdLst>
                    <a:gd name="connsiteX0" fmla="*/ 35890 w 39733"/>
                    <a:gd name="connsiteY0" fmla="*/ 0 h 33462"/>
                    <a:gd name="connsiteX1" fmla="*/ 39733 w 39733"/>
                    <a:gd name="connsiteY1" fmla="*/ 13090 h 33462"/>
                    <a:gd name="connsiteX2" fmla="*/ 0 w 39733"/>
                    <a:gd name="connsiteY2" fmla="*/ 33463 h 33462"/>
                    <a:gd name="connsiteX3" fmla="*/ 10750 w 39733"/>
                    <a:gd name="connsiteY3" fmla="*/ 9247 h 33462"/>
                    <a:gd name="connsiteX4" fmla="*/ 35890 w 39733"/>
                    <a:gd name="connsiteY4" fmla="*/ 0 h 33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33" h="33462">
                      <a:moveTo>
                        <a:pt x="35890" y="0"/>
                      </a:moveTo>
                      <a:lnTo>
                        <a:pt x="39733" y="13090"/>
                      </a:lnTo>
                      <a:lnTo>
                        <a:pt x="0" y="33463"/>
                      </a:lnTo>
                      <a:lnTo>
                        <a:pt x="10750" y="9247"/>
                      </a:lnTo>
                      <a:lnTo>
                        <a:pt x="35890" y="0"/>
                      </a:lnTo>
                      <a:close/>
                    </a:path>
                  </a:pathLst>
                </a:custGeom>
                <a:solidFill>
                  <a:srgbClr val="BF5C6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1" name="Freeform: Shape 4110">
                  <a:extLst>
                    <a:ext uri="{FF2B5EF4-FFF2-40B4-BE49-F238E27FC236}">
                      <a16:creationId xmlns:a16="http://schemas.microsoft.com/office/drawing/2014/main" id="{ED4F342B-961B-96A0-A480-49ACA0BCA2B3}"/>
                    </a:ext>
                  </a:extLst>
                </p:cNvPr>
                <p:cNvSpPr/>
                <p:nvPr/>
              </p:nvSpPr>
              <p:spPr>
                <a:xfrm>
                  <a:off x="3653751" y="4102407"/>
                  <a:ext cx="21990" cy="30024"/>
                </a:xfrm>
                <a:custGeom>
                  <a:avLst/>
                  <a:gdLst>
                    <a:gd name="connsiteX0" fmla="*/ 21991 w 21990"/>
                    <a:gd name="connsiteY0" fmla="*/ 17974 h 30024"/>
                    <a:gd name="connsiteX1" fmla="*/ 15633 w 21990"/>
                    <a:gd name="connsiteY1" fmla="*/ 30024 h 30024"/>
                    <a:gd name="connsiteX2" fmla="*/ 2572 w 21990"/>
                    <a:gd name="connsiteY2" fmla="*/ 28868 h 30024"/>
                    <a:gd name="connsiteX3" fmla="*/ 0 w 21990"/>
                    <a:gd name="connsiteY3" fmla="*/ 9189 h 30024"/>
                    <a:gd name="connsiteX4" fmla="*/ 15633 w 21990"/>
                    <a:gd name="connsiteY4" fmla="*/ 0 h 30024"/>
                    <a:gd name="connsiteX5" fmla="*/ 21991 w 21990"/>
                    <a:gd name="connsiteY5" fmla="*/ 17974 h 3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90" h="30024">
                      <a:moveTo>
                        <a:pt x="21991" y="17974"/>
                      </a:moveTo>
                      <a:lnTo>
                        <a:pt x="15633" y="30024"/>
                      </a:lnTo>
                      <a:lnTo>
                        <a:pt x="2572" y="28868"/>
                      </a:lnTo>
                      <a:lnTo>
                        <a:pt x="0" y="9189"/>
                      </a:lnTo>
                      <a:lnTo>
                        <a:pt x="15633" y="0"/>
                      </a:lnTo>
                      <a:lnTo>
                        <a:pt x="21991" y="17974"/>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2" name="Freeform: Shape 4111">
                  <a:extLst>
                    <a:ext uri="{FF2B5EF4-FFF2-40B4-BE49-F238E27FC236}">
                      <a16:creationId xmlns:a16="http://schemas.microsoft.com/office/drawing/2014/main" id="{4E720FA3-84A3-1E4C-E391-27B04682BCCB}"/>
                    </a:ext>
                  </a:extLst>
                </p:cNvPr>
                <p:cNvSpPr/>
                <p:nvPr/>
              </p:nvSpPr>
              <p:spPr>
                <a:xfrm>
                  <a:off x="3593125" y="4274200"/>
                  <a:ext cx="151362" cy="47160"/>
                </a:xfrm>
                <a:custGeom>
                  <a:avLst/>
                  <a:gdLst>
                    <a:gd name="connsiteX0" fmla="*/ 151363 w 151362"/>
                    <a:gd name="connsiteY0" fmla="*/ 954 h 47160"/>
                    <a:gd name="connsiteX1" fmla="*/ 3843 w 151362"/>
                    <a:gd name="connsiteY1" fmla="*/ 47160 h 47160"/>
                    <a:gd name="connsiteX2" fmla="*/ 0 w 151362"/>
                    <a:gd name="connsiteY2" fmla="*/ 0 h 47160"/>
                    <a:gd name="connsiteX3" fmla="*/ 151363 w 151362"/>
                    <a:gd name="connsiteY3" fmla="*/ 954 h 47160"/>
                  </a:gdLst>
                  <a:ahLst/>
                  <a:cxnLst>
                    <a:cxn ang="0">
                      <a:pos x="connsiteX0" y="connsiteY0"/>
                    </a:cxn>
                    <a:cxn ang="0">
                      <a:pos x="connsiteX1" y="connsiteY1"/>
                    </a:cxn>
                    <a:cxn ang="0">
                      <a:pos x="connsiteX2" y="connsiteY2"/>
                    </a:cxn>
                    <a:cxn ang="0">
                      <a:pos x="connsiteX3" y="connsiteY3"/>
                    </a:cxn>
                  </a:cxnLst>
                  <a:rect l="l" t="t" r="r" b="b"/>
                  <a:pathLst>
                    <a:path w="151362" h="47160">
                      <a:moveTo>
                        <a:pt x="151363" y="954"/>
                      </a:moveTo>
                      <a:lnTo>
                        <a:pt x="3843" y="47160"/>
                      </a:lnTo>
                      <a:lnTo>
                        <a:pt x="0" y="0"/>
                      </a:lnTo>
                      <a:lnTo>
                        <a:pt x="151363" y="954"/>
                      </a:lnTo>
                      <a:close/>
                    </a:path>
                  </a:pathLst>
                </a:custGeom>
                <a:solidFill>
                  <a:srgbClr val="666666">
                    <a:alpha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113" name="Graphic 4043">
                  <a:extLst>
                    <a:ext uri="{FF2B5EF4-FFF2-40B4-BE49-F238E27FC236}">
                      <a16:creationId xmlns:a16="http://schemas.microsoft.com/office/drawing/2014/main" id="{4F3A4318-3638-46C6-AB8A-FA9A103AED27}"/>
                    </a:ext>
                  </a:extLst>
                </p:cNvPr>
                <p:cNvGrpSpPr/>
                <p:nvPr/>
              </p:nvGrpSpPr>
              <p:grpSpPr>
                <a:xfrm>
                  <a:off x="3367035" y="3852188"/>
                  <a:ext cx="265809" cy="107410"/>
                  <a:chOff x="3367035" y="3852188"/>
                  <a:chExt cx="265809" cy="107410"/>
                </a:xfrm>
              </p:grpSpPr>
              <p:sp>
                <p:nvSpPr>
                  <p:cNvPr id="4114" name="Freeform: Shape 4113">
                    <a:extLst>
                      <a:ext uri="{FF2B5EF4-FFF2-40B4-BE49-F238E27FC236}">
                        <a16:creationId xmlns:a16="http://schemas.microsoft.com/office/drawing/2014/main" id="{42F48AD8-7905-CE6B-EB8E-34A220BFE690}"/>
                      </a:ext>
                    </a:extLst>
                  </p:cNvPr>
                  <p:cNvSpPr/>
                  <p:nvPr/>
                </p:nvSpPr>
                <p:spPr>
                  <a:xfrm>
                    <a:off x="3393967" y="3852188"/>
                    <a:ext cx="177688" cy="107410"/>
                  </a:xfrm>
                  <a:custGeom>
                    <a:avLst/>
                    <a:gdLst>
                      <a:gd name="connsiteX0" fmla="*/ 177688 w 177688"/>
                      <a:gd name="connsiteY0" fmla="*/ 99348 h 107410"/>
                      <a:gd name="connsiteX1" fmla="*/ 0 w 177688"/>
                      <a:gd name="connsiteY1" fmla="*/ 107410 h 107410"/>
                      <a:gd name="connsiteX2" fmla="*/ 0 w 177688"/>
                      <a:gd name="connsiteY2" fmla="*/ 0 h 107410"/>
                      <a:gd name="connsiteX3" fmla="*/ 177688 w 177688"/>
                      <a:gd name="connsiteY3" fmla="*/ 8062 h 107410"/>
                      <a:gd name="connsiteX4" fmla="*/ 177688 w 177688"/>
                      <a:gd name="connsiteY4" fmla="*/ 99348 h 107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88" h="107410">
                        <a:moveTo>
                          <a:pt x="177688" y="99348"/>
                        </a:moveTo>
                        <a:lnTo>
                          <a:pt x="0" y="107410"/>
                        </a:lnTo>
                        <a:lnTo>
                          <a:pt x="0" y="0"/>
                        </a:lnTo>
                        <a:lnTo>
                          <a:pt x="177688" y="8062"/>
                        </a:lnTo>
                        <a:lnTo>
                          <a:pt x="177688" y="99348"/>
                        </a:lnTo>
                        <a:close/>
                      </a:path>
                    </a:pathLst>
                  </a:custGeom>
                  <a:solidFill>
                    <a:srgbClr val="0C103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5" name="Freeform: Shape 4114">
                    <a:extLst>
                      <a:ext uri="{FF2B5EF4-FFF2-40B4-BE49-F238E27FC236}">
                        <a16:creationId xmlns:a16="http://schemas.microsoft.com/office/drawing/2014/main" id="{D09843D2-0AD2-3E7C-ADFB-37912FEF9477}"/>
                      </a:ext>
                    </a:extLst>
                  </p:cNvPr>
                  <p:cNvSpPr/>
                  <p:nvPr/>
                </p:nvSpPr>
                <p:spPr>
                  <a:xfrm>
                    <a:off x="3458783" y="3855598"/>
                    <a:ext cx="165869" cy="100590"/>
                  </a:xfrm>
                  <a:custGeom>
                    <a:avLst/>
                    <a:gdLst>
                      <a:gd name="connsiteX0" fmla="*/ 165869 w 165869"/>
                      <a:gd name="connsiteY0" fmla="*/ 93049 h 100590"/>
                      <a:gd name="connsiteX1" fmla="*/ 0 w 165869"/>
                      <a:gd name="connsiteY1" fmla="*/ 100591 h 100590"/>
                      <a:gd name="connsiteX2" fmla="*/ 0 w 165869"/>
                      <a:gd name="connsiteY2" fmla="*/ 0 h 100590"/>
                      <a:gd name="connsiteX3" fmla="*/ 165869 w 165869"/>
                      <a:gd name="connsiteY3" fmla="*/ 7542 h 100590"/>
                      <a:gd name="connsiteX4" fmla="*/ 165869 w 165869"/>
                      <a:gd name="connsiteY4" fmla="*/ 93049 h 100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69" h="100590">
                        <a:moveTo>
                          <a:pt x="165869" y="93049"/>
                        </a:moveTo>
                        <a:lnTo>
                          <a:pt x="0" y="100591"/>
                        </a:lnTo>
                        <a:lnTo>
                          <a:pt x="0" y="0"/>
                        </a:lnTo>
                        <a:lnTo>
                          <a:pt x="165869" y="7542"/>
                        </a:lnTo>
                        <a:lnTo>
                          <a:pt x="165869" y="93049"/>
                        </a:lnTo>
                        <a:close/>
                      </a:path>
                    </a:pathLst>
                  </a:custGeom>
                  <a:solidFill>
                    <a:srgbClr val="252C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6" name="Freeform: Shape 4115">
                    <a:extLst>
                      <a:ext uri="{FF2B5EF4-FFF2-40B4-BE49-F238E27FC236}">
                        <a16:creationId xmlns:a16="http://schemas.microsoft.com/office/drawing/2014/main" id="{1E2D8F89-663C-CA88-A6FD-F8DDF4C79299}"/>
                      </a:ext>
                    </a:extLst>
                  </p:cNvPr>
                  <p:cNvSpPr/>
                  <p:nvPr/>
                </p:nvSpPr>
                <p:spPr>
                  <a:xfrm>
                    <a:off x="3613489" y="3856985"/>
                    <a:ext cx="19355" cy="97868"/>
                  </a:xfrm>
                  <a:custGeom>
                    <a:avLst/>
                    <a:gdLst>
                      <a:gd name="connsiteX0" fmla="*/ 2696 w 19355"/>
                      <a:gd name="connsiteY0" fmla="*/ 97354 h 97868"/>
                      <a:gd name="connsiteX1" fmla="*/ 2696 w 19355"/>
                      <a:gd name="connsiteY1" fmla="*/ 97354 h 97868"/>
                      <a:gd name="connsiteX2" fmla="*/ 500 w 19355"/>
                      <a:gd name="connsiteY2" fmla="*/ 90303 h 97868"/>
                      <a:gd name="connsiteX3" fmla="*/ 500 w 19355"/>
                      <a:gd name="connsiteY3" fmla="*/ 7541 h 97868"/>
                      <a:gd name="connsiteX4" fmla="*/ 2696 w 19355"/>
                      <a:gd name="connsiteY4" fmla="*/ 491 h 97868"/>
                      <a:gd name="connsiteX5" fmla="*/ 2696 w 19355"/>
                      <a:gd name="connsiteY5" fmla="*/ 491 h 97868"/>
                      <a:gd name="connsiteX6" fmla="*/ 9689 w 19355"/>
                      <a:gd name="connsiteY6" fmla="*/ 3467 h 97868"/>
                      <a:gd name="connsiteX7" fmla="*/ 9689 w 19355"/>
                      <a:gd name="connsiteY7" fmla="*/ 94406 h 97868"/>
                      <a:gd name="connsiteX8" fmla="*/ 2696 w 19355"/>
                      <a:gd name="connsiteY8" fmla="*/ 97383 h 9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55" h="97868">
                        <a:moveTo>
                          <a:pt x="2696" y="97354"/>
                        </a:moveTo>
                        <a:lnTo>
                          <a:pt x="2696" y="97354"/>
                        </a:lnTo>
                        <a:cubicBezTo>
                          <a:pt x="240" y="96082"/>
                          <a:pt x="-656" y="92932"/>
                          <a:pt x="500" y="90303"/>
                        </a:cubicBezTo>
                        <a:cubicBezTo>
                          <a:pt x="12232" y="63978"/>
                          <a:pt x="12232" y="33867"/>
                          <a:pt x="500" y="7541"/>
                        </a:cubicBezTo>
                        <a:cubicBezTo>
                          <a:pt x="-656" y="4912"/>
                          <a:pt x="240" y="1762"/>
                          <a:pt x="2696" y="491"/>
                        </a:cubicBezTo>
                        <a:lnTo>
                          <a:pt x="2696" y="491"/>
                        </a:lnTo>
                        <a:cubicBezTo>
                          <a:pt x="5152" y="-781"/>
                          <a:pt x="8360" y="491"/>
                          <a:pt x="9689" y="3467"/>
                        </a:cubicBezTo>
                        <a:cubicBezTo>
                          <a:pt x="22577" y="32393"/>
                          <a:pt x="22577" y="65480"/>
                          <a:pt x="9689" y="94406"/>
                        </a:cubicBezTo>
                        <a:cubicBezTo>
                          <a:pt x="8360" y="97354"/>
                          <a:pt x="5152" y="98654"/>
                          <a:pt x="2696" y="97383"/>
                        </a:cubicBezTo>
                        <a:close/>
                      </a:path>
                    </a:pathLst>
                  </a:custGeom>
                  <a:solidFill>
                    <a:srgbClr val="1C21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7" name="Freeform: Shape 4116">
                    <a:extLst>
                      <a:ext uri="{FF2B5EF4-FFF2-40B4-BE49-F238E27FC236}">
                        <a16:creationId xmlns:a16="http://schemas.microsoft.com/office/drawing/2014/main" id="{A958F73F-BC1A-20E2-997C-A086990EDA2B}"/>
                      </a:ext>
                    </a:extLst>
                  </p:cNvPr>
                  <p:cNvSpPr/>
                  <p:nvPr/>
                </p:nvSpPr>
                <p:spPr>
                  <a:xfrm>
                    <a:off x="3367035" y="3852217"/>
                    <a:ext cx="53864" cy="107381"/>
                  </a:xfrm>
                  <a:custGeom>
                    <a:avLst/>
                    <a:gdLst>
                      <a:gd name="connsiteX0" fmla="*/ 53864 w 53864"/>
                      <a:gd name="connsiteY0" fmla="*/ 53691 h 107381"/>
                      <a:gd name="connsiteX1" fmla="*/ 26932 w 53864"/>
                      <a:gd name="connsiteY1" fmla="*/ 107381 h 107381"/>
                      <a:gd name="connsiteX2" fmla="*/ 0 w 53864"/>
                      <a:gd name="connsiteY2" fmla="*/ 53691 h 107381"/>
                      <a:gd name="connsiteX3" fmla="*/ 26932 w 53864"/>
                      <a:gd name="connsiteY3" fmla="*/ 0 h 107381"/>
                      <a:gd name="connsiteX4" fmla="*/ 53864 w 53864"/>
                      <a:gd name="connsiteY4" fmla="*/ 53691 h 10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64" h="107381">
                        <a:moveTo>
                          <a:pt x="53864" y="53691"/>
                        </a:moveTo>
                        <a:cubicBezTo>
                          <a:pt x="53864" y="83343"/>
                          <a:pt x="41806" y="107381"/>
                          <a:pt x="26932" y="107381"/>
                        </a:cubicBezTo>
                        <a:cubicBezTo>
                          <a:pt x="12058" y="107381"/>
                          <a:pt x="0" y="83343"/>
                          <a:pt x="0" y="53691"/>
                        </a:cubicBezTo>
                        <a:cubicBezTo>
                          <a:pt x="0" y="24038"/>
                          <a:pt x="12058" y="0"/>
                          <a:pt x="26932" y="0"/>
                        </a:cubicBezTo>
                        <a:cubicBezTo>
                          <a:pt x="41806" y="0"/>
                          <a:pt x="53864" y="24038"/>
                          <a:pt x="53864" y="53691"/>
                        </a:cubicBezTo>
                        <a:close/>
                      </a:path>
                    </a:pathLst>
                  </a:custGeom>
                  <a:solidFill>
                    <a:srgbClr val="1C21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8" name="Freeform: Shape 4117">
                    <a:extLst>
                      <a:ext uri="{FF2B5EF4-FFF2-40B4-BE49-F238E27FC236}">
                        <a16:creationId xmlns:a16="http://schemas.microsoft.com/office/drawing/2014/main" id="{966830D8-833C-2A90-AC93-D15A7403D578}"/>
                      </a:ext>
                    </a:extLst>
                  </p:cNvPr>
                  <p:cNvSpPr/>
                  <p:nvPr/>
                </p:nvSpPr>
                <p:spPr>
                  <a:xfrm>
                    <a:off x="3372930" y="3858112"/>
                    <a:ext cx="42074" cy="95591"/>
                  </a:xfrm>
                  <a:custGeom>
                    <a:avLst/>
                    <a:gdLst>
                      <a:gd name="connsiteX0" fmla="*/ 42074 w 42074"/>
                      <a:gd name="connsiteY0" fmla="*/ 47796 h 95591"/>
                      <a:gd name="connsiteX1" fmla="*/ 21037 w 42074"/>
                      <a:gd name="connsiteY1" fmla="*/ 95591 h 95591"/>
                      <a:gd name="connsiteX2" fmla="*/ 0 w 42074"/>
                      <a:gd name="connsiteY2" fmla="*/ 47796 h 95591"/>
                      <a:gd name="connsiteX3" fmla="*/ 21037 w 42074"/>
                      <a:gd name="connsiteY3" fmla="*/ 0 h 95591"/>
                      <a:gd name="connsiteX4" fmla="*/ 42074 w 42074"/>
                      <a:gd name="connsiteY4" fmla="*/ 47796 h 9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4" h="95591">
                        <a:moveTo>
                          <a:pt x="42074" y="47796"/>
                        </a:moveTo>
                        <a:cubicBezTo>
                          <a:pt x="42074" y="74192"/>
                          <a:pt x="32656" y="95591"/>
                          <a:pt x="21037" y="95591"/>
                        </a:cubicBezTo>
                        <a:cubicBezTo>
                          <a:pt x="9418" y="95591"/>
                          <a:pt x="0" y="74192"/>
                          <a:pt x="0" y="47796"/>
                        </a:cubicBezTo>
                        <a:cubicBezTo>
                          <a:pt x="0" y="21399"/>
                          <a:pt x="9418" y="0"/>
                          <a:pt x="21037" y="0"/>
                        </a:cubicBezTo>
                        <a:cubicBezTo>
                          <a:pt x="32655" y="0"/>
                          <a:pt x="42074" y="21399"/>
                          <a:pt x="42074" y="47796"/>
                        </a:cubicBezTo>
                        <a:close/>
                      </a:path>
                    </a:pathLst>
                  </a:custGeom>
                  <a:solidFill>
                    <a:srgbClr val="63C8B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19" name="Freeform: Shape 4118">
                    <a:extLst>
                      <a:ext uri="{FF2B5EF4-FFF2-40B4-BE49-F238E27FC236}">
                        <a16:creationId xmlns:a16="http://schemas.microsoft.com/office/drawing/2014/main" id="{A0BFFAFC-1339-950F-B08E-34CEB6E95C8B}"/>
                      </a:ext>
                    </a:extLst>
                  </p:cNvPr>
                  <p:cNvSpPr/>
                  <p:nvPr/>
                </p:nvSpPr>
                <p:spPr>
                  <a:xfrm>
                    <a:off x="3421997" y="3852217"/>
                    <a:ext cx="53864" cy="107381"/>
                  </a:xfrm>
                  <a:custGeom>
                    <a:avLst/>
                    <a:gdLst>
                      <a:gd name="connsiteX0" fmla="*/ 53864 w 53864"/>
                      <a:gd name="connsiteY0" fmla="*/ 53691 h 107381"/>
                      <a:gd name="connsiteX1" fmla="*/ 26932 w 53864"/>
                      <a:gd name="connsiteY1" fmla="*/ 107381 h 107381"/>
                      <a:gd name="connsiteX2" fmla="*/ 0 w 53864"/>
                      <a:gd name="connsiteY2" fmla="*/ 53691 h 107381"/>
                      <a:gd name="connsiteX3" fmla="*/ 26932 w 53864"/>
                      <a:gd name="connsiteY3" fmla="*/ 0 h 107381"/>
                      <a:gd name="connsiteX4" fmla="*/ 53864 w 53864"/>
                      <a:gd name="connsiteY4" fmla="*/ 53691 h 10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64" h="107381">
                        <a:moveTo>
                          <a:pt x="53864" y="53691"/>
                        </a:moveTo>
                        <a:cubicBezTo>
                          <a:pt x="53864" y="83343"/>
                          <a:pt x="41806" y="107381"/>
                          <a:pt x="26932" y="107381"/>
                        </a:cubicBezTo>
                        <a:cubicBezTo>
                          <a:pt x="12058" y="107381"/>
                          <a:pt x="0" y="83343"/>
                          <a:pt x="0" y="53691"/>
                        </a:cubicBezTo>
                        <a:cubicBezTo>
                          <a:pt x="0" y="24038"/>
                          <a:pt x="12058" y="0"/>
                          <a:pt x="26932" y="0"/>
                        </a:cubicBezTo>
                        <a:cubicBezTo>
                          <a:pt x="41806" y="0"/>
                          <a:pt x="53864" y="24038"/>
                          <a:pt x="53864" y="53691"/>
                        </a:cubicBezTo>
                        <a:close/>
                      </a:path>
                    </a:pathLst>
                  </a:custGeom>
                  <a:solidFill>
                    <a:srgbClr val="1C21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20" name="Freeform: Shape 4119">
                    <a:extLst>
                      <a:ext uri="{FF2B5EF4-FFF2-40B4-BE49-F238E27FC236}">
                        <a16:creationId xmlns:a16="http://schemas.microsoft.com/office/drawing/2014/main" id="{312B7B80-49DA-F49E-76C2-31F8A35B29A5}"/>
                      </a:ext>
                    </a:extLst>
                  </p:cNvPr>
                  <p:cNvSpPr/>
                  <p:nvPr/>
                </p:nvSpPr>
                <p:spPr>
                  <a:xfrm>
                    <a:off x="3427892" y="3858112"/>
                    <a:ext cx="42074" cy="95591"/>
                  </a:xfrm>
                  <a:custGeom>
                    <a:avLst/>
                    <a:gdLst>
                      <a:gd name="connsiteX0" fmla="*/ 42074 w 42074"/>
                      <a:gd name="connsiteY0" fmla="*/ 47796 h 95591"/>
                      <a:gd name="connsiteX1" fmla="*/ 21037 w 42074"/>
                      <a:gd name="connsiteY1" fmla="*/ 95591 h 95591"/>
                      <a:gd name="connsiteX2" fmla="*/ 0 w 42074"/>
                      <a:gd name="connsiteY2" fmla="*/ 47796 h 95591"/>
                      <a:gd name="connsiteX3" fmla="*/ 21037 w 42074"/>
                      <a:gd name="connsiteY3" fmla="*/ 0 h 95591"/>
                      <a:gd name="connsiteX4" fmla="*/ 42074 w 42074"/>
                      <a:gd name="connsiteY4" fmla="*/ 47796 h 9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4" h="95591">
                        <a:moveTo>
                          <a:pt x="42074" y="47796"/>
                        </a:moveTo>
                        <a:cubicBezTo>
                          <a:pt x="42074" y="74192"/>
                          <a:pt x="32656" y="95591"/>
                          <a:pt x="21037" y="95591"/>
                        </a:cubicBezTo>
                        <a:cubicBezTo>
                          <a:pt x="9419" y="95591"/>
                          <a:pt x="0" y="74192"/>
                          <a:pt x="0" y="47796"/>
                        </a:cubicBezTo>
                        <a:cubicBezTo>
                          <a:pt x="0" y="21399"/>
                          <a:pt x="9418" y="0"/>
                          <a:pt x="21037" y="0"/>
                        </a:cubicBezTo>
                        <a:cubicBezTo>
                          <a:pt x="32655" y="0"/>
                          <a:pt x="42074" y="21399"/>
                          <a:pt x="42074" y="47796"/>
                        </a:cubicBezTo>
                        <a:close/>
                      </a:path>
                    </a:pathLst>
                  </a:custGeom>
                  <a:solidFill>
                    <a:srgbClr val="63C8B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21" name="Freeform: Shape 4120">
                  <a:extLst>
                    <a:ext uri="{FF2B5EF4-FFF2-40B4-BE49-F238E27FC236}">
                      <a16:creationId xmlns:a16="http://schemas.microsoft.com/office/drawing/2014/main" id="{DFD71F7E-3568-51CB-2B4B-40CBD9B4EAE4}"/>
                    </a:ext>
                  </a:extLst>
                </p:cNvPr>
                <p:cNvSpPr/>
                <p:nvPr/>
              </p:nvSpPr>
              <p:spPr>
                <a:xfrm>
                  <a:off x="3647192" y="4131276"/>
                  <a:ext cx="59267" cy="529480"/>
                </a:xfrm>
                <a:custGeom>
                  <a:avLst/>
                  <a:gdLst>
                    <a:gd name="connsiteX0" fmla="*/ 9131 w 59267"/>
                    <a:gd name="connsiteY0" fmla="*/ 0 h 529480"/>
                    <a:gd name="connsiteX1" fmla="*/ 0 w 59267"/>
                    <a:gd name="connsiteY1" fmla="*/ 480529 h 529480"/>
                    <a:gd name="connsiteX2" fmla="*/ 28550 w 59267"/>
                    <a:gd name="connsiteY2" fmla="*/ 529481 h 529480"/>
                    <a:gd name="connsiteX3" fmla="*/ 59268 w 59267"/>
                    <a:gd name="connsiteY3" fmla="*/ 481078 h 529480"/>
                    <a:gd name="connsiteX4" fmla="*/ 22193 w 59267"/>
                    <a:gd name="connsiteY4" fmla="*/ 1156 h 529480"/>
                    <a:gd name="connsiteX5" fmla="*/ 9131 w 59267"/>
                    <a:gd name="connsiteY5" fmla="*/ 0 h 5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67" h="529480">
                      <a:moveTo>
                        <a:pt x="9131" y="0"/>
                      </a:moveTo>
                      <a:lnTo>
                        <a:pt x="0" y="480529"/>
                      </a:lnTo>
                      <a:lnTo>
                        <a:pt x="28550" y="529481"/>
                      </a:lnTo>
                      <a:lnTo>
                        <a:pt x="59268" y="481078"/>
                      </a:lnTo>
                      <a:lnTo>
                        <a:pt x="22193" y="1156"/>
                      </a:lnTo>
                      <a:lnTo>
                        <a:pt x="9131" y="0"/>
                      </a:ln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22" name="Freeform: Shape 4121">
                  <a:extLst>
                    <a:ext uri="{FF2B5EF4-FFF2-40B4-BE49-F238E27FC236}">
                      <a16:creationId xmlns:a16="http://schemas.microsoft.com/office/drawing/2014/main" id="{6E4AFFC5-34C0-AC3B-0511-046DED771741}"/>
                    </a:ext>
                  </a:extLst>
                </p:cNvPr>
                <p:cNvSpPr/>
                <p:nvPr/>
              </p:nvSpPr>
              <p:spPr>
                <a:xfrm>
                  <a:off x="3333578" y="3961794"/>
                  <a:ext cx="507703" cy="313963"/>
                </a:xfrm>
                <a:custGeom>
                  <a:avLst/>
                  <a:gdLst>
                    <a:gd name="connsiteX0" fmla="*/ 415938 w 507703"/>
                    <a:gd name="connsiteY0" fmla="*/ 148184 h 313963"/>
                    <a:gd name="connsiteX1" fmla="*/ 120553 w 507703"/>
                    <a:gd name="connsiteY1" fmla="*/ 207828 h 313963"/>
                    <a:gd name="connsiteX2" fmla="*/ 213139 w 507703"/>
                    <a:gd name="connsiteY2" fmla="*/ 0 h 313963"/>
                    <a:gd name="connsiteX3" fmla="*/ 132805 w 507703"/>
                    <a:gd name="connsiteY3" fmla="*/ 0 h 313963"/>
                    <a:gd name="connsiteX4" fmla="*/ 10050 w 507703"/>
                    <a:gd name="connsiteY4" fmla="*/ 200517 h 313963"/>
                    <a:gd name="connsiteX5" fmla="*/ 38283 w 507703"/>
                    <a:gd name="connsiteY5" fmla="*/ 297264 h 313963"/>
                    <a:gd name="connsiteX6" fmla="*/ 39641 w 507703"/>
                    <a:gd name="connsiteY6" fmla="*/ 297900 h 313963"/>
                    <a:gd name="connsiteX7" fmla="*/ 101480 w 507703"/>
                    <a:gd name="connsiteY7" fmla="*/ 311424 h 313963"/>
                    <a:gd name="connsiteX8" fmla="*/ 410910 w 507703"/>
                    <a:gd name="connsiteY8" fmla="*/ 313360 h 313963"/>
                    <a:gd name="connsiteX9" fmla="*/ 503525 w 507703"/>
                    <a:gd name="connsiteY9" fmla="*/ 256490 h 313963"/>
                    <a:gd name="connsiteX10" fmla="*/ 497804 w 507703"/>
                    <a:gd name="connsiteY10" fmla="*/ 195489 h 313963"/>
                    <a:gd name="connsiteX11" fmla="*/ 415967 w 507703"/>
                    <a:gd name="connsiteY11" fmla="*/ 148184 h 31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703" h="313963">
                      <a:moveTo>
                        <a:pt x="415938" y="148184"/>
                      </a:moveTo>
                      <a:lnTo>
                        <a:pt x="120553" y="207828"/>
                      </a:lnTo>
                      <a:lnTo>
                        <a:pt x="213139" y="0"/>
                      </a:lnTo>
                      <a:lnTo>
                        <a:pt x="132805" y="0"/>
                      </a:lnTo>
                      <a:lnTo>
                        <a:pt x="10050" y="200517"/>
                      </a:lnTo>
                      <a:cubicBezTo>
                        <a:pt x="-10929" y="234760"/>
                        <a:pt x="2104" y="279810"/>
                        <a:pt x="38283" y="297264"/>
                      </a:cubicBezTo>
                      <a:cubicBezTo>
                        <a:pt x="38745" y="297495"/>
                        <a:pt x="39178" y="297698"/>
                        <a:pt x="39641" y="297900"/>
                      </a:cubicBezTo>
                      <a:cubicBezTo>
                        <a:pt x="58944" y="306945"/>
                        <a:pt x="80126" y="311279"/>
                        <a:pt x="101480" y="311424"/>
                      </a:cubicBezTo>
                      <a:lnTo>
                        <a:pt x="410910" y="313360"/>
                      </a:lnTo>
                      <a:cubicBezTo>
                        <a:pt x="451222" y="318070"/>
                        <a:pt x="490348" y="294866"/>
                        <a:pt x="503525" y="256490"/>
                      </a:cubicBezTo>
                      <a:cubicBezTo>
                        <a:pt x="509652" y="238632"/>
                        <a:pt x="510056" y="217855"/>
                        <a:pt x="497804" y="195489"/>
                      </a:cubicBezTo>
                      <a:cubicBezTo>
                        <a:pt x="481564" y="165869"/>
                        <a:pt x="449748" y="148184"/>
                        <a:pt x="415967" y="148184"/>
                      </a:cubicBezTo>
                      <a:close/>
                    </a:path>
                  </a:pathLst>
                </a:custGeom>
                <a:solidFill>
                  <a:srgbClr val="FF7B8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23" name="Freeform: Shape 4122">
                  <a:extLst>
                    <a:ext uri="{FF2B5EF4-FFF2-40B4-BE49-F238E27FC236}">
                      <a16:creationId xmlns:a16="http://schemas.microsoft.com/office/drawing/2014/main" id="{AD07F8E2-BDB4-027D-3DE1-22F668F1025B}"/>
                    </a:ext>
                  </a:extLst>
                </p:cNvPr>
                <p:cNvSpPr/>
                <p:nvPr/>
              </p:nvSpPr>
              <p:spPr>
                <a:xfrm>
                  <a:off x="3475832" y="3842696"/>
                  <a:ext cx="116657" cy="119098"/>
                </a:xfrm>
                <a:custGeom>
                  <a:avLst/>
                  <a:gdLst>
                    <a:gd name="connsiteX0" fmla="*/ 70884 w 116657"/>
                    <a:gd name="connsiteY0" fmla="*/ 119099 h 119098"/>
                    <a:gd name="connsiteX1" fmla="*/ 89783 w 116657"/>
                    <a:gd name="connsiteY1" fmla="*/ 102945 h 119098"/>
                    <a:gd name="connsiteX2" fmla="*/ 116657 w 116657"/>
                    <a:gd name="connsiteY2" fmla="*/ 60264 h 119098"/>
                    <a:gd name="connsiteX3" fmla="*/ 111600 w 116657"/>
                    <a:gd name="connsiteY3" fmla="*/ 15416 h 119098"/>
                    <a:gd name="connsiteX4" fmla="*/ 106601 w 116657"/>
                    <a:gd name="connsiteY4" fmla="*/ 17497 h 119098"/>
                    <a:gd name="connsiteX5" fmla="*/ 100735 w 116657"/>
                    <a:gd name="connsiteY5" fmla="*/ 25559 h 119098"/>
                    <a:gd name="connsiteX6" fmla="*/ 98394 w 116657"/>
                    <a:gd name="connsiteY6" fmla="*/ 54600 h 119098"/>
                    <a:gd name="connsiteX7" fmla="*/ 92384 w 116657"/>
                    <a:gd name="connsiteY7" fmla="*/ 13451 h 119098"/>
                    <a:gd name="connsiteX8" fmla="*/ 83541 w 116657"/>
                    <a:gd name="connsiteY8" fmla="*/ 4204 h 119098"/>
                    <a:gd name="connsiteX9" fmla="*/ 72820 w 116657"/>
                    <a:gd name="connsiteY9" fmla="*/ 1256 h 119098"/>
                    <a:gd name="connsiteX10" fmla="*/ 58777 w 116657"/>
                    <a:gd name="connsiteY10" fmla="*/ 332 h 119098"/>
                    <a:gd name="connsiteX11" fmla="*/ 49183 w 116657"/>
                    <a:gd name="connsiteY11" fmla="*/ 1632 h 119098"/>
                    <a:gd name="connsiteX12" fmla="*/ 27857 w 116657"/>
                    <a:gd name="connsiteY12" fmla="*/ 12440 h 119098"/>
                    <a:gd name="connsiteX13" fmla="*/ 26296 w 116657"/>
                    <a:gd name="connsiteY13" fmla="*/ 14058 h 119098"/>
                    <a:gd name="connsiteX14" fmla="*/ 21124 w 116657"/>
                    <a:gd name="connsiteY14" fmla="*/ 27871 h 119098"/>
                    <a:gd name="connsiteX15" fmla="*/ 22973 w 116657"/>
                    <a:gd name="connsiteY15" fmla="*/ 63183 h 119098"/>
                    <a:gd name="connsiteX16" fmla="*/ 14449 w 116657"/>
                    <a:gd name="connsiteY16" fmla="*/ 90404 h 119098"/>
                    <a:gd name="connsiteX17" fmla="*/ 0 w 116657"/>
                    <a:gd name="connsiteY17" fmla="*/ 119070 h 119098"/>
                    <a:gd name="connsiteX18" fmla="*/ 70855 w 116657"/>
                    <a:gd name="connsiteY18" fmla="*/ 119070 h 11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657" h="119098">
                      <a:moveTo>
                        <a:pt x="70884" y="119099"/>
                      </a:moveTo>
                      <a:lnTo>
                        <a:pt x="89783" y="102945"/>
                      </a:lnTo>
                      <a:lnTo>
                        <a:pt x="116657" y="60264"/>
                      </a:lnTo>
                      <a:lnTo>
                        <a:pt x="111600" y="15416"/>
                      </a:lnTo>
                      <a:lnTo>
                        <a:pt x="106601" y="17497"/>
                      </a:lnTo>
                      <a:cubicBezTo>
                        <a:pt x="103278" y="18884"/>
                        <a:pt x="101024" y="22005"/>
                        <a:pt x="100735" y="25559"/>
                      </a:cubicBezTo>
                      <a:lnTo>
                        <a:pt x="98394" y="54600"/>
                      </a:lnTo>
                      <a:lnTo>
                        <a:pt x="92384" y="13451"/>
                      </a:lnTo>
                      <a:cubicBezTo>
                        <a:pt x="91373" y="8972"/>
                        <a:pt x="87963" y="5418"/>
                        <a:pt x="83541" y="4204"/>
                      </a:cubicBezTo>
                      <a:lnTo>
                        <a:pt x="72820" y="1256"/>
                      </a:lnTo>
                      <a:cubicBezTo>
                        <a:pt x="68255" y="14"/>
                        <a:pt x="63458" y="-333"/>
                        <a:pt x="58777" y="332"/>
                      </a:cubicBezTo>
                      <a:lnTo>
                        <a:pt x="49183" y="1632"/>
                      </a:lnTo>
                      <a:cubicBezTo>
                        <a:pt x="41063" y="2730"/>
                        <a:pt x="33549" y="6545"/>
                        <a:pt x="27857" y="12440"/>
                      </a:cubicBezTo>
                      <a:lnTo>
                        <a:pt x="26296" y="14058"/>
                      </a:lnTo>
                      <a:cubicBezTo>
                        <a:pt x="22742" y="17757"/>
                        <a:pt x="20864" y="22756"/>
                        <a:pt x="21124" y="27871"/>
                      </a:cubicBezTo>
                      <a:lnTo>
                        <a:pt x="22973" y="63183"/>
                      </a:lnTo>
                      <a:lnTo>
                        <a:pt x="14449" y="90404"/>
                      </a:lnTo>
                      <a:lnTo>
                        <a:pt x="0" y="119070"/>
                      </a:lnTo>
                      <a:lnTo>
                        <a:pt x="70855" y="119070"/>
                      </a:lnTo>
                      <a:close/>
                    </a:path>
                  </a:pathLst>
                </a:custGeom>
                <a:solidFill>
                  <a:srgbClr val="F7B9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4126" name="Freeform: Shape 4125">
              <a:extLst>
                <a:ext uri="{FF2B5EF4-FFF2-40B4-BE49-F238E27FC236}">
                  <a16:creationId xmlns:a16="http://schemas.microsoft.com/office/drawing/2014/main" id="{DEB09558-B9C6-46FC-EFB8-260824CB420B}"/>
                </a:ext>
              </a:extLst>
            </p:cNvPr>
            <p:cNvSpPr/>
            <p:nvPr/>
          </p:nvSpPr>
          <p:spPr>
            <a:xfrm>
              <a:off x="3946684" y="2853478"/>
              <a:ext cx="3032220" cy="2494069"/>
            </a:xfrm>
            <a:custGeom>
              <a:avLst/>
              <a:gdLst>
                <a:gd name="connsiteX0" fmla="*/ 2694363 w 2694362"/>
                <a:gd name="connsiteY0" fmla="*/ 0 h 2216173"/>
                <a:gd name="connsiteX1" fmla="*/ 2694363 w 2694362"/>
                <a:gd name="connsiteY1" fmla="*/ 1961388 h 2216173"/>
                <a:gd name="connsiteX2" fmla="*/ 2439549 w 2694362"/>
                <a:gd name="connsiteY2" fmla="*/ 2216174 h 2216173"/>
                <a:gd name="connsiteX3" fmla="*/ 254785 w 2694362"/>
                <a:gd name="connsiteY3" fmla="*/ 2216174 h 2216173"/>
                <a:gd name="connsiteX4" fmla="*/ 0 w 2694362"/>
                <a:gd name="connsiteY4" fmla="*/ 1961388 h 2216173"/>
                <a:gd name="connsiteX5" fmla="*/ 0 w 2694362"/>
                <a:gd name="connsiteY5" fmla="*/ 0 h 2216173"/>
                <a:gd name="connsiteX6" fmla="*/ 2694363 w 2694362"/>
                <a:gd name="connsiteY6" fmla="*/ 0 h 221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4362" h="2216173">
                  <a:moveTo>
                    <a:pt x="2694363" y="0"/>
                  </a:moveTo>
                  <a:lnTo>
                    <a:pt x="2694363" y="1961388"/>
                  </a:lnTo>
                  <a:cubicBezTo>
                    <a:pt x="2694363" y="2102059"/>
                    <a:pt x="2580277" y="2216174"/>
                    <a:pt x="2439549" y="2216174"/>
                  </a:cubicBezTo>
                  <a:lnTo>
                    <a:pt x="254785" y="2216174"/>
                  </a:lnTo>
                  <a:cubicBezTo>
                    <a:pt x="114086" y="2216174"/>
                    <a:pt x="0" y="2102088"/>
                    <a:pt x="0" y="1961388"/>
                  </a:cubicBezTo>
                  <a:lnTo>
                    <a:pt x="0" y="0"/>
                  </a:lnTo>
                  <a:lnTo>
                    <a:pt x="2694363"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27" name="Freeform: Shape 4126">
              <a:extLst>
                <a:ext uri="{FF2B5EF4-FFF2-40B4-BE49-F238E27FC236}">
                  <a16:creationId xmlns:a16="http://schemas.microsoft.com/office/drawing/2014/main" id="{6D36D899-D309-6AA9-9BB1-852B2ECCD5F8}"/>
                </a:ext>
              </a:extLst>
            </p:cNvPr>
            <p:cNvSpPr/>
            <p:nvPr/>
          </p:nvSpPr>
          <p:spPr>
            <a:xfrm>
              <a:off x="3946684" y="2497800"/>
              <a:ext cx="3032187" cy="355678"/>
            </a:xfrm>
            <a:custGeom>
              <a:avLst/>
              <a:gdLst>
                <a:gd name="connsiteX0" fmla="*/ 2694334 w 2694333"/>
                <a:gd name="connsiteY0" fmla="*/ 216208 h 316047"/>
                <a:gd name="connsiteX1" fmla="*/ 2694334 w 2694333"/>
                <a:gd name="connsiteY1" fmla="*/ 316047 h 316047"/>
                <a:gd name="connsiteX2" fmla="*/ 0 w 2694333"/>
                <a:gd name="connsiteY2" fmla="*/ 316047 h 316047"/>
                <a:gd name="connsiteX3" fmla="*/ 0 w 2694333"/>
                <a:gd name="connsiteY3" fmla="*/ 216208 h 316047"/>
                <a:gd name="connsiteX4" fmla="*/ 216208 w 2694333"/>
                <a:gd name="connsiteY4" fmla="*/ 0 h 316047"/>
                <a:gd name="connsiteX5" fmla="*/ 2478126 w 2694333"/>
                <a:gd name="connsiteY5" fmla="*/ 0 h 316047"/>
                <a:gd name="connsiteX6" fmla="*/ 2694334 w 2694333"/>
                <a:gd name="connsiteY6" fmla="*/ 216208 h 31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4333" h="316047">
                  <a:moveTo>
                    <a:pt x="2694334" y="216208"/>
                  </a:moveTo>
                  <a:lnTo>
                    <a:pt x="2694334" y="316047"/>
                  </a:lnTo>
                  <a:lnTo>
                    <a:pt x="0" y="316047"/>
                  </a:lnTo>
                  <a:lnTo>
                    <a:pt x="0" y="216208"/>
                  </a:lnTo>
                  <a:cubicBezTo>
                    <a:pt x="0" y="96863"/>
                    <a:pt x="96834" y="0"/>
                    <a:pt x="216208" y="0"/>
                  </a:cubicBezTo>
                  <a:lnTo>
                    <a:pt x="2478126" y="0"/>
                  </a:lnTo>
                  <a:cubicBezTo>
                    <a:pt x="2597586" y="0"/>
                    <a:pt x="2694334" y="96834"/>
                    <a:pt x="2694334" y="216208"/>
                  </a:cubicBezTo>
                  <a:close/>
                </a:path>
              </a:pathLst>
            </a:custGeom>
            <a:solidFill>
              <a:schemeClr val="accent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128" name="Graphic 4043">
              <a:extLst>
                <a:ext uri="{FF2B5EF4-FFF2-40B4-BE49-F238E27FC236}">
                  <a16:creationId xmlns:a16="http://schemas.microsoft.com/office/drawing/2014/main" id="{84FB4095-4C56-57DD-1CB8-9BD1154EA14A}"/>
                </a:ext>
              </a:extLst>
            </p:cNvPr>
            <p:cNvGrpSpPr/>
            <p:nvPr/>
          </p:nvGrpSpPr>
          <p:grpSpPr>
            <a:xfrm>
              <a:off x="6332688" y="2622744"/>
              <a:ext cx="402929" cy="105757"/>
              <a:chOff x="6235762" y="2747915"/>
              <a:chExt cx="358034" cy="93973"/>
            </a:xfrm>
            <a:solidFill>
              <a:srgbClr val="FFFFFF"/>
            </a:solidFill>
          </p:grpSpPr>
          <p:sp>
            <p:nvSpPr>
              <p:cNvPr id="4129" name="Freeform: Shape 4128">
                <a:extLst>
                  <a:ext uri="{FF2B5EF4-FFF2-40B4-BE49-F238E27FC236}">
                    <a16:creationId xmlns:a16="http://schemas.microsoft.com/office/drawing/2014/main" id="{1CA08481-D34C-DC87-940F-E0B902A4AF84}"/>
                  </a:ext>
                </a:extLst>
              </p:cNvPr>
              <p:cNvSpPr/>
              <p:nvPr/>
            </p:nvSpPr>
            <p:spPr>
              <a:xfrm>
                <a:off x="6235762" y="2747915"/>
                <a:ext cx="93973" cy="93973"/>
              </a:xfrm>
              <a:custGeom>
                <a:avLst/>
                <a:gdLst>
                  <a:gd name="connsiteX0" fmla="*/ 46987 w 93973"/>
                  <a:gd name="connsiteY0" fmla="*/ 93973 h 93973"/>
                  <a:gd name="connsiteX1" fmla="*/ 0 w 93973"/>
                  <a:gd name="connsiteY1" fmla="*/ 46987 h 93973"/>
                  <a:gd name="connsiteX2" fmla="*/ 46987 w 93973"/>
                  <a:gd name="connsiteY2" fmla="*/ 0 h 93973"/>
                  <a:gd name="connsiteX3" fmla="*/ 93973 w 93973"/>
                  <a:gd name="connsiteY3" fmla="*/ 46987 h 93973"/>
                  <a:gd name="connsiteX4" fmla="*/ 46987 w 93973"/>
                  <a:gd name="connsiteY4" fmla="*/ 93973 h 93973"/>
                  <a:gd name="connsiteX5" fmla="*/ 46987 w 93973"/>
                  <a:gd name="connsiteY5" fmla="*/ 10721 h 93973"/>
                  <a:gd name="connsiteX6" fmla="*/ 10692 w 93973"/>
                  <a:gd name="connsiteY6" fmla="*/ 47015 h 93973"/>
                  <a:gd name="connsiteX7" fmla="*/ 46987 w 93973"/>
                  <a:gd name="connsiteY7" fmla="*/ 83310 h 93973"/>
                  <a:gd name="connsiteX8" fmla="*/ 83282 w 93973"/>
                  <a:gd name="connsiteY8" fmla="*/ 47015 h 93973"/>
                  <a:gd name="connsiteX9" fmla="*/ 46987 w 93973"/>
                  <a:gd name="connsiteY9" fmla="*/ 10721 h 93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73" h="93973">
                    <a:moveTo>
                      <a:pt x="46987" y="93973"/>
                    </a:moveTo>
                    <a:cubicBezTo>
                      <a:pt x="21095" y="93973"/>
                      <a:pt x="0" y="72907"/>
                      <a:pt x="0" y="46987"/>
                    </a:cubicBezTo>
                    <a:cubicBezTo>
                      <a:pt x="0" y="21066"/>
                      <a:pt x="21066" y="0"/>
                      <a:pt x="46987" y="0"/>
                    </a:cubicBezTo>
                    <a:cubicBezTo>
                      <a:pt x="72907" y="0"/>
                      <a:pt x="93973" y="21066"/>
                      <a:pt x="93973" y="46987"/>
                    </a:cubicBezTo>
                    <a:cubicBezTo>
                      <a:pt x="93973" y="72907"/>
                      <a:pt x="72907" y="93973"/>
                      <a:pt x="46987" y="93973"/>
                    </a:cubicBezTo>
                    <a:close/>
                    <a:moveTo>
                      <a:pt x="46987" y="10721"/>
                    </a:moveTo>
                    <a:cubicBezTo>
                      <a:pt x="26990" y="10721"/>
                      <a:pt x="10692" y="26990"/>
                      <a:pt x="10692" y="47015"/>
                    </a:cubicBezTo>
                    <a:cubicBezTo>
                      <a:pt x="10692" y="67041"/>
                      <a:pt x="26961" y="83310"/>
                      <a:pt x="46987" y="83310"/>
                    </a:cubicBezTo>
                    <a:cubicBezTo>
                      <a:pt x="67012" y="83310"/>
                      <a:pt x="83282" y="67041"/>
                      <a:pt x="83282" y="47015"/>
                    </a:cubicBezTo>
                    <a:cubicBezTo>
                      <a:pt x="83282" y="26990"/>
                      <a:pt x="67012" y="10721"/>
                      <a:pt x="46987" y="1072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30" name="Freeform: Shape 4129">
                <a:extLst>
                  <a:ext uri="{FF2B5EF4-FFF2-40B4-BE49-F238E27FC236}">
                    <a16:creationId xmlns:a16="http://schemas.microsoft.com/office/drawing/2014/main" id="{A4A7A87E-1491-65D3-341C-CCC227E616E8}"/>
                  </a:ext>
                </a:extLst>
              </p:cNvPr>
              <p:cNvSpPr/>
              <p:nvPr/>
            </p:nvSpPr>
            <p:spPr>
              <a:xfrm>
                <a:off x="6367793" y="2747915"/>
                <a:ext cx="93972" cy="93973"/>
              </a:xfrm>
              <a:custGeom>
                <a:avLst/>
                <a:gdLst>
                  <a:gd name="connsiteX0" fmla="*/ 46986 w 93972"/>
                  <a:gd name="connsiteY0" fmla="*/ 93973 h 93973"/>
                  <a:gd name="connsiteX1" fmla="*/ 0 w 93972"/>
                  <a:gd name="connsiteY1" fmla="*/ 46987 h 93973"/>
                  <a:gd name="connsiteX2" fmla="*/ 46986 w 93972"/>
                  <a:gd name="connsiteY2" fmla="*/ 0 h 93973"/>
                  <a:gd name="connsiteX3" fmla="*/ 93973 w 93972"/>
                  <a:gd name="connsiteY3" fmla="*/ 46987 h 93973"/>
                  <a:gd name="connsiteX4" fmla="*/ 46986 w 93972"/>
                  <a:gd name="connsiteY4" fmla="*/ 93973 h 93973"/>
                  <a:gd name="connsiteX5" fmla="*/ 46986 w 93972"/>
                  <a:gd name="connsiteY5" fmla="*/ 10721 h 93973"/>
                  <a:gd name="connsiteX6" fmla="*/ 10692 w 93972"/>
                  <a:gd name="connsiteY6" fmla="*/ 47015 h 93973"/>
                  <a:gd name="connsiteX7" fmla="*/ 46986 w 93972"/>
                  <a:gd name="connsiteY7" fmla="*/ 83310 h 93973"/>
                  <a:gd name="connsiteX8" fmla="*/ 83281 w 93972"/>
                  <a:gd name="connsiteY8" fmla="*/ 47015 h 93973"/>
                  <a:gd name="connsiteX9" fmla="*/ 46986 w 93972"/>
                  <a:gd name="connsiteY9" fmla="*/ 10721 h 93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72" h="93973">
                    <a:moveTo>
                      <a:pt x="46986" y="93973"/>
                    </a:moveTo>
                    <a:cubicBezTo>
                      <a:pt x="21095" y="93973"/>
                      <a:pt x="0" y="72907"/>
                      <a:pt x="0" y="46987"/>
                    </a:cubicBezTo>
                    <a:cubicBezTo>
                      <a:pt x="0" y="21066"/>
                      <a:pt x="21066" y="0"/>
                      <a:pt x="46986" y="0"/>
                    </a:cubicBezTo>
                    <a:cubicBezTo>
                      <a:pt x="72907" y="0"/>
                      <a:pt x="93973" y="21066"/>
                      <a:pt x="93973" y="46987"/>
                    </a:cubicBezTo>
                    <a:cubicBezTo>
                      <a:pt x="93973" y="72907"/>
                      <a:pt x="72907" y="93973"/>
                      <a:pt x="46986" y="93973"/>
                    </a:cubicBezTo>
                    <a:close/>
                    <a:moveTo>
                      <a:pt x="46986" y="10721"/>
                    </a:moveTo>
                    <a:cubicBezTo>
                      <a:pt x="26990" y="10721"/>
                      <a:pt x="10692" y="26990"/>
                      <a:pt x="10692" y="47015"/>
                    </a:cubicBezTo>
                    <a:cubicBezTo>
                      <a:pt x="10692" y="67041"/>
                      <a:pt x="26961" y="83310"/>
                      <a:pt x="46986" y="83310"/>
                    </a:cubicBezTo>
                    <a:cubicBezTo>
                      <a:pt x="67012" y="83310"/>
                      <a:pt x="83281" y="67041"/>
                      <a:pt x="83281" y="47015"/>
                    </a:cubicBezTo>
                    <a:cubicBezTo>
                      <a:pt x="83281" y="26990"/>
                      <a:pt x="67012" y="10721"/>
                      <a:pt x="46986" y="1072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31" name="Freeform: Shape 4130">
                <a:extLst>
                  <a:ext uri="{FF2B5EF4-FFF2-40B4-BE49-F238E27FC236}">
                    <a16:creationId xmlns:a16="http://schemas.microsoft.com/office/drawing/2014/main" id="{987C8474-3EBC-34C4-9C78-BD22E731685B}"/>
                  </a:ext>
                </a:extLst>
              </p:cNvPr>
              <p:cNvSpPr/>
              <p:nvPr/>
            </p:nvSpPr>
            <p:spPr>
              <a:xfrm>
                <a:off x="6499824" y="2747915"/>
                <a:ext cx="93973" cy="93973"/>
              </a:xfrm>
              <a:custGeom>
                <a:avLst/>
                <a:gdLst>
                  <a:gd name="connsiteX0" fmla="*/ 46987 w 93973"/>
                  <a:gd name="connsiteY0" fmla="*/ 93973 h 93973"/>
                  <a:gd name="connsiteX1" fmla="*/ 0 w 93973"/>
                  <a:gd name="connsiteY1" fmla="*/ 46987 h 93973"/>
                  <a:gd name="connsiteX2" fmla="*/ 46987 w 93973"/>
                  <a:gd name="connsiteY2" fmla="*/ 0 h 93973"/>
                  <a:gd name="connsiteX3" fmla="*/ 93973 w 93973"/>
                  <a:gd name="connsiteY3" fmla="*/ 46987 h 93973"/>
                  <a:gd name="connsiteX4" fmla="*/ 46987 w 93973"/>
                  <a:gd name="connsiteY4" fmla="*/ 93973 h 93973"/>
                  <a:gd name="connsiteX5" fmla="*/ 46987 w 93973"/>
                  <a:gd name="connsiteY5" fmla="*/ 10721 h 93973"/>
                  <a:gd name="connsiteX6" fmla="*/ 10692 w 93973"/>
                  <a:gd name="connsiteY6" fmla="*/ 47015 h 93973"/>
                  <a:gd name="connsiteX7" fmla="*/ 46987 w 93973"/>
                  <a:gd name="connsiteY7" fmla="*/ 83310 h 93973"/>
                  <a:gd name="connsiteX8" fmla="*/ 83281 w 93973"/>
                  <a:gd name="connsiteY8" fmla="*/ 47015 h 93973"/>
                  <a:gd name="connsiteX9" fmla="*/ 46987 w 93973"/>
                  <a:gd name="connsiteY9" fmla="*/ 10721 h 93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73" h="93973">
                    <a:moveTo>
                      <a:pt x="46987" y="93973"/>
                    </a:moveTo>
                    <a:cubicBezTo>
                      <a:pt x="21095" y="93973"/>
                      <a:pt x="0" y="72907"/>
                      <a:pt x="0" y="46987"/>
                    </a:cubicBezTo>
                    <a:cubicBezTo>
                      <a:pt x="0" y="21066"/>
                      <a:pt x="21066" y="0"/>
                      <a:pt x="46987" y="0"/>
                    </a:cubicBezTo>
                    <a:cubicBezTo>
                      <a:pt x="72907" y="0"/>
                      <a:pt x="93973" y="21066"/>
                      <a:pt x="93973" y="46987"/>
                    </a:cubicBezTo>
                    <a:cubicBezTo>
                      <a:pt x="93973" y="72907"/>
                      <a:pt x="72907" y="93973"/>
                      <a:pt x="46987" y="93973"/>
                    </a:cubicBezTo>
                    <a:close/>
                    <a:moveTo>
                      <a:pt x="46987" y="10721"/>
                    </a:moveTo>
                    <a:cubicBezTo>
                      <a:pt x="26990" y="10721"/>
                      <a:pt x="10692" y="26990"/>
                      <a:pt x="10692" y="47015"/>
                    </a:cubicBezTo>
                    <a:cubicBezTo>
                      <a:pt x="10692" y="67041"/>
                      <a:pt x="26961" y="83310"/>
                      <a:pt x="46987" y="83310"/>
                    </a:cubicBezTo>
                    <a:cubicBezTo>
                      <a:pt x="67012" y="83310"/>
                      <a:pt x="83281" y="67041"/>
                      <a:pt x="83281" y="47015"/>
                    </a:cubicBezTo>
                    <a:cubicBezTo>
                      <a:pt x="83281" y="26990"/>
                      <a:pt x="67012" y="10721"/>
                      <a:pt x="46987" y="1072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33" name="Freeform: Shape 4132">
              <a:extLst>
                <a:ext uri="{FF2B5EF4-FFF2-40B4-BE49-F238E27FC236}">
                  <a16:creationId xmlns:a16="http://schemas.microsoft.com/office/drawing/2014/main" id="{432C58A2-EC54-9B26-8159-73411196DFD7}"/>
                </a:ext>
              </a:extLst>
            </p:cNvPr>
            <p:cNvSpPr/>
            <p:nvPr/>
          </p:nvSpPr>
          <p:spPr>
            <a:xfrm>
              <a:off x="4767179" y="3017577"/>
              <a:ext cx="1884601" cy="385401"/>
            </a:xfrm>
            <a:custGeom>
              <a:avLst/>
              <a:gdLst>
                <a:gd name="connsiteX0" fmla="*/ 1674614 w 1674614"/>
                <a:gd name="connsiteY0" fmla="*/ 171215 h 342459"/>
                <a:gd name="connsiteX1" fmla="*/ 1624478 w 1674614"/>
                <a:gd name="connsiteY1" fmla="*/ 292294 h 342459"/>
                <a:gd name="connsiteX2" fmla="*/ 1503399 w 1674614"/>
                <a:gd name="connsiteY2" fmla="*/ 342459 h 342459"/>
                <a:gd name="connsiteX3" fmla="*/ 0 w 1674614"/>
                <a:gd name="connsiteY3" fmla="*/ 342459 h 342459"/>
                <a:gd name="connsiteX4" fmla="*/ 0 w 1674614"/>
                <a:gd name="connsiteY4" fmla="*/ 0 h 342459"/>
                <a:gd name="connsiteX5" fmla="*/ 1503399 w 1674614"/>
                <a:gd name="connsiteY5" fmla="*/ 0 h 342459"/>
                <a:gd name="connsiteX6" fmla="*/ 1674614 w 1674614"/>
                <a:gd name="connsiteY6" fmla="*/ 171215 h 34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4614" h="342459">
                  <a:moveTo>
                    <a:pt x="1674614" y="171215"/>
                  </a:moveTo>
                  <a:cubicBezTo>
                    <a:pt x="1674614" y="216930"/>
                    <a:pt x="1656813" y="259958"/>
                    <a:pt x="1624478" y="292294"/>
                  </a:cubicBezTo>
                  <a:cubicBezTo>
                    <a:pt x="1592113" y="324630"/>
                    <a:pt x="1549114" y="342459"/>
                    <a:pt x="1503399" y="342459"/>
                  </a:cubicBezTo>
                  <a:lnTo>
                    <a:pt x="0" y="342459"/>
                  </a:lnTo>
                  <a:lnTo>
                    <a:pt x="0" y="0"/>
                  </a:lnTo>
                  <a:lnTo>
                    <a:pt x="1503399" y="0"/>
                  </a:lnTo>
                  <a:cubicBezTo>
                    <a:pt x="1597777" y="0"/>
                    <a:pt x="1674614" y="76808"/>
                    <a:pt x="1674614" y="171215"/>
                  </a:cubicBezTo>
                  <a:close/>
                </a:path>
              </a:pathLst>
            </a:custGeom>
            <a:solidFill>
              <a:srgbClr val="FC80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34" name="Freeform: Shape 4133">
              <a:extLst>
                <a:ext uri="{FF2B5EF4-FFF2-40B4-BE49-F238E27FC236}">
                  <a16:creationId xmlns:a16="http://schemas.microsoft.com/office/drawing/2014/main" id="{DB3477C7-638C-B3AC-8229-A36CCC2CFD9E}"/>
                </a:ext>
              </a:extLst>
            </p:cNvPr>
            <p:cNvSpPr/>
            <p:nvPr/>
          </p:nvSpPr>
          <p:spPr>
            <a:xfrm>
              <a:off x="4789845" y="3040211"/>
              <a:ext cx="1839300" cy="340100"/>
            </a:xfrm>
            <a:custGeom>
              <a:avLst/>
              <a:gdLst>
                <a:gd name="connsiteX0" fmla="*/ 0 w 1634360"/>
                <a:gd name="connsiteY0" fmla="*/ 302206 h 302205"/>
                <a:gd name="connsiteX1" fmla="*/ 0 w 1634360"/>
                <a:gd name="connsiteY1" fmla="*/ 0 h 302205"/>
                <a:gd name="connsiteX2" fmla="*/ 1483287 w 1634360"/>
                <a:gd name="connsiteY2" fmla="*/ 0 h 302205"/>
                <a:gd name="connsiteX3" fmla="*/ 1634361 w 1634360"/>
                <a:gd name="connsiteY3" fmla="*/ 151103 h 302205"/>
                <a:gd name="connsiteX4" fmla="*/ 1590119 w 1634360"/>
                <a:gd name="connsiteY4" fmla="*/ 257964 h 302205"/>
                <a:gd name="connsiteX5" fmla="*/ 1483287 w 1634360"/>
                <a:gd name="connsiteY5" fmla="*/ 302206 h 302205"/>
                <a:gd name="connsiteX6" fmla="*/ 0 w 1634360"/>
                <a:gd name="connsiteY6" fmla="*/ 302206 h 302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4360" h="302205">
                  <a:moveTo>
                    <a:pt x="0" y="302206"/>
                  </a:moveTo>
                  <a:lnTo>
                    <a:pt x="0" y="0"/>
                  </a:lnTo>
                  <a:lnTo>
                    <a:pt x="1483287" y="0"/>
                  </a:lnTo>
                  <a:cubicBezTo>
                    <a:pt x="1566597" y="0"/>
                    <a:pt x="1634361" y="67793"/>
                    <a:pt x="1634361" y="151103"/>
                  </a:cubicBezTo>
                  <a:cubicBezTo>
                    <a:pt x="1634361" y="191472"/>
                    <a:pt x="1618641" y="229414"/>
                    <a:pt x="1590119" y="257964"/>
                  </a:cubicBezTo>
                  <a:cubicBezTo>
                    <a:pt x="1561569" y="286486"/>
                    <a:pt x="1523627" y="302206"/>
                    <a:pt x="1483287" y="302206"/>
                  </a:cubicBezTo>
                  <a:lnTo>
                    <a:pt x="0" y="302206"/>
                  </a:lnTo>
                  <a:close/>
                </a:path>
              </a:pathLst>
            </a:custGeom>
            <a:solidFill>
              <a:srgbClr val="F3F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hlinkClick r:id="rId5"/>
                </a:rPr>
                <a:t>www.YouTube.com</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135" name="Graphic 4043">
              <a:extLst>
                <a:ext uri="{FF2B5EF4-FFF2-40B4-BE49-F238E27FC236}">
                  <a16:creationId xmlns:a16="http://schemas.microsoft.com/office/drawing/2014/main" id="{EECB6313-31DD-D5DF-7A8F-5885D499C222}"/>
                </a:ext>
              </a:extLst>
            </p:cNvPr>
            <p:cNvGrpSpPr/>
            <p:nvPr/>
          </p:nvGrpSpPr>
          <p:grpSpPr>
            <a:xfrm>
              <a:off x="4273777" y="3017544"/>
              <a:ext cx="493435" cy="385400"/>
              <a:chOff x="4406260" y="3098726"/>
              <a:chExt cx="438455" cy="342458"/>
            </a:xfrm>
          </p:grpSpPr>
          <p:sp>
            <p:nvSpPr>
              <p:cNvPr id="4136" name="Freeform: Shape 4135">
                <a:extLst>
                  <a:ext uri="{FF2B5EF4-FFF2-40B4-BE49-F238E27FC236}">
                    <a16:creationId xmlns:a16="http://schemas.microsoft.com/office/drawing/2014/main" id="{460D37D9-9C16-8CCC-5456-6D574096D233}"/>
                  </a:ext>
                </a:extLst>
              </p:cNvPr>
              <p:cNvSpPr/>
              <p:nvPr/>
            </p:nvSpPr>
            <p:spPr>
              <a:xfrm>
                <a:off x="4406260" y="3098726"/>
                <a:ext cx="438455" cy="342458"/>
              </a:xfrm>
              <a:custGeom>
                <a:avLst/>
                <a:gdLst>
                  <a:gd name="connsiteX0" fmla="*/ 438455 w 438455"/>
                  <a:gd name="connsiteY0" fmla="*/ 29 h 342458"/>
                  <a:gd name="connsiteX1" fmla="*/ 438455 w 438455"/>
                  <a:gd name="connsiteY1" fmla="*/ 342459 h 342458"/>
                  <a:gd name="connsiteX2" fmla="*/ 171215 w 438455"/>
                  <a:gd name="connsiteY2" fmla="*/ 342459 h 342458"/>
                  <a:gd name="connsiteX3" fmla="*/ 0 w 438455"/>
                  <a:gd name="connsiteY3" fmla="*/ 171215 h 342458"/>
                  <a:gd name="connsiteX4" fmla="*/ 50165 w 438455"/>
                  <a:gd name="connsiteY4" fmla="*/ 50165 h 342458"/>
                  <a:gd name="connsiteX5" fmla="*/ 171215 w 438455"/>
                  <a:gd name="connsiteY5" fmla="*/ 0 h 342458"/>
                  <a:gd name="connsiteX6" fmla="*/ 438455 w 438455"/>
                  <a:gd name="connsiteY6" fmla="*/ 0 h 34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55" h="342458">
                    <a:moveTo>
                      <a:pt x="438455" y="29"/>
                    </a:moveTo>
                    <a:lnTo>
                      <a:pt x="438455" y="342459"/>
                    </a:lnTo>
                    <a:lnTo>
                      <a:pt x="171215" y="342459"/>
                    </a:lnTo>
                    <a:cubicBezTo>
                      <a:pt x="76808" y="342459"/>
                      <a:pt x="0" y="265651"/>
                      <a:pt x="0" y="171215"/>
                    </a:cubicBezTo>
                    <a:cubicBezTo>
                      <a:pt x="0" y="125500"/>
                      <a:pt x="17801" y="82501"/>
                      <a:pt x="50165" y="50165"/>
                    </a:cubicBezTo>
                    <a:cubicBezTo>
                      <a:pt x="82501" y="17829"/>
                      <a:pt x="125500" y="0"/>
                      <a:pt x="171215" y="0"/>
                    </a:cubicBezTo>
                    <a:lnTo>
                      <a:pt x="438455" y="0"/>
                    </a:lnTo>
                    <a:close/>
                  </a:path>
                </a:pathLst>
              </a:custGeom>
              <a:solidFill>
                <a:srgbClr val="FC80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137" name="Graphic 4043">
                <a:extLst>
                  <a:ext uri="{FF2B5EF4-FFF2-40B4-BE49-F238E27FC236}">
                    <a16:creationId xmlns:a16="http://schemas.microsoft.com/office/drawing/2014/main" id="{9A01FA7E-F27C-A288-1FA7-001604CA8141}"/>
                  </a:ext>
                </a:extLst>
              </p:cNvPr>
              <p:cNvGrpSpPr/>
              <p:nvPr/>
            </p:nvGrpSpPr>
            <p:grpSpPr>
              <a:xfrm>
                <a:off x="4551496" y="3179002"/>
                <a:ext cx="192071" cy="192049"/>
                <a:chOff x="4551496" y="3179002"/>
                <a:chExt cx="192071" cy="192049"/>
              </a:xfrm>
              <a:solidFill>
                <a:srgbClr val="4D4D4D"/>
              </a:solidFill>
            </p:grpSpPr>
            <p:sp>
              <p:nvSpPr>
                <p:cNvPr id="4138" name="Freeform: Shape 4137">
                  <a:extLst>
                    <a:ext uri="{FF2B5EF4-FFF2-40B4-BE49-F238E27FC236}">
                      <a16:creationId xmlns:a16="http://schemas.microsoft.com/office/drawing/2014/main" id="{A1962A32-E222-E331-767F-38A9773E804A}"/>
                    </a:ext>
                  </a:extLst>
                </p:cNvPr>
                <p:cNvSpPr/>
                <p:nvPr/>
              </p:nvSpPr>
              <p:spPr>
                <a:xfrm>
                  <a:off x="4581702" y="3179002"/>
                  <a:ext cx="161866" cy="161856"/>
                </a:xfrm>
                <a:custGeom>
                  <a:avLst/>
                  <a:gdLst>
                    <a:gd name="connsiteX0" fmla="*/ 138149 w 161866"/>
                    <a:gd name="connsiteY0" fmla="*/ 23667 h 161856"/>
                    <a:gd name="connsiteX1" fmla="*/ 23659 w 161866"/>
                    <a:gd name="connsiteY1" fmla="*/ 23667 h 161856"/>
                    <a:gd name="connsiteX2" fmla="*/ 15712 w 161866"/>
                    <a:gd name="connsiteY2" fmla="*/ 128939 h 161856"/>
                    <a:gd name="connsiteX3" fmla="*/ 23659 w 161866"/>
                    <a:gd name="connsiteY3" fmla="*/ 138186 h 161856"/>
                    <a:gd name="connsiteX4" fmla="*/ 32906 w 161866"/>
                    <a:gd name="connsiteY4" fmla="*/ 146132 h 161856"/>
                    <a:gd name="connsiteX5" fmla="*/ 138178 w 161866"/>
                    <a:gd name="connsiteY5" fmla="*/ 138186 h 161856"/>
                    <a:gd name="connsiteX6" fmla="*/ 138178 w 161866"/>
                    <a:gd name="connsiteY6" fmla="*/ 23696 h 161856"/>
                    <a:gd name="connsiteX7" fmla="*/ 120955 w 161866"/>
                    <a:gd name="connsiteY7" fmla="*/ 120963 h 161856"/>
                    <a:gd name="connsiteX8" fmla="*/ 40853 w 161866"/>
                    <a:gd name="connsiteY8" fmla="*/ 120963 h 161856"/>
                    <a:gd name="connsiteX9" fmla="*/ 40853 w 161866"/>
                    <a:gd name="connsiteY9" fmla="*/ 40860 h 161856"/>
                    <a:gd name="connsiteX10" fmla="*/ 120955 w 161866"/>
                    <a:gd name="connsiteY10" fmla="*/ 40860 h 161856"/>
                    <a:gd name="connsiteX11" fmla="*/ 120955 w 161866"/>
                    <a:gd name="connsiteY11" fmla="*/ 120963 h 16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866" h="161856">
                      <a:moveTo>
                        <a:pt x="138149" y="23667"/>
                      </a:moveTo>
                      <a:cubicBezTo>
                        <a:pt x="106594" y="-7889"/>
                        <a:pt x="55244" y="-7889"/>
                        <a:pt x="23659" y="23667"/>
                      </a:cubicBezTo>
                      <a:cubicBezTo>
                        <a:pt x="-4978" y="52332"/>
                        <a:pt x="-7608" y="97268"/>
                        <a:pt x="15712" y="128939"/>
                      </a:cubicBezTo>
                      <a:cubicBezTo>
                        <a:pt x="18082" y="132175"/>
                        <a:pt x="20769" y="135267"/>
                        <a:pt x="23659" y="138186"/>
                      </a:cubicBezTo>
                      <a:cubicBezTo>
                        <a:pt x="26578" y="141104"/>
                        <a:pt x="29670" y="143763"/>
                        <a:pt x="32906" y="146132"/>
                      </a:cubicBezTo>
                      <a:cubicBezTo>
                        <a:pt x="64577" y="169481"/>
                        <a:pt x="109541" y="166823"/>
                        <a:pt x="138178" y="138186"/>
                      </a:cubicBezTo>
                      <a:cubicBezTo>
                        <a:pt x="169762" y="106630"/>
                        <a:pt x="169762" y="55280"/>
                        <a:pt x="138178" y="23696"/>
                      </a:cubicBezTo>
                      <a:close/>
                      <a:moveTo>
                        <a:pt x="120955" y="120963"/>
                      </a:moveTo>
                      <a:cubicBezTo>
                        <a:pt x="98878" y="143040"/>
                        <a:pt x="62930" y="143040"/>
                        <a:pt x="40853" y="120963"/>
                      </a:cubicBezTo>
                      <a:cubicBezTo>
                        <a:pt x="18775" y="98886"/>
                        <a:pt x="18775" y="62938"/>
                        <a:pt x="40853" y="40860"/>
                      </a:cubicBezTo>
                      <a:cubicBezTo>
                        <a:pt x="62930" y="18783"/>
                        <a:pt x="98849" y="18783"/>
                        <a:pt x="120955" y="40860"/>
                      </a:cubicBezTo>
                      <a:cubicBezTo>
                        <a:pt x="143033" y="62938"/>
                        <a:pt x="143033" y="98857"/>
                        <a:pt x="120955" y="120963"/>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39" name="Freeform: Shape 4138">
                  <a:extLst>
                    <a:ext uri="{FF2B5EF4-FFF2-40B4-BE49-F238E27FC236}">
                      <a16:creationId xmlns:a16="http://schemas.microsoft.com/office/drawing/2014/main" id="{AD4C2A2F-2F8A-C6C7-E26B-8847A491775F}"/>
                    </a:ext>
                  </a:extLst>
                </p:cNvPr>
                <p:cNvSpPr/>
                <p:nvPr/>
              </p:nvSpPr>
              <p:spPr>
                <a:xfrm>
                  <a:off x="4551496" y="3296439"/>
                  <a:ext cx="74612" cy="74612"/>
                </a:xfrm>
                <a:custGeom>
                  <a:avLst/>
                  <a:gdLst>
                    <a:gd name="connsiteX0" fmla="*/ 3554 w 74612"/>
                    <a:gd name="connsiteY0" fmla="*/ 71058 h 74612"/>
                    <a:gd name="connsiteX1" fmla="*/ 3554 w 74612"/>
                    <a:gd name="connsiteY1" fmla="*/ 53864 h 74612"/>
                    <a:gd name="connsiteX2" fmla="*/ 53864 w 74612"/>
                    <a:gd name="connsiteY2" fmla="*/ 3554 h 74612"/>
                    <a:gd name="connsiteX3" fmla="*/ 71058 w 74612"/>
                    <a:gd name="connsiteY3" fmla="*/ 3554 h 74612"/>
                    <a:gd name="connsiteX4" fmla="*/ 71058 w 74612"/>
                    <a:gd name="connsiteY4" fmla="*/ 20748 h 74612"/>
                    <a:gd name="connsiteX5" fmla="*/ 20748 w 74612"/>
                    <a:gd name="connsiteY5" fmla="*/ 71058 h 74612"/>
                    <a:gd name="connsiteX6" fmla="*/ 3554 w 74612"/>
                    <a:gd name="connsiteY6" fmla="*/ 71058 h 7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12" h="74612">
                      <a:moveTo>
                        <a:pt x="3554" y="71058"/>
                      </a:moveTo>
                      <a:cubicBezTo>
                        <a:pt x="-1185" y="66319"/>
                        <a:pt x="-1185" y="58603"/>
                        <a:pt x="3554" y="53864"/>
                      </a:cubicBezTo>
                      <a:lnTo>
                        <a:pt x="53864" y="3554"/>
                      </a:lnTo>
                      <a:cubicBezTo>
                        <a:pt x="58603" y="-1185"/>
                        <a:pt x="66319" y="-1185"/>
                        <a:pt x="71058" y="3554"/>
                      </a:cubicBezTo>
                      <a:cubicBezTo>
                        <a:pt x="75797" y="8294"/>
                        <a:pt x="75797" y="16009"/>
                        <a:pt x="71058" y="20748"/>
                      </a:cubicBezTo>
                      <a:lnTo>
                        <a:pt x="20748" y="71058"/>
                      </a:lnTo>
                      <a:cubicBezTo>
                        <a:pt x="16009" y="75797"/>
                        <a:pt x="8294" y="75797"/>
                        <a:pt x="3554" y="71058"/>
                      </a:cubicBezTo>
                      <a:close/>
                    </a:path>
                  </a:pathLst>
                </a:custGeom>
                <a:solidFill>
                  <a:srgbClr val="4D4D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4140" name="Graphic 4043">
              <a:extLst>
                <a:ext uri="{FF2B5EF4-FFF2-40B4-BE49-F238E27FC236}">
                  <a16:creationId xmlns:a16="http://schemas.microsoft.com/office/drawing/2014/main" id="{D7B4390F-2723-3837-7B83-51262CC4CD1D}"/>
                </a:ext>
              </a:extLst>
            </p:cNvPr>
            <p:cNvGrpSpPr/>
            <p:nvPr/>
          </p:nvGrpSpPr>
          <p:grpSpPr>
            <a:xfrm>
              <a:off x="4319825" y="3605354"/>
              <a:ext cx="2285906" cy="1384987"/>
              <a:chOff x="4447178" y="3621040"/>
              <a:chExt cx="2031204" cy="1230668"/>
            </a:xfrm>
          </p:grpSpPr>
          <p:sp>
            <p:nvSpPr>
              <p:cNvPr id="4148" name="Freeform: Shape 4147">
                <a:extLst>
                  <a:ext uri="{FF2B5EF4-FFF2-40B4-BE49-F238E27FC236}">
                    <a16:creationId xmlns:a16="http://schemas.microsoft.com/office/drawing/2014/main" id="{1604C248-00BE-C029-1E7F-3CDB1A78A3FA}"/>
                  </a:ext>
                </a:extLst>
              </p:cNvPr>
              <p:cNvSpPr/>
              <p:nvPr/>
            </p:nvSpPr>
            <p:spPr>
              <a:xfrm>
                <a:off x="4447178" y="3621040"/>
                <a:ext cx="1283925" cy="545374"/>
              </a:xfrm>
              <a:custGeom>
                <a:avLst/>
                <a:gdLst>
                  <a:gd name="connsiteX0" fmla="*/ 1217433 w 1283925"/>
                  <a:gd name="connsiteY0" fmla="*/ 0 h 545374"/>
                  <a:gd name="connsiteX1" fmla="*/ 1283926 w 1283925"/>
                  <a:gd name="connsiteY1" fmla="*/ 66492 h 545374"/>
                  <a:gd name="connsiteX2" fmla="*/ 1283926 w 1283925"/>
                  <a:gd name="connsiteY2" fmla="*/ 478882 h 545374"/>
                  <a:gd name="connsiteX3" fmla="*/ 1217433 w 1283925"/>
                  <a:gd name="connsiteY3" fmla="*/ 545374 h 545374"/>
                  <a:gd name="connsiteX4" fmla="*/ 66492 w 1283925"/>
                  <a:gd name="connsiteY4" fmla="*/ 545374 h 545374"/>
                  <a:gd name="connsiteX5" fmla="*/ 0 w 1283925"/>
                  <a:gd name="connsiteY5" fmla="*/ 478882 h 545374"/>
                  <a:gd name="connsiteX6" fmla="*/ 0 w 1283925"/>
                  <a:gd name="connsiteY6" fmla="*/ 66492 h 545374"/>
                  <a:gd name="connsiteX7" fmla="*/ 66492 w 1283925"/>
                  <a:gd name="connsiteY7" fmla="*/ 0 h 54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925" h="545374">
                    <a:moveTo>
                      <a:pt x="1217433" y="0"/>
                    </a:moveTo>
                    <a:cubicBezTo>
                      <a:pt x="1254156" y="0"/>
                      <a:pt x="1283926" y="29770"/>
                      <a:pt x="1283926" y="66492"/>
                    </a:cubicBezTo>
                    <a:lnTo>
                      <a:pt x="1283926" y="478882"/>
                    </a:lnTo>
                    <a:cubicBezTo>
                      <a:pt x="1283926" y="515605"/>
                      <a:pt x="1254156" y="545374"/>
                      <a:pt x="1217433" y="545374"/>
                    </a:cubicBezTo>
                    <a:lnTo>
                      <a:pt x="66492" y="545374"/>
                    </a:lnTo>
                    <a:cubicBezTo>
                      <a:pt x="29770" y="545374"/>
                      <a:pt x="0" y="515605"/>
                      <a:pt x="0" y="478882"/>
                    </a:cubicBezTo>
                    <a:lnTo>
                      <a:pt x="0" y="66492"/>
                    </a:lnTo>
                    <a:cubicBezTo>
                      <a:pt x="0" y="29770"/>
                      <a:pt x="29770" y="0"/>
                      <a:pt x="66492"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0" name="Freeform: Shape 4149">
                <a:extLst>
                  <a:ext uri="{FF2B5EF4-FFF2-40B4-BE49-F238E27FC236}">
                    <a16:creationId xmlns:a16="http://schemas.microsoft.com/office/drawing/2014/main" id="{BAC147E9-1828-86B6-A6D5-A644F5054EB3}"/>
                  </a:ext>
                </a:extLst>
              </p:cNvPr>
              <p:cNvSpPr/>
              <p:nvPr/>
            </p:nvSpPr>
            <p:spPr>
              <a:xfrm>
                <a:off x="5891743" y="3621040"/>
                <a:ext cx="586639" cy="586639"/>
              </a:xfrm>
              <a:custGeom>
                <a:avLst/>
                <a:gdLst>
                  <a:gd name="connsiteX0" fmla="*/ 539710 w 586639"/>
                  <a:gd name="connsiteY0" fmla="*/ 0 h 586639"/>
                  <a:gd name="connsiteX1" fmla="*/ 586639 w 586639"/>
                  <a:gd name="connsiteY1" fmla="*/ 46929 h 586639"/>
                  <a:gd name="connsiteX2" fmla="*/ 586639 w 586639"/>
                  <a:gd name="connsiteY2" fmla="*/ 539711 h 586639"/>
                  <a:gd name="connsiteX3" fmla="*/ 539710 w 586639"/>
                  <a:gd name="connsiteY3" fmla="*/ 586639 h 586639"/>
                  <a:gd name="connsiteX4" fmla="*/ 46929 w 586639"/>
                  <a:gd name="connsiteY4" fmla="*/ 586639 h 586639"/>
                  <a:gd name="connsiteX5" fmla="*/ 0 w 586639"/>
                  <a:gd name="connsiteY5" fmla="*/ 539711 h 586639"/>
                  <a:gd name="connsiteX6" fmla="*/ 0 w 586639"/>
                  <a:gd name="connsiteY6" fmla="*/ 46929 h 586639"/>
                  <a:gd name="connsiteX7" fmla="*/ 46929 w 586639"/>
                  <a:gd name="connsiteY7" fmla="*/ 0 h 58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639" h="586639">
                    <a:moveTo>
                      <a:pt x="539710" y="0"/>
                    </a:moveTo>
                    <a:cubicBezTo>
                      <a:pt x="565629" y="0"/>
                      <a:pt x="586639" y="21011"/>
                      <a:pt x="586639" y="46929"/>
                    </a:cubicBezTo>
                    <a:lnTo>
                      <a:pt x="586639" y="539711"/>
                    </a:lnTo>
                    <a:cubicBezTo>
                      <a:pt x="586639" y="565629"/>
                      <a:pt x="565629" y="586639"/>
                      <a:pt x="539710" y="586639"/>
                    </a:cubicBezTo>
                    <a:lnTo>
                      <a:pt x="46929" y="586639"/>
                    </a:lnTo>
                    <a:cubicBezTo>
                      <a:pt x="21011" y="586639"/>
                      <a:pt x="0" y="565629"/>
                      <a:pt x="0" y="539711"/>
                    </a:cubicBezTo>
                    <a:lnTo>
                      <a:pt x="0" y="46929"/>
                    </a:lnTo>
                    <a:cubicBezTo>
                      <a:pt x="0" y="21011"/>
                      <a:pt x="21011" y="0"/>
                      <a:pt x="46929"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1" name="Freeform: Shape 4150">
                <a:extLst>
                  <a:ext uri="{FF2B5EF4-FFF2-40B4-BE49-F238E27FC236}">
                    <a16:creationId xmlns:a16="http://schemas.microsoft.com/office/drawing/2014/main" id="{1DB5BC34-6AC4-A7E3-6CE4-D7917F12546C}"/>
                  </a:ext>
                </a:extLst>
              </p:cNvPr>
              <p:cNvSpPr/>
              <p:nvPr/>
            </p:nvSpPr>
            <p:spPr>
              <a:xfrm>
                <a:off x="4447178" y="4290874"/>
                <a:ext cx="1283925" cy="103971"/>
              </a:xfrm>
              <a:custGeom>
                <a:avLst/>
                <a:gdLst>
                  <a:gd name="connsiteX0" fmla="*/ 1231940 w 1283925"/>
                  <a:gd name="connsiteY0" fmla="*/ 0 h 103971"/>
                  <a:gd name="connsiteX1" fmla="*/ 1283926 w 1283925"/>
                  <a:gd name="connsiteY1" fmla="*/ 51986 h 103971"/>
                  <a:gd name="connsiteX2" fmla="*/ 1283926 w 1283925"/>
                  <a:gd name="connsiteY2" fmla="*/ 51986 h 103971"/>
                  <a:gd name="connsiteX3" fmla="*/ 1231940 w 1283925"/>
                  <a:gd name="connsiteY3" fmla="*/ 103972 h 103971"/>
                  <a:gd name="connsiteX4" fmla="*/ 51986 w 1283925"/>
                  <a:gd name="connsiteY4" fmla="*/ 103972 h 103971"/>
                  <a:gd name="connsiteX5" fmla="*/ 0 w 1283925"/>
                  <a:gd name="connsiteY5" fmla="*/ 51986 h 103971"/>
                  <a:gd name="connsiteX6" fmla="*/ 0 w 1283925"/>
                  <a:gd name="connsiteY6" fmla="*/ 51986 h 103971"/>
                  <a:gd name="connsiteX7" fmla="*/ 51986 w 1283925"/>
                  <a:gd name="connsiteY7" fmla="*/ 0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925" h="103971">
                    <a:moveTo>
                      <a:pt x="1231940" y="0"/>
                    </a:moveTo>
                    <a:cubicBezTo>
                      <a:pt x="1260651" y="0"/>
                      <a:pt x="1283926" y="23275"/>
                      <a:pt x="1283926" y="51986"/>
                    </a:cubicBezTo>
                    <a:lnTo>
                      <a:pt x="1283926" y="51986"/>
                    </a:lnTo>
                    <a:cubicBezTo>
                      <a:pt x="1283926" y="80697"/>
                      <a:pt x="1260651" y="103972"/>
                      <a:pt x="1231940" y="103972"/>
                    </a:cubicBezTo>
                    <a:lnTo>
                      <a:pt x="51986" y="103972"/>
                    </a:lnTo>
                    <a:cubicBezTo>
                      <a:pt x="23275" y="103972"/>
                      <a:pt x="0" y="80697"/>
                      <a:pt x="0" y="51986"/>
                    </a:cubicBezTo>
                    <a:lnTo>
                      <a:pt x="0" y="51986"/>
                    </a:lnTo>
                    <a:cubicBezTo>
                      <a:pt x="0" y="23275"/>
                      <a:pt x="23275" y="0"/>
                      <a:pt x="51986"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2" name="Freeform: Shape 4151">
                <a:extLst>
                  <a:ext uri="{FF2B5EF4-FFF2-40B4-BE49-F238E27FC236}">
                    <a16:creationId xmlns:a16="http://schemas.microsoft.com/office/drawing/2014/main" id="{686E05C5-ABFC-A8C9-D245-C3CA79AE0CA0}"/>
                  </a:ext>
                </a:extLst>
              </p:cNvPr>
              <p:cNvSpPr/>
              <p:nvPr/>
            </p:nvSpPr>
            <p:spPr>
              <a:xfrm>
                <a:off x="4447178" y="4519305"/>
                <a:ext cx="1283925" cy="103971"/>
              </a:xfrm>
              <a:custGeom>
                <a:avLst/>
                <a:gdLst>
                  <a:gd name="connsiteX0" fmla="*/ 1231940 w 1283925"/>
                  <a:gd name="connsiteY0" fmla="*/ 0 h 103971"/>
                  <a:gd name="connsiteX1" fmla="*/ 1283926 w 1283925"/>
                  <a:gd name="connsiteY1" fmla="*/ 51986 h 103971"/>
                  <a:gd name="connsiteX2" fmla="*/ 1283926 w 1283925"/>
                  <a:gd name="connsiteY2" fmla="*/ 51986 h 103971"/>
                  <a:gd name="connsiteX3" fmla="*/ 1231940 w 1283925"/>
                  <a:gd name="connsiteY3" fmla="*/ 103972 h 103971"/>
                  <a:gd name="connsiteX4" fmla="*/ 51986 w 1283925"/>
                  <a:gd name="connsiteY4" fmla="*/ 103972 h 103971"/>
                  <a:gd name="connsiteX5" fmla="*/ 0 w 1283925"/>
                  <a:gd name="connsiteY5" fmla="*/ 51986 h 103971"/>
                  <a:gd name="connsiteX6" fmla="*/ 0 w 1283925"/>
                  <a:gd name="connsiteY6" fmla="*/ 51986 h 103971"/>
                  <a:gd name="connsiteX7" fmla="*/ 51986 w 1283925"/>
                  <a:gd name="connsiteY7" fmla="*/ 0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925" h="103971">
                    <a:moveTo>
                      <a:pt x="1231940" y="0"/>
                    </a:moveTo>
                    <a:cubicBezTo>
                      <a:pt x="1260651" y="0"/>
                      <a:pt x="1283926" y="23275"/>
                      <a:pt x="1283926" y="51986"/>
                    </a:cubicBezTo>
                    <a:lnTo>
                      <a:pt x="1283926" y="51986"/>
                    </a:lnTo>
                    <a:cubicBezTo>
                      <a:pt x="1283926" y="80697"/>
                      <a:pt x="1260651" y="103972"/>
                      <a:pt x="1231940" y="103972"/>
                    </a:cubicBezTo>
                    <a:lnTo>
                      <a:pt x="51986" y="103972"/>
                    </a:lnTo>
                    <a:cubicBezTo>
                      <a:pt x="23275" y="103972"/>
                      <a:pt x="0" y="80697"/>
                      <a:pt x="0" y="51986"/>
                    </a:cubicBezTo>
                    <a:lnTo>
                      <a:pt x="0" y="51986"/>
                    </a:lnTo>
                    <a:cubicBezTo>
                      <a:pt x="0" y="23275"/>
                      <a:pt x="23275" y="0"/>
                      <a:pt x="51986"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3" name="Freeform: Shape 4152">
                <a:extLst>
                  <a:ext uri="{FF2B5EF4-FFF2-40B4-BE49-F238E27FC236}">
                    <a16:creationId xmlns:a16="http://schemas.microsoft.com/office/drawing/2014/main" id="{B54A9EC0-26CD-E4C6-1A28-A2117FB90CE4}"/>
                  </a:ext>
                </a:extLst>
              </p:cNvPr>
              <p:cNvSpPr/>
              <p:nvPr/>
            </p:nvSpPr>
            <p:spPr>
              <a:xfrm>
                <a:off x="4447178" y="4747737"/>
                <a:ext cx="781058" cy="103971"/>
              </a:xfrm>
              <a:custGeom>
                <a:avLst/>
                <a:gdLst>
                  <a:gd name="connsiteX0" fmla="*/ 729073 w 781058"/>
                  <a:gd name="connsiteY0" fmla="*/ 103972 h 103971"/>
                  <a:gd name="connsiteX1" fmla="*/ 51986 w 781058"/>
                  <a:gd name="connsiteY1" fmla="*/ 103972 h 103971"/>
                  <a:gd name="connsiteX2" fmla="*/ 0 w 781058"/>
                  <a:gd name="connsiteY2" fmla="*/ 51986 h 103971"/>
                  <a:gd name="connsiteX3" fmla="*/ 0 w 781058"/>
                  <a:gd name="connsiteY3" fmla="*/ 51986 h 103971"/>
                  <a:gd name="connsiteX4" fmla="*/ 51986 w 781058"/>
                  <a:gd name="connsiteY4" fmla="*/ 0 h 103971"/>
                  <a:gd name="connsiteX5" fmla="*/ 729073 w 781058"/>
                  <a:gd name="connsiteY5" fmla="*/ 0 h 103971"/>
                  <a:gd name="connsiteX6" fmla="*/ 781059 w 781058"/>
                  <a:gd name="connsiteY6" fmla="*/ 51986 h 103971"/>
                  <a:gd name="connsiteX7" fmla="*/ 781059 w 781058"/>
                  <a:gd name="connsiteY7" fmla="*/ 51986 h 103971"/>
                  <a:gd name="connsiteX8" fmla="*/ 729073 w 781058"/>
                  <a:gd name="connsiteY8" fmla="*/ 103972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1058" h="103971">
                    <a:moveTo>
                      <a:pt x="729073" y="103972"/>
                    </a:moveTo>
                    <a:lnTo>
                      <a:pt x="51986" y="103972"/>
                    </a:lnTo>
                    <a:cubicBezTo>
                      <a:pt x="23262" y="103972"/>
                      <a:pt x="0" y="80681"/>
                      <a:pt x="0" y="51986"/>
                    </a:cubicBezTo>
                    <a:lnTo>
                      <a:pt x="0" y="51986"/>
                    </a:lnTo>
                    <a:cubicBezTo>
                      <a:pt x="0" y="23262"/>
                      <a:pt x="23262" y="0"/>
                      <a:pt x="51986" y="0"/>
                    </a:cubicBezTo>
                    <a:lnTo>
                      <a:pt x="729073" y="0"/>
                    </a:lnTo>
                    <a:cubicBezTo>
                      <a:pt x="757797" y="0"/>
                      <a:pt x="781059" y="23291"/>
                      <a:pt x="781059" y="51986"/>
                    </a:cubicBezTo>
                    <a:lnTo>
                      <a:pt x="781059" y="51986"/>
                    </a:lnTo>
                    <a:cubicBezTo>
                      <a:pt x="781059" y="80710"/>
                      <a:pt x="757768" y="103972"/>
                      <a:pt x="729073" y="103972"/>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4" name="Freeform: Shape 4153">
                <a:extLst>
                  <a:ext uri="{FF2B5EF4-FFF2-40B4-BE49-F238E27FC236}">
                    <a16:creationId xmlns:a16="http://schemas.microsoft.com/office/drawing/2014/main" id="{B9B9BEF1-D46E-58D9-9EA6-6E65E318EFE7}"/>
                  </a:ext>
                </a:extLst>
              </p:cNvPr>
              <p:cNvSpPr/>
              <p:nvPr/>
            </p:nvSpPr>
            <p:spPr>
              <a:xfrm>
                <a:off x="5897233" y="4290874"/>
                <a:ext cx="575716" cy="103971"/>
              </a:xfrm>
              <a:custGeom>
                <a:avLst/>
                <a:gdLst>
                  <a:gd name="connsiteX0" fmla="*/ 523730 w 575716"/>
                  <a:gd name="connsiteY0" fmla="*/ 0 h 103971"/>
                  <a:gd name="connsiteX1" fmla="*/ 575716 w 575716"/>
                  <a:gd name="connsiteY1" fmla="*/ 51986 h 103971"/>
                  <a:gd name="connsiteX2" fmla="*/ 575716 w 575716"/>
                  <a:gd name="connsiteY2" fmla="*/ 51986 h 103971"/>
                  <a:gd name="connsiteX3" fmla="*/ 523730 w 575716"/>
                  <a:gd name="connsiteY3" fmla="*/ 103972 h 103971"/>
                  <a:gd name="connsiteX4" fmla="*/ 51986 w 575716"/>
                  <a:gd name="connsiteY4" fmla="*/ 103972 h 103971"/>
                  <a:gd name="connsiteX5" fmla="*/ 0 w 575716"/>
                  <a:gd name="connsiteY5" fmla="*/ 51986 h 103971"/>
                  <a:gd name="connsiteX6" fmla="*/ 0 w 575716"/>
                  <a:gd name="connsiteY6" fmla="*/ 51986 h 103971"/>
                  <a:gd name="connsiteX7" fmla="*/ 51986 w 575716"/>
                  <a:gd name="connsiteY7" fmla="*/ 0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16" h="103971">
                    <a:moveTo>
                      <a:pt x="523730" y="0"/>
                    </a:moveTo>
                    <a:cubicBezTo>
                      <a:pt x="552441" y="0"/>
                      <a:pt x="575716" y="23275"/>
                      <a:pt x="575716" y="51986"/>
                    </a:cubicBezTo>
                    <a:lnTo>
                      <a:pt x="575716" y="51986"/>
                    </a:lnTo>
                    <a:cubicBezTo>
                      <a:pt x="575716" y="80697"/>
                      <a:pt x="552441" y="103972"/>
                      <a:pt x="523730" y="103972"/>
                    </a:cubicBezTo>
                    <a:lnTo>
                      <a:pt x="51986" y="103972"/>
                    </a:lnTo>
                    <a:cubicBezTo>
                      <a:pt x="23275" y="103972"/>
                      <a:pt x="0" y="80697"/>
                      <a:pt x="0" y="51986"/>
                    </a:cubicBezTo>
                    <a:lnTo>
                      <a:pt x="0" y="51986"/>
                    </a:lnTo>
                    <a:cubicBezTo>
                      <a:pt x="0" y="23275"/>
                      <a:pt x="23275" y="0"/>
                      <a:pt x="51986"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5" name="Freeform: Shape 4154">
                <a:extLst>
                  <a:ext uri="{FF2B5EF4-FFF2-40B4-BE49-F238E27FC236}">
                    <a16:creationId xmlns:a16="http://schemas.microsoft.com/office/drawing/2014/main" id="{9B205E39-6DF2-4F12-1E87-FEAAE27D77A1}"/>
                  </a:ext>
                </a:extLst>
              </p:cNvPr>
              <p:cNvSpPr/>
              <p:nvPr/>
            </p:nvSpPr>
            <p:spPr>
              <a:xfrm>
                <a:off x="5897233" y="4519305"/>
                <a:ext cx="575716" cy="103971"/>
              </a:xfrm>
              <a:custGeom>
                <a:avLst/>
                <a:gdLst>
                  <a:gd name="connsiteX0" fmla="*/ 523730 w 575716"/>
                  <a:gd name="connsiteY0" fmla="*/ 0 h 103971"/>
                  <a:gd name="connsiteX1" fmla="*/ 575716 w 575716"/>
                  <a:gd name="connsiteY1" fmla="*/ 51986 h 103971"/>
                  <a:gd name="connsiteX2" fmla="*/ 575716 w 575716"/>
                  <a:gd name="connsiteY2" fmla="*/ 51986 h 103971"/>
                  <a:gd name="connsiteX3" fmla="*/ 523730 w 575716"/>
                  <a:gd name="connsiteY3" fmla="*/ 103972 h 103971"/>
                  <a:gd name="connsiteX4" fmla="*/ 51986 w 575716"/>
                  <a:gd name="connsiteY4" fmla="*/ 103972 h 103971"/>
                  <a:gd name="connsiteX5" fmla="*/ 0 w 575716"/>
                  <a:gd name="connsiteY5" fmla="*/ 51986 h 103971"/>
                  <a:gd name="connsiteX6" fmla="*/ 0 w 575716"/>
                  <a:gd name="connsiteY6" fmla="*/ 51986 h 103971"/>
                  <a:gd name="connsiteX7" fmla="*/ 51986 w 575716"/>
                  <a:gd name="connsiteY7" fmla="*/ 0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16" h="103971">
                    <a:moveTo>
                      <a:pt x="523730" y="0"/>
                    </a:moveTo>
                    <a:cubicBezTo>
                      <a:pt x="552441" y="0"/>
                      <a:pt x="575716" y="23275"/>
                      <a:pt x="575716" y="51986"/>
                    </a:cubicBezTo>
                    <a:lnTo>
                      <a:pt x="575716" y="51986"/>
                    </a:lnTo>
                    <a:cubicBezTo>
                      <a:pt x="575716" y="80697"/>
                      <a:pt x="552441" y="103972"/>
                      <a:pt x="523730" y="103972"/>
                    </a:cubicBezTo>
                    <a:lnTo>
                      <a:pt x="51986" y="103972"/>
                    </a:lnTo>
                    <a:cubicBezTo>
                      <a:pt x="23275" y="103972"/>
                      <a:pt x="0" y="80697"/>
                      <a:pt x="0" y="51986"/>
                    </a:cubicBezTo>
                    <a:lnTo>
                      <a:pt x="0" y="51986"/>
                    </a:lnTo>
                    <a:cubicBezTo>
                      <a:pt x="0" y="23275"/>
                      <a:pt x="23275" y="0"/>
                      <a:pt x="51986" y="0"/>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56" name="Freeform: Shape 4155">
                <a:extLst>
                  <a:ext uri="{FF2B5EF4-FFF2-40B4-BE49-F238E27FC236}">
                    <a16:creationId xmlns:a16="http://schemas.microsoft.com/office/drawing/2014/main" id="{BE21DE7D-C4CF-4183-6024-24BB18A5FB9C}"/>
                  </a:ext>
                </a:extLst>
              </p:cNvPr>
              <p:cNvSpPr/>
              <p:nvPr/>
            </p:nvSpPr>
            <p:spPr>
              <a:xfrm>
                <a:off x="5897233" y="4747737"/>
                <a:ext cx="403200" cy="103971"/>
              </a:xfrm>
              <a:custGeom>
                <a:avLst/>
                <a:gdLst>
                  <a:gd name="connsiteX0" fmla="*/ 351215 w 403200"/>
                  <a:gd name="connsiteY0" fmla="*/ 103972 h 103971"/>
                  <a:gd name="connsiteX1" fmla="*/ 51986 w 403200"/>
                  <a:gd name="connsiteY1" fmla="*/ 103972 h 103971"/>
                  <a:gd name="connsiteX2" fmla="*/ 0 w 403200"/>
                  <a:gd name="connsiteY2" fmla="*/ 51986 h 103971"/>
                  <a:gd name="connsiteX3" fmla="*/ 0 w 403200"/>
                  <a:gd name="connsiteY3" fmla="*/ 51986 h 103971"/>
                  <a:gd name="connsiteX4" fmla="*/ 51986 w 403200"/>
                  <a:gd name="connsiteY4" fmla="*/ 0 h 103971"/>
                  <a:gd name="connsiteX5" fmla="*/ 351215 w 403200"/>
                  <a:gd name="connsiteY5" fmla="*/ 0 h 103971"/>
                  <a:gd name="connsiteX6" fmla="*/ 403201 w 403200"/>
                  <a:gd name="connsiteY6" fmla="*/ 51986 h 103971"/>
                  <a:gd name="connsiteX7" fmla="*/ 403201 w 403200"/>
                  <a:gd name="connsiteY7" fmla="*/ 51986 h 103971"/>
                  <a:gd name="connsiteX8" fmla="*/ 351215 w 403200"/>
                  <a:gd name="connsiteY8" fmla="*/ 103972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200" h="103971">
                    <a:moveTo>
                      <a:pt x="351215" y="103972"/>
                    </a:moveTo>
                    <a:lnTo>
                      <a:pt x="51986" y="103972"/>
                    </a:lnTo>
                    <a:cubicBezTo>
                      <a:pt x="23262" y="103972"/>
                      <a:pt x="0" y="80681"/>
                      <a:pt x="0" y="51986"/>
                    </a:cubicBezTo>
                    <a:lnTo>
                      <a:pt x="0" y="51986"/>
                    </a:lnTo>
                    <a:cubicBezTo>
                      <a:pt x="0" y="23262"/>
                      <a:pt x="23291" y="0"/>
                      <a:pt x="51986" y="0"/>
                    </a:cubicBezTo>
                    <a:lnTo>
                      <a:pt x="351215" y="0"/>
                    </a:lnTo>
                    <a:cubicBezTo>
                      <a:pt x="379939" y="0"/>
                      <a:pt x="403201" y="23291"/>
                      <a:pt x="403201" y="51986"/>
                    </a:cubicBezTo>
                    <a:lnTo>
                      <a:pt x="403201" y="51986"/>
                    </a:lnTo>
                    <a:cubicBezTo>
                      <a:pt x="403201" y="80710"/>
                      <a:pt x="379939" y="103972"/>
                      <a:pt x="351215" y="103972"/>
                    </a:cubicBez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76" name="Graphic 4043">
              <a:extLst>
                <a:ext uri="{FF2B5EF4-FFF2-40B4-BE49-F238E27FC236}">
                  <a16:creationId xmlns:a16="http://schemas.microsoft.com/office/drawing/2014/main" id="{F2193D46-A019-3020-7613-C58401B56E37}"/>
                </a:ext>
              </a:extLst>
            </p:cNvPr>
            <p:cNvGrpSpPr/>
            <p:nvPr/>
          </p:nvGrpSpPr>
          <p:grpSpPr>
            <a:xfrm>
              <a:off x="6213431" y="3774522"/>
              <a:ext cx="747197" cy="736469"/>
              <a:chOff x="6129793" y="3771359"/>
              <a:chExt cx="663942" cy="654410"/>
            </a:xfrm>
          </p:grpSpPr>
          <p:sp>
            <p:nvSpPr>
              <p:cNvPr id="577" name="Freeform: Shape 576">
                <a:extLst>
                  <a:ext uri="{FF2B5EF4-FFF2-40B4-BE49-F238E27FC236}">
                    <a16:creationId xmlns:a16="http://schemas.microsoft.com/office/drawing/2014/main" id="{1B3FD50C-822C-0239-6363-E505237380C3}"/>
                  </a:ext>
                </a:extLst>
              </p:cNvPr>
              <p:cNvSpPr/>
              <p:nvPr/>
            </p:nvSpPr>
            <p:spPr>
              <a:xfrm>
                <a:off x="6129793" y="3771359"/>
                <a:ext cx="469758" cy="469757"/>
              </a:xfrm>
              <a:custGeom>
                <a:avLst/>
                <a:gdLst>
                  <a:gd name="connsiteX0" fmla="*/ 398899 w 469758"/>
                  <a:gd name="connsiteY0" fmla="*/ 66756 h 469757"/>
                  <a:gd name="connsiteX1" fmla="*/ 66756 w 469758"/>
                  <a:gd name="connsiteY1" fmla="*/ 70859 h 469757"/>
                  <a:gd name="connsiteX2" fmla="*/ 70859 w 469758"/>
                  <a:gd name="connsiteY2" fmla="*/ 403002 h 469757"/>
                  <a:gd name="connsiteX3" fmla="*/ 403002 w 469758"/>
                  <a:gd name="connsiteY3" fmla="*/ 398899 h 469757"/>
                  <a:gd name="connsiteX4" fmla="*/ 398899 w 469758"/>
                  <a:gd name="connsiteY4" fmla="*/ 66756 h 469757"/>
                  <a:gd name="connsiteX5" fmla="*/ 379740 w 469758"/>
                  <a:gd name="connsiteY5" fmla="*/ 376215 h 469757"/>
                  <a:gd name="connsiteX6" fmla="*/ 93572 w 469758"/>
                  <a:gd name="connsiteY6" fmla="*/ 379740 h 469757"/>
                  <a:gd name="connsiteX7" fmla="*/ 90047 w 469758"/>
                  <a:gd name="connsiteY7" fmla="*/ 93543 h 469757"/>
                  <a:gd name="connsiteX8" fmla="*/ 376215 w 469758"/>
                  <a:gd name="connsiteY8" fmla="*/ 90018 h 469757"/>
                  <a:gd name="connsiteX9" fmla="*/ 379740 w 469758"/>
                  <a:gd name="connsiteY9" fmla="*/ 376215 h 46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58" h="469757">
                    <a:moveTo>
                      <a:pt x="398899" y="66756"/>
                    </a:moveTo>
                    <a:cubicBezTo>
                      <a:pt x="306053" y="-23836"/>
                      <a:pt x="157348" y="-21987"/>
                      <a:pt x="66756" y="70859"/>
                    </a:cubicBezTo>
                    <a:cubicBezTo>
                      <a:pt x="-23836" y="163706"/>
                      <a:pt x="-21987" y="312410"/>
                      <a:pt x="70859" y="403002"/>
                    </a:cubicBezTo>
                    <a:cubicBezTo>
                      <a:pt x="163706" y="493594"/>
                      <a:pt x="312439" y="491745"/>
                      <a:pt x="403002" y="398899"/>
                    </a:cubicBezTo>
                    <a:cubicBezTo>
                      <a:pt x="493595" y="306053"/>
                      <a:pt x="491745" y="157319"/>
                      <a:pt x="398899" y="66756"/>
                    </a:cubicBezTo>
                    <a:close/>
                    <a:moveTo>
                      <a:pt x="379740" y="376215"/>
                    </a:moveTo>
                    <a:cubicBezTo>
                      <a:pt x="301689" y="456202"/>
                      <a:pt x="173560" y="457791"/>
                      <a:pt x="93572" y="379740"/>
                    </a:cubicBezTo>
                    <a:cubicBezTo>
                      <a:pt x="13557" y="301689"/>
                      <a:pt x="11967" y="173559"/>
                      <a:pt x="90047" y="93543"/>
                    </a:cubicBezTo>
                    <a:cubicBezTo>
                      <a:pt x="168098" y="13556"/>
                      <a:pt x="296228" y="11967"/>
                      <a:pt x="376215" y="90018"/>
                    </a:cubicBezTo>
                    <a:cubicBezTo>
                      <a:pt x="456202" y="168069"/>
                      <a:pt x="457791" y="296199"/>
                      <a:pt x="379740" y="376215"/>
                    </a:cubicBezTo>
                    <a:close/>
                  </a:path>
                </a:pathLst>
              </a:custGeom>
              <a:solidFill>
                <a:srgbClr val="313F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78" name="Freeform: Shape 577">
                <a:extLst>
                  <a:ext uri="{FF2B5EF4-FFF2-40B4-BE49-F238E27FC236}">
                    <a16:creationId xmlns:a16="http://schemas.microsoft.com/office/drawing/2014/main" id="{8A9E2255-872F-3A37-8C54-B3D4978F51EC}"/>
                  </a:ext>
                </a:extLst>
              </p:cNvPr>
              <p:cNvSpPr/>
              <p:nvPr/>
            </p:nvSpPr>
            <p:spPr>
              <a:xfrm>
                <a:off x="6162301" y="3803860"/>
                <a:ext cx="404748" cy="404756"/>
              </a:xfrm>
              <a:custGeom>
                <a:avLst/>
                <a:gdLst>
                  <a:gd name="connsiteX0" fmla="*/ 347232 w 404748"/>
                  <a:gd name="connsiteY0" fmla="*/ 343714 h 404756"/>
                  <a:gd name="connsiteX1" fmla="*/ 61064 w 404748"/>
                  <a:gd name="connsiteY1" fmla="*/ 347239 h 404756"/>
                  <a:gd name="connsiteX2" fmla="*/ 57539 w 404748"/>
                  <a:gd name="connsiteY2" fmla="*/ 61042 h 404756"/>
                  <a:gd name="connsiteX3" fmla="*/ 343707 w 404748"/>
                  <a:gd name="connsiteY3" fmla="*/ 57517 h 404756"/>
                  <a:gd name="connsiteX4" fmla="*/ 347232 w 404748"/>
                  <a:gd name="connsiteY4" fmla="*/ 343714 h 404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748" h="404756">
                    <a:moveTo>
                      <a:pt x="347232" y="343714"/>
                    </a:moveTo>
                    <a:cubicBezTo>
                      <a:pt x="269181" y="423701"/>
                      <a:pt x="141051" y="425290"/>
                      <a:pt x="61064" y="347239"/>
                    </a:cubicBezTo>
                    <a:cubicBezTo>
                      <a:pt x="-18952" y="269188"/>
                      <a:pt x="-20541" y="141058"/>
                      <a:pt x="57539" y="61042"/>
                    </a:cubicBezTo>
                    <a:cubicBezTo>
                      <a:pt x="135590" y="-18945"/>
                      <a:pt x="263719" y="-20534"/>
                      <a:pt x="343707" y="57517"/>
                    </a:cubicBezTo>
                    <a:cubicBezTo>
                      <a:pt x="423693" y="135568"/>
                      <a:pt x="425283" y="263698"/>
                      <a:pt x="347232" y="343714"/>
                    </a:cubicBezTo>
                    <a:close/>
                  </a:path>
                </a:pathLst>
              </a:custGeom>
              <a:solidFill>
                <a:srgbClr val="838C9D">
                  <a:alpha val="29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79" name="Freeform: Shape 578">
                <a:extLst>
                  <a:ext uri="{FF2B5EF4-FFF2-40B4-BE49-F238E27FC236}">
                    <a16:creationId xmlns:a16="http://schemas.microsoft.com/office/drawing/2014/main" id="{E3E8F4E9-AEA9-03D1-35F6-1BEC4E7C0E49}"/>
                  </a:ext>
                </a:extLst>
              </p:cNvPr>
              <p:cNvSpPr/>
              <p:nvPr/>
            </p:nvSpPr>
            <p:spPr>
              <a:xfrm>
                <a:off x="6437326" y="3855171"/>
                <a:ext cx="50119" cy="41681"/>
              </a:xfrm>
              <a:custGeom>
                <a:avLst/>
                <a:gdLst>
                  <a:gd name="connsiteX0" fmla="*/ 47818 w 50119"/>
                  <a:gd name="connsiteY0" fmla="*/ 39236 h 41681"/>
                  <a:gd name="connsiteX1" fmla="*/ 36317 w 50119"/>
                  <a:gd name="connsiteY1" fmla="*/ 39380 h 41681"/>
                  <a:gd name="connsiteX2" fmla="*/ 4126 w 50119"/>
                  <a:gd name="connsiteY2" fmla="*/ 15193 h 41681"/>
                  <a:gd name="connsiteX3" fmla="*/ 1063 w 50119"/>
                  <a:gd name="connsiteY3" fmla="*/ 4126 h 41681"/>
                  <a:gd name="connsiteX4" fmla="*/ 12130 w 50119"/>
                  <a:gd name="connsiteY4" fmla="*/ 1062 h 41681"/>
                  <a:gd name="connsiteX5" fmla="*/ 47674 w 50119"/>
                  <a:gd name="connsiteY5" fmla="*/ 27764 h 41681"/>
                  <a:gd name="connsiteX6" fmla="*/ 47818 w 50119"/>
                  <a:gd name="connsiteY6" fmla="*/ 39265 h 4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19" h="41681">
                    <a:moveTo>
                      <a:pt x="47818" y="39236"/>
                    </a:moveTo>
                    <a:cubicBezTo>
                      <a:pt x="44697" y="42443"/>
                      <a:pt x="39525" y="42501"/>
                      <a:pt x="36317" y="39380"/>
                    </a:cubicBezTo>
                    <a:cubicBezTo>
                      <a:pt x="26636" y="29931"/>
                      <a:pt x="15800" y="21782"/>
                      <a:pt x="4126" y="15193"/>
                    </a:cubicBezTo>
                    <a:cubicBezTo>
                      <a:pt x="224" y="12968"/>
                      <a:pt x="-1163" y="8027"/>
                      <a:pt x="1063" y="4126"/>
                    </a:cubicBezTo>
                    <a:cubicBezTo>
                      <a:pt x="3288" y="225"/>
                      <a:pt x="8229" y="-1162"/>
                      <a:pt x="12130" y="1062"/>
                    </a:cubicBezTo>
                    <a:cubicBezTo>
                      <a:pt x="25018" y="8345"/>
                      <a:pt x="36982" y="17332"/>
                      <a:pt x="47674" y="27764"/>
                    </a:cubicBezTo>
                    <a:cubicBezTo>
                      <a:pt x="50881" y="30884"/>
                      <a:pt x="50939" y="36057"/>
                      <a:pt x="47818" y="3926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0" name="Freeform: Shape 579">
                <a:extLst>
                  <a:ext uri="{FF2B5EF4-FFF2-40B4-BE49-F238E27FC236}">
                    <a16:creationId xmlns:a16="http://schemas.microsoft.com/office/drawing/2014/main" id="{C385F23B-62BC-152A-E94A-5230CDAB8CA8}"/>
                  </a:ext>
                </a:extLst>
              </p:cNvPr>
              <p:cNvSpPr/>
              <p:nvPr/>
            </p:nvSpPr>
            <p:spPr>
              <a:xfrm>
                <a:off x="6281065" y="3833969"/>
                <a:ext cx="145872" cy="34525"/>
              </a:xfrm>
              <a:custGeom>
                <a:avLst/>
                <a:gdLst>
                  <a:gd name="connsiteX0" fmla="*/ 143598 w 145872"/>
                  <a:gd name="connsiteY0" fmla="*/ 22929 h 34525"/>
                  <a:gd name="connsiteX1" fmla="*/ 135102 w 145872"/>
                  <a:gd name="connsiteY1" fmla="*/ 24923 h 34525"/>
                  <a:gd name="connsiteX2" fmla="*/ 11856 w 145872"/>
                  <a:gd name="connsiteY2" fmla="*/ 33621 h 34525"/>
                  <a:gd name="connsiteX3" fmla="*/ 904 w 145872"/>
                  <a:gd name="connsiteY3" fmla="*/ 30154 h 34525"/>
                  <a:gd name="connsiteX4" fmla="*/ 4372 w 145872"/>
                  <a:gd name="connsiteY4" fmla="*/ 19202 h 34525"/>
                  <a:gd name="connsiteX5" fmla="*/ 140419 w 145872"/>
                  <a:gd name="connsiteY5" fmla="*/ 9579 h 34525"/>
                  <a:gd name="connsiteX6" fmla="*/ 145418 w 145872"/>
                  <a:gd name="connsiteY6" fmla="*/ 19924 h 34525"/>
                  <a:gd name="connsiteX7" fmla="*/ 143569 w 145872"/>
                  <a:gd name="connsiteY7" fmla="*/ 22929 h 3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872" h="34525">
                    <a:moveTo>
                      <a:pt x="143598" y="22929"/>
                    </a:moveTo>
                    <a:cubicBezTo>
                      <a:pt x="141459" y="25126"/>
                      <a:pt x="138165" y="25992"/>
                      <a:pt x="135102" y="24923"/>
                    </a:cubicBezTo>
                    <a:cubicBezTo>
                      <a:pt x="94704" y="10821"/>
                      <a:pt x="49798" y="14000"/>
                      <a:pt x="11856" y="33621"/>
                    </a:cubicBezTo>
                    <a:cubicBezTo>
                      <a:pt x="7868" y="35673"/>
                      <a:pt x="2956" y="34112"/>
                      <a:pt x="904" y="30154"/>
                    </a:cubicBezTo>
                    <a:cubicBezTo>
                      <a:pt x="-1148" y="26166"/>
                      <a:pt x="413" y="21253"/>
                      <a:pt x="4372" y="19202"/>
                    </a:cubicBezTo>
                    <a:cubicBezTo>
                      <a:pt x="46244" y="-2471"/>
                      <a:pt x="95831" y="-5968"/>
                      <a:pt x="140419" y="9579"/>
                    </a:cubicBezTo>
                    <a:cubicBezTo>
                      <a:pt x="144667" y="11053"/>
                      <a:pt x="146892" y="15705"/>
                      <a:pt x="145418" y="19924"/>
                    </a:cubicBezTo>
                    <a:cubicBezTo>
                      <a:pt x="145014" y="21080"/>
                      <a:pt x="144378" y="22091"/>
                      <a:pt x="143569" y="22929"/>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1" name="Freeform: Shape 580">
                <a:extLst>
                  <a:ext uri="{FF2B5EF4-FFF2-40B4-BE49-F238E27FC236}">
                    <a16:creationId xmlns:a16="http://schemas.microsoft.com/office/drawing/2014/main" id="{9073B399-4B46-2115-41D2-8AE551A366BF}"/>
                  </a:ext>
                </a:extLst>
              </p:cNvPr>
              <p:cNvSpPr/>
              <p:nvPr/>
            </p:nvSpPr>
            <p:spPr>
              <a:xfrm>
                <a:off x="6505574" y="4142921"/>
                <a:ext cx="288160" cy="282848"/>
              </a:xfrm>
              <a:custGeom>
                <a:avLst/>
                <a:gdLst>
                  <a:gd name="connsiteX0" fmla="*/ 31209 w 288160"/>
                  <a:gd name="connsiteY0" fmla="*/ 0 h 282848"/>
                  <a:gd name="connsiteX1" fmla="*/ 282064 w 288160"/>
                  <a:gd name="connsiteY1" fmla="*/ 229818 h 282848"/>
                  <a:gd name="connsiteX2" fmla="*/ 276574 w 288160"/>
                  <a:gd name="connsiteY2" fmla="*/ 270621 h 282848"/>
                  <a:gd name="connsiteX3" fmla="*/ 276574 w 288160"/>
                  <a:gd name="connsiteY3" fmla="*/ 270621 h 282848"/>
                  <a:gd name="connsiteX4" fmla="*/ 235945 w 288160"/>
                  <a:gd name="connsiteY4" fmla="*/ 277123 h 282848"/>
                  <a:gd name="connsiteX5" fmla="*/ 0 w 288160"/>
                  <a:gd name="connsiteY5" fmla="*/ 32018 h 282848"/>
                  <a:gd name="connsiteX6" fmla="*/ 31209 w 288160"/>
                  <a:gd name="connsiteY6" fmla="*/ 29 h 2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60" h="282848">
                    <a:moveTo>
                      <a:pt x="31209" y="0"/>
                    </a:moveTo>
                    <a:lnTo>
                      <a:pt x="282064" y="229818"/>
                    </a:lnTo>
                    <a:cubicBezTo>
                      <a:pt x="292005" y="238921"/>
                      <a:pt x="289520" y="257328"/>
                      <a:pt x="276574" y="270621"/>
                    </a:cubicBezTo>
                    <a:lnTo>
                      <a:pt x="276574" y="270621"/>
                    </a:lnTo>
                    <a:cubicBezTo>
                      <a:pt x="263628" y="283885"/>
                      <a:pt x="245278" y="286832"/>
                      <a:pt x="235945" y="277123"/>
                    </a:cubicBezTo>
                    <a:lnTo>
                      <a:pt x="0" y="32018"/>
                    </a:lnTo>
                    <a:lnTo>
                      <a:pt x="31209" y="29"/>
                    </a:lnTo>
                    <a:close/>
                  </a:path>
                </a:pathLst>
              </a:custGeom>
              <a:solidFill>
                <a:srgbClr val="313F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2" name="Freeform: Shape 581">
                <a:extLst>
                  <a:ext uri="{FF2B5EF4-FFF2-40B4-BE49-F238E27FC236}">
                    <a16:creationId xmlns:a16="http://schemas.microsoft.com/office/drawing/2014/main" id="{877C4261-87D8-A118-CF17-05B5049DBF6A}"/>
                  </a:ext>
                </a:extLst>
              </p:cNvPr>
              <p:cNvSpPr/>
              <p:nvPr/>
            </p:nvSpPr>
            <p:spPr>
              <a:xfrm>
                <a:off x="6290724" y="3867127"/>
                <a:ext cx="147981" cy="278192"/>
              </a:xfrm>
              <a:custGeom>
                <a:avLst/>
                <a:gdLst>
                  <a:gd name="connsiteX0" fmla="*/ 64701 w 147981"/>
                  <a:gd name="connsiteY0" fmla="*/ 39705 h 278192"/>
                  <a:gd name="connsiteX1" fmla="*/ 38895 w 147981"/>
                  <a:gd name="connsiteY1" fmla="*/ 42970 h 278192"/>
                  <a:gd name="connsiteX2" fmla="*/ 13090 w 147981"/>
                  <a:gd name="connsiteY2" fmla="*/ 53575 h 278192"/>
                  <a:gd name="connsiteX3" fmla="*/ 0 w 147981"/>
                  <a:gd name="connsiteY3" fmla="*/ 17743 h 278192"/>
                  <a:gd name="connsiteX4" fmla="*/ 32567 w 147981"/>
                  <a:gd name="connsiteY4" fmla="*/ 4826 h 278192"/>
                  <a:gd name="connsiteX5" fmla="*/ 70133 w 147981"/>
                  <a:gd name="connsiteY5" fmla="*/ 0 h 278192"/>
                  <a:gd name="connsiteX6" fmla="*/ 108277 w 147981"/>
                  <a:gd name="connsiteY6" fmla="*/ 6357 h 278192"/>
                  <a:gd name="connsiteX7" fmla="*/ 132175 w 147981"/>
                  <a:gd name="connsiteY7" fmla="*/ 22337 h 278192"/>
                  <a:gd name="connsiteX8" fmla="*/ 144514 w 147981"/>
                  <a:gd name="connsiteY8" fmla="*/ 43519 h 278192"/>
                  <a:gd name="connsiteX9" fmla="*/ 147982 w 147981"/>
                  <a:gd name="connsiteY9" fmla="*/ 65856 h 278192"/>
                  <a:gd name="connsiteX10" fmla="*/ 143156 w 147981"/>
                  <a:gd name="connsiteY10" fmla="*/ 89350 h 278192"/>
                  <a:gd name="connsiteX11" fmla="*/ 131019 w 147981"/>
                  <a:gd name="connsiteY11" fmla="*/ 108624 h 278192"/>
                  <a:gd name="connsiteX12" fmla="*/ 115213 w 147981"/>
                  <a:gd name="connsiteY12" fmla="*/ 125384 h 278192"/>
                  <a:gd name="connsiteX13" fmla="*/ 99406 w 147981"/>
                  <a:gd name="connsiteY13" fmla="*/ 141567 h 278192"/>
                  <a:gd name="connsiteX14" fmla="*/ 87269 w 147981"/>
                  <a:gd name="connsiteY14" fmla="*/ 159107 h 278192"/>
                  <a:gd name="connsiteX15" fmla="*/ 82443 w 147981"/>
                  <a:gd name="connsiteY15" fmla="*/ 179913 h 278192"/>
                  <a:gd name="connsiteX16" fmla="*/ 82443 w 147981"/>
                  <a:gd name="connsiteY16" fmla="*/ 184334 h 278192"/>
                  <a:gd name="connsiteX17" fmla="*/ 82819 w 147981"/>
                  <a:gd name="connsiteY17" fmla="*/ 189160 h 278192"/>
                  <a:gd name="connsiteX18" fmla="*/ 42739 w 147981"/>
                  <a:gd name="connsiteY18" fmla="*/ 189160 h 278192"/>
                  <a:gd name="connsiteX19" fmla="*/ 41583 w 147981"/>
                  <a:gd name="connsiteY19" fmla="*/ 180867 h 278192"/>
                  <a:gd name="connsiteX20" fmla="*/ 41207 w 147981"/>
                  <a:gd name="connsiteY20" fmla="*/ 172573 h 278192"/>
                  <a:gd name="connsiteX21" fmla="*/ 45455 w 147981"/>
                  <a:gd name="connsiteY21" fmla="*/ 149831 h 278192"/>
                  <a:gd name="connsiteX22" fmla="*/ 56234 w 147981"/>
                  <a:gd name="connsiteY22" fmla="*/ 131337 h 278192"/>
                  <a:gd name="connsiteX23" fmla="*/ 70306 w 147981"/>
                  <a:gd name="connsiteY23" fmla="*/ 115530 h 278192"/>
                  <a:gd name="connsiteX24" fmla="*/ 84379 w 147981"/>
                  <a:gd name="connsiteY24" fmla="*/ 100880 h 278192"/>
                  <a:gd name="connsiteX25" fmla="*/ 95158 w 147981"/>
                  <a:gd name="connsiteY25" fmla="*/ 85853 h 278192"/>
                  <a:gd name="connsiteX26" fmla="*/ 99406 w 147981"/>
                  <a:gd name="connsiteY26" fmla="*/ 68891 h 278192"/>
                  <a:gd name="connsiteX27" fmla="*/ 90737 w 147981"/>
                  <a:gd name="connsiteY27" fmla="*/ 47882 h 278192"/>
                  <a:gd name="connsiteX28" fmla="*/ 64730 w 147981"/>
                  <a:gd name="connsiteY28" fmla="*/ 39589 h 278192"/>
                  <a:gd name="connsiteX29" fmla="*/ 94754 w 147981"/>
                  <a:gd name="connsiteY29" fmla="*/ 247763 h 278192"/>
                  <a:gd name="connsiteX30" fmla="*/ 85882 w 147981"/>
                  <a:gd name="connsiteY30" fmla="*/ 269725 h 278192"/>
                  <a:gd name="connsiteX31" fmla="*/ 63920 w 147981"/>
                  <a:gd name="connsiteY31" fmla="*/ 278192 h 278192"/>
                  <a:gd name="connsiteX32" fmla="*/ 42161 w 147981"/>
                  <a:gd name="connsiteY32" fmla="*/ 269725 h 278192"/>
                  <a:gd name="connsiteX33" fmla="*/ 33116 w 147981"/>
                  <a:gd name="connsiteY33" fmla="*/ 247763 h 278192"/>
                  <a:gd name="connsiteX34" fmla="*/ 42161 w 147981"/>
                  <a:gd name="connsiteY34" fmla="*/ 225599 h 278192"/>
                  <a:gd name="connsiteX35" fmla="*/ 63920 w 147981"/>
                  <a:gd name="connsiteY35" fmla="*/ 216930 h 278192"/>
                  <a:gd name="connsiteX36" fmla="*/ 85882 w 147981"/>
                  <a:gd name="connsiteY36" fmla="*/ 225599 h 278192"/>
                  <a:gd name="connsiteX37" fmla="*/ 94754 w 147981"/>
                  <a:gd name="connsiteY37" fmla="*/ 247763 h 27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981" h="278192">
                    <a:moveTo>
                      <a:pt x="64701" y="39705"/>
                    </a:moveTo>
                    <a:cubicBezTo>
                      <a:pt x="55714" y="39705"/>
                      <a:pt x="47102" y="40803"/>
                      <a:pt x="38895" y="42970"/>
                    </a:cubicBezTo>
                    <a:cubicBezTo>
                      <a:pt x="30660" y="45166"/>
                      <a:pt x="22077" y="48691"/>
                      <a:pt x="13090" y="53575"/>
                    </a:cubicBezTo>
                    <a:lnTo>
                      <a:pt x="0" y="17743"/>
                    </a:lnTo>
                    <a:cubicBezTo>
                      <a:pt x="9507" y="12339"/>
                      <a:pt x="20344" y="8062"/>
                      <a:pt x="32567" y="4826"/>
                    </a:cubicBezTo>
                    <a:cubicBezTo>
                      <a:pt x="44762" y="1618"/>
                      <a:pt x="57274" y="0"/>
                      <a:pt x="70133" y="0"/>
                    </a:cubicBezTo>
                    <a:cubicBezTo>
                      <a:pt x="85535" y="0"/>
                      <a:pt x="98250" y="2109"/>
                      <a:pt x="108277" y="6357"/>
                    </a:cubicBezTo>
                    <a:cubicBezTo>
                      <a:pt x="118304" y="10605"/>
                      <a:pt x="126251" y="15922"/>
                      <a:pt x="132175" y="22337"/>
                    </a:cubicBezTo>
                    <a:cubicBezTo>
                      <a:pt x="138070" y="28753"/>
                      <a:pt x="142202" y="35832"/>
                      <a:pt x="144514" y="43519"/>
                    </a:cubicBezTo>
                    <a:cubicBezTo>
                      <a:pt x="146826" y="51234"/>
                      <a:pt x="147982" y="58690"/>
                      <a:pt x="147982" y="65856"/>
                    </a:cubicBezTo>
                    <a:cubicBezTo>
                      <a:pt x="147982" y="74583"/>
                      <a:pt x="146364" y="82414"/>
                      <a:pt x="143156" y="89350"/>
                    </a:cubicBezTo>
                    <a:cubicBezTo>
                      <a:pt x="139948" y="96285"/>
                      <a:pt x="135903" y="102700"/>
                      <a:pt x="131019" y="108624"/>
                    </a:cubicBezTo>
                    <a:cubicBezTo>
                      <a:pt x="126136" y="114548"/>
                      <a:pt x="120876" y="120125"/>
                      <a:pt x="115213" y="125384"/>
                    </a:cubicBezTo>
                    <a:cubicBezTo>
                      <a:pt x="109549" y="130644"/>
                      <a:pt x="104289" y="136047"/>
                      <a:pt x="99406" y="141567"/>
                    </a:cubicBezTo>
                    <a:cubicBezTo>
                      <a:pt x="94522" y="147086"/>
                      <a:pt x="90477" y="152923"/>
                      <a:pt x="87269" y="159107"/>
                    </a:cubicBezTo>
                    <a:cubicBezTo>
                      <a:pt x="84061" y="165262"/>
                      <a:pt x="82443" y="172198"/>
                      <a:pt x="82443" y="179913"/>
                    </a:cubicBezTo>
                    <a:lnTo>
                      <a:pt x="82443" y="184334"/>
                    </a:lnTo>
                    <a:cubicBezTo>
                      <a:pt x="82443" y="186010"/>
                      <a:pt x="82559" y="187600"/>
                      <a:pt x="82819" y="189160"/>
                    </a:cubicBezTo>
                    <a:lnTo>
                      <a:pt x="42739" y="189160"/>
                    </a:lnTo>
                    <a:cubicBezTo>
                      <a:pt x="42219" y="186588"/>
                      <a:pt x="41843" y="183843"/>
                      <a:pt x="41583" y="180867"/>
                    </a:cubicBezTo>
                    <a:cubicBezTo>
                      <a:pt x="41323" y="177919"/>
                      <a:pt x="41207" y="175145"/>
                      <a:pt x="41207" y="172573"/>
                    </a:cubicBezTo>
                    <a:cubicBezTo>
                      <a:pt x="41207" y="164106"/>
                      <a:pt x="42623" y="156535"/>
                      <a:pt x="45455" y="149831"/>
                    </a:cubicBezTo>
                    <a:cubicBezTo>
                      <a:pt x="48287" y="143156"/>
                      <a:pt x="51870" y="137001"/>
                      <a:pt x="56234" y="131337"/>
                    </a:cubicBezTo>
                    <a:cubicBezTo>
                      <a:pt x="60597" y="125702"/>
                      <a:pt x="65278" y="120414"/>
                      <a:pt x="70306" y="115530"/>
                    </a:cubicBezTo>
                    <a:cubicBezTo>
                      <a:pt x="75306" y="110647"/>
                      <a:pt x="79987" y="105763"/>
                      <a:pt x="84379" y="100880"/>
                    </a:cubicBezTo>
                    <a:cubicBezTo>
                      <a:pt x="88743" y="95996"/>
                      <a:pt x="92326" y="90997"/>
                      <a:pt x="95158" y="85853"/>
                    </a:cubicBezTo>
                    <a:cubicBezTo>
                      <a:pt x="97990" y="80709"/>
                      <a:pt x="99406" y="75075"/>
                      <a:pt x="99406" y="68891"/>
                    </a:cubicBezTo>
                    <a:cubicBezTo>
                      <a:pt x="99406" y="60424"/>
                      <a:pt x="96516" y="53431"/>
                      <a:pt x="90737" y="47882"/>
                    </a:cubicBezTo>
                    <a:cubicBezTo>
                      <a:pt x="84957" y="42363"/>
                      <a:pt x="76288" y="39589"/>
                      <a:pt x="64730" y="39589"/>
                    </a:cubicBezTo>
                    <a:close/>
                    <a:moveTo>
                      <a:pt x="94754" y="247763"/>
                    </a:moveTo>
                    <a:cubicBezTo>
                      <a:pt x="94754" y="256750"/>
                      <a:pt x="91806" y="264090"/>
                      <a:pt x="85882" y="269725"/>
                    </a:cubicBezTo>
                    <a:cubicBezTo>
                      <a:pt x="79958" y="275360"/>
                      <a:pt x="72647" y="278192"/>
                      <a:pt x="63920" y="278192"/>
                    </a:cubicBezTo>
                    <a:cubicBezTo>
                      <a:pt x="55193" y="278192"/>
                      <a:pt x="48172" y="275360"/>
                      <a:pt x="42161" y="269725"/>
                    </a:cubicBezTo>
                    <a:cubicBezTo>
                      <a:pt x="36121" y="264090"/>
                      <a:pt x="33116" y="256750"/>
                      <a:pt x="33116" y="247763"/>
                    </a:cubicBezTo>
                    <a:cubicBezTo>
                      <a:pt x="33116" y="238776"/>
                      <a:pt x="36121" y="231379"/>
                      <a:pt x="42161" y="225599"/>
                    </a:cubicBezTo>
                    <a:cubicBezTo>
                      <a:pt x="48200" y="219820"/>
                      <a:pt x="55453" y="216930"/>
                      <a:pt x="63920" y="216930"/>
                    </a:cubicBezTo>
                    <a:cubicBezTo>
                      <a:pt x="72387" y="216930"/>
                      <a:pt x="79958" y="219820"/>
                      <a:pt x="85882" y="225599"/>
                    </a:cubicBezTo>
                    <a:cubicBezTo>
                      <a:pt x="91777" y="231379"/>
                      <a:pt x="94754" y="238776"/>
                      <a:pt x="94754" y="247763"/>
                    </a:cubicBezTo>
                    <a:close/>
                  </a:path>
                </a:pathLst>
              </a:custGeom>
              <a:solidFill>
                <a:srgbClr val="026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02" name="Graphic 4043">
              <a:extLst>
                <a:ext uri="{FF2B5EF4-FFF2-40B4-BE49-F238E27FC236}">
                  <a16:creationId xmlns:a16="http://schemas.microsoft.com/office/drawing/2014/main" id="{48B493C3-27A9-8DF7-B6F4-BB9BEDC30B0F}"/>
                </a:ext>
              </a:extLst>
            </p:cNvPr>
            <p:cNvGrpSpPr/>
            <p:nvPr/>
          </p:nvGrpSpPr>
          <p:grpSpPr>
            <a:xfrm>
              <a:off x="2507452" y="5681437"/>
              <a:ext cx="5910684" cy="22763"/>
              <a:chOff x="2836744" y="5465800"/>
              <a:chExt cx="5252100" cy="20227"/>
            </a:xfrm>
            <a:solidFill>
              <a:srgbClr val="4D678C"/>
            </a:solidFill>
          </p:grpSpPr>
          <p:sp>
            <p:nvSpPr>
              <p:cNvPr id="603" name="Freeform: Shape 602">
                <a:extLst>
                  <a:ext uri="{FF2B5EF4-FFF2-40B4-BE49-F238E27FC236}">
                    <a16:creationId xmlns:a16="http://schemas.microsoft.com/office/drawing/2014/main" id="{719DEDBB-6A79-F8AB-2D0B-28AD87446E3F}"/>
                  </a:ext>
                </a:extLst>
              </p:cNvPr>
              <p:cNvSpPr/>
              <p:nvPr/>
            </p:nvSpPr>
            <p:spPr>
              <a:xfrm>
                <a:off x="7860442" y="5465800"/>
                <a:ext cx="228402" cy="20227"/>
              </a:xfrm>
              <a:custGeom>
                <a:avLst/>
                <a:gdLst>
                  <a:gd name="connsiteX0" fmla="*/ 218289 w 228402"/>
                  <a:gd name="connsiteY0" fmla="*/ 20228 h 20227"/>
                  <a:gd name="connsiteX1" fmla="*/ 10114 w 228402"/>
                  <a:gd name="connsiteY1" fmla="*/ 20228 h 20227"/>
                  <a:gd name="connsiteX2" fmla="*/ 0 w 228402"/>
                  <a:gd name="connsiteY2" fmla="*/ 10114 h 20227"/>
                  <a:gd name="connsiteX3" fmla="*/ 10114 w 228402"/>
                  <a:gd name="connsiteY3" fmla="*/ 0 h 20227"/>
                  <a:gd name="connsiteX4" fmla="*/ 218289 w 228402"/>
                  <a:gd name="connsiteY4" fmla="*/ 0 h 20227"/>
                  <a:gd name="connsiteX5" fmla="*/ 228403 w 228402"/>
                  <a:gd name="connsiteY5" fmla="*/ 10114 h 20227"/>
                  <a:gd name="connsiteX6" fmla="*/ 218289 w 228402"/>
                  <a:gd name="connsiteY6" fmla="*/ 20228 h 2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402" h="20227">
                    <a:moveTo>
                      <a:pt x="218289" y="20228"/>
                    </a:moveTo>
                    <a:lnTo>
                      <a:pt x="10114" y="20228"/>
                    </a:lnTo>
                    <a:cubicBezTo>
                      <a:pt x="4537" y="20228"/>
                      <a:pt x="0" y="15691"/>
                      <a:pt x="0" y="10114"/>
                    </a:cubicBezTo>
                    <a:cubicBezTo>
                      <a:pt x="0" y="4537"/>
                      <a:pt x="4537" y="0"/>
                      <a:pt x="10114" y="0"/>
                    </a:cubicBezTo>
                    <a:lnTo>
                      <a:pt x="218289" y="0"/>
                    </a:lnTo>
                    <a:cubicBezTo>
                      <a:pt x="223866" y="0"/>
                      <a:pt x="228403" y="4537"/>
                      <a:pt x="228403" y="10114"/>
                    </a:cubicBezTo>
                    <a:cubicBezTo>
                      <a:pt x="228403" y="15691"/>
                      <a:pt x="223866" y="20228"/>
                      <a:pt x="218289" y="20228"/>
                    </a:cubicBezTo>
                    <a:close/>
                  </a:path>
                </a:pathLst>
              </a:custGeom>
              <a:solidFill>
                <a:srgbClr val="4D67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4" name="Freeform: Shape 603">
                <a:extLst>
                  <a:ext uri="{FF2B5EF4-FFF2-40B4-BE49-F238E27FC236}">
                    <a16:creationId xmlns:a16="http://schemas.microsoft.com/office/drawing/2014/main" id="{AE2FB680-02E8-6EF7-C278-2A39A6A49C43}"/>
                  </a:ext>
                </a:extLst>
              </p:cNvPr>
              <p:cNvSpPr/>
              <p:nvPr/>
            </p:nvSpPr>
            <p:spPr>
              <a:xfrm>
                <a:off x="3517762" y="5465800"/>
                <a:ext cx="4180885" cy="20227"/>
              </a:xfrm>
              <a:custGeom>
                <a:avLst/>
                <a:gdLst>
                  <a:gd name="connsiteX0" fmla="*/ 4170772 w 4180885"/>
                  <a:gd name="connsiteY0" fmla="*/ 20228 h 20227"/>
                  <a:gd name="connsiteX1" fmla="*/ 10114 w 4180885"/>
                  <a:gd name="connsiteY1" fmla="*/ 20228 h 20227"/>
                  <a:gd name="connsiteX2" fmla="*/ 0 w 4180885"/>
                  <a:gd name="connsiteY2" fmla="*/ 10114 h 20227"/>
                  <a:gd name="connsiteX3" fmla="*/ 10114 w 4180885"/>
                  <a:gd name="connsiteY3" fmla="*/ 0 h 20227"/>
                  <a:gd name="connsiteX4" fmla="*/ 4170772 w 4180885"/>
                  <a:gd name="connsiteY4" fmla="*/ 0 h 20227"/>
                  <a:gd name="connsiteX5" fmla="*/ 4180886 w 4180885"/>
                  <a:gd name="connsiteY5" fmla="*/ 10114 h 20227"/>
                  <a:gd name="connsiteX6" fmla="*/ 4170772 w 4180885"/>
                  <a:gd name="connsiteY6" fmla="*/ 20228 h 2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885" h="20227">
                    <a:moveTo>
                      <a:pt x="4170772" y="20228"/>
                    </a:moveTo>
                    <a:lnTo>
                      <a:pt x="10114" y="20228"/>
                    </a:lnTo>
                    <a:cubicBezTo>
                      <a:pt x="4537" y="20228"/>
                      <a:pt x="0" y="15691"/>
                      <a:pt x="0" y="10114"/>
                    </a:cubicBezTo>
                    <a:cubicBezTo>
                      <a:pt x="0" y="4537"/>
                      <a:pt x="4537" y="0"/>
                      <a:pt x="10114" y="0"/>
                    </a:cubicBezTo>
                    <a:lnTo>
                      <a:pt x="4170772" y="0"/>
                    </a:lnTo>
                    <a:cubicBezTo>
                      <a:pt x="4176349" y="0"/>
                      <a:pt x="4180886" y="4537"/>
                      <a:pt x="4180886" y="10114"/>
                    </a:cubicBezTo>
                    <a:cubicBezTo>
                      <a:pt x="4180886" y="15691"/>
                      <a:pt x="4176349" y="20228"/>
                      <a:pt x="4170772" y="20228"/>
                    </a:cubicBezTo>
                    <a:close/>
                  </a:path>
                </a:pathLst>
              </a:custGeom>
              <a:solidFill>
                <a:srgbClr val="4D67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5" name="Freeform: Shape 604">
                <a:extLst>
                  <a:ext uri="{FF2B5EF4-FFF2-40B4-BE49-F238E27FC236}">
                    <a16:creationId xmlns:a16="http://schemas.microsoft.com/office/drawing/2014/main" id="{C5F51E6F-94F6-36F6-5FAC-FEEBDFCA5A09}"/>
                  </a:ext>
                </a:extLst>
              </p:cNvPr>
              <p:cNvSpPr/>
              <p:nvPr/>
            </p:nvSpPr>
            <p:spPr>
              <a:xfrm>
                <a:off x="2836744" y="5465800"/>
                <a:ext cx="436779" cy="20227"/>
              </a:xfrm>
              <a:custGeom>
                <a:avLst/>
                <a:gdLst>
                  <a:gd name="connsiteX0" fmla="*/ 426665 w 436779"/>
                  <a:gd name="connsiteY0" fmla="*/ 20228 h 20227"/>
                  <a:gd name="connsiteX1" fmla="*/ 10114 w 436779"/>
                  <a:gd name="connsiteY1" fmla="*/ 20228 h 20227"/>
                  <a:gd name="connsiteX2" fmla="*/ 0 w 436779"/>
                  <a:gd name="connsiteY2" fmla="*/ 10114 h 20227"/>
                  <a:gd name="connsiteX3" fmla="*/ 10114 w 436779"/>
                  <a:gd name="connsiteY3" fmla="*/ 0 h 20227"/>
                  <a:gd name="connsiteX4" fmla="*/ 426665 w 436779"/>
                  <a:gd name="connsiteY4" fmla="*/ 0 h 20227"/>
                  <a:gd name="connsiteX5" fmla="*/ 436779 w 436779"/>
                  <a:gd name="connsiteY5" fmla="*/ 10114 h 20227"/>
                  <a:gd name="connsiteX6" fmla="*/ 426665 w 436779"/>
                  <a:gd name="connsiteY6" fmla="*/ 20228 h 2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79" h="20227">
                    <a:moveTo>
                      <a:pt x="426665" y="20228"/>
                    </a:moveTo>
                    <a:lnTo>
                      <a:pt x="10114" y="20228"/>
                    </a:lnTo>
                    <a:cubicBezTo>
                      <a:pt x="4537" y="20228"/>
                      <a:pt x="0" y="15691"/>
                      <a:pt x="0" y="10114"/>
                    </a:cubicBezTo>
                    <a:cubicBezTo>
                      <a:pt x="0" y="4537"/>
                      <a:pt x="4537" y="0"/>
                      <a:pt x="10114" y="0"/>
                    </a:cubicBezTo>
                    <a:lnTo>
                      <a:pt x="426665" y="0"/>
                    </a:lnTo>
                    <a:cubicBezTo>
                      <a:pt x="432242" y="0"/>
                      <a:pt x="436779" y="4537"/>
                      <a:pt x="436779" y="10114"/>
                    </a:cubicBezTo>
                    <a:cubicBezTo>
                      <a:pt x="436779" y="15691"/>
                      <a:pt x="432242" y="20228"/>
                      <a:pt x="426665" y="20228"/>
                    </a:cubicBezTo>
                    <a:close/>
                  </a:path>
                </a:pathLst>
              </a:custGeom>
              <a:solidFill>
                <a:srgbClr val="4D678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12434424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9BB8CB-B1DD-3860-D4D4-F4FC277E0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E89BB8CB-B1DD-3860-D4D4-F4FC277E0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36FE5C8-1043-D1DB-33B0-73164131A772}"/>
              </a:ext>
            </a:extLst>
          </p:cNvPr>
          <p:cNvSpPr/>
          <p:nvPr/>
        </p:nvSpPr>
        <p:spPr bwMode="auto">
          <a:xfrm>
            <a:off x="266700" y="1364660"/>
            <a:ext cx="11657075" cy="413582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grpSp>
        <p:nvGrpSpPr>
          <p:cNvPr id="3" name="Group 2">
            <a:extLst>
              <a:ext uri="{FF2B5EF4-FFF2-40B4-BE49-F238E27FC236}">
                <a16:creationId xmlns:a16="http://schemas.microsoft.com/office/drawing/2014/main" id="{E70E0416-8DD4-1AB1-6D31-748A07A368BA}"/>
              </a:ext>
            </a:extLst>
          </p:cNvPr>
          <p:cNvGrpSpPr/>
          <p:nvPr/>
        </p:nvGrpSpPr>
        <p:grpSpPr>
          <a:xfrm>
            <a:off x="7161681" y="1409384"/>
            <a:ext cx="2146853" cy="4016949"/>
            <a:chOff x="4866615" y="802274"/>
            <a:chExt cx="2887233" cy="5231936"/>
          </a:xfrm>
        </p:grpSpPr>
        <p:sp>
          <p:nvSpPr>
            <p:cNvPr id="4" name="Freeform: Shape 3">
              <a:extLst>
                <a:ext uri="{FF2B5EF4-FFF2-40B4-BE49-F238E27FC236}">
                  <a16:creationId xmlns:a16="http://schemas.microsoft.com/office/drawing/2014/main" id="{CF3B2E54-7B97-1051-BABE-70B1A1D05516}"/>
                </a:ext>
              </a:extLst>
            </p:cNvPr>
            <p:cNvSpPr/>
            <p:nvPr/>
          </p:nvSpPr>
          <p:spPr>
            <a:xfrm>
              <a:off x="4866615" y="802274"/>
              <a:ext cx="2887233" cy="5231936"/>
            </a:xfrm>
            <a:custGeom>
              <a:avLst/>
              <a:gdLst>
                <a:gd name="connsiteX0" fmla="*/ 2624286 w 2887233"/>
                <a:gd name="connsiteY0" fmla="*/ 5231937 h 5231936"/>
                <a:gd name="connsiteX1" fmla="*/ 1590848 w 2887233"/>
                <a:gd name="connsiteY1" fmla="*/ 5231937 h 5231936"/>
                <a:gd name="connsiteX2" fmla="*/ 1443561 w 2887233"/>
                <a:gd name="connsiteY2" fmla="*/ 5231681 h 5231936"/>
                <a:gd name="connsiteX3" fmla="*/ 437764 w 2887233"/>
                <a:gd name="connsiteY3" fmla="*/ 5231618 h 5231936"/>
                <a:gd name="connsiteX4" fmla="*/ 262933 w 2887233"/>
                <a:gd name="connsiteY4" fmla="*/ 5231937 h 5231936"/>
                <a:gd name="connsiteX5" fmla="*/ 0 w 2887233"/>
                <a:gd name="connsiteY5" fmla="*/ 4969004 h 5231936"/>
                <a:gd name="connsiteX6" fmla="*/ 0 w 2887233"/>
                <a:gd name="connsiteY6" fmla="*/ 262933 h 5231936"/>
                <a:gd name="connsiteX7" fmla="*/ 262933 w 2887233"/>
                <a:gd name="connsiteY7" fmla="*/ 0 h 5231936"/>
                <a:gd name="connsiteX8" fmla="*/ 2624302 w 2887233"/>
                <a:gd name="connsiteY8" fmla="*/ 0 h 5231936"/>
                <a:gd name="connsiteX9" fmla="*/ 2887234 w 2887233"/>
                <a:gd name="connsiteY9" fmla="*/ 262933 h 5231936"/>
                <a:gd name="connsiteX10" fmla="*/ 2887234 w 2887233"/>
                <a:gd name="connsiteY10" fmla="*/ 4969004 h 5231936"/>
                <a:gd name="connsiteX11" fmla="*/ 2624302 w 2887233"/>
                <a:gd name="connsiteY11" fmla="*/ 5231937 h 523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233" h="5231936">
                  <a:moveTo>
                    <a:pt x="2624286" y="5231937"/>
                  </a:moveTo>
                  <a:lnTo>
                    <a:pt x="1590848" y="5231937"/>
                  </a:lnTo>
                  <a:cubicBezTo>
                    <a:pt x="1541981" y="5231857"/>
                    <a:pt x="1492779" y="5231809"/>
                    <a:pt x="1443561" y="5231681"/>
                  </a:cubicBezTo>
                  <a:cubicBezTo>
                    <a:pt x="1107248" y="5230150"/>
                    <a:pt x="773279" y="5228364"/>
                    <a:pt x="437764" y="5231618"/>
                  </a:cubicBezTo>
                  <a:cubicBezTo>
                    <a:pt x="328530" y="5231937"/>
                    <a:pt x="262933" y="5231937"/>
                    <a:pt x="262933" y="5231937"/>
                  </a:cubicBezTo>
                  <a:cubicBezTo>
                    <a:pt x="117718" y="5231937"/>
                    <a:pt x="0" y="5114218"/>
                    <a:pt x="0" y="4969004"/>
                  </a:cubicBezTo>
                  <a:lnTo>
                    <a:pt x="0" y="262933"/>
                  </a:lnTo>
                  <a:cubicBezTo>
                    <a:pt x="0" y="117718"/>
                    <a:pt x="117718" y="0"/>
                    <a:pt x="262933" y="0"/>
                  </a:cubicBezTo>
                  <a:lnTo>
                    <a:pt x="2624302" y="0"/>
                  </a:lnTo>
                  <a:cubicBezTo>
                    <a:pt x="2769516" y="0"/>
                    <a:pt x="2887234" y="117718"/>
                    <a:pt x="2887234" y="262933"/>
                  </a:cubicBezTo>
                  <a:lnTo>
                    <a:pt x="2887234" y="4969004"/>
                  </a:lnTo>
                  <a:cubicBezTo>
                    <a:pt x="2887234" y="5114218"/>
                    <a:pt x="2769516" y="5231937"/>
                    <a:pt x="2624302" y="5231937"/>
                  </a:cubicBezTo>
                  <a:close/>
                </a:path>
              </a:pathLst>
            </a:custGeom>
            <a:solidFill>
              <a:srgbClr val="0025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E48D9F79-978D-3A01-29EA-EEA064FEC238}"/>
                </a:ext>
              </a:extLst>
            </p:cNvPr>
            <p:cNvSpPr/>
            <p:nvPr/>
          </p:nvSpPr>
          <p:spPr>
            <a:xfrm>
              <a:off x="5004116" y="1162691"/>
              <a:ext cx="2612228" cy="4463569"/>
            </a:xfrm>
            <a:custGeom>
              <a:avLst/>
              <a:gdLst>
                <a:gd name="connsiteX0" fmla="*/ 0 w 2612228"/>
                <a:gd name="connsiteY0" fmla="*/ 0 h 4463569"/>
                <a:gd name="connsiteX1" fmla="*/ 2612228 w 2612228"/>
                <a:gd name="connsiteY1" fmla="*/ 0 h 4463569"/>
                <a:gd name="connsiteX2" fmla="*/ 2612228 w 2612228"/>
                <a:gd name="connsiteY2" fmla="*/ 4463570 h 4463569"/>
                <a:gd name="connsiteX3" fmla="*/ 0 w 2612228"/>
                <a:gd name="connsiteY3" fmla="*/ 4463570 h 4463569"/>
              </a:gdLst>
              <a:ahLst/>
              <a:cxnLst>
                <a:cxn ang="0">
                  <a:pos x="connsiteX0" y="connsiteY0"/>
                </a:cxn>
                <a:cxn ang="0">
                  <a:pos x="connsiteX1" y="connsiteY1"/>
                </a:cxn>
                <a:cxn ang="0">
                  <a:pos x="connsiteX2" y="connsiteY2"/>
                </a:cxn>
                <a:cxn ang="0">
                  <a:pos x="connsiteX3" y="connsiteY3"/>
                </a:cxn>
              </a:cxnLst>
              <a:rect l="l" t="t" r="r" b="b"/>
              <a:pathLst>
                <a:path w="2612228" h="4463569">
                  <a:moveTo>
                    <a:pt x="0" y="0"/>
                  </a:moveTo>
                  <a:lnTo>
                    <a:pt x="2612228" y="0"/>
                  </a:lnTo>
                  <a:lnTo>
                    <a:pt x="2612228" y="4463570"/>
                  </a:lnTo>
                  <a:lnTo>
                    <a:pt x="0" y="4463570"/>
                  </a:lnTo>
                  <a:close/>
                </a:path>
              </a:pathLst>
            </a:custGeom>
            <a:solidFill>
              <a:srgbClr val="DCE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DC35B8BE-EAEC-36D0-3C24-1C36E569F61A}"/>
                </a:ext>
              </a:extLst>
            </p:cNvPr>
            <p:cNvSpPr/>
            <p:nvPr/>
          </p:nvSpPr>
          <p:spPr>
            <a:xfrm>
              <a:off x="6051646" y="5684165"/>
              <a:ext cx="557284" cy="192885"/>
            </a:xfrm>
            <a:custGeom>
              <a:avLst/>
              <a:gdLst>
                <a:gd name="connsiteX0" fmla="*/ 473346 w 557284"/>
                <a:gd name="connsiteY0" fmla="*/ 0 h 192885"/>
                <a:gd name="connsiteX1" fmla="*/ 83939 w 557284"/>
                <a:gd name="connsiteY1" fmla="*/ 0 h 192885"/>
                <a:gd name="connsiteX2" fmla="*/ 0 w 557284"/>
                <a:gd name="connsiteY2" fmla="*/ 83939 h 192885"/>
                <a:gd name="connsiteX3" fmla="*/ 0 w 557284"/>
                <a:gd name="connsiteY3" fmla="*/ 108947 h 192885"/>
                <a:gd name="connsiteX4" fmla="*/ 83939 w 557284"/>
                <a:gd name="connsiteY4" fmla="*/ 192885 h 192885"/>
                <a:gd name="connsiteX5" fmla="*/ 278642 w 557284"/>
                <a:gd name="connsiteY5" fmla="*/ 192885 h 192885"/>
                <a:gd name="connsiteX6" fmla="*/ 473346 w 557284"/>
                <a:gd name="connsiteY6" fmla="*/ 192885 h 192885"/>
                <a:gd name="connsiteX7" fmla="*/ 557285 w 557284"/>
                <a:gd name="connsiteY7" fmla="*/ 108947 h 192885"/>
                <a:gd name="connsiteX8" fmla="*/ 557285 w 557284"/>
                <a:gd name="connsiteY8" fmla="*/ 83939 h 192885"/>
                <a:gd name="connsiteX9" fmla="*/ 473346 w 557284"/>
                <a:gd name="connsiteY9" fmla="*/ 0 h 1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7284" h="192885">
                  <a:moveTo>
                    <a:pt x="473346" y="0"/>
                  </a:moveTo>
                  <a:lnTo>
                    <a:pt x="83939" y="0"/>
                  </a:lnTo>
                  <a:cubicBezTo>
                    <a:pt x="37767" y="0"/>
                    <a:pt x="0" y="37767"/>
                    <a:pt x="0" y="83939"/>
                  </a:cubicBezTo>
                  <a:lnTo>
                    <a:pt x="0" y="108947"/>
                  </a:lnTo>
                  <a:cubicBezTo>
                    <a:pt x="0" y="155102"/>
                    <a:pt x="37767" y="192853"/>
                    <a:pt x="83939" y="192885"/>
                  </a:cubicBezTo>
                  <a:cubicBezTo>
                    <a:pt x="83939" y="192885"/>
                    <a:pt x="181291" y="192885"/>
                    <a:pt x="278642" y="192885"/>
                  </a:cubicBezTo>
                  <a:lnTo>
                    <a:pt x="473346" y="192885"/>
                  </a:lnTo>
                  <a:cubicBezTo>
                    <a:pt x="519517" y="192885"/>
                    <a:pt x="557285" y="155118"/>
                    <a:pt x="557285" y="108947"/>
                  </a:cubicBezTo>
                  <a:lnTo>
                    <a:pt x="557285" y="83939"/>
                  </a:lnTo>
                  <a:cubicBezTo>
                    <a:pt x="557285" y="37767"/>
                    <a:pt x="519517" y="0"/>
                    <a:pt x="473346" y="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02A6601F-DF7D-ABCC-6176-5CAB420B5765}"/>
                </a:ext>
              </a:extLst>
            </p:cNvPr>
            <p:cNvSpPr/>
            <p:nvPr/>
          </p:nvSpPr>
          <p:spPr>
            <a:xfrm>
              <a:off x="6586618" y="4851620"/>
              <a:ext cx="189806" cy="359087"/>
            </a:xfrm>
            <a:custGeom>
              <a:avLst/>
              <a:gdLst>
                <a:gd name="connsiteX0" fmla="*/ 0 w 189806"/>
                <a:gd name="connsiteY0" fmla="*/ 0 h 359087"/>
                <a:gd name="connsiteX1" fmla="*/ 189807 w 189806"/>
                <a:gd name="connsiteY1" fmla="*/ 3381 h 359087"/>
                <a:gd name="connsiteX2" fmla="*/ 181705 w 189806"/>
                <a:gd name="connsiteY2" fmla="*/ 359088 h 359087"/>
                <a:gd name="connsiteX3" fmla="*/ 11515 w 189806"/>
                <a:gd name="connsiteY3" fmla="*/ 359088 h 359087"/>
                <a:gd name="connsiteX4" fmla="*/ 0 w 189806"/>
                <a:gd name="connsiteY4" fmla="*/ 0 h 359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806" h="359087">
                  <a:moveTo>
                    <a:pt x="0" y="0"/>
                  </a:moveTo>
                  <a:lnTo>
                    <a:pt x="189807" y="3381"/>
                  </a:lnTo>
                  <a:lnTo>
                    <a:pt x="181705" y="359088"/>
                  </a:lnTo>
                  <a:lnTo>
                    <a:pt x="11515" y="359088"/>
                  </a:lnTo>
                  <a:lnTo>
                    <a:pt x="0" y="0"/>
                  </a:lnTo>
                  <a:close/>
                </a:path>
              </a:pathLst>
            </a:custGeom>
            <a:solidFill>
              <a:srgbClr val="DCE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E958181F-F81F-4436-7A2A-67829ED6A78B}"/>
                </a:ext>
              </a:extLst>
            </p:cNvPr>
            <p:cNvSpPr/>
            <p:nvPr/>
          </p:nvSpPr>
          <p:spPr>
            <a:xfrm>
              <a:off x="5912221" y="5269750"/>
              <a:ext cx="123475" cy="166362"/>
            </a:xfrm>
            <a:custGeom>
              <a:avLst/>
              <a:gdLst>
                <a:gd name="connsiteX0" fmla="*/ 0 w 123475"/>
                <a:gd name="connsiteY0" fmla="*/ 0 h 166362"/>
                <a:gd name="connsiteX1" fmla="*/ 123476 w 123475"/>
                <a:gd name="connsiteY1" fmla="*/ 1563 h 166362"/>
                <a:gd name="connsiteX2" fmla="*/ 118197 w 123475"/>
                <a:gd name="connsiteY2" fmla="*/ 166362 h 166362"/>
                <a:gd name="connsiteX3" fmla="*/ 7480 w 123475"/>
                <a:gd name="connsiteY3" fmla="*/ 166362 h 166362"/>
                <a:gd name="connsiteX4" fmla="*/ 0 w 123475"/>
                <a:gd name="connsiteY4" fmla="*/ 0 h 16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75" h="166362">
                  <a:moveTo>
                    <a:pt x="0" y="0"/>
                  </a:moveTo>
                  <a:lnTo>
                    <a:pt x="123476" y="1563"/>
                  </a:lnTo>
                  <a:lnTo>
                    <a:pt x="118197" y="166362"/>
                  </a:lnTo>
                  <a:lnTo>
                    <a:pt x="7480" y="166362"/>
                  </a:lnTo>
                  <a:lnTo>
                    <a:pt x="0" y="0"/>
                  </a:lnTo>
                  <a:close/>
                </a:path>
              </a:pathLst>
            </a:custGeom>
            <a:solidFill>
              <a:srgbClr val="DCEE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89A6F273-B147-2824-14C4-DB129970F22D}"/>
                </a:ext>
              </a:extLst>
            </p:cNvPr>
            <p:cNvSpPr/>
            <p:nvPr/>
          </p:nvSpPr>
          <p:spPr>
            <a:xfrm>
              <a:off x="5800675" y="898094"/>
              <a:ext cx="1059226" cy="75023"/>
            </a:xfrm>
            <a:custGeom>
              <a:avLst/>
              <a:gdLst>
                <a:gd name="connsiteX0" fmla="*/ 1025734 w 1059226"/>
                <a:gd name="connsiteY0" fmla="*/ 0 h 75023"/>
                <a:gd name="connsiteX1" fmla="*/ 1059226 w 1059226"/>
                <a:gd name="connsiteY1" fmla="*/ 33493 h 75023"/>
                <a:gd name="connsiteX2" fmla="*/ 1059226 w 1059226"/>
                <a:gd name="connsiteY2" fmla="*/ 41531 h 75023"/>
                <a:gd name="connsiteX3" fmla="*/ 1025734 w 1059226"/>
                <a:gd name="connsiteY3" fmla="*/ 75023 h 75023"/>
                <a:gd name="connsiteX4" fmla="*/ 33492 w 1059226"/>
                <a:gd name="connsiteY4" fmla="*/ 75023 h 75023"/>
                <a:gd name="connsiteX5" fmla="*/ 0 w 1059226"/>
                <a:gd name="connsiteY5" fmla="*/ 41531 h 75023"/>
                <a:gd name="connsiteX6" fmla="*/ 0 w 1059226"/>
                <a:gd name="connsiteY6" fmla="*/ 33493 h 75023"/>
                <a:gd name="connsiteX7" fmla="*/ 33492 w 1059226"/>
                <a:gd name="connsiteY7" fmla="*/ 0 h 7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9226" h="75023">
                  <a:moveTo>
                    <a:pt x="1025734" y="0"/>
                  </a:moveTo>
                  <a:cubicBezTo>
                    <a:pt x="1044231" y="0"/>
                    <a:pt x="1059226" y="14995"/>
                    <a:pt x="1059226" y="33493"/>
                  </a:cubicBezTo>
                  <a:lnTo>
                    <a:pt x="1059226" y="41531"/>
                  </a:lnTo>
                  <a:cubicBezTo>
                    <a:pt x="1059226" y="60028"/>
                    <a:pt x="1044231" y="75023"/>
                    <a:pt x="1025734" y="75023"/>
                  </a:cubicBezTo>
                  <a:lnTo>
                    <a:pt x="33492" y="75023"/>
                  </a:lnTo>
                  <a:cubicBezTo>
                    <a:pt x="14995" y="75023"/>
                    <a:pt x="0" y="60028"/>
                    <a:pt x="0" y="41531"/>
                  </a:cubicBezTo>
                  <a:lnTo>
                    <a:pt x="0" y="33493"/>
                  </a:lnTo>
                  <a:cubicBezTo>
                    <a:pt x="0" y="14995"/>
                    <a:pt x="14995" y="0"/>
                    <a:pt x="33492" y="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45" name="IMG_3530.jpg" descr="IMG_3530.jpg"/>
          <p:cNvPicPr>
            <a:picLocks noChangeAspect="1"/>
          </p:cNvPicPr>
          <p:nvPr/>
        </p:nvPicPr>
        <p:blipFill>
          <a:blip r:embed="rId6"/>
          <a:srcRect t="10334" b="10334"/>
          <a:stretch>
            <a:fillRect/>
          </a:stretch>
        </p:blipFill>
        <p:spPr>
          <a:xfrm>
            <a:off x="1806067" y="1660949"/>
            <a:ext cx="3383280" cy="3536102"/>
          </a:xfrm>
          <a:prstGeom prst="rect">
            <a:avLst/>
          </a:prstGeom>
          <a:noFill/>
          <a:ln w="12700">
            <a:miter lim="400000"/>
          </a:ln>
          <a:effectLst>
            <a:outerShdw blurRad="50800" dist="38100" dir="2700000" algn="tl" rotWithShape="0">
              <a:prstClr val="black">
                <a:alpha val="40000"/>
              </a:prstClr>
            </a:outerShdw>
          </a:effectLst>
        </p:spPr>
      </p:pic>
      <p:sp>
        <p:nvSpPr>
          <p:cNvPr id="8" name="Title 7">
            <a:extLst>
              <a:ext uri="{FF2B5EF4-FFF2-40B4-BE49-F238E27FC236}">
                <a16:creationId xmlns:a16="http://schemas.microsoft.com/office/drawing/2014/main" id="{F8188914-2FAA-A558-F78A-6E611432F6D6}"/>
              </a:ext>
            </a:extLst>
          </p:cNvPr>
          <p:cNvSpPr>
            <a:spLocks noGrp="1"/>
          </p:cNvSpPr>
          <p:nvPr>
            <p:ph type="title"/>
          </p:nvPr>
        </p:nvSpPr>
        <p:spPr/>
        <p:txBody>
          <a:bodyPr vert="horz"/>
          <a:lstStyle/>
          <a:p>
            <a:r>
              <a:rPr lang="en-US" dirty="0"/>
              <a:t>Access the </a:t>
            </a:r>
            <a:r>
              <a:rPr lang="en-US" dirty="0" err="1"/>
              <a:t>VitalTalk</a:t>
            </a:r>
            <a:r>
              <a:rPr lang="en-US" dirty="0"/>
              <a:t> App!</a:t>
            </a:r>
          </a:p>
        </p:txBody>
      </p:sp>
      <p:sp>
        <p:nvSpPr>
          <p:cNvPr id="1056" name="Slide Number Placeholder 3">
            <a:extLst>
              <a:ext uri="{FF2B5EF4-FFF2-40B4-BE49-F238E27FC236}">
                <a16:creationId xmlns:a16="http://schemas.microsoft.com/office/drawing/2014/main" id="{9E6FDF3B-F544-22AB-EFC4-A3C844CD3E36}"/>
              </a:ext>
            </a:extLst>
          </p:cNvPr>
          <p:cNvSpPr>
            <a:spLocks noGrp="1"/>
          </p:cNvSpPr>
          <p:nvPr>
            <p:ph type="sldNum" sz="quarter" idx="4"/>
          </p:nvPr>
        </p:nvSpPr>
        <p:spPr/>
        <p:txBody>
          <a:bodyPr lIns="0" rIns="0" anchor="ctr" anchorCtr="0">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31</a:t>
            </a:fld>
            <a:r>
              <a:rPr kumimoji="0" lang="en-US" sz="1600" b="0" i="0" u="none" strike="noStrike" kern="1200" cap="none" spc="0" normalizeH="0" baseline="0" noProof="0">
                <a:ln>
                  <a:noFill/>
                </a:ln>
                <a:solidFill>
                  <a:srgbClr val="000064"/>
                </a:solidFill>
                <a:effectLst/>
                <a:uLnTx/>
                <a:uFillTx/>
                <a:latin typeface="Calibri"/>
                <a:ea typeface="+mn-ea"/>
                <a:cs typeface="+mn-cs"/>
              </a:rPr>
              <a:t>   </a:t>
            </a:r>
          </a:p>
        </p:txBody>
      </p:sp>
      <p:sp>
        <p:nvSpPr>
          <p:cNvPr id="1057" name="Footer Placeholder 4">
            <a:extLst>
              <a:ext uri="{FF2B5EF4-FFF2-40B4-BE49-F238E27FC236}">
                <a16:creationId xmlns:a16="http://schemas.microsoft.com/office/drawing/2014/main" id="{0E754C08-40D3-5410-4C7E-CCDEE040B5B7}"/>
              </a:ext>
            </a:extLst>
          </p:cNvPr>
          <p:cNvSpPr>
            <a:spLocks noGrp="1"/>
          </p:cNvSpPr>
          <p:nvPr>
            <p:ph type="ftr" sz="quarter" idx="3"/>
          </p:nvPr>
        </p:nvSpPr>
        <p:spPr/>
        <p:txBody>
          <a:bodyPr lIns="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white">
                    <a:lumMod val="85000"/>
                  </a:prstClr>
                </a:solidFill>
                <a:effectLst/>
                <a:uLnTx/>
                <a:uFillTx/>
                <a:latin typeface="Calibri"/>
                <a:ea typeface="+mn-ea"/>
                <a:cs typeface="+mn-cs"/>
              </a:rPr>
              <a:t>1190.004\678346(pptx)-E2 5-11-24</a:t>
            </a:r>
          </a:p>
        </p:txBody>
      </p:sp>
      <p:pic>
        <p:nvPicPr>
          <p:cNvPr id="1046" name="IMG_3529.PNG" descr="IMG_3529.PNG"/>
          <p:cNvPicPr>
            <a:picLocks/>
          </p:cNvPicPr>
          <p:nvPr/>
        </p:nvPicPr>
        <p:blipFill>
          <a:blip r:embed="rId7"/>
          <a:srcRect t="4826"/>
          <a:stretch>
            <a:fillRect/>
          </a:stretch>
        </p:blipFill>
        <p:spPr>
          <a:xfrm>
            <a:off x="7263921" y="1686103"/>
            <a:ext cx="1965960" cy="3429000"/>
          </a:xfrm>
          <a:prstGeom prst="rect">
            <a:avLst/>
          </a:prstGeom>
          <a:noFill/>
          <a:ln w="12700">
            <a:miter lim="400000"/>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335705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6E26B0-3993-8D97-BF8B-A6546D71D3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think-cell data - do not delete" hidden="1">
                        <a:extLst>
                          <a:ext uri="{FF2B5EF4-FFF2-40B4-BE49-F238E27FC236}">
                            <a16:creationId xmlns:a16="http://schemas.microsoft.com/office/drawing/2014/main" id="{616E26B0-3993-8D97-BF8B-A6546D71D3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D49B6DB-7649-584C-765E-A77429CE43F2}"/>
              </a:ext>
            </a:extLst>
          </p:cNvPr>
          <p:cNvSpPr>
            <a:spLocks noGrp="1"/>
          </p:cNvSpPr>
          <p:nvPr>
            <p:ph idx="1"/>
            <p:custDataLst>
              <p:tags r:id="rId3"/>
            </p:custDataLst>
          </p:nvPr>
        </p:nvSpPr>
        <p:spPr>
          <a:xfrm>
            <a:off x="266700" y="1173163"/>
            <a:ext cx="11658600" cy="4889309"/>
          </a:xfrm>
        </p:spPr>
        <p:txBody>
          <a:bodyPr vert="horz" lIns="91440" tIns="45720" rIns="91440" bIns="45720" rtlCol="0" anchor="t">
            <a:normAutofit/>
          </a:bodyPr>
          <a:lstStyle/>
          <a:p>
            <a:pPr marL="283464" indent="-283464"/>
            <a:r>
              <a:rPr lang="en-US" dirty="0">
                <a:cs typeface="Calibri"/>
              </a:rPr>
              <a:t>Capacity for Decision Making (#</a:t>
            </a:r>
            <a:r>
              <a:rPr lang="en-US" dirty="0">
                <a:ea typeface="+mn-lt"/>
                <a:cs typeface="+mn-lt"/>
              </a:rPr>
              <a:t>14359973)</a:t>
            </a:r>
            <a:endParaRPr lang="en-US" dirty="0">
              <a:cs typeface="Calibri"/>
            </a:endParaRPr>
          </a:p>
          <a:p>
            <a:pPr marL="740664" lvl="1" indent="-283464"/>
            <a:r>
              <a:rPr lang="en-US" sz="2200" dirty="0">
                <a:ea typeface="+mn-lt"/>
                <a:cs typeface="+mn-lt"/>
                <a:hlinkClick r:id="rId10">
                  <a:extLst>
                    <a:ext uri="{A12FA001-AC4F-418D-AE19-62706E023703}">
                      <ahyp:hlinkClr xmlns:ahyp="http://schemas.microsoft.com/office/drawing/2018/hyperlinkcolor" val="tx"/>
                    </a:ext>
                  </a:extLst>
                </a:hlinkClick>
              </a:rPr>
              <a:t>Viewing Tier One: Capacity for Medical Decision-Making (policystat.com)</a:t>
            </a:r>
            <a:endParaRPr lang="en-US" sz="2200" dirty="0">
              <a:cs typeface="Calibri"/>
            </a:endParaRPr>
          </a:p>
          <a:p>
            <a:pPr marL="283464" indent="-283464"/>
            <a:r>
              <a:rPr lang="en-US" dirty="0">
                <a:cs typeface="Calibri"/>
              </a:rPr>
              <a:t>Informed Consent (#</a:t>
            </a:r>
            <a:r>
              <a:rPr lang="en-US" dirty="0">
                <a:ea typeface="+mn-lt"/>
                <a:cs typeface="+mn-lt"/>
              </a:rPr>
              <a:t>14316362)</a:t>
            </a:r>
            <a:endParaRPr lang="en-US" dirty="0">
              <a:cs typeface="Calibri"/>
            </a:endParaRPr>
          </a:p>
          <a:p>
            <a:pPr marL="740664" lvl="1" indent="-283464"/>
            <a:r>
              <a:rPr lang="en-US" sz="2200" dirty="0">
                <a:ea typeface="+mn-lt"/>
                <a:cs typeface="+mn-lt"/>
                <a:hlinkClick r:id="rId11">
                  <a:extLst>
                    <a:ext uri="{A12FA001-AC4F-418D-AE19-62706E023703}">
                      <ahyp:hlinkClr xmlns:ahyp="http://schemas.microsoft.com/office/drawing/2018/hyperlinkcolor" val="tx"/>
                    </a:ext>
                  </a:extLst>
                </a:hlinkClick>
              </a:rPr>
              <a:t>Viewing Tier One: Informed Consent (policystat.com)</a:t>
            </a:r>
            <a:endParaRPr lang="en-US" sz="2200" dirty="0">
              <a:cs typeface="Calibri"/>
            </a:endParaRPr>
          </a:p>
          <a:p>
            <a:pPr marL="283464" indent="-283464"/>
            <a:r>
              <a:rPr lang="en-US" dirty="0">
                <a:cs typeface="Calibri"/>
              </a:rPr>
              <a:t>Advance Directive (#</a:t>
            </a:r>
            <a:r>
              <a:rPr lang="en-US" dirty="0">
                <a:ea typeface="+mn-lt"/>
                <a:cs typeface="+mn-lt"/>
              </a:rPr>
              <a:t>8136858)</a:t>
            </a:r>
          </a:p>
          <a:p>
            <a:pPr marL="740664" lvl="1" indent="-283464"/>
            <a:r>
              <a:rPr lang="en-US" sz="2200" dirty="0">
                <a:ea typeface="+mn-lt"/>
                <a:cs typeface="+mn-lt"/>
                <a:hlinkClick r:id="rId12">
                  <a:extLst>
                    <a:ext uri="{A12FA001-AC4F-418D-AE19-62706E023703}">
                      <ahyp:hlinkClr xmlns:ahyp="http://schemas.microsoft.com/office/drawing/2018/hyperlinkcolor" val="tx"/>
                    </a:ext>
                  </a:extLst>
                </a:hlinkClick>
              </a:rPr>
              <a:t>Viewing Tier One: Advance Directive (policystat.com)</a:t>
            </a:r>
            <a:endParaRPr lang="en-US" sz="2200" dirty="0">
              <a:cs typeface="Calibri"/>
            </a:endParaRPr>
          </a:p>
          <a:p>
            <a:pPr marL="283464" indent="-283464"/>
            <a:r>
              <a:rPr lang="en-US" dirty="0">
                <a:cs typeface="Calibri"/>
              </a:rPr>
              <a:t>Guardianship Policy (#</a:t>
            </a:r>
            <a:r>
              <a:rPr lang="en-US" dirty="0">
                <a:ea typeface="+mn-lt"/>
                <a:cs typeface="+mn-lt"/>
              </a:rPr>
              <a:t>10534842)</a:t>
            </a:r>
          </a:p>
          <a:p>
            <a:pPr marL="740664" lvl="1" indent="-283464"/>
            <a:r>
              <a:rPr lang="en-US" sz="2200" dirty="0">
                <a:ea typeface="+mn-lt"/>
                <a:cs typeface="+mn-lt"/>
                <a:hlinkClick r:id="rId13">
                  <a:extLst>
                    <a:ext uri="{A12FA001-AC4F-418D-AE19-62706E023703}">
                      <ahyp:hlinkClr xmlns:ahyp="http://schemas.microsoft.com/office/drawing/2018/hyperlinkcolor" val="tx"/>
                    </a:ext>
                  </a:extLst>
                </a:hlinkClick>
              </a:rPr>
              <a:t>Viewing Tier One: Guardianship (policystat.com)</a:t>
            </a:r>
            <a:endParaRPr lang="en-US" sz="2200" dirty="0">
              <a:cs typeface="Calibri"/>
            </a:endParaRPr>
          </a:p>
        </p:txBody>
      </p:sp>
      <p:sp>
        <p:nvSpPr>
          <p:cNvPr id="2" name="Title 1">
            <a:extLst>
              <a:ext uri="{FF2B5EF4-FFF2-40B4-BE49-F238E27FC236}">
                <a16:creationId xmlns:a16="http://schemas.microsoft.com/office/drawing/2014/main" id="{BDF1DF4D-A7F2-1E4F-7A3A-2752049E4F5C}"/>
              </a:ext>
            </a:extLst>
          </p:cNvPr>
          <p:cNvSpPr>
            <a:spLocks noGrp="1"/>
          </p:cNvSpPr>
          <p:nvPr>
            <p:ph type="title"/>
            <p:custDataLst>
              <p:tags r:id="rId4"/>
            </p:custDataLst>
          </p:nvPr>
        </p:nvSpPr>
        <p:spPr/>
        <p:txBody>
          <a:bodyPr vert="horz">
            <a:normAutofit/>
          </a:bodyPr>
          <a:lstStyle/>
          <a:p>
            <a:r>
              <a:rPr lang="en-US" dirty="0">
                <a:solidFill>
                  <a:srgbClr val="000064"/>
                </a:solidFill>
                <a:cs typeface="Calibri Light"/>
              </a:rPr>
              <a:t>Policies</a:t>
            </a:r>
            <a:endParaRPr lang="en-US" sz="4000" dirty="0">
              <a:solidFill>
                <a:srgbClr val="000064"/>
              </a:solidFill>
            </a:endParaRPr>
          </a:p>
        </p:txBody>
      </p:sp>
      <p:sp>
        <p:nvSpPr>
          <p:cNvPr id="4" name="Footer Placeholder 3">
            <a:extLst>
              <a:ext uri="{FF2B5EF4-FFF2-40B4-BE49-F238E27FC236}">
                <a16:creationId xmlns:a16="http://schemas.microsoft.com/office/drawing/2014/main" id="{31D669EB-14C2-CA30-66B9-0B1566EB4B94}"/>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5" name="Slide Number Placeholder 4">
            <a:extLst>
              <a:ext uri="{FF2B5EF4-FFF2-40B4-BE49-F238E27FC236}">
                <a16:creationId xmlns:a16="http://schemas.microsoft.com/office/drawing/2014/main" id="{E96BC242-CD86-FA0A-3C9F-5F4E46A65A7C}"/>
              </a:ext>
            </a:extLst>
          </p:cNvPr>
          <p:cNvSpPr>
            <a:spLocks noGrp="1"/>
          </p:cNvSpPr>
          <p:nvPr>
            <p:ph type="sldNum" sz="quarter" idx="4"/>
            <p:custDataLst>
              <p:tags r:id="rId6"/>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7732008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811B8E-361C-BF0C-3974-694682AEAF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think-cell data - do not delete" hidden="1">
                        <a:extLst>
                          <a:ext uri="{FF2B5EF4-FFF2-40B4-BE49-F238E27FC236}">
                            <a16:creationId xmlns:a16="http://schemas.microsoft.com/office/drawing/2014/main" id="{4E811B8E-361C-BF0C-3974-694682AEAF4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AAEA5B1-44C0-7DC1-97D6-6CB4C2D4BF01}"/>
              </a:ext>
            </a:extLst>
          </p:cNvPr>
          <p:cNvSpPr>
            <a:spLocks noGrp="1"/>
          </p:cNvSpPr>
          <p:nvPr>
            <p:ph idx="1"/>
            <p:custDataLst>
              <p:tags r:id="rId3"/>
            </p:custDataLst>
          </p:nvPr>
        </p:nvSpPr>
        <p:spPr/>
        <p:txBody>
          <a:bodyPr vert="horz" lIns="91440" tIns="45720" rIns="91440" bIns="45720" rtlCol="0" anchor="t">
            <a:normAutofit/>
          </a:bodyPr>
          <a:lstStyle/>
          <a:p>
            <a:pPr marL="283464" indent="-283464"/>
            <a:r>
              <a:rPr lang="en-US" sz="2000" dirty="0">
                <a:ea typeface="+mn-lt"/>
                <a:cs typeface="+mn-lt"/>
              </a:rPr>
              <a:t>Behavioral Health Services and/or Chemical Dependency Programs</a:t>
            </a:r>
            <a:endParaRPr lang="en-US" sz="2000" dirty="0">
              <a:cs typeface="Calibri" panose="020F0502020204030204"/>
            </a:endParaRPr>
          </a:p>
          <a:p>
            <a:pPr marL="283464" indent="-283464"/>
            <a:r>
              <a:rPr lang="en-US" sz="2000" dirty="0">
                <a:ea typeface="+mn-lt"/>
                <a:cs typeface="+mn-lt"/>
              </a:rPr>
              <a:t>Care Experience</a:t>
            </a:r>
            <a:endParaRPr lang="en-US" sz="2000" dirty="0">
              <a:cs typeface="Calibri"/>
            </a:endParaRPr>
          </a:p>
          <a:p>
            <a:pPr marL="283464" indent="-283464"/>
            <a:r>
              <a:rPr lang="en-US" sz="2000" dirty="0">
                <a:ea typeface="+mn-lt"/>
                <a:cs typeface="+mn-lt"/>
              </a:rPr>
              <a:t>Patient Access and Care Coordination Department (social work department)</a:t>
            </a:r>
            <a:endParaRPr lang="en-US" sz="2000" dirty="0">
              <a:cs typeface="Calibri"/>
            </a:endParaRPr>
          </a:p>
          <a:p>
            <a:pPr marL="283464" indent="-283464"/>
            <a:r>
              <a:rPr lang="en-US" sz="2000" dirty="0">
                <a:ea typeface="+mn-lt"/>
                <a:cs typeface="+mn-lt"/>
              </a:rPr>
              <a:t>Ethics Consultation</a:t>
            </a:r>
            <a:endParaRPr lang="en-US" sz="2000" dirty="0">
              <a:cs typeface="Calibri"/>
            </a:endParaRPr>
          </a:p>
          <a:p>
            <a:pPr marL="283464" indent="-283464"/>
            <a:r>
              <a:rPr lang="en-US" sz="2000" dirty="0">
                <a:ea typeface="+mn-lt"/>
                <a:cs typeface="+mn-lt"/>
              </a:rPr>
              <a:t>Quality/Safety/Risk Department</a:t>
            </a:r>
            <a:endParaRPr lang="en-US" sz="2000" dirty="0">
              <a:cs typeface="Calibri"/>
            </a:endParaRPr>
          </a:p>
          <a:p>
            <a:pPr marL="283464" indent="-283464"/>
            <a:r>
              <a:rPr lang="en-US" sz="2000" dirty="0">
                <a:ea typeface="+mn-lt"/>
                <a:cs typeface="+mn-lt"/>
              </a:rPr>
              <a:t>Palliative Medicine Team</a:t>
            </a:r>
            <a:endParaRPr lang="en-US" sz="2000" dirty="0">
              <a:cs typeface="Calibri"/>
            </a:endParaRPr>
          </a:p>
          <a:p>
            <a:pPr marL="283464" indent="-283464"/>
            <a:r>
              <a:rPr lang="en-US" sz="2000" dirty="0">
                <a:ea typeface="+mn-lt"/>
                <a:cs typeface="+mn-lt"/>
              </a:rPr>
              <a:t>Pastoral Care</a:t>
            </a:r>
            <a:endParaRPr lang="en-US" sz="2000" dirty="0">
              <a:cs typeface="Calibri"/>
            </a:endParaRPr>
          </a:p>
          <a:p>
            <a:pPr marL="283464" indent="-283464"/>
            <a:r>
              <a:rPr lang="en-US" sz="2000" dirty="0">
                <a:ea typeface="+mn-lt"/>
                <a:cs typeface="+mn-lt"/>
              </a:rPr>
              <a:t>Psychiatry</a:t>
            </a:r>
            <a:endParaRPr lang="en-US" sz="2000" dirty="0">
              <a:cs typeface="Calibri"/>
            </a:endParaRPr>
          </a:p>
          <a:p>
            <a:pPr marL="283464" indent="-283464"/>
            <a:r>
              <a:rPr lang="en-US" sz="2000" dirty="0">
                <a:ea typeface="+mn-lt"/>
                <a:cs typeface="+mn-lt"/>
              </a:rPr>
              <a:t>Risk Finance and Insurance Service (medical-legal)</a:t>
            </a:r>
            <a:endParaRPr lang="en-US" sz="2000" dirty="0">
              <a:cs typeface="Calibri"/>
            </a:endParaRPr>
          </a:p>
          <a:p>
            <a:pPr marL="283464" indent="-283464"/>
            <a:r>
              <a:rPr lang="en-US" sz="2000" dirty="0">
                <a:ea typeface="+mn-lt"/>
                <a:cs typeface="+mn-lt"/>
              </a:rPr>
              <a:t>Attorney on Call</a:t>
            </a:r>
            <a:endParaRPr lang="en-US" sz="2000" dirty="0">
              <a:cs typeface="Calibri"/>
            </a:endParaRPr>
          </a:p>
          <a:p>
            <a:pPr marL="283464" indent="-283464"/>
            <a:r>
              <a:rPr lang="en-US" sz="2000" dirty="0">
                <a:ea typeface="+mn-lt"/>
                <a:cs typeface="+mn-lt"/>
              </a:rPr>
              <a:t>Corporate Legal Affairs</a:t>
            </a:r>
            <a:endParaRPr lang="en-US" sz="2000" dirty="0"/>
          </a:p>
        </p:txBody>
      </p:sp>
      <p:sp>
        <p:nvSpPr>
          <p:cNvPr id="2" name="Title 1">
            <a:extLst>
              <a:ext uri="{FF2B5EF4-FFF2-40B4-BE49-F238E27FC236}">
                <a16:creationId xmlns:a16="http://schemas.microsoft.com/office/drawing/2014/main" id="{0A7F81B1-189C-FBD4-575E-351A37096E5E}"/>
              </a:ext>
            </a:extLst>
          </p:cNvPr>
          <p:cNvSpPr>
            <a:spLocks noGrp="1"/>
          </p:cNvSpPr>
          <p:nvPr>
            <p:ph type="title"/>
            <p:custDataLst>
              <p:tags r:id="rId4"/>
            </p:custDataLst>
          </p:nvPr>
        </p:nvSpPr>
        <p:spPr/>
        <p:txBody>
          <a:bodyPr vert="horz">
            <a:normAutofit/>
          </a:bodyPr>
          <a:lstStyle/>
          <a:p>
            <a:r>
              <a:rPr lang="en-US" dirty="0">
                <a:solidFill>
                  <a:srgbClr val="000064"/>
                </a:solidFill>
                <a:cs typeface="Calibri Light"/>
              </a:rPr>
              <a:t>Resources</a:t>
            </a:r>
            <a:endParaRPr lang="en-US" sz="4000" dirty="0">
              <a:solidFill>
                <a:srgbClr val="000064"/>
              </a:solidFill>
              <a:cs typeface="Calibri Light"/>
            </a:endParaRPr>
          </a:p>
        </p:txBody>
      </p:sp>
      <p:sp>
        <p:nvSpPr>
          <p:cNvPr id="6" name="Footer Placeholder 5">
            <a:extLst>
              <a:ext uri="{FF2B5EF4-FFF2-40B4-BE49-F238E27FC236}">
                <a16:creationId xmlns:a16="http://schemas.microsoft.com/office/drawing/2014/main" id="{0FE7E064-F4BE-0CFD-99DB-84CAF72C24E1}"/>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7" name="Slide Number Placeholder 6">
            <a:extLst>
              <a:ext uri="{FF2B5EF4-FFF2-40B4-BE49-F238E27FC236}">
                <a16:creationId xmlns:a16="http://schemas.microsoft.com/office/drawing/2014/main" id="{EECF03EE-16CD-D5B5-B736-3A98F8182FC0}"/>
              </a:ext>
            </a:extLst>
          </p:cNvPr>
          <p:cNvSpPr>
            <a:spLocks noGrp="1"/>
          </p:cNvSpPr>
          <p:nvPr>
            <p:ph type="sldNum" sz="quarter" idx="4"/>
            <p:custDataLst>
              <p:tags r:id="rId6"/>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1381741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1" name="think-cell data - do not delete" hidden="1">
            <a:extLst>
              <a:ext uri="{FF2B5EF4-FFF2-40B4-BE49-F238E27FC236}">
                <a16:creationId xmlns:a16="http://schemas.microsoft.com/office/drawing/2014/main" id="{F5F0A726-7D21-6872-594A-AC88A3291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2091" name="think-cell data - do not delete" hidden="1">
                        <a:extLst>
                          <a:ext uri="{FF2B5EF4-FFF2-40B4-BE49-F238E27FC236}">
                            <a16:creationId xmlns:a16="http://schemas.microsoft.com/office/drawing/2014/main" id="{F5F0A726-7D21-6872-594A-AC88A32918B0}"/>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A8B495-E710-46DB-AFE6-356FB6AD9407}"/>
              </a:ext>
            </a:extLst>
          </p:cNvPr>
          <p:cNvSpPr>
            <a:spLocks noGrp="1"/>
          </p:cNvSpPr>
          <p:nvPr>
            <p:ph type="title"/>
            <p:custDataLst>
              <p:tags r:id="rId3"/>
            </p:custDataLst>
          </p:nvPr>
        </p:nvSpPr>
        <p:spPr/>
        <p:txBody>
          <a:bodyPr vert="horz"/>
          <a:lstStyle/>
          <a:p>
            <a:r>
              <a:rPr lang="en-US" dirty="0"/>
              <a:t>Schedule a Patient/Family Meeting</a:t>
            </a:r>
          </a:p>
        </p:txBody>
      </p:sp>
      <p:sp>
        <p:nvSpPr>
          <p:cNvPr id="5" name="Footer Placeholder 4">
            <a:extLst>
              <a:ext uri="{FF2B5EF4-FFF2-40B4-BE49-F238E27FC236}">
                <a16:creationId xmlns:a16="http://schemas.microsoft.com/office/drawing/2014/main" id="{D7F3C1E1-FE56-0863-1955-7E204A7E1401}"/>
              </a:ext>
            </a:extLst>
          </p:cNvPr>
          <p:cNvSpPr>
            <a:spLocks noGrp="1"/>
          </p:cNvSpPr>
          <p:nvPr>
            <p:ph type="ftr" sz="quarter" idx="3"/>
            <p:custDataLst>
              <p:tags r:id="rId4"/>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sp>
        <p:nvSpPr>
          <p:cNvPr id="531" name="Freeform: Shape 530">
            <a:extLst>
              <a:ext uri="{FF2B5EF4-FFF2-40B4-BE49-F238E27FC236}">
                <a16:creationId xmlns:a16="http://schemas.microsoft.com/office/drawing/2014/main" id="{0F8A7770-B000-3A97-C199-408843BFDBA9}"/>
              </a:ext>
            </a:extLst>
          </p:cNvPr>
          <p:cNvSpPr/>
          <p:nvPr>
            <p:custDataLst>
              <p:tags r:id="rId5"/>
            </p:custDataLst>
          </p:nvPr>
        </p:nvSpPr>
        <p:spPr>
          <a:xfrm>
            <a:off x="286611" y="1173161"/>
            <a:ext cx="2701380" cy="5082121"/>
          </a:xfrm>
          <a:custGeom>
            <a:avLst/>
            <a:gdLst>
              <a:gd name="connsiteX0" fmla="*/ 1434357 w 1859886"/>
              <a:gd name="connsiteY0" fmla="*/ 6858000 h 6858000"/>
              <a:gd name="connsiteX1" fmla="*/ 0 w 1859886"/>
              <a:gd name="connsiteY1" fmla="*/ 6858000 h 6858000"/>
              <a:gd name="connsiteX2" fmla="*/ 0 w 1859886"/>
              <a:gd name="connsiteY2" fmla="*/ 0 h 6858000"/>
              <a:gd name="connsiteX3" fmla="*/ 1434357 w 1859886"/>
              <a:gd name="connsiteY3" fmla="*/ 0 h 6858000"/>
              <a:gd name="connsiteX4" fmla="*/ 1852358 w 1859886"/>
              <a:gd name="connsiteY4" fmla="*/ 3308898 h 6858000"/>
              <a:gd name="connsiteX5" fmla="*/ 1852358 w 1859886"/>
              <a:gd name="connsiteY5" fmla="*/ 3549102 h 6858000"/>
              <a:gd name="connsiteX6" fmla="*/ 1434357 w 185988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9886" h="6858000">
                <a:moveTo>
                  <a:pt x="1434357" y="6858000"/>
                </a:moveTo>
                <a:lnTo>
                  <a:pt x="0" y="6858000"/>
                </a:lnTo>
                <a:lnTo>
                  <a:pt x="0" y="0"/>
                </a:lnTo>
                <a:lnTo>
                  <a:pt x="1434357" y="0"/>
                </a:lnTo>
                <a:lnTo>
                  <a:pt x="1852358" y="3308898"/>
                </a:lnTo>
                <a:cubicBezTo>
                  <a:pt x="1862396" y="3388314"/>
                  <a:pt x="1862396" y="3469687"/>
                  <a:pt x="1852358" y="3549102"/>
                </a:cubicBezTo>
                <a:lnTo>
                  <a:pt x="1434357" y="6858000"/>
                </a:lnTo>
                <a:close/>
              </a:path>
            </a:pathLst>
          </a:custGeom>
          <a:solidFill>
            <a:srgbClr val="A8DE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944BD880-D26B-E208-3D18-ACA614B3C00A}"/>
              </a:ext>
            </a:extLst>
          </p:cNvPr>
          <p:cNvGrpSpPr/>
          <p:nvPr>
            <p:custDataLst>
              <p:tags r:id="rId6"/>
            </p:custDataLst>
          </p:nvPr>
        </p:nvGrpSpPr>
        <p:grpSpPr>
          <a:xfrm>
            <a:off x="710168" y="1796074"/>
            <a:ext cx="1598723" cy="4146289"/>
            <a:chOff x="710168" y="1796074"/>
            <a:chExt cx="1598723" cy="4146289"/>
          </a:xfrm>
        </p:grpSpPr>
        <p:grpSp>
          <p:nvGrpSpPr>
            <p:cNvPr id="534" name="Graphic 525">
              <a:extLst>
                <a:ext uri="{FF2B5EF4-FFF2-40B4-BE49-F238E27FC236}">
                  <a16:creationId xmlns:a16="http://schemas.microsoft.com/office/drawing/2014/main" id="{F71C2F1C-8084-EB1F-6A02-240C36484759}"/>
                </a:ext>
              </a:extLst>
            </p:cNvPr>
            <p:cNvGrpSpPr/>
            <p:nvPr/>
          </p:nvGrpSpPr>
          <p:grpSpPr>
            <a:xfrm>
              <a:off x="754794" y="2695694"/>
              <a:ext cx="1339267" cy="847698"/>
              <a:chOff x="3830977" y="3078219"/>
              <a:chExt cx="1339267" cy="847698"/>
            </a:xfrm>
          </p:grpSpPr>
          <p:grpSp>
            <p:nvGrpSpPr>
              <p:cNvPr id="535" name="Graphic 525">
                <a:extLst>
                  <a:ext uri="{FF2B5EF4-FFF2-40B4-BE49-F238E27FC236}">
                    <a16:creationId xmlns:a16="http://schemas.microsoft.com/office/drawing/2014/main" id="{A6809FAD-DD3A-E0B2-9836-24BA60AF818D}"/>
                  </a:ext>
                </a:extLst>
              </p:cNvPr>
              <p:cNvGrpSpPr/>
              <p:nvPr/>
            </p:nvGrpSpPr>
            <p:grpSpPr>
              <a:xfrm>
                <a:off x="3830977" y="3078219"/>
                <a:ext cx="1339267" cy="847698"/>
                <a:chOff x="3830977" y="3078219"/>
                <a:chExt cx="1339267" cy="847698"/>
              </a:xfrm>
              <a:solidFill>
                <a:srgbClr val="93CEF1"/>
              </a:solidFill>
            </p:grpSpPr>
            <p:sp>
              <p:nvSpPr>
                <p:cNvPr id="536" name="Freeform: Shape 535">
                  <a:extLst>
                    <a:ext uri="{FF2B5EF4-FFF2-40B4-BE49-F238E27FC236}">
                      <a16:creationId xmlns:a16="http://schemas.microsoft.com/office/drawing/2014/main" id="{A40630AD-E138-9072-5E10-6F014BCB4E2F}"/>
                    </a:ext>
                  </a:extLst>
                </p:cNvPr>
                <p:cNvSpPr/>
                <p:nvPr/>
              </p:nvSpPr>
              <p:spPr>
                <a:xfrm>
                  <a:off x="3830977" y="3078219"/>
                  <a:ext cx="1339267" cy="847698"/>
                </a:xfrm>
                <a:custGeom>
                  <a:avLst/>
                  <a:gdLst>
                    <a:gd name="connsiteX0" fmla="*/ 1332684 w 1339267"/>
                    <a:gd name="connsiteY0" fmla="*/ 847699 h 847698"/>
                    <a:gd name="connsiteX1" fmla="*/ 6584 w 1339267"/>
                    <a:gd name="connsiteY1" fmla="*/ 847699 h 847698"/>
                    <a:gd name="connsiteX2" fmla="*/ 0 w 1339267"/>
                    <a:gd name="connsiteY2" fmla="*/ 841115 h 847698"/>
                    <a:gd name="connsiteX3" fmla="*/ 0 w 1339267"/>
                    <a:gd name="connsiteY3" fmla="*/ 6584 h 847698"/>
                    <a:gd name="connsiteX4" fmla="*/ 6584 w 1339267"/>
                    <a:gd name="connsiteY4" fmla="*/ 0 h 847698"/>
                    <a:gd name="connsiteX5" fmla="*/ 1332684 w 1339267"/>
                    <a:gd name="connsiteY5" fmla="*/ 0 h 847698"/>
                    <a:gd name="connsiteX6" fmla="*/ 1339268 w 1339267"/>
                    <a:gd name="connsiteY6" fmla="*/ 6584 h 847698"/>
                    <a:gd name="connsiteX7" fmla="*/ 1339268 w 1339267"/>
                    <a:gd name="connsiteY7" fmla="*/ 841115 h 847698"/>
                    <a:gd name="connsiteX8" fmla="*/ 1332684 w 1339267"/>
                    <a:gd name="connsiteY8" fmla="*/ 847699 h 847698"/>
                    <a:gd name="connsiteX9" fmla="*/ 13167 w 1339267"/>
                    <a:gd name="connsiteY9" fmla="*/ 834531 h 847698"/>
                    <a:gd name="connsiteX10" fmla="*/ 1326100 w 1339267"/>
                    <a:gd name="connsiteY10" fmla="*/ 834531 h 847698"/>
                    <a:gd name="connsiteX11" fmla="*/ 1326100 w 1339267"/>
                    <a:gd name="connsiteY11" fmla="*/ 13167 h 847698"/>
                    <a:gd name="connsiteX12" fmla="*/ 13167 w 1339267"/>
                    <a:gd name="connsiteY12" fmla="*/ 13167 h 847698"/>
                    <a:gd name="connsiteX13" fmla="*/ 13167 w 1339267"/>
                    <a:gd name="connsiteY13" fmla="*/ 834531 h 84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9267" h="847698">
                      <a:moveTo>
                        <a:pt x="1332684" y="847699"/>
                      </a:moveTo>
                      <a:lnTo>
                        <a:pt x="6584" y="847699"/>
                      </a:lnTo>
                      <a:cubicBezTo>
                        <a:pt x="2943" y="847699"/>
                        <a:pt x="0" y="844756"/>
                        <a:pt x="0" y="841115"/>
                      </a:cubicBezTo>
                      <a:lnTo>
                        <a:pt x="0" y="6584"/>
                      </a:lnTo>
                      <a:cubicBezTo>
                        <a:pt x="0" y="2943"/>
                        <a:pt x="2943" y="0"/>
                        <a:pt x="6584" y="0"/>
                      </a:cubicBezTo>
                      <a:lnTo>
                        <a:pt x="1332684" y="0"/>
                      </a:lnTo>
                      <a:cubicBezTo>
                        <a:pt x="1336325" y="0"/>
                        <a:pt x="1339268" y="2943"/>
                        <a:pt x="1339268" y="6584"/>
                      </a:cubicBezTo>
                      <a:lnTo>
                        <a:pt x="1339268" y="841115"/>
                      </a:lnTo>
                      <a:cubicBezTo>
                        <a:pt x="1339268" y="844756"/>
                        <a:pt x="1336325" y="847699"/>
                        <a:pt x="1332684" y="847699"/>
                      </a:cubicBezTo>
                      <a:close/>
                      <a:moveTo>
                        <a:pt x="13167" y="834531"/>
                      </a:moveTo>
                      <a:lnTo>
                        <a:pt x="1326100" y="834531"/>
                      </a:lnTo>
                      <a:lnTo>
                        <a:pt x="1326100" y="13167"/>
                      </a:lnTo>
                      <a:lnTo>
                        <a:pt x="13167" y="13167"/>
                      </a:lnTo>
                      <a:lnTo>
                        <a:pt x="13167" y="834531"/>
                      </a:lnTo>
                      <a:close/>
                    </a:path>
                  </a:pathLst>
                </a:custGeom>
                <a:solidFill>
                  <a:srgbClr val="93CE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7" name="Freeform: Shape 536">
                  <a:extLst>
                    <a:ext uri="{FF2B5EF4-FFF2-40B4-BE49-F238E27FC236}">
                      <a16:creationId xmlns:a16="http://schemas.microsoft.com/office/drawing/2014/main" id="{43D4D72C-18CE-EEC1-40C1-0699AD375154}"/>
                    </a:ext>
                  </a:extLst>
                </p:cNvPr>
                <p:cNvSpPr/>
                <p:nvPr/>
              </p:nvSpPr>
              <p:spPr>
                <a:xfrm>
                  <a:off x="3877574" y="3119629"/>
                  <a:ext cx="1246073" cy="764891"/>
                </a:xfrm>
                <a:custGeom>
                  <a:avLst/>
                  <a:gdLst>
                    <a:gd name="connsiteX0" fmla="*/ 0 w 1246073"/>
                    <a:gd name="connsiteY0" fmla="*/ 0 h 764891"/>
                    <a:gd name="connsiteX1" fmla="*/ 1246074 w 1246073"/>
                    <a:gd name="connsiteY1" fmla="*/ 0 h 764891"/>
                    <a:gd name="connsiteX2" fmla="*/ 1246074 w 1246073"/>
                    <a:gd name="connsiteY2" fmla="*/ 764891 h 764891"/>
                    <a:gd name="connsiteX3" fmla="*/ 0 w 1246073"/>
                    <a:gd name="connsiteY3" fmla="*/ 764891 h 764891"/>
                  </a:gdLst>
                  <a:ahLst/>
                  <a:cxnLst>
                    <a:cxn ang="0">
                      <a:pos x="connsiteX0" y="connsiteY0"/>
                    </a:cxn>
                    <a:cxn ang="0">
                      <a:pos x="connsiteX1" y="connsiteY1"/>
                    </a:cxn>
                    <a:cxn ang="0">
                      <a:pos x="connsiteX2" y="connsiteY2"/>
                    </a:cxn>
                    <a:cxn ang="0">
                      <a:pos x="connsiteX3" y="connsiteY3"/>
                    </a:cxn>
                  </a:cxnLst>
                  <a:rect l="l" t="t" r="r" b="b"/>
                  <a:pathLst>
                    <a:path w="1246073" h="764891">
                      <a:moveTo>
                        <a:pt x="0" y="0"/>
                      </a:moveTo>
                      <a:lnTo>
                        <a:pt x="1246074" y="0"/>
                      </a:lnTo>
                      <a:lnTo>
                        <a:pt x="1246074" y="764891"/>
                      </a:lnTo>
                      <a:lnTo>
                        <a:pt x="0" y="764891"/>
                      </a:lnTo>
                      <a:close/>
                    </a:path>
                  </a:pathLst>
                </a:custGeom>
                <a:solidFill>
                  <a:srgbClr val="93CE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38" name="Graphic 525">
                <a:extLst>
                  <a:ext uri="{FF2B5EF4-FFF2-40B4-BE49-F238E27FC236}">
                    <a16:creationId xmlns:a16="http://schemas.microsoft.com/office/drawing/2014/main" id="{86868AC8-C2FF-A3BA-125D-46A4C9FB44CC}"/>
                  </a:ext>
                </a:extLst>
              </p:cNvPr>
              <p:cNvGrpSpPr/>
              <p:nvPr/>
            </p:nvGrpSpPr>
            <p:grpSpPr>
              <a:xfrm>
                <a:off x="3940730" y="3174331"/>
                <a:ext cx="1122467" cy="611940"/>
                <a:chOff x="3940730" y="3174331"/>
                <a:chExt cx="1122467" cy="611940"/>
              </a:xfrm>
            </p:grpSpPr>
            <p:grpSp>
              <p:nvGrpSpPr>
                <p:cNvPr id="539" name="Graphic 525">
                  <a:extLst>
                    <a:ext uri="{FF2B5EF4-FFF2-40B4-BE49-F238E27FC236}">
                      <a16:creationId xmlns:a16="http://schemas.microsoft.com/office/drawing/2014/main" id="{5EE6DC85-18EF-2B80-830A-1B9F160DBE5D}"/>
                    </a:ext>
                  </a:extLst>
                </p:cNvPr>
                <p:cNvGrpSpPr/>
                <p:nvPr/>
              </p:nvGrpSpPr>
              <p:grpSpPr>
                <a:xfrm>
                  <a:off x="4228251" y="3281475"/>
                  <a:ext cx="547433" cy="504796"/>
                  <a:chOff x="4228251" y="3281475"/>
                  <a:chExt cx="547433" cy="504796"/>
                </a:xfrm>
              </p:grpSpPr>
              <p:sp>
                <p:nvSpPr>
                  <p:cNvPr id="540" name="Freeform: Shape 539">
                    <a:extLst>
                      <a:ext uri="{FF2B5EF4-FFF2-40B4-BE49-F238E27FC236}">
                        <a16:creationId xmlns:a16="http://schemas.microsoft.com/office/drawing/2014/main" id="{534F74C9-F17A-BF26-C769-FDD66CD13BA0}"/>
                      </a:ext>
                    </a:extLst>
                  </p:cNvPr>
                  <p:cNvSpPr/>
                  <p:nvPr/>
                </p:nvSpPr>
                <p:spPr>
                  <a:xfrm>
                    <a:off x="4522633" y="3347970"/>
                    <a:ext cx="253052" cy="430544"/>
                  </a:xfrm>
                  <a:custGeom>
                    <a:avLst/>
                    <a:gdLst>
                      <a:gd name="connsiteX0" fmla="*/ 5827 w 253052"/>
                      <a:gd name="connsiteY0" fmla="*/ 45979 h 430544"/>
                      <a:gd name="connsiteX1" fmla="*/ 27860 w 253052"/>
                      <a:gd name="connsiteY1" fmla="*/ 5916 h 430544"/>
                      <a:gd name="connsiteX2" fmla="*/ 60966 w 253052"/>
                      <a:gd name="connsiteY2" fmla="*/ 3983 h 430544"/>
                      <a:gd name="connsiteX3" fmla="*/ 174385 w 253052"/>
                      <a:gd name="connsiteY3" fmla="*/ 147116 h 430544"/>
                      <a:gd name="connsiteX4" fmla="*/ 169372 w 253052"/>
                      <a:gd name="connsiteY4" fmla="*/ 421037 h 430544"/>
                      <a:gd name="connsiteX5" fmla="*/ 59544 w 253052"/>
                      <a:gd name="connsiteY5" fmla="*/ 425862 h 430544"/>
                      <a:gd name="connsiteX6" fmla="*/ 1912 w 253052"/>
                      <a:gd name="connsiteY6" fmla="*/ 310872 h 430544"/>
                      <a:gd name="connsiteX7" fmla="*/ 5815 w 253052"/>
                      <a:gd name="connsiteY7" fmla="*/ 45979 h 43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052" h="430544">
                        <a:moveTo>
                          <a:pt x="5827" y="45979"/>
                        </a:moveTo>
                        <a:cubicBezTo>
                          <a:pt x="6164" y="29856"/>
                          <a:pt x="14319" y="14669"/>
                          <a:pt x="27860" y="5916"/>
                        </a:cubicBezTo>
                        <a:cubicBezTo>
                          <a:pt x="36988" y="18"/>
                          <a:pt x="48384" y="-2875"/>
                          <a:pt x="60966" y="3983"/>
                        </a:cubicBezTo>
                        <a:cubicBezTo>
                          <a:pt x="92201" y="21003"/>
                          <a:pt x="138835" y="53722"/>
                          <a:pt x="174385" y="147116"/>
                        </a:cubicBezTo>
                        <a:cubicBezTo>
                          <a:pt x="201505" y="218351"/>
                          <a:pt x="339862" y="380549"/>
                          <a:pt x="169372" y="421037"/>
                        </a:cubicBezTo>
                        <a:cubicBezTo>
                          <a:pt x="105443" y="437284"/>
                          <a:pt x="76989" y="428319"/>
                          <a:pt x="59544" y="425862"/>
                        </a:cubicBezTo>
                        <a:cubicBezTo>
                          <a:pt x="42113" y="423406"/>
                          <a:pt x="8346" y="399715"/>
                          <a:pt x="1912" y="310872"/>
                        </a:cubicBezTo>
                        <a:cubicBezTo>
                          <a:pt x="-3711" y="233053"/>
                          <a:pt x="4755" y="96641"/>
                          <a:pt x="5815" y="45979"/>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1" name="Freeform: Shape 540">
                    <a:extLst>
                      <a:ext uri="{FF2B5EF4-FFF2-40B4-BE49-F238E27FC236}">
                        <a16:creationId xmlns:a16="http://schemas.microsoft.com/office/drawing/2014/main" id="{DC9E4257-2B72-BB39-157E-108F01149EE9}"/>
                      </a:ext>
                    </a:extLst>
                  </p:cNvPr>
                  <p:cNvSpPr/>
                  <p:nvPr/>
                </p:nvSpPr>
                <p:spPr>
                  <a:xfrm>
                    <a:off x="4228251" y="3352262"/>
                    <a:ext cx="250823" cy="434009"/>
                  </a:xfrm>
                  <a:custGeom>
                    <a:avLst/>
                    <a:gdLst>
                      <a:gd name="connsiteX0" fmla="*/ 238861 w 250823"/>
                      <a:gd name="connsiteY0" fmla="*/ 43545 h 434009"/>
                      <a:gd name="connsiteX1" fmla="*/ 215731 w 250823"/>
                      <a:gd name="connsiteY1" fmla="*/ 4853 h 434009"/>
                      <a:gd name="connsiteX2" fmla="*/ 182600 w 250823"/>
                      <a:gd name="connsiteY2" fmla="*/ 4928 h 434009"/>
                      <a:gd name="connsiteX3" fmla="*/ 73296 w 250823"/>
                      <a:gd name="connsiteY3" fmla="*/ 154819 h 434009"/>
                      <a:gd name="connsiteX4" fmla="*/ 86002 w 250823"/>
                      <a:gd name="connsiteY4" fmla="*/ 428204 h 434009"/>
                      <a:gd name="connsiteX5" fmla="*/ 195867 w 250823"/>
                      <a:gd name="connsiteY5" fmla="*/ 426371 h 434009"/>
                      <a:gd name="connsiteX6" fmla="*/ 250220 w 250823"/>
                      <a:gd name="connsiteY6" fmla="*/ 307989 h 434009"/>
                      <a:gd name="connsiteX7" fmla="*/ 238886 w 250823"/>
                      <a:gd name="connsiteY7" fmla="*/ 43557 h 43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3" h="434009">
                        <a:moveTo>
                          <a:pt x="238861" y="43545"/>
                        </a:moveTo>
                        <a:cubicBezTo>
                          <a:pt x="238075" y="27447"/>
                          <a:pt x="229497" y="12771"/>
                          <a:pt x="215731" y="4853"/>
                        </a:cubicBezTo>
                        <a:cubicBezTo>
                          <a:pt x="206441" y="-483"/>
                          <a:pt x="194970" y="-2690"/>
                          <a:pt x="182600" y="4928"/>
                        </a:cubicBezTo>
                        <a:cubicBezTo>
                          <a:pt x="151877" y="23831"/>
                          <a:pt x="106202" y="59356"/>
                          <a:pt x="73296" y="154819"/>
                        </a:cubicBezTo>
                        <a:cubicBezTo>
                          <a:pt x="48196" y="227639"/>
                          <a:pt x="-85485" y="398091"/>
                          <a:pt x="86002" y="428204"/>
                        </a:cubicBezTo>
                        <a:cubicBezTo>
                          <a:pt x="150343" y="440561"/>
                          <a:pt x="178523" y="429887"/>
                          <a:pt x="195867" y="426371"/>
                        </a:cubicBezTo>
                        <a:cubicBezTo>
                          <a:pt x="213212" y="422867"/>
                          <a:pt x="246292" y="397143"/>
                          <a:pt x="250220" y="307989"/>
                        </a:cubicBezTo>
                        <a:cubicBezTo>
                          <a:pt x="253662" y="229883"/>
                          <a:pt x="241367" y="94119"/>
                          <a:pt x="238886" y="43557"/>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2" name="Freeform: Shape 541">
                    <a:extLst>
                      <a:ext uri="{FF2B5EF4-FFF2-40B4-BE49-F238E27FC236}">
                        <a16:creationId xmlns:a16="http://schemas.microsoft.com/office/drawing/2014/main" id="{53247081-6485-AAA5-327C-ED643F57D352}"/>
                      </a:ext>
                    </a:extLst>
                  </p:cNvPr>
                  <p:cNvSpPr/>
                  <p:nvPr/>
                </p:nvSpPr>
                <p:spPr>
                  <a:xfrm>
                    <a:off x="4329927" y="3281475"/>
                    <a:ext cx="342101" cy="374810"/>
                  </a:xfrm>
                  <a:custGeom>
                    <a:avLst/>
                    <a:gdLst>
                      <a:gd name="connsiteX0" fmla="*/ 278098 w 342101"/>
                      <a:gd name="connsiteY0" fmla="*/ 308738 h 374810"/>
                      <a:gd name="connsiteX1" fmla="*/ 202648 w 342101"/>
                      <a:gd name="connsiteY1" fmla="*/ 199895 h 374810"/>
                      <a:gd name="connsiteX2" fmla="*/ 186625 w 342101"/>
                      <a:gd name="connsiteY2" fmla="*/ 175107 h 374810"/>
                      <a:gd name="connsiteX3" fmla="*/ 184218 w 342101"/>
                      <a:gd name="connsiteY3" fmla="*/ 4118 h 374810"/>
                      <a:gd name="connsiteX4" fmla="*/ 179430 w 342101"/>
                      <a:gd name="connsiteY4" fmla="*/ 53 h 374810"/>
                      <a:gd name="connsiteX5" fmla="*/ 177061 w 342101"/>
                      <a:gd name="connsiteY5" fmla="*/ 427 h 374810"/>
                      <a:gd name="connsiteX6" fmla="*/ 155452 w 342101"/>
                      <a:gd name="connsiteY6" fmla="*/ 1088 h 374810"/>
                      <a:gd name="connsiteX7" fmla="*/ 153083 w 342101"/>
                      <a:gd name="connsiteY7" fmla="*/ 863 h 374810"/>
                      <a:gd name="connsiteX8" fmla="*/ 148420 w 342101"/>
                      <a:gd name="connsiteY8" fmla="*/ 5215 h 374810"/>
                      <a:gd name="connsiteX9" fmla="*/ 150814 w 342101"/>
                      <a:gd name="connsiteY9" fmla="*/ 175830 h 374810"/>
                      <a:gd name="connsiteX10" fmla="*/ 135290 w 342101"/>
                      <a:gd name="connsiteY10" fmla="*/ 201678 h 374810"/>
                      <a:gd name="connsiteX11" fmla="*/ 62408 w 342101"/>
                      <a:gd name="connsiteY11" fmla="*/ 315297 h 374810"/>
                      <a:gd name="connsiteX12" fmla="*/ 0 w 342101"/>
                      <a:gd name="connsiteY12" fmla="*/ 374500 h 374810"/>
                      <a:gd name="connsiteX13" fmla="*/ 70862 w 342101"/>
                      <a:gd name="connsiteY13" fmla="*/ 330359 h 374810"/>
                      <a:gd name="connsiteX14" fmla="*/ 168906 w 342101"/>
                      <a:gd name="connsiteY14" fmla="*/ 216554 h 374810"/>
                      <a:gd name="connsiteX15" fmla="*/ 269569 w 342101"/>
                      <a:gd name="connsiteY15" fmla="*/ 325035 h 374810"/>
                      <a:gd name="connsiteX16" fmla="*/ 342102 w 342101"/>
                      <a:gd name="connsiteY16" fmla="*/ 364113 h 374810"/>
                      <a:gd name="connsiteX17" fmla="*/ 278086 w 342101"/>
                      <a:gd name="connsiteY17" fmla="*/ 308750 h 37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2101" h="374810">
                        <a:moveTo>
                          <a:pt x="278098" y="308738"/>
                        </a:moveTo>
                        <a:cubicBezTo>
                          <a:pt x="271489" y="278301"/>
                          <a:pt x="245978" y="220145"/>
                          <a:pt x="202648" y="199895"/>
                        </a:cubicBezTo>
                        <a:cubicBezTo>
                          <a:pt x="193034" y="195406"/>
                          <a:pt x="186774" y="185867"/>
                          <a:pt x="186625" y="175107"/>
                        </a:cubicBezTo>
                        <a:lnTo>
                          <a:pt x="184218" y="4118"/>
                        </a:lnTo>
                        <a:cubicBezTo>
                          <a:pt x="184181" y="1562"/>
                          <a:pt x="181936" y="-346"/>
                          <a:pt x="179430" y="53"/>
                        </a:cubicBezTo>
                        <a:lnTo>
                          <a:pt x="177061" y="427"/>
                        </a:lnTo>
                        <a:cubicBezTo>
                          <a:pt x="169904" y="1562"/>
                          <a:pt x="162647" y="1774"/>
                          <a:pt x="155452" y="1088"/>
                        </a:cubicBezTo>
                        <a:lnTo>
                          <a:pt x="153083" y="863"/>
                        </a:lnTo>
                        <a:cubicBezTo>
                          <a:pt x="150564" y="614"/>
                          <a:pt x="148382" y="2659"/>
                          <a:pt x="148420" y="5215"/>
                        </a:cubicBezTo>
                        <a:lnTo>
                          <a:pt x="150814" y="175830"/>
                        </a:lnTo>
                        <a:cubicBezTo>
                          <a:pt x="150963" y="186678"/>
                          <a:pt x="144878" y="196640"/>
                          <a:pt x="135290" y="201678"/>
                        </a:cubicBezTo>
                        <a:cubicBezTo>
                          <a:pt x="92221" y="224322"/>
                          <a:pt x="68181" y="284348"/>
                          <a:pt x="62408" y="315297"/>
                        </a:cubicBezTo>
                        <a:cubicBezTo>
                          <a:pt x="52894" y="366320"/>
                          <a:pt x="0" y="374500"/>
                          <a:pt x="0" y="374500"/>
                        </a:cubicBezTo>
                        <a:cubicBezTo>
                          <a:pt x="0" y="374500"/>
                          <a:pt x="61348" y="381383"/>
                          <a:pt x="70862" y="330359"/>
                        </a:cubicBezTo>
                        <a:cubicBezTo>
                          <a:pt x="77982" y="292191"/>
                          <a:pt x="104765" y="218499"/>
                          <a:pt x="168906" y="216554"/>
                        </a:cubicBezTo>
                        <a:cubicBezTo>
                          <a:pt x="233047" y="214609"/>
                          <a:pt x="261390" y="287328"/>
                          <a:pt x="269569" y="325035"/>
                        </a:cubicBezTo>
                        <a:cubicBezTo>
                          <a:pt x="280505" y="375435"/>
                          <a:pt x="342102" y="364113"/>
                          <a:pt x="342102" y="364113"/>
                        </a:cubicBezTo>
                        <a:cubicBezTo>
                          <a:pt x="342102" y="364113"/>
                          <a:pt x="289021" y="359150"/>
                          <a:pt x="278086" y="308750"/>
                        </a:cubicBezTo>
                        <a:close/>
                      </a:path>
                    </a:pathLst>
                  </a:custGeom>
                  <a:solidFill>
                    <a:srgbClr val="77BC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44" name="Graphic 525">
                  <a:extLst>
                    <a:ext uri="{FF2B5EF4-FFF2-40B4-BE49-F238E27FC236}">
                      <a16:creationId xmlns:a16="http://schemas.microsoft.com/office/drawing/2014/main" id="{2A7D8BCF-F0EA-5166-F9FB-FBEF1E2B030A}"/>
                    </a:ext>
                  </a:extLst>
                </p:cNvPr>
                <p:cNvGrpSpPr/>
                <p:nvPr/>
              </p:nvGrpSpPr>
              <p:grpSpPr>
                <a:xfrm>
                  <a:off x="3940730" y="3332813"/>
                  <a:ext cx="245840" cy="402103"/>
                  <a:chOff x="3940730" y="3332813"/>
                  <a:chExt cx="245840" cy="402103"/>
                </a:xfrm>
                <a:solidFill>
                  <a:srgbClr val="87C6ED"/>
                </a:solidFill>
              </p:grpSpPr>
              <p:sp>
                <p:nvSpPr>
                  <p:cNvPr id="545" name="Freeform: Shape 544">
                    <a:extLst>
                      <a:ext uri="{FF2B5EF4-FFF2-40B4-BE49-F238E27FC236}">
                        <a16:creationId xmlns:a16="http://schemas.microsoft.com/office/drawing/2014/main" id="{6B57800B-FB0C-EA39-AE8D-AAB59C014275}"/>
                      </a:ext>
                    </a:extLst>
                  </p:cNvPr>
                  <p:cNvSpPr/>
                  <p:nvPr/>
                </p:nvSpPr>
                <p:spPr>
                  <a:xfrm>
                    <a:off x="3940730" y="3332813"/>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7" name="Freeform: Shape 546">
                    <a:extLst>
                      <a:ext uri="{FF2B5EF4-FFF2-40B4-BE49-F238E27FC236}">
                        <a16:creationId xmlns:a16="http://schemas.microsoft.com/office/drawing/2014/main" id="{F6DD89E3-24F1-45E9-1043-33E2ACE22D0E}"/>
                      </a:ext>
                    </a:extLst>
                  </p:cNvPr>
                  <p:cNvSpPr/>
                  <p:nvPr/>
                </p:nvSpPr>
                <p:spPr>
                  <a:xfrm>
                    <a:off x="3940730" y="3521483"/>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8" name="Freeform: Shape 547">
                    <a:extLst>
                      <a:ext uri="{FF2B5EF4-FFF2-40B4-BE49-F238E27FC236}">
                        <a16:creationId xmlns:a16="http://schemas.microsoft.com/office/drawing/2014/main" id="{E40BB460-95AC-596D-6B17-9C9B136B0D69}"/>
                      </a:ext>
                    </a:extLst>
                  </p:cNvPr>
                  <p:cNvSpPr/>
                  <p:nvPr/>
                </p:nvSpPr>
                <p:spPr>
                  <a:xfrm>
                    <a:off x="3940730" y="3710140"/>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49" name="Graphic 525">
                  <a:extLst>
                    <a:ext uri="{FF2B5EF4-FFF2-40B4-BE49-F238E27FC236}">
                      <a16:creationId xmlns:a16="http://schemas.microsoft.com/office/drawing/2014/main" id="{335AFDF6-67CB-4A59-F330-512323350B9B}"/>
                    </a:ext>
                  </a:extLst>
                </p:cNvPr>
                <p:cNvGrpSpPr/>
                <p:nvPr/>
              </p:nvGrpSpPr>
              <p:grpSpPr>
                <a:xfrm>
                  <a:off x="4817357" y="3332813"/>
                  <a:ext cx="245840" cy="402103"/>
                  <a:chOff x="4817357" y="3332813"/>
                  <a:chExt cx="245840" cy="402103"/>
                </a:xfrm>
                <a:solidFill>
                  <a:srgbClr val="87C6ED"/>
                </a:solidFill>
              </p:grpSpPr>
              <p:sp>
                <p:nvSpPr>
                  <p:cNvPr id="551" name="Freeform: Shape 550">
                    <a:extLst>
                      <a:ext uri="{FF2B5EF4-FFF2-40B4-BE49-F238E27FC236}">
                        <a16:creationId xmlns:a16="http://schemas.microsoft.com/office/drawing/2014/main" id="{9E5324AA-CB94-3366-F18E-B2B364D6EAB1}"/>
                      </a:ext>
                    </a:extLst>
                  </p:cNvPr>
                  <p:cNvSpPr/>
                  <p:nvPr/>
                </p:nvSpPr>
                <p:spPr>
                  <a:xfrm>
                    <a:off x="4817357" y="3332813"/>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2" name="Freeform: Shape 551">
                    <a:extLst>
                      <a:ext uri="{FF2B5EF4-FFF2-40B4-BE49-F238E27FC236}">
                        <a16:creationId xmlns:a16="http://schemas.microsoft.com/office/drawing/2014/main" id="{30BBCB9D-8D8E-8E20-4396-C209063A9D79}"/>
                      </a:ext>
                    </a:extLst>
                  </p:cNvPr>
                  <p:cNvSpPr/>
                  <p:nvPr/>
                </p:nvSpPr>
                <p:spPr>
                  <a:xfrm>
                    <a:off x="4817357" y="3521483"/>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3" name="Freeform: Shape 552">
                    <a:extLst>
                      <a:ext uri="{FF2B5EF4-FFF2-40B4-BE49-F238E27FC236}">
                        <a16:creationId xmlns:a16="http://schemas.microsoft.com/office/drawing/2014/main" id="{42241564-19C8-40A6-06B3-BA007F65B81D}"/>
                      </a:ext>
                    </a:extLst>
                  </p:cNvPr>
                  <p:cNvSpPr/>
                  <p:nvPr/>
                </p:nvSpPr>
                <p:spPr>
                  <a:xfrm>
                    <a:off x="4817357" y="3710140"/>
                    <a:ext cx="245840" cy="24776"/>
                  </a:xfrm>
                  <a:custGeom>
                    <a:avLst/>
                    <a:gdLst>
                      <a:gd name="connsiteX0" fmla="*/ 238908 w 245840"/>
                      <a:gd name="connsiteY0" fmla="*/ 0 h 24776"/>
                      <a:gd name="connsiteX1" fmla="*/ 245841 w 245840"/>
                      <a:gd name="connsiteY1" fmla="*/ 6933 h 24776"/>
                      <a:gd name="connsiteX2" fmla="*/ 245841 w 245840"/>
                      <a:gd name="connsiteY2" fmla="*/ 17843 h 24776"/>
                      <a:gd name="connsiteX3" fmla="*/ 238908 w 245840"/>
                      <a:gd name="connsiteY3" fmla="*/ 24776 h 24776"/>
                      <a:gd name="connsiteX4" fmla="*/ 6933 w 245840"/>
                      <a:gd name="connsiteY4" fmla="*/ 24776 h 24776"/>
                      <a:gd name="connsiteX5" fmla="*/ 0 w 245840"/>
                      <a:gd name="connsiteY5" fmla="*/ 17843 h 24776"/>
                      <a:gd name="connsiteX6" fmla="*/ 0 w 245840"/>
                      <a:gd name="connsiteY6" fmla="*/ 6933 h 24776"/>
                      <a:gd name="connsiteX7" fmla="*/ 6933 w 245840"/>
                      <a:gd name="connsiteY7" fmla="*/ 0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40" h="24776">
                        <a:moveTo>
                          <a:pt x="238908" y="0"/>
                        </a:moveTo>
                        <a:cubicBezTo>
                          <a:pt x="242737" y="0"/>
                          <a:pt x="245841" y="3104"/>
                          <a:pt x="245841" y="6933"/>
                        </a:cubicBezTo>
                        <a:lnTo>
                          <a:pt x="245841" y="17843"/>
                        </a:lnTo>
                        <a:cubicBezTo>
                          <a:pt x="245841" y="21672"/>
                          <a:pt x="242737" y="24776"/>
                          <a:pt x="238908" y="24776"/>
                        </a:cubicBezTo>
                        <a:lnTo>
                          <a:pt x="6933" y="24776"/>
                        </a:lnTo>
                        <a:cubicBezTo>
                          <a:pt x="3104" y="24776"/>
                          <a:pt x="0" y="21672"/>
                          <a:pt x="0" y="17843"/>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54" name="Freeform: Shape 553">
                  <a:extLst>
                    <a:ext uri="{FF2B5EF4-FFF2-40B4-BE49-F238E27FC236}">
                      <a16:creationId xmlns:a16="http://schemas.microsoft.com/office/drawing/2014/main" id="{7462F32B-841F-5805-9364-E47E6582820D}"/>
                    </a:ext>
                  </a:extLst>
                </p:cNvPr>
                <p:cNvSpPr/>
                <p:nvPr/>
              </p:nvSpPr>
              <p:spPr>
                <a:xfrm>
                  <a:off x="4036966" y="3174331"/>
                  <a:ext cx="939508" cy="36048"/>
                </a:xfrm>
                <a:custGeom>
                  <a:avLst/>
                  <a:gdLst>
                    <a:gd name="connsiteX0" fmla="*/ 932576 w 939508"/>
                    <a:gd name="connsiteY0" fmla="*/ 0 h 36048"/>
                    <a:gd name="connsiteX1" fmla="*/ 939509 w 939508"/>
                    <a:gd name="connsiteY1" fmla="*/ 6933 h 36048"/>
                    <a:gd name="connsiteX2" fmla="*/ 939509 w 939508"/>
                    <a:gd name="connsiteY2" fmla="*/ 29115 h 36048"/>
                    <a:gd name="connsiteX3" fmla="*/ 932576 w 939508"/>
                    <a:gd name="connsiteY3" fmla="*/ 36048 h 36048"/>
                    <a:gd name="connsiteX4" fmla="*/ 6933 w 939508"/>
                    <a:gd name="connsiteY4" fmla="*/ 36048 h 36048"/>
                    <a:gd name="connsiteX5" fmla="*/ 0 w 939508"/>
                    <a:gd name="connsiteY5" fmla="*/ 29115 h 36048"/>
                    <a:gd name="connsiteX6" fmla="*/ 0 w 939508"/>
                    <a:gd name="connsiteY6" fmla="*/ 6933 h 36048"/>
                    <a:gd name="connsiteX7" fmla="*/ 6933 w 939508"/>
                    <a:gd name="connsiteY7" fmla="*/ 0 h 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508" h="36048">
                      <a:moveTo>
                        <a:pt x="932576" y="0"/>
                      </a:moveTo>
                      <a:cubicBezTo>
                        <a:pt x="936405" y="0"/>
                        <a:pt x="939509" y="3104"/>
                        <a:pt x="939509" y="6933"/>
                      </a:cubicBezTo>
                      <a:lnTo>
                        <a:pt x="939509" y="29115"/>
                      </a:lnTo>
                      <a:cubicBezTo>
                        <a:pt x="939509" y="32944"/>
                        <a:pt x="936405" y="36048"/>
                        <a:pt x="932576" y="36048"/>
                      </a:cubicBezTo>
                      <a:lnTo>
                        <a:pt x="6933" y="36048"/>
                      </a:lnTo>
                      <a:cubicBezTo>
                        <a:pt x="3104" y="36048"/>
                        <a:pt x="0" y="32944"/>
                        <a:pt x="0" y="29115"/>
                      </a:cubicBezTo>
                      <a:lnTo>
                        <a:pt x="0" y="6933"/>
                      </a:lnTo>
                      <a:cubicBezTo>
                        <a:pt x="0" y="3104"/>
                        <a:pt x="3104" y="0"/>
                        <a:pt x="6933"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55" name="Graphic 525">
              <a:extLst>
                <a:ext uri="{FF2B5EF4-FFF2-40B4-BE49-F238E27FC236}">
                  <a16:creationId xmlns:a16="http://schemas.microsoft.com/office/drawing/2014/main" id="{15BE04DE-9659-EB4F-6715-96466298F7B9}"/>
                </a:ext>
              </a:extLst>
            </p:cNvPr>
            <p:cNvGrpSpPr/>
            <p:nvPr/>
          </p:nvGrpSpPr>
          <p:grpSpPr>
            <a:xfrm>
              <a:off x="1438025" y="1796074"/>
              <a:ext cx="656148" cy="868172"/>
              <a:chOff x="4514208" y="2178599"/>
              <a:chExt cx="656148" cy="868172"/>
            </a:xfrm>
          </p:grpSpPr>
          <p:grpSp>
            <p:nvGrpSpPr>
              <p:cNvPr id="556" name="Graphic 525">
                <a:extLst>
                  <a:ext uri="{FF2B5EF4-FFF2-40B4-BE49-F238E27FC236}">
                    <a16:creationId xmlns:a16="http://schemas.microsoft.com/office/drawing/2014/main" id="{1CDF8476-B9EB-F344-E83F-C1A64163E020}"/>
                  </a:ext>
                </a:extLst>
              </p:cNvPr>
              <p:cNvGrpSpPr/>
              <p:nvPr/>
            </p:nvGrpSpPr>
            <p:grpSpPr>
              <a:xfrm>
                <a:off x="4514208" y="2178599"/>
                <a:ext cx="656148" cy="868172"/>
                <a:chOff x="4514208" y="2178599"/>
                <a:chExt cx="656148" cy="868172"/>
              </a:xfrm>
              <a:solidFill>
                <a:srgbClr val="9AD1F1"/>
              </a:solidFill>
            </p:grpSpPr>
            <p:sp>
              <p:nvSpPr>
                <p:cNvPr id="557" name="Freeform: Shape 556">
                  <a:extLst>
                    <a:ext uri="{FF2B5EF4-FFF2-40B4-BE49-F238E27FC236}">
                      <a16:creationId xmlns:a16="http://schemas.microsoft.com/office/drawing/2014/main" id="{62B89959-219D-F756-F55D-EEB8F90D4B69}"/>
                    </a:ext>
                  </a:extLst>
                </p:cNvPr>
                <p:cNvSpPr/>
                <p:nvPr/>
              </p:nvSpPr>
              <p:spPr>
                <a:xfrm>
                  <a:off x="4514208" y="2178599"/>
                  <a:ext cx="656148" cy="868172"/>
                </a:xfrm>
                <a:custGeom>
                  <a:avLst/>
                  <a:gdLst>
                    <a:gd name="connsiteX0" fmla="*/ 651398 w 656148"/>
                    <a:gd name="connsiteY0" fmla="*/ 868173 h 868172"/>
                    <a:gd name="connsiteX1" fmla="*/ 4751 w 656148"/>
                    <a:gd name="connsiteY1" fmla="*/ 868173 h 868172"/>
                    <a:gd name="connsiteX2" fmla="*/ 0 w 656148"/>
                    <a:gd name="connsiteY2" fmla="*/ 863422 h 868172"/>
                    <a:gd name="connsiteX3" fmla="*/ 0 w 656148"/>
                    <a:gd name="connsiteY3" fmla="*/ 4751 h 868172"/>
                    <a:gd name="connsiteX4" fmla="*/ 4751 w 656148"/>
                    <a:gd name="connsiteY4" fmla="*/ 0 h 868172"/>
                    <a:gd name="connsiteX5" fmla="*/ 651398 w 656148"/>
                    <a:gd name="connsiteY5" fmla="*/ 0 h 868172"/>
                    <a:gd name="connsiteX6" fmla="*/ 656149 w 656148"/>
                    <a:gd name="connsiteY6" fmla="*/ 4751 h 868172"/>
                    <a:gd name="connsiteX7" fmla="*/ 656149 w 656148"/>
                    <a:gd name="connsiteY7" fmla="*/ 863422 h 868172"/>
                    <a:gd name="connsiteX8" fmla="*/ 651398 w 656148"/>
                    <a:gd name="connsiteY8" fmla="*/ 868173 h 868172"/>
                    <a:gd name="connsiteX9" fmla="*/ 9489 w 656148"/>
                    <a:gd name="connsiteY9" fmla="*/ 858684 h 868172"/>
                    <a:gd name="connsiteX10" fmla="*/ 646647 w 656148"/>
                    <a:gd name="connsiteY10" fmla="*/ 858684 h 868172"/>
                    <a:gd name="connsiteX11" fmla="*/ 646647 w 656148"/>
                    <a:gd name="connsiteY11" fmla="*/ 9501 h 868172"/>
                    <a:gd name="connsiteX12" fmla="*/ 9489 w 656148"/>
                    <a:gd name="connsiteY12" fmla="*/ 9501 h 868172"/>
                    <a:gd name="connsiteX13" fmla="*/ 9489 w 656148"/>
                    <a:gd name="connsiteY13" fmla="*/ 858684 h 86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6148" h="868172">
                      <a:moveTo>
                        <a:pt x="651398" y="868173"/>
                      </a:moveTo>
                      <a:lnTo>
                        <a:pt x="4751" y="868173"/>
                      </a:lnTo>
                      <a:cubicBezTo>
                        <a:pt x="2132" y="868173"/>
                        <a:pt x="0" y="866053"/>
                        <a:pt x="0" y="863422"/>
                      </a:cubicBezTo>
                      <a:lnTo>
                        <a:pt x="0" y="4751"/>
                      </a:lnTo>
                      <a:cubicBezTo>
                        <a:pt x="0" y="2132"/>
                        <a:pt x="2120" y="0"/>
                        <a:pt x="4751" y="0"/>
                      </a:cubicBezTo>
                      <a:lnTo>
                        <a:pt x="651398" y="0"/>
                      </a:lnTo>
                      <a:cubicBezTo>
                        <a:pt x="654016" y="0"/>
                        <a:pt x="656149" y="2120"/>
                        <a:pt x="656149" y="4751"/>
                      </a:cubicBezTo>
                      <a:lnTo>
                        <a:pt x="656149" y="863422"/>
                      </a:lnTo>
                      <a:cubicBezTo>
                        <a:pt x="656149" y="866041"/>
                        <a:pt x="654029" y="868173"/>
                        <a:pt x="651398" y="868173"/>
                      </a:cubicBezTo>
                      <a:close/>
                      <a:moveTo>
                        <a:pt x="9489" y="858684"/>
                      </a:moveTo>
                      <a:lnTo>
                        <a:pt x="646647" y="858684"/>
                      </a:lnTo>
                      <a:lnTo>
                        <a:pt x="646647" y="9501"/>
                      </a:lnTo>
                      <a:lnTo>
                        <a:pt x="9489" y="9501"/>
                      </a:lnTo>
                      <a:lnTo>
                        <a:pt x="9489" y="858684"/>
                      </a:lnTo>
                      <a:close/>
                    </a:path>
                  </a:pathLst>
                </a:custGeom>
                <a:solidFill>
                  <a:srgbClr val="9AD1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8" name="Freeform: Shape 557">
                  <a:extLst>
                    <a:ext uri="{FF2B5EF4-FFF2-40B4-BE49-F238E27FC236}">
                      <a16:creationId xmlns:a16="http://schemas.microsoft.com/office/drawing/2014/main" id="{3377C8A9-EA6D-833D-2DD6-BA98A285C1F9}"/>
                    </a:ext>
                  </a:extLst>
                </p:cNvPr>
                <p:cNvSpPr/>
                <p:nvPr/>
              </p:nvSpPr>
              <p:spPr>
                <a:xfrm>
                  <a:off x="4547800" y="2208450"/>
                  <a:ext cx="588977" cy="808483"/>
                </a:xfrm>
                <a:custGeom>
                  <a:avLst/>
                  <a:gdLst>
                    <a:gd name="connsiteX0" fmla="*/ 0 w 588977"/>
                    <a:gd name="connsiteY0" fmla="*/ 0 h 808483"/>
                    <a:gd name="connsiteX1" fmla="*/ 588977 w 588977"/>
                    <a:gd name="connsiteY1" fmla="*/ 0 h 808483"/>
                    <a:gd name="connsiteX2" fmla="*/ 588977 w 588977"/>
                    <a:gd name="connsiteY2" fmla="*/ 808483 h 808483"/>
                    <a:gd name="connsiteX3" fmla="*/ 0 w 588977"/>
                    <a:gd name="connsiteY3" fmla="*/ 808483 h 808483"/>
                  </a:gdLst>
                  <a:ahLst/>
                  <a:cxnLst>
                    <a:cxn ang="0">
                      <a:pos x="connsiteX0" y="connsiteY0"/>
                    </a:cxn>
                    <a:cxn ang="0">
                      <a:pos x="connsiteX1" y="connsiteY1"/>
                    </a:cxn>
                    <a:cxn ang="0">
                      <a:pos x="connsiteX2" y="connsiteY2"/>
                    </a:cxn>
                    <a:cxn ang="0">
                      <a:pos x="connsiteX3" y="connsiteY3"/>
                    </a:cxn>
                  </a:cxnLst>
                  <a:rect l="l" t="t" r="r" b="b"/>
                  <a:pathLst>
                    <a:path w="588977" h="808483">
                      <a:moveTo>
                        <a:pt x="0" y="0"/>
                      </a:moveTo>
                      <a:lnTo>
                        <a:pt x="588977" y="0"/>
                      </a:lnTo>
                      <a:lnTo>
                        <a:pt x="588977" y="808483"/>
                      </a:lnTo>
                      <a:lnTo>
                        <a:pt x="0" y="808483"/>
                      </a:lnTo>
                      <a:close/>
                    </a:path>
                  </a:pathLst>
                </a:custGeom>
                <a:solidFill>
                  <a:srgbClr val="9AD1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59" name="Freeform: Shape 558">
                <a:extLst>
                  <a:ext uri="{FF2B5EF4-FFF2-40B4-BE49-F238E27FC236}">
                    <a16:creationId xmlns:a16="http://schemas.microsoft.com/office/drawing/2014/main" id="{8A468E60-D1D4-3CF2-073A-4C99266783E4}"/>
                  </a:ext>
                </a:extLst>
              </p:cNvPr>
              <p:cNvSpPr/>
              <p:nvPr/>
            </p:nvSpPr>
            <p:spPr>
              <a:xfrm>
                <a:off x="4596641" y="2260259"/>
                <a:ext cx="491294" cy="76871"/>
              </a:xfrm>
              <a:custGeom>
                <a:avLst/>
                <a:gdLst>
                  <a:gd name="connsiteX0" fmla="*/ 487142 w 491294"/>
                  <a:gd name="connsiteY0" fmla="*/ 0 h 76871"/>
                  <a:gd name="connsiteX1" fmla="*/ 491295 w 491294"/>
                  <a:gd name="connsiteY1" fmla="*/ 4152 h 76871"/>
                  <a:gd name="connsiteX2" fmla="*/ 491295 w 491294"/>
                  <a:gd name="connsiteY2" fmla="*/ 72720 h 76871"/>
                  <a:gd name="connsiteX3" fmla="*/ 487142 w 491294"/>
                  <a:gd name="connsiteY3" fmla="*/ 76872 h 76871"/>
                  <a:gd name="connsiteX4" fmla="*/ 4152 w 491294"/>
                  <a:gd name="connsiteY4" fmla="*/ 76872 h 76871"/>
                  <a:gd name="connsiteX5" fmla="*/ 0 w 491294"/>
                  <a:gd name="connsiteY5" fmla="*/ 72720 h 76871"/>
                  <a:gd name="connsiteX6" fmla="*/ 0 w 491294"/>
                  <a:gd name="connsiteY6" fmla="*/ 4152 h 76871"/>
                  <a:gd name="connsiteX7" fmla="*/ 4152 w 491294"/>
                  <a:gd name="connsiteY7" fmla="*/ 0 h 7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294" h="76871">
                    <a:moveTo>
                      <a:pt x="487142" y="0"/>
                    </a:moveTo>
                    <a:cubicBezTo>
                      <a:pt x="489436" y="0"/>
                      <a:pt x="491295" y="1859"/>
                      <a:pt x="491295" y="4152"/>
                    </a:cubicBezTo>
                    <a:lnTo>
                      <a:pt x="491295" y="72720"/>
                    </a:lnTo>
                    <a:cubicBezTo>
                      <a:pt x="491295" y="75013"/>
                      <a:pt x="489436" y="76872"/>
                      <a:pt x="487142" y="76872"/>
                    </a:cubicBezTo>
                    <a:lnTo>
                      <a:pt x="4152" y="76872"/>
                    </a:lnTo>
                    <a:cubicBezTo>
                      <a:pt x="1859" y="76872"/>
                      <a:pt x="0" y="75013"/>
                      <a:pt x="0" y="72720"/>
                    </a:cubicBezTo>
                    <a:lnTo>
                      <a:pt x="0" y="4152"/>
                    </a:lnTo>
                    <a:cubicBezTo>
                      <a:pt x="0" y="1859"/>
                      <a:pt x="1859" y="0"/>
                      <a:pt x="4152" y="0"/>
                    </a:cubicBez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0" name="Freeform: Shape 559">
                <a:extLst>
                  <a:ext uri="{FF2B5EF4-FFF2-40B4-BE49-F238E27FC236}">
                    <a16:creationId xmlns:a16="http://schemas.microsoft.com/office/drawing/2014/main" id="{9E522EF0-3CF7-F377-1771-AC76FB15DA06}"/>
                  </a:ext>
                </a:extLst>
              </p:cNvPr>
              <p:cNvSpPr/>
              <p:nvPr/>
            </p:nvSpPr>
            <p:spPr>
              <a:xfrm>
                <a:off x="4596641" y="2874449"/>
                <a:ext cx="491294" cy="37020"/>
              </a:xfrm>
              <a:custGeom>
                <a:avLst/>
                <a:gdLst>
                  <a:gd name="connsiteX0" fmla="*/ 487142 w 491294"/>
                  <a:gd name="connsiteY0" fmla="*/ 0 h 37020"/>
                  <a:gd name="connsiteX1" fmla="*/ 491295 w 491294"/>
                  <a:gd name="connsiteY1" fmla="*/ 4152 h 37020"/>
                  <a:gd name="connsiteX2" fmla="*/ 491295 w 491294"/>
                  <a:gd name="connsiteY2" fmla="*/ 32869 h 37020"/>
                  <a:gd name="connsiteX3" fmla="*/ 487142 w 491294"/>
                  <a:gd name="connsiteY3" fmla="*/ 37021 h 37020"/>
                  <a:gd name="connsiteX4" fmla="*/ 4152 w 491294"/>
                  <a:gd name="connsiteY4" fmla="*/ 37021 h 37020"/>
                  <a:gd name="connsiteX5" fmla="*/ 0 w 491294"/>
                  <a:gd name="connsiteY5" fmla="*/ 32869 h 37020"/>
                  <a:gd name="connsiteX6" fmla="*/ 0 w 491294"/>
                  <a:gd name="connsiteY6" fmla="*/ 4152 h 37020"/>
                  <a:gd name="connsiteX7" fmla="*/ 4152 w 491294"/>
                  <a:gd name="connsiteY7" fmla="*/ 0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294" h="37020">
                    <a:moveTo>
                      <a:pt x="487142" y="0"/>
                    </a:moveTo>
                    <a:cubicBezTo>
                      <a:pt x="489436" y="0"/>
                      <a:pt x="491295" y="1859"/>
                      <a:pt x="491295" y="4152"/>
                    </a:cubicBezTo>
                    <a:lnTo>
                      <a:pt x="491295" y="32869"/>
                    </a:lnTo>
                    <a:cubicBezTo>
                      <a:pt x="491295" y="35162"/>
                      <a:pt x="489436" y="37021"/>
                      <a:pt x="487142" y="37021"/>
                    </a:cubicBezTo>
                    <a:lnTo>
                      <a:pt x="4152" y="37021"/>
                    </a:lnTo>
                    <a:cubicBezTo>
                      <a:pt x="1859" y="37021"/>
                      <a:pt x="0" y="35162"/>
                      <a:pt x="0" y="32869"/>
                    </a:cubicBezTo>
                    <a:lnTo>
                      <a:pt x="0" y="4152"/>
                    </a:lnTo>
                    <a:cubicBezTo>
                      <a:pt x="0" y="1859"/>
                      <a:pt x="1859" y="0"/>
                      <a:pt x="4152" y="0"/>
                    </a:cubicBez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1" name="Freeform: Shape 560">
                <a:extLst>
                  <a:ext uri="{FF2B5EF4-FFF2-40B4-BE49-F238E27FC236}">
                    <a16:creationId xmlns:a16="http://schemas.microsoft.com/office/drawing/2014/main" id="{D5B7B161-EE47-EAB4-89A2-144DB7F4DDDD}"/>
                  </a:ext>
                </a:extLst>
              </p:cNvPr>
              <p:cNvSpPr/>
              <p:nvPr/>
            </p:nvSpPr>
            <p:spPr>
              <a:xfrm>
                <a:off x="4688077" y="2932256"/>
                <a:ext cx="308410" cy="37020"/>
              </a:xfrm>
              <a:custGeom>
                <a:avLst/>
                <a:gdLst>
                  <a:gd name="connsiteX0" fmla="*/ 304258 w 308410"/>
                  <a:gd name="connsiteY0" fmla="*/ 0 h 37020"/>
                  <a:gd name="connsiteX1" fmla="*/ 308410 w 308410"/>
                  <a:gd name="connsiteY1" fmla="*/ 4152 h 37020"/>
                  <a:gd name="connsiteX2" fmla="*/ 308410 w 308410"/>
                  <a:gd name="connsiteY2" fmla="*/ 32869 h 37020"/>
                  <a:gd name="connsiteX3" fmla="*/ 304258 w 308410"/>
                  <a:gd name="connsiteY3" fmla="*/ 37021 h 37020"/>
                  <a:gd name="connsiteX4" fmla="*/ 4152 w 308410"/>
                  <a:gd name="connsiteY4" fmla="*/ 37021 h 37020"/>
                  <a:gd name="connsiteX5" fmla="*/ 0 w 308410"/>
                  <a:gd name="connsiteY5" fmla="*/ 32869 h 37020"/>
                  <a:gd name="connsiteX6" fmla="*/ 0 w 308410"/>
                  <a:gd name="connsiteY6" fmla="*/ 4152 h 37020"/>
                  <a:gd name="connsiteX7" fmla="*/ 4152 w 308410"/>
                  <a:gd name="connsiteY7" fmla="*/ 0 h 3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410" h="37020">
                    <a:moveTo>
                      <a:pt x="304258" y="0"/>
                    </a:moveTo>
                    <a:cubicBezTo>
                      <a:pt x="306551" y="0"/>
                      <a:pt x="308410" y="1859"/>
                      <a:pt x="308410" y="4152"/>
                    </a:cubicBezTo>
                    <a:lnTo>
                      <a:pt x="308410" y="32869"/>
                    </a:lnTo>
                    <a:cubicBezTo>
                      <a:pt x="308410" y="35162"/>
                      <a:pt x="306551" y="37021"/>
                      <a:pt x="304258" y="37021"/>
                    </a:cubicBezTo>
                    <a:lnTo>
                      <a:pt x="4152" y="37021"/>
                    </a:lnTo>
                    <a:cubicBezTo>
                      <a:pt x="1859" y="37021"/>
                      <a:pt x="0" y="35162"/>
                      <a:pt x="0" y="32869"/>
                    </a:cubicBezTo>
                    <a:lnTo>
                      <a:pt x="0" y="4152"/>
                    </a:lnTo>
                    <a:cubicBezTo>
                      <a:pt x="0" y="1859"/>
                      <a:pt x="1859" y="0"/>
                      <a:pt x="4152" y="0"/>
                    </a:cubicBez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62" name="Graphic 525">
                <a:extLst>
                  <a:ext uri="{FF2B5EF4-FFF2-40B4-BE49-F238E27FC236}">
                    <a16:creationId xmlns:a16="http://schemas.microsoft.com/office/drawing/2014/main" id="{D5589F1D-71CB-AE9B-318C-D1EB49664964}"/>
                  </a:ext>
                </a:extLst>
              </p:cNvPr>
              <p:cNvGrpSpPr/>
              <p:nvPr/>
            </p:nvGrpSpPr>
            <p:grpSpPr>
              <a:xfrm>
                <a:off x="4625008" y="2390536"/>
                <a:ext cx="488501" cy="445420"/>
                <a:chOff x="4625008" y="2390536"/>
                <a:chExt cx="488501" cy="445420"/>
              </a:xfrm>
            </p:grpSpPr>
            <p:grpSp>
              <p:nvGrpSpPr>
                <p:cNvPr id="563" name="Graphic 525">
                  <a:extLst>
                    <a:ext uri="{FF2B5EF4-FFF2-40B4-BE49-F238E27FC236}">
                      <a16:creationId xmlns:a16="http://schemas.microsoft.com/office/drawing/2014/main" id="{CD0D1AE5-D786-003A-5BA4-777110A34078}"/>
                    </a:ext>
                  </a:extLst>
                </p:cNvPr>
                <p:cNvGrpSpPr/>
                <p:nvPr/>
              </p:nvGrpSpPr>
              <p:grpSpPr>
                <a:xfrm>
                  <a:off x="4709846" y="2390536"/>
                  <a:ext cx="256279" cy="411307"/>
                  <a:chOff x="4709846" y="2390536"/>
                  <a:chExt cx="256279" cy="411307"/>
                </a:xfrm>
              </p:grpSpPr>
              <p:sp>
                <p:nvSpPr>
                  <p:cNvPr id="564" name="Freeform: Shape 563">
                    <a:extLst>
                      <a:ext uri="{FF2B5EF4-FFF2-40B4-BE49-F238E27FC236}">
                        <a16:creationId xmlns:a16="http://schemas.microsoft.com/office/drawing/2014/main" id="{1B71E650-9731-0B7F-2BBD-395DDAE71D2C}"/>
                      </a:ext>
                    </a:extLst>
                  </p:cNvPr>
                  <p:cNvSpPr/>
                  <p:nvPr/>
                </p:nvSpPr>
                <p:spPr>
                  <a:xfrm>
                    <a:off x="4721656" y="2396347"/>
                    <a:ext cx="97009" cy="118356"/>
                  </a:xfrm>
                  <a:custGeom>
                    <a:avLst/>
                    <a:gdLst>
                      <a:gd name="connsiteX0" fmla="*/ 1945 w 97009"/>
                      <a:gd name="connsiteY0" fmla="*/ 60151 h 118356"/>
                      <a:gd name="connsiteX1" fmla="*/ 79553 w 97009"/>
                      <a:gd name="connsiteY1" fmla="*/ 118357 h 118356"/>
                      <a:gd name="connsiteX2" fmla="*/ 97010 w 97009"/>
                      <a:gd name="connsiteY2" fmla="*/ 106711 h 118356"/>
                      <a:gd name="connsiteX3" fmla="*/ 44627 w 97009"/>
                      <a:gd name="connsiteY3" fmla="*/ 0 h 118356"/>
                      <a:gd name="connsiteX4" fmla="*/ 31048 w 97009"/>
                      <a:gd name="connsiteY4" fmla="*/ 9701 h 118356"/>
                      <a:gd name="connsiteX5" fmla="*/ 58206 w 97009"/>
                      <a:gd name="connsiteY5" fmla="*/ 50450 h 118356"/>
                      <a:gd name="connsiteX6" fmla="*/ 0 w 97009"/>
                      <a:gd name="connsiteY6" fmla="*/ 36871 h 118356"/>
                      <a:gd name="connsiteX7" fmla="*/ 1945 w 97009"/>
                      <a:gd name="connsiteY7" fmla="*/ 60151 h 11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009" h="118356">
                        <a:moveTo>
                          <a:pt x="1945" y="60151"/>
                        </a:moveTo>
                        <a:cubicBezTo>
                          <a:pt x="1945" y="60151"/>
                          <a:pt x="48505" y="64029"/>
                          <a:pt x="79553" y="118357"/>
                        </a:cubicBezTo>
                        <a:lnTo>
                          <a:pt x="97010" y="106711"/>
                        </a:lnTo>
                        <a:cubicBezTo>
                          <a:pt x="97010" y="106711"/>
                          <a:pt x="83431" y="34926"/>
                          <a:pt x="44627" y="0"/>
                        </a:cubicBezTo>
                        <a:lnTo>
                          <a:pt x="31048" y="9701"/>
                        </a:lnTo>
                        <a:cubicBezTo>
                          <a:pt x="31048" y="9701"/>
                          <a:pt x="48505" y="34926"/>
                          <a:pt x="58206" y="50450"/>
                        </a:cubicBezTo>
                        <a:cubicBezTo>
                          <a:pt x="58206" y="50450"/>
                          <a:pt x="17457" y="38804"/>
                          <a:pt x="0" y="36871"/>
                        </a:cubicBezTo>
                        <a:lnTo>
                          <a:pt x="1945" y="60151"/>
                        </a:ln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5" name="Freeform: Shape 564">
                    <a:extLst>
                      <a:ext uri="{FF2B5EF4-FFF2-40B4-BE49-F238E27FC236}">
                        <a16:creationId xmlns:a16="http://schemas.microsoft.com/office/drawing/2014/main" id="{EE99EB68-BF32-8609-5190-91A61B480E5C}"/>
                      </a:ext>
                    </a:extLst>
                  </p:cNvPr>
                  <p:cNvSpPr/>
                  <p:nvPr/>
                </p:nvSpPr>
                <p:spPr>
                  <a:xfrm>
                    <a:off x="4853592" y="2410490"/>
                    <a:ext cx="97009" cy="84811"/>
                  </a:xfrm>
                  <a:custGeom>
                    <a:avLst/>
                    <a:gdLst>
                      <a:gd name="connsiteX0" fmla="*/ 0 w 97009"/>
                      <a:gd name="connsiteY0" fmla="*/ 77056 h 84811"/>
                      <a:gd name="connsiteX1" fmla="*/ 97010 w 97009"/>
                      <a:gd name="connsiteY1" fmla="*/ 5272 h 84811"/>
                      <a:gd name="connsiteX2" fmla="*/ 95064 w 97009"/>
                      <a:gd name="connsiteY2" fmla="*/ 28551 h 84811"/>
                      <a:gd name="connsiteX3" fmla="*/ 32981 w 97009"/>
                      <a:gd name="connsiteY3" fmla="*/ 84812 h 84811"/>
                      <a:gd name="connsiteX4" fmla="*/ 0 w 97009"/>
                      <a:gd name="connsiteY4" fmla="*/ 77056 h 84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09" h="84811">
                        <a:moveTo>
                          <a:pt x="0" y="77056"/>
                        </a:moveTo>
                        <a:cubicBezTo>
                          <a:pt x="0" y="77056"/>
                          <a:pt x="17457" y="-23831"/>
                          <a:pt x="97010" y="5272"/>
                        </a:cubicBezTo>
                        <a:lnTo>
                          <a:pt x="95064" y="28551"/>
                        </a:lnTo>
                        <a:cubicBezTo>
                          <a:pt x="95064" y="28551"/>
                          <a:pt x="40737" y="11095"/>
                          <a:pt x="32981" y="84812"/>
                        </a:cubicBezTo>
                        <a:lnTo>
                          <a:pt x="0" y="77056"/>
                        </a:ln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6" name="Freeform: Shape 565">
                    <a:extLst>
                      <a:ext uri="{FF2B5EF4-FFF2-40B4-BE49-F238E27FC236}">
                        <a16:creationId xmlns:a16="http://schemas.microsoft.com/office/drawing/2014/main" id="{7558A570-B14E-9C4B-1B40-25622206980E}"/>
                      </a:ext>
                    </a:extLst>
                  </p:cNvPr>
                  <p:cNvSpPr/>
                  <p:nvPr/>
                </p:nvSpPr>
                <p:spPr>
                  <a:xfrm>
                    <a:off x="4818666" y="2390536"/>
                    <a:ext cx="42681" cy="98954"/>
                  </a:xfrm>
                  <a:custGeom>
                    <a:avLst/>
                    <a:gdLst>
                      <a:gd name="connsiteX0" fmla="*/ 21347 w 42681"/>
                      <a:gd name="connsiteY0" fmla="*/ 0 h 98954"/>
                      <a:gd name="connsiteX1" fmla="*/ 0 w 42681"/>
                      <a:gd name="connsiteY1" fmla="*/ 91186 h 98954"/>
                      <a:gd name="connsiteX2" fmla="*/ 21347 w 42681"/>
                      <a:gd name="connsiteY2" fmla="*/ 98955 h 98954"/>
                      <a:gd name="connsiteX3" fmla="*/ 42682 w 42681"/>
                      <a:gd name="connsiteY3" fmla="*/ 5823 h 98954"/>
                      <a:gd name="connsiteX4" fmla="*/ 21347 w 42681"/>
                      <a:gd name="connsiteY4" fmla="*/ 0 h 98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1" h="98954">
                        <a:moveTo>
                          <a:pt x="21347" y="0"/>
                        </a:moveTo>
                        <a:lnTo>
                          <a:pt x="0" y="91186"/>
                        </a:lnTo>
                        <a:lnTo>
                          <a:pt x="21347" y="98955"/>
                        </a:lnTo>
                        <a:lnTo>
                          <a:pt x="42682" y="5823"/>
                        </a:lnTo>
                        <a:lnTo>
                          <a:pt x="21347" y="0"/>
                        </a:ln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7" name="Freeform: Shape 566">
                    <a:extLst>
                      <a:ext uri="{FF2B5EF4-FFF2-40B4-BE49-F238E27FC236}">
                        <a16:creationId xmlns:a16="http://schemas.microsoft.com/office/drawing/2014/main" id="{69BBD7F7-1503-0CD6-AB11-55610E3A59F9}"/>
                      </a:ext>
                    </a:extLst>
                  </p:cNvPr>
                  <p:cNvSpPr/>
                  <p:nvPr/>
                </p:nvSpPr>
                <p:spPr>
                  <a:xfrm>
                    <a:off x="4898219" y="2506935"/>
                    <a:ext cx="67906" cy="56260"/>
                  </a:xfrm>
                  <a:custGeom>
                    <a:avLst/>
                    <a:gdLst>
                      <a:gd name="connsiteX0" fmla="*/ 13579 w 67906"/>
                      <a:gd name="connsiteY0" fmla="*/ 11646 h 56260"/>
                      <a:gd name="connsiteX1" fmla="*/ 67907 w 67906"/>
                      <a:gd name="connsiteY1" fmla="*/ 0 h 56260"/>
                      <a:gd name="connsiteX2" fmla="*/ 65962 w 67906"/>
                      <a:gd name="connsiteY2" fmla="*/ 29103 h 56260"/>
                      <a:gd name="connsiteX3" fmla="*/ 0 w 67906"/>
                      <a:gd name="connsiteY3" fmla="*/ 56260 h 56260"/>
                      <a:gd name="connsiteX4" fmla="*/ 13579 w 67906"/>
                      <a:gd name="connsiteY4" fmla="*/ 11634 h 5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06" h="56260">
                        <a:moveTo>
                          <a:pt x="13579" y="11646"/>
                        </a:moveTo>
                        <a:lnTo>
                          <a:pt x="67907" y="0"/>
                        </a:lnTo>
                        <a:cubicBezTo>
                          <a:pt x="67907" y="0"/>
                          <a:pt x="62083" y="11646"/>
                          <a:pt x="65962" y="29103"/>
                        </a:cubicBezTo>
                        <a:lnTo>
                          <a:pt x="0" y="56260"/>
                        </a:lnTo>
                        <a:lnTo>
                          <a:pt x="13579" y="11634"/>
                        </a:lnTo>
                        <a:close/>
                      </a:path>
                    </a:pathLst>
                  </a:custGeom>
                  <a:solidFill>
                    <a:srgbClr val="70BE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68" name="Graphic 525">
                    <a:extLst>
                      <a:ext uri="{FF2B5EF4-FFF2-40B4-BE49-F238E27FC236}">
                        <a16:creationId xmlns:a16="http://schemas.microsoft.com/office/drawing/2014/main" id="{69DEC18C-255C-3295-F0DA-2F07A48ED1E1}"/>
                      </a:ext>
                    </a:extLst>
                  </p:cNvPr>
                  <p:cNvGrpSpPr/>
                  <p:nvPr/>
                </p:nvGrpSpPr>
                <p:grpSpPr>
                  <a:xfrm>
                    <a:off x="4709846" y="2462419"/>
                    <a:ext cx="227278" cy="339425"/>
                    <a:chOff x="4709846" y="2462419"/>
                    <a:chExt cx="227278" cy="339425"/>
                  </a:xfrm>
                </p:grpSpPr>
                <p:sp>
                  <p:nvSpPr>
                    <p:cNvPr id="569" name="Freeform: Shape 568">
                      <a:extLst>
                        <a:ext uri="{FF2B5EF4-FFF2-40B4-BE49-F238E27FC236}">
                          <a16:creationId xmlns:a16="http://schemas.microsoft.com/office/drawing/2014/main" id="{8E8C42E9-1902-44DA-6638-8845928D326E}"/>
                        </a:ext>
                      </a:extLst>
                    </p:cNvPr>
                    <p:cNvSpPr/>
                    <p:nvPr/>
                  </p:nvSpPr>
                  <p:spPr>
                    <a:xfrm>
                      <a:off x="4709855" y="2462419"/>
                      <a:ext cx="227269" cy="339425"/>
                    </a:xfrm>
                    <a:custGeom>
                      <a:avLst/>
                      <a:gdLst>
                        <a:gd name="connsiteX0" fmla="*/ 50842 w 227269"/>
                        <a:gd name="connsiteY0" fmla="*/ 32109 h 339425"/>
                        <a:gd name="connsiteX1" fmla="*/ 30168 w 227269"/>
                        <a:gd name="connsiteY1" fmla="*/ 98906 h 339425"/>
                        <a:gd name="connsiteX2" fmla="*/ 9495 w 227269"/>
                        <a:gd name="connsiteY2" fmla="*/ 205455 h 339425"/>
                        <a:gd name="connsiteX3" fmla="*/ 136717 w 227269"/>
                        <a:gd name="connsiteY3" fmla="*/ 337453 h 339425"/>
                        <a:gd name="connsiteX4" fmla="*/ 203514 w 227269"/>
                        <a:gd name="connsiteY4" fmla="*/ 146613 h 339425"/>
                        <a:gd name="connsiteX5" fmla="*/ 217828 w 227269"/>
                        <a:gd name="connsiteY5" fmla="*/ 102086 h 339425"/>
                        <a:gd name="connsiteX6" fmla="*/ 216232 w 227269"/>
                        <a:gd name="connsiteY6" fmla="*/ 43244 h 339425"/>
                        <a:gd name="connsiteX7" fmla="*/ 50842 w 227269"/>
                        <a:gd name="connsiteY7" fmla="*/ 32109 h 33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269" h="339425">
                          <a:moveTo>
                            <a:pt x="50842" y="32109"/>
                          </a:moveTo>
                          <a:cubicBezTo>
                            <a:pt x="50842" y="32109"/>
                            <a:pt x="23809" y="70277"/>
                            <a:pt x="30168" y="98906"/>
                          </a:cubicBezTo>
                          <a:cubicBezTo>
                            <a:pt x="36528" y="127536"/>
                            <a:pt x="-22314" y="159344"/>
                            <a:pt x="9495" y="205455"/>
                          </a:cubicBezTo>
                          <a:cubicBezTo>
                            <a:pt x="41303" y="251578"/>
                            <a:pt x="68336" y="354947"/>
                            <a:pt x="136717" y="337453"/>
                          </a:cubicBezTo>
                          <a:cubicBezTo>
                            <a:pt x="205097" y="319958"/>
                            <a:pt x="238502" y="172063"/>
                            <a:pt x="203514" y="146613"/>
                          </a:cubicBezTo>
                          <a:cubicBezTo>
                            <a:pt x="203514" y="146613"/>
                            <a:pt x="232143" y="127523"/>
                            <a:pt x="217828" y="102086"/>
                          </a:cubicBezTo>
                          <a:cubicBezTo>
                            <a:pt x="217828" y="102086"/>
                            <a:pt x="240098" y="60739"/>
                            <a:pt x="216232" y="43244"/>
                          </a:cubicBezTo>
                          <a:cubicBezTo>
                            <a:pt x="192379" y="25750"/>
                            <a:pt x="127178" y="-37867"/>
                            <a:pt x="50842" y="32109"/>
                          </a:cubicBezTo>
                          <a:close/>
                        </a:path>
                      </a:pathLst>
                    </a:custGeom>
                    <a:solidFill>
                      <a:srgbClr val="7FC2E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0" name="Freeform: Shape 569">
                      <a:extLst>
                        <a:ext uri="{FF2B5EF4-FFF2-40B4-BE49-F238E27FC236}">
                          <a16:creationId xmlns:a16="http://schemas.microsoft.com/office/drawing/2014/main" id="{0798CF57-E6BE-31E3-60B4-D5AEB32E90BF}"/>
                        </a:ext>
                      </a:extLst>
                    </p:cNvPr>
                    <p:cNvSpPr/>
                    <p:nvPr/>
                  </p:nvSpPr>
                  <p:spPr>
                    <a:xfrm>
                      <a:off x="4709846" y="2551574"/>
                      <a:ext cx="85735" cy="107658"/>
                    </a:xfrm>
                    <a:custGeom>
                      <a:avLst/>
                      <a:gdLst>
                        <a:gd name="connsiteX0" fmla="*/ 85540 w 85735"/>
                        <a:gd name="connsiteY0" fmla="*/ 23280 h 107658"/>
                        <a:gd name="connsiteX1" fmla="*/ 31212 w 85735"/>
                        <a:gd name="connsiteY1" fmla="*/ 0 h 107658"/>
                        <a:gd name="connsiteX2" fmla="*/ 29205 w 85735"/>
                        <a:gd name="connsiteY2" fmla="*/ 798 h 107658"/>
                        <a:gd name="connsiteX3" fmla="*/ 30165 w 85735"/>
                        <a:gd name="connsiteY3" fmla="*/ 9763 h 107658"/>
                        <a:gd name="connsiteX4" fmla="*/ 4466 w 85735"/>
                        <a:gd name="connsiteY4" fmla="*/ 107658 h 107658"/>
                        <a:gd name="connsiteX5" fmla="*/ 54480 w 85735"/>
                        <a:gd name="connsiteY5" fmla="*/ 67919 h 107658"/>
                        <a:gd name="connsiteX6" fmla="*/ 85528 w 85735"/>
                        <a:gd name="connsiteY6" fmla="*/ 23292 h 10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35" h="107658">
                          <a:moveTo>
                            <a:pt x="85540" y="23280"/>
                          </a:moveTo>
                          <a:cubicBezTo>
                            <a:pt x="83595" y="13579"/>
                            <a:pt x="31212" y="0"/>
                            <a:pt x="31212" y="0"/>
                          </a:cubicBezTo>
                          <a:cubicBezTo>
                            <a:pt x="30539" y="262"/>
                            <a:pt x="29866" y="524"/>
                            <a:pt x="29205" y="798"/>
                          </a:cubicBezTo>
                          <a:cubicBezTo>
                            <a:pt x="29230" y="3853"/>
                            <a:pt x="29517" y="6858"/>
                            <a:pt x="30165" y="9763"/>
                          </a:cubicBezTo>
                          <a:cubicBezTo>
                            <a:pt x="36125" y="36559"/>
                            <a:pt x="-15060" y="66149"/>
                            <a:pt x="4466" y="107658"/>
                          </a:cubicBezTo>
                          <a:cubicBezTo>
                            <a:pt x="12546" y="88668"/>
                            <a:pt x="33519" y="71735"/>
                            <a:pt x="54480" y="67919"/>
                          </a:cubicBezTo>
                          <a:cubicBezTo>
                            <a:pt x="75827" y="64041"/>
                            <a:pt x="87460" y="32993"/>
                            <a:pt x="85528" y="23292"/>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1" name="Freeform: Shape 570">
                      <a:extLst>
                        <a:ext uri="{FF2B5EF4-FFF2-40B4-BE49-F238E27FC236}">
                          <a16:creationId xmlns:a16="http://schemas.microsoft.com/office/drawing/2014/main" id="{6DFD2C93-50F9-8E35-2FAC-D212625C2366}"/>
                        </a:ext>
                      </a:extLst>
                    </p:cNvPr>
                    <p:cNvSpPr/>
                    <p:nvPr/>
                  </p:nvSpPr>
                  <p:spPr>
                    <a:xfrm>
                      <a:off x="4878923" y="2556046"/>
                      <a:ext cx="52768" cy="52986"/>
                    </a:xfrm>
                    <a:custGeom>
                      <a:avLst/>
                      <a:gdLst>
                        <a:gd name="connsiteX0" fmla="*/ 34445 w 52768"/>
                        <a:gd name="connsiteY0" fmla="*/ 52986 h 52986"/>
                        <a:gd name="connsiteX1" fmla="*/ 48760 w 52768"/>
                        <a:gd name="connsiteY1" fmla="*/ 8459 h 52986"/>
                        <a:gd name="connsiteX2" fmla="*/ 3771 w 52768"/>
                        <a:gd name="connsiteY2" fmla="*/ 3285 h 52986"/>
                        <a:gd name="connsiteX3" fmla="*/ 34445 w 52768"/>
                        <a:gd name="connsiteY3" fmla="*/ 52986 h 52986"/>
                      </a:gdLst>
                      <a:ahLst/>
                      <a:cxnLst>
                        <a:cxn ang="0">
                          <a:pos x="connsiteX0" y="connsiteY0"/>
                        </a:cxn>
                        <a:cxn ang="0">
                          <a:pos x="connsiteX1" y="connsiteY1"/>
                        </a:cxn>
                        <a:cxn ang="0">
                          <a:pos x="connsiteX2" y="connsiteY2"/>
                        </a:cxn>
                        <a:cxn ang="0">
                          <a:pos x="connsiteX3" y="connsiteY3"/>
                        </a:cxn>
                      </a:cxnLst>
                      <a:rect l="l" t="t" r="r" b="b"/>
                      <a:pathLst>
                        <a:path w="52768" h="52986">
                          <a:moveTo>
                            <a:pt x="34445" y="52986"/>
                          </a:moveTo>
                          <a:cubicBezTo>
                            <a:pt x="34445" y="52986"/>
                            <a:pt x="63074" y="33897"/>
                            <a:pt x="48760" y="8459"/>
                          </a:cubicBezTo>
                          <a:cubicBezTo>
                            <a:pt x="48760" y="8459"/>
                            <a:pt x="9594" y="-6416"/>
                            <a:pt x="3771" y="3285"/>
                          </a:cubicBezTo>
                          <a:cubicBezTo>
                            <a:pt x="-2052" y="12986"/>
                            <a:pt x="-6665" y="48373"/>
                            <a:pt x="34445" y="52986"/>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72" name="Freeform: Shape 571">
                    <a:extLst>
                      <a:ext uri="{FF2B5EF4-FFF2-40B4-BE49-F238E27FC236}">
                        <a16:creationId xmlns:a16="http://schemas.microsoft.com/office/drawing/2014/main" id="{F989F77A-7FF1-2C62-4ED1-75C6CC94FA84}"/>
                      </a:ext>
                    </a:extLst>
                  </p:cNvPr>
                  <p:cNvSpPr/>
                  <p:nvPr/>
                </p:nvSpPr>
                <p:spPr>
                  <a:xfrm>
                    <a:off x="4808977" y="2570705"/>
                    <a:ext cx="79637" cy="186522"/>
                  </a:xfrm>
                  <a:custGeom>
                    <a:avLst/>
                    <a:gdLst>
                      <a:gd name="connsiteX0" fmla="*/ 79603 w 79637"/>
                      <a:gd name="connsiteY0" fmla="*/ 5060 h 186522"/>
                      <a:gd name="connsiteX1" fmla="*/ 77682 w 79637"/>
                      <a:gd name="connsiteY1" fmla="*/ 17641 h 186522"/>
                      <a:gd name="connsiteX2" fmla="*/ 75176 w 79637"/>
                      <a:gd name="connsiteY2" fmla="*/ 29985 h 186522"/>
                      <a:gd name="connsiteX3" fmla="*/ 68655 w 79637"/>
                      <a:gd name="connsiteY3" fmla="*/ 54263 h 186522"/>
                      <a:gd name="connsiteX4" fmla="*/ 48954 w 79637"/>
                      <a:gd name="connsiteY4" fmla="*/ 100411 h 186522"/>
                      <a:gd name="connsiteX5" fmla="*/ 42345 w 79637"/>
                      <a:gd name="connsiteY5" fmla="*/ 111097 h 186522"/>
                      <a:gd name="connsiteX6" fmla="*/ 35325 w 79637"/>
                      <a:gd name="connsiteY6" fmla="*/ 121347 h 186522"/>
                      <a:gd name="connsiteX7" fmla="*/ 22008 w 79637"/>
                      <a:gd name="connsiteY7" fmla="*/ 142207 h 186522"/>
                      <a:gd name="connsiteX8" fmla="*/ 9963 w 79637"/>
                      <a:gd name="connsiteY8" fmla="*/ 163841 h 186522"/>
                      <a:gd name="connsiteX9" fmla="*/ 0 w 79637"/>
                      <a:gd name="connsiteY9" fmla="*/ 186522 h 186522"/>
                      <a:gd name="connsiteX10" fmla="*/ 8903 w 79637"/>
                      <a:gd name="connsiteY10" fmla="*/ 163330 h 186522"/>
                      <a:gd name="connsiteX11" fmla="*/ 19963 w 79637"/>
                      <a:gd name="connsiteY11" fmla="*/ 141035 h 186522"/>
                      <a:gd name="connsiteX12" fmla="*/ 32357 w 79637"/>
                      <a:gd name="connsiteY12" fmla="*/ 119439 h 186522"/>
                      <a:gd name="connsiteX13" fmla="*/ 38879 w 79637"/>
                      <a:gd name="connsiteY13" fmla="*/ 108877 h 186522"/>
                      <a:gd name="connsiteX14" fmla="*/ 44864 w 79637"/>
                      <a:gd name="connsiteY14" fmla="*/ 98179 h 186522"/>
                      <a:gd name="connsiteX15" fmla="*/ 62084 w 79637"/>
                      <a:gd name="connsiteY15" fmla="*/ 52342 h 186522"/>
                      <a:gd name="connsiteX16" fmla="*/ 67383 w 79637"/>
                      <a:gd name="connsiteY16" fmla="*/ 28414 h 186522"/>
                      <a:gd name="connsiteX17" fmla="*/ 69291 w 79637"/>
                      <a:gd name="connsiteY17" fmla="*/ 16319 h 186522"/>
                      <a:gd name="connsiteX18" fmla="*/ 70039 w 79637"/>
                      <a:gd name="connsiteY18" fmla="*/ 10259 h 186522"/>
                      <a:gd name="connsiteX19" fmla="*/ 70587 w 79637"/>
                      <a:gd name="connsiteY19" fmla="*/ 4287 h 186522"/>
                      <a:gd name="connsiteX20" fmla="*/ 75413 w 79637"/>
                      <a:gd name="connsiteY20" fmla="*/ 10 h 186522"/>
                      <a:gd name="connsiteX21" fmla="*/ 79628 w 79637"/>
                      <a:gd name="connsiteY21" fmla="*/ 4835 h 186522"/>
                      <a:gd name="connsiteX22" fmla="*/ 79603 w 79637"/>
                      <a:gd name="connsiteY22" fmla="*/ 5060 h 18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637" h="186522">
                        <a:moveTo>
                          <a:pt x="79603" y="5060"/>
                        </a:moveTo>
                        <a:cubicBezTo>
                          <a:pt x="79091" y="9411"/>
                          <a:pt x="78418" y="13476"/>
                          <a:pt x="77682" y="17641"/>
                        </a:cubicBezTo>
                        <a:cubicBezTo>
                          <a:pt x="76934" y="21781"/>
                          <a:pt x="76099" y="25883"/>
                          <a:pt x="75176" y="29985"/>
                        </a:cubicBezTo>
                        <a:cubicBezTo>
                          <a:pt x="73343" y="38165"/>
                          <a:pt x="71161" y="46270"/>
                          <a:pt x="68655" y="54263"/>
                        </a:cubicBezTo>
                        <a:cubicBezTo>
                          <a:pt x="63617" y="70236"/>
                          <a:pt x="57221" y="85822"/>
                          <a:pt x="48954" y="100411"/>
                        </a:cubicBezTo>
                        <a:cubicBezTo>
                          <a:pt x="46846" y="104040"/>
                          <a:pt x="44689" y="107631"/>
                          <a:pt x="42345" y="111097"/>
                        </a:cubicBezTo>
                        <a:cubicBezTo>
                          <a:pt x="40001" y="114601"/>
                          <a:pt x="37669" y="117930"/>
                          <a:pt x="35325" y="121347"/>
                        </a:cubicBezTo>
                        <a:cubicBezTo>
                          <a:pt x="30736" y="128205"/>
                          <a:pt x="26222" y="135112"/>
                          <a:pt x="22008" y="142207"/>
                        </a:cubicBezTo>
                        <a:cubicBezTo>
                          <a:pt x="17768" y="149290"/>
                          <a:pt x="13704" y="156484"/>
                          <a:pt x="9963" y="163841"/>
                        </a:cubicBezTo>
                        <a:cubicBezTo>
                          <a:pt x="6247" y="171210"/>
                          <a:pt x="2706" y="178704"/>
                          <a:pt x="0" y="186522"/>
                        </a:cubicBezTo>
                        <a:cubicBezTo>
                          <a:pt x="2332" y="178580"/>
                          <a:pt x="5536" y="170899"/>
                          <a:pt x="8903" y="163330"/>
                        </a:cubicBezTo>
                        <a:cubicBezTo>
                          <a:pt x="12307" y="155761"/>
                          <a:pt x="16035" y="148342"/>
                          <a:pt x="19963" y="141035"/>
                        </a:cubicBezTo>
                        <a:cubicBezTo>
                          <a:pt x="23866" y="133703"/>
                          <a:pt x="28068" y="126546"/>
                          <a:pt x="32357" y="119439"/>
                        </a:cubicBezTo>
                        <a:lnTo>
                          <a:pt x="38879" y="108877"/>
                        </a:lnTo>
                        <a:cubicBezTo>
                          <a:pt x="41011" y="105398"/>
                          <a:pt x="42968" y="101795"/>
                          <a:pt x="44864" y="98179"/>
                        </a:cubicBezTo>
                        <a:cubicBezTo>
                          <a:pt x="52295" y="83603"/>
                          <a:pt x="57869" y="68141"/>
                          <a:pt x="62084" y="52342"/>
                        </a:cubicBezTo>
                        <a:cubicBezTo>
                          <a:pt x="64178" y="44437"/>
                          <a:pt x="65949" y="36444"/>
                          <a:pt x="67383" y="28414"/>
                        </a:cubicBezTo>
                        <a:cubicBezTo>
                          <a:pt x="68106" y="24399"/>
                          <a:pt x="68742" y="20359"/>
                          <a:pt x="69291" y="16319"/>
                        </a:cubicBezTo>
                        <a:cubicBezTo>
                          <a:pt x="69565" y="14299"/>
                          <a:pt x="69814" y="12279"/>
                          <a:pt x="70039" y="10259"/>
                        </a:cubicBezTo>
                        <a:cubicBezTo>
                          <a:pt x="70251" y="8264"/>
                          <a:pt x="70463" y="6182"/>
                          <a:pt x="70587" y="4287"/>
                        </a:cubicBezTo>
                        <a:cubicBezTo>
                          <a:pt x="70762" y="1731"/>
                          <a:pt x="72919" y="-152"/>
                          <a:pt x="75413" y="10"/>
                        </a:cubicBezTo>
                        <a:cubicBezTo>
                          <a:pt x="77907" y="184"/>
                          <a:pt x="79790" y="2342"/>
                          <a:pt x="79628" y="4835"/>
                        </a:cubicBezTo>
                        <a:cubicBezTo>
                          <a:pt x="79628" y="4898"/>
                          <a:pt x="79615" y="4985"/>
                          <a:pt x="79603" y="5060"/>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3" name="Freeform: Shape 572">
                    <a:extLst>
                      <a:ext uri="{FF2B5EF4-FFF2-40B4-BE49-F238E27FC236}">
                        <a16:creationId xmlns:a16="http://schemas.microsoft.com/office/drawing/2014/main" id="{4C564F28-0B29-FBA3-D84B-504AD4BCF4E7}"/>
                      </a:ext>
                    </a:extLst>
                  </p:cNvPr>
                  <p:cNvSpPr/>
                  <p:nvPr/>
                </p:nvSpPr>
                <p:spPr>
                  <a:xfrm>
                    <a:off x="4794576" y="2619080"/>
                    <a:ext cx="82373" cy="55963"/>
                  </a:xfrm>
                  <a:custGeom>
                    <a:avLst/>
                    <a:gdLst>
                      <a:gd name="connsiteX0" fmla="*/ 78393 w 82373"/>
                      <a:gd name="connsiteY0" fmla="*/ 9030 h 55963"/>
                      <a:gd name="connsiteX1" fmla="*/ 75775 w 82373"/>
                      <a:gd name="connsiteY1" fmla="*/ 9491 h 55963"/>
                      <a:gd name="connsiteX2" fmla="*/ 73044 w 82373"/>
                      <a:gd name="connsiteY2" fmla="*/ 10102 h 55963"/>
                      <a:gd name="connsiteX3" fmla="*/ 70313 w 82373"/>
                      <a:gd name="connsiteY3" fmla="*/ 10813 h 55963"/>
                      <a:gd name="connsiteX4" fmla="*/ 67607 w 82373"/>
                      <a:gd name="connsiteY4" fmla="*/ 11624 h 55963"/>
                      <a:gd name="connsiteX5" fmla="*/ 57133 w 82373"/>
                      <a:gd name="connsiteY5" fmla="*/ 15863 h 55963"/>
                      <a:gd name="connsiteX6" fmla="*/ 52183 w 82373"/>
                      <a:gd name="connsiteY6" fmla="*/ 18569 h 55963"/>
                      <a:gd name="connsiteX7" fmla="*/ 47570 w 82373"/>
                      <a:gd name="connsiteY7" fmla="*/ 21786 h 55963"/>
                      <a:gd name="connsiteX8" fmla="*/ 43305 w 82373"/>
                      <a:gd name="connsiteY8" fmla="*/ 25439 h 55963"/>
                      <a:gd name="connsiteX9" fmla="*/ 39427 w 82373"/>
                      <a:gd name="connsiteY9" fmla="*/ 29691 h 55963"/>
                      <a:gd name="connsiteX10" fmla="*/ 21534 w 82373"/>
                      <a:gd name="connsiteY10" fmla="*/ 45839 h 55963"/>
                      <a:gd name="connsiteX11" fmla="*/ 11172 w 82373"/>
                      <a:gd name="connsiteY11" fmla="*/ 51874 h 55963"/>
                      <a:gd name="connsiteX12" fmla="*/ 0 w 82373"/>
                      <a:gd name="connsiteY12" fmla="*/ 55964 h 55963"/>
                      <a:gd name="connsiteX13" fmla="*/ 10636 w 82373"/>
                      <a:gd name="connsiteY13" fmla="*/ 50876 h 55963"/>
                      <a:gd name="connsiteX14" fmla="*/ 20175 w 82373"/>
                      <a:gd name="connsiteY14" fmla="*/ 44031 h 55963"/>
                      <a:gd name="connsiteX15" fmla="*/ 35886 w 82373"/>
                      <a:gd name="connsiteY15" fmla="*/ 26886 h 55963"/>
                      <a:gd name="connsiteX16" fmla="*/ 39564 w 82373"/>
                      <a:gd name="connsiteY16" fmla="*/ 21998 h 55963"/>
                      <a:gd name="connsiteX17" fmla="*/ 43904 w 82373"/>
                      <a:gd name="connsiteY17" fmla="*/ 17496 h 55963"/>
                      <a:gd name="connsiteX18" fmla="*/ 48667 w 82373"/>
                      <a:gd name="connsiteY18" fmla="*/ 13456 h 55963"/>
                      <a:gd name="connsiteX19" fmla="*/ 53817 w 82373"/>
                      <a:gd name="connsiteY19" fmla="*/ 9953 h 55963"/>
                      <a:gd name="connsiteX20" fmla="*/ 64827 w 82373"/>
                      <a:gd name="connsiteY20" fmla="*/ 4217 h 55963"/>
                      <a:gd name="connsiteX21" fmla="*/ 67707 w 82373"/>
                      <a:gd name="connsiteY21" fmla="*/ 3045 h 55963"/>
                      <a:gd name="connsiteX22" fmla="*/ 70637 w 82373"/>
                      <a:gd name="connsiteY22" fmla="*/ 1972 h 55963"/>
                      <a:gd name="connsiteX23" fmla="*/ 73617 w 82373"/>
                      <a:gd name="connsiteY23" fmla="*/ 1000 h 55963"/>
                      <a:gd name="connsiteX24" fmla="*/ 76772 w 82373"/>
                      <a:gd name="connsiteY24" fmla="*/ 127 h 55963"/>
                      <a:gd name="connsiteX25" fmla="*/ 82246 w 82373"/>
                      <a:gd name="connsiteY25" fmla="*/ 3469 h 55963"/>
                      <a:gd name="connsiteX26" fmla="*/ 78904 w 82373"/>
                      <a:gd name="connsiteY26" fmla="*/ 8943 h 55963"/>
                      <a:gd name="connsiteX27" fmla="*/ 78480 w 82373"/>
                      <a:gd name="connsiteY27" fmla="*/ 9030 h 55963"/>
                      <a:gd name="connsiteX28" fmla="*/ 78431 w 82373"/>
                      <a:gd name="connsiteY28" fmla="*/ 9030 h 5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2373" h="55963">
                        <a:moveTo>
                          <a:pt x="78393" y="9030"/>
                        </a:moveTo>
                        <a:cubicBezTo>
                          <a:pt x="77632" y="9130"/>
                          <a:pt x="76660" y="9317"/>
                          <a:pt x="75775" y="9491"/>
                        </a:cubicBezTo>
                        <a:cubicBezTo>
                          <a:pt x="74864" y="9678"/>
                          <a:pt x="73954" y="9890"/>
                          <a:pt x="73044" y="10102"/>
                        </a:cubicBezTo>
                        <a:cubicBezTo>
                          <a:pt x="72134" y="10314"/>
                          <a:pt x="71223" y="10576"/>
                          <a:pt x="70313" y="10813"/>
                        </a:cubicBezTo>
                        <a:lnTo>
                          <a:pt x="67607" y="11624"/>
                        </a:lnTo>
                        <a:cubicBezTo>
                          <a:pt x="64016" y="12771"/>
                          <a:pt x="60500" y="14192"/>
                          <a:pt x="57133" y="15863"/>
                        </a:cubicBezTo>
                        <a:cubicBezTo>
                          <a:pt x="55425" y="16661"/>
                          <a:pt x="53817" y="17646"/>
                          <a:pt x="52183" y="18569"/>
                        </a:cubicBezTo>
                        <a:cubicBezTo>
                          <a:pt x="50624" y="19604"/>
                          <a:pt x="49016" y="20601"/>
                          <a:pt x="47570" y="21786"/>
                        </a:cubicBezTo>
                        <a:cubicBezTo>
                          <a:pt x="46036" y="22871"/>
                          <a:pt x="44727" y="24205"/>
                          <a:pt x="43305" y="25439"/>
                        </a:cubicBezTo>
                        <a:cubicBezTo>
                          <a:pt x="42033" y="26836"/>
                          <a:pt x="40799" y="28095"/>
                          <a:pt x="39427" y="29691"/>
                        </a:cubicBezTo>
                        <a:cubicBezTo>
                          <a:pt x="34115" y="35789"/>
                          <a:pt x="28155" y="41313"/>
                          <a:pt x="21534" y="45839"/>
                        </a:cubicBezTo>
                        <a:cubicBezTo>
                          <a:pt x="18242" y="48133"/>
                          <a:pt x="14751" y="50128"/>
                          <a:pt x="11172" y="51874"/>
                        </a:cubicBezTo>
                        <a:cubicBezTo>
                          <a:pt x="7581" y="53594"/>
                          <a:pt x="3865" y="55091"/>
                          <a:pt x="0" y="55964"/>
                        </a:cubicBezTo>
                        <a:cubicBezTo>
                          <a:pt x="3753" y="54717"/>
                          <a:pt x="7282" y="52896"/>
                          <a:pt x="10636" y="50876"/>
                        </a:cubicBezTo>
                        <a:cubicBezTo>
                          <a:pt x="13978" y="48819"/>
                          <a:pt x="17195" y="46574"/>
                          <a:pt x="20175" y="44031"/>
                        </a:cubicBezTo>
                        <a:cubicBezTo>
                          <a:pt x="26173" y="39031"/>
                          <a:pt x="31385" y="33170"/>
                          <a:pt x="35886" y="26886"/>
                        </a:cubicBezTo>
                        <a:cubicBezTo>
                          <a:pt x="36971" y="25365"/>
                          <a:pt x="38317" y="23644"/>
                          <a:pt x="39564" y="21998"/>
                        </a:cubicBezTo>
                        <a:cubicBezTo>
                          <a:pt x="40986" y="20476"/>
                          <a:pt x="42333" y="18856"/>
                          <a:pt x="43904" y="17496"/>
                        </a:cubicBezTo>
                        <a:cubicBezTo>
                          <a:pt x="45400" y="16025"/>
                          <a:pt x="47046" y="14766"/>
                          <a:pt x="48667" y="13456"/>
                        </a:cubicBezTo>
                        <a:cubicBezTo>
                          <a:pt x="50363" y="12259"/>
                          <a:pt x="52033" y="11013"/>
                          <a:pt x="53817" y="9953"/>
                        </a:cubicBezTo>
                        <a:cubicBezTo>
                          <a:pt x="57333" y="7758"/>
                          <a:pt x="61024" y="5850"/>
                          <a:pt x="64827" y="4217"/>
                        </a:cubicBezTo>
                        <a:lnTo>
                          <a:pt x="67707" y="3045"/>
                        </a:lnTo>
                        <a:cubicBezTo>
                          <a:pt x="68680" y="2683"/>
                          <a:pt x="69640" y="2297"/>
                          <a:pt x="70637" y="1972"/>
                        </a:cubicBezTo>
                        <a:cubicBezTo>
                          <a:pt x="71622" y="1636"/>
                          <a:pt x="72607" y="1299"/>
                          <a:pt x="73617" y="1000"/>
                        </a:cubicBezTo>
                        <a:cubicBezTo>
                          <a:pt x="74640" y="688"/>
                          <a:pt x="75588" y="414"/>
                          <a:pt x="76772" y="127"/>
                        </a:cubicBezTo>
                        <a:cubicBezTo>
                          <a:pt x="79204" y="-459"/>
                          <a:pt x="81660" y="1037"/>
                          <a:pt x="82246" y="3469"/>
                        </a:cubicBezTo>
                        <a:cubicBezTo>
                          <a:pt x="82832" y="5900"/>
                          <a:pt x="81336" y="8357"/>
                          <a:pt x="78904" y="8943"/>
                        </a:cubicBezTo>
                        <a:cubicBezTo>
                          <a:pt x="78767" y="8980"/>
                          <a:pt x="78618" y="9005"/>
                          <a:pt x="78480" y="9030"/>
                        </a:cubicBezTo>
                        <a:lnTo>
                          <a:pt x="78431" y="9030"/>
                        </a:ln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74" name="Freeform: Shape 573">
                  <a:extLst>
                    <a:ext uri="{FF2B5EF4-FFF2-40B4-BE49-F238E27FC236}">
                      <a16:creationId xmlns:a16="http://schemas.microsoft.com/office/drawing/2014/main" id="{32011802-E2F0-3137-B6D9-8D1F98439E1F}"/>
                    </a:ext>
                  </a:extLst>
                </p:cNvPr>
                <p:cNvSpPr/>
                <p:nvPr/>
              </p:nvSpPr>
              <p:spPr>
                <a:xfrm>
                  <a:off x="4881037" y="2461997"/>
                  <a:ext cx="232435" cy="60637"/>
                </a:xfrm>
                <a:custGeom>
                  <a:avLst/>
                  <a:gdLst>
                    <a:gd name="connsiteX0" fmla="*/ 2256 w 232435"/>
                    <a:gd name="connsiteY0" fmla="*/ 60637 h 60637"/>
                    <a:gd name="connsiteX1" fmla="*/ 373 w 232435"/>
                    <a:gd name="connsiteY1" fmla="*/ 59627 h 60637"/>
                    <a:gd name="connsiteX2" fmla="*/ 1009 w 232435"/>
                    <a:gd name="connsiteY2" fmla="*/ 56522 h 60637"/>
                    <a:gd name="connsiteX3" fmla="*/ 86348 w 232435"/>
                    <a:gd name="connsiteY3" fmla="*/ 374 h 60637"/>
                    <a:gd name="connsiteX4" fmla="*/ 87582 w 232435"/>
                    <a:gd name="connsiteY4" fmla="*/ 0 h 60637"/>
                    <a:gd name="connsiteX5" fmla="*/ 230191 w 232435"/>
                    <a:gd name="connsiteY5" fmla="*/ 0 h 60637"/>
                    <a:gd name="connsiteX6" fmla="*/ 232435 w 232435"/>
                    <a:gd name="connsiteY6" fmla="*/ 2244 h 60637"/>
                    <a:gd name="connsiteX7" fmla="*/ 230191 w 232435"/>
                    <a:gd name="connsiteY7" fmla="*/ 4489 h 60637"/>
                    <a:gd name="connsiteX8" fmla="*/ 88243 w 232435"/>
                    <a:gd name="connsiteY8" fmla="*/ 4489 h 60637"/>
                    <a:gd name="connsiteX9" fmla="*/ 3466 w 232435"/>
                    <a:gd name="connsiteY9" fmla="*/ 60263 h 60637"/>
                    <a:gd name="connsiteX10" fmla="*/ 2231 w 232435"/>
                    <a:gd name="connsiteY10" fmla="*/ 60637 h 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435" h="60637">
                      <a:moveTo>
                        <a:pt x="2256" y="60637"/>
                      </a:moveTo>
                      <a:cubicBezTo>
                        <a:pt x="1520" y="60637"/>
                        <a:pt x="810" y="60276"/>
                        <a:pt x="373" y="59627"/>
                      </a:cubicBezTo>
                      <a:cubicBezTo>
                        <a:pt x="-313" y="58592"/>
                        <a:pt x="-26" y="57196"/>
                        <a:pt x="1009" y="56522"/>
                      </a:cubicBezTo>
                      <a:lnTo>
                        <a:pt x="86348" y="374"/>
                      </a:lnTo>
                      <a:cubicBezTo>
                        <a:pt x="86709" y="137"/>
                        <a:pt x="87146" y="0"/>
                        <a:pt x="87582" y="0"/>
                      </a:cubicBezTo>
                      <a:lnTo>
                        <a:pt x="230191" y="0"/>
                      </a:lnTo>
                      <a:cubicBezTo>
                        <a:pt x="231438" y="0"/>
                        <a:pt x="232435" y="1010"/>
                        <a:pt x="232435" y="2244"/>
                      </a:cubicBezTo>
                      <a:cubicBezTo>
                        <a:pt x="232435" y="3479"/>
                        <a:pt x="231425" y="4489"/>
                        <a:pt x="230191" y="4489"/>
                      </a:cubicBezTo>
                      <a:lnTo>
                        <a:pt x="88243" y="4489"/>
                      </a:lnTo>
                      <a:lnTo>
                        <a:pt x="3466" y="60263"/>
                      </a:lnTo>
                      <a:cubicBezTo>
                        <a:pt x="3091" y="60513"/>
                        <a:pt x="2655" y="60637"/>
                        <a:pt x="2231" y="60637"/>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5" name="Freeform: Shape 574">
                  <a:extLst>
                    <a:ext uri="{FF2B5EF4-FFF2-40B4-BE49-F238E27FC236}">
                      <a16:creationId xmlns:a16="http://schemas.microsoft.com/office/drawing/2014/main" id="{E83FC659-3DE0-9127-05B0-DBB641689C3E}"/>
                    </a:ext>
                  </a:extLst>
                </p:cNvPr>
                <p:cNvSpPr/>
                <p:nvPr/>
              </p:nvSpPr>
              <p:spPr>
                <a:xfrm>
                  <a:off x="4892240" y="2687980"/>
                  <a:ext cx="221270" cy="38186"/>
                </a:xfrm>
                <a:custGeom>
                  <a:avLst/>
                  <a:gdLst>
                    <a:gd name="connsiteX0" fmla="*/ 219013 w 221270"/>
                    <a:gd name="connsiteY0" fmla="*/ 38187 h 38186"/>
                    <a:gd name="connsiteX1" fmla="*/ 35930 w 221270"/>
                    <a:gd name="connsiteY1" fmla="*/ 38187 h 38186"/>
                    <a:gd name="connsiteX2" fmla="*/ 34346 w 221270"/>
                    <a:gd name="connsiteY2" fmla="*/ 37526 h 38186"/>
                    <a:gd name="connsiteX3" fmla="*/ 655 w 221270"/>
                    <a:gd name="connsiteY3" fmla="*/ 3834 h 38186"/>
                    <a:gd name="connsiteX4" fmla="*/ 655 w 221270"/>
                    <a:gd name="connsiteY4" fmla="*/ 655 h 38186"/>
                    <a:gd name="connsiteX5" fmla="*/ 3834 w 221270"/>
                    <a:gd name="connsiteY5" fmla="*/ 655 h 38186"/>
                    <a:gd name="connsiteX6" fmla="*/ 36865 w 221270"/>
                    <a:gd name="connsiteY6" fmla="*/ 33685 h 38186"/>
                    <a:gd name="connsiteX7" fmla="*/ 219026 w 221270"/>
                    <a:gd name="connsiteY7" fmla="*/ 33685 h 38186"/>
                    <a:gd name="connsiteX8" fmla="*/ 221270 w 221270"/>
                    <a:gd name="connsiteY8" fmla="*/ 35930 h 38186"/>
                    <a:gd name="connsiteX9" fmla="*/ 219026 w 221270"/>
                    <a:gd name="connsiteY9" fmla="*/ 38174 h 3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270" h="38186">
                      <a:moveTo>
                        <a:pt x="219013" y="38187"/>
                      </a:moveTo>
                      <a:lnTo>
                        <a:pt x="35930" y="38187"/>
                      </a:lnTo>
                      <a:cubicBezTo>
                        <a:pt x="35331" y="38187"/>
                        <a:pt x="34758" y="37950"/>
                        <a:pt x="34346" y="37526"/>
                      </a:cubicBezTo>
                      <a:lnTo>
                        <a:pt x="655" y="3834"/>
                      </a:lnTo>
                      <a:cubicBezTo>
                        <a:pt x="-218" y="2961"/>
                        <a:pt x="-218" y="1540"/>
                        <a:pt x="655" y="655"/>
                      </a:cubicBezTo>
                      <a:cubicBezTo>
                        <a:pt x="1527" y="-218"/>
                        <a:pt x="2949" y="-218"/>
                        <a:pt x="3834" y="655"/>
                      </a:cubicBezTo>
                      <a:lnTo>
                        <a:pt x="36865" y="33685"/>
                      </a:lnTo>
                      <a:lnTo>
                        <a:pt x="219026" y="33685"/>
                      </a:lnTo>
                      <a:cubicBezTo>
                        <a:pt x="220273" y="33685"/>
                        <a:pt x="221270" y="34695"/>
                        <a:pt x="221270" y="35930"/>
                      </a:cubicBezTo>
                      <a:cubicBezTo>
                        <a:pt x="221270" y="37164"/>
                        <a:pt x="220260" y="38174"/>
                        <a:pt x="219026" y="38174"/>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6" name="Freeform: Shape 575">
                  <a:extLst>
                    <a:ext uri="{FF2B5EF4-FFF2-40B4-BE49-F238E27FC236}">
                      <a16:creationId xmlns:a16="http://schemas.microsoft.com/office/drawing/2014/main" id="{E21EA515-1BCF-EB29-17D0-389761BF9B2E}"/>
                    </a:ext>
                  </a:extLst>
                </p:cNvPr>
                <p:cNvSpPr/>
                <p:nvPr/>
              </p:nvSpPr>
              <p:spPr>
                <a:xfrm>
                  <a:off x="4625008" y="2765201"/>
                  <a:ext cx="181906" cy="70756"/>
                </a:xfrm>
                <a:custGeom>
                  <a:avLst/>
                  <a:gdLst>
                    <a:gd name="connsiteX0" fmla="*/ 147110 w 181906"/>
                    <a:gd name="connsiteY0" fmla="*/ 70744 h 70756"/>
                    <a:gd name="connsiteX1" fmla="*/ 2244 w 181906"/>
                    <a:gd name="connsiteY1" fmla="*/ 70744 h 70756"/>
                    <a:gd name="connsiteX2" fmla="*/ 0 w 181906"/>
                    <a:gd name="connsiteY2" fmla="*/ 68500 h 70756"/>
                    <a:gd name="connsiteX3" fmla="*/ 2244 w 181906"/>
                    <a:gd name="connsiteY3" fmla="*/ 66255 h 70756"/>
                    <a:gd name="connsiteX4" fmla="*/ 145701 w 181906"/>
                    <a:gd name="connsiteY4" fmla="*/ 66255 h 70756"/>
                    <a:gd name="connsiteX5" fmla="*/ 177647 w 181906"/>
                    <a:gd name="connsiteY5" fmla="*/ 1254 h 70756"/>
                    <a:gd name="connsiteX6" fmla="*/ 180652 w 181906"/>
                    <a:gd name="connsiteY6" fmla="*/ 231 h 70756"/>
                    <a:gd name="connsiteX7" fmla="*/ 181675 w 181906"/>
                    <a:gd name="connsiteY7" fmla="*/ 3236 h 70756"/>
                    <a:gd name="connsiteX8" fmla="*/ 149105 w 181906"/>
                    <a:gd name="connsiteY8" fmla="*/ 69497 h 70756"/>
                    <a:gd name="connsiteX9" fmla="*/ 147085 w 181906"/>
                    <a:gd name="connsiteY9" fmla="*/ 70756 h 7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06" h="70756">
                      <a:moveTo>
                        <a:pt x="147110" y="70744"/>
                      </a:moveTo>
                      <a:lnTo>
                        <a:pt x="2244" y="70744"/>
                      </a:lnTo>
                      <a:cubicBezTo>
                        <a:pt x="1010" y="70744"/>
                        <a:pt x="0" y="69734"/>
                        <a:pt x="0" y="68500"/>
                      </a:cubicBezTo>
                      <a:cubicBezTo>
                        <a:pt x="0" y="67265"/>
                        <a:pt x="1010" y="66255"/>
                        <a:pt x="2244" y="66255"/>
                      </a:cubicBezTo>
                      <a:lnTo>
                        <a:pt x="145701" y="66255"/>
                      </a:lnTo>
                      <a:lnTo>
                        <a:pt x="177647" y="1254"/>
                      </a:lnTo>
                      <a:cubicBezTo>
                        <a:pt x="178196" y="144"/>
                        <a:pt x="179542" y="-317"/>
                        <a:pt x="180652" y="231"/>
                      </a:cubicBezTo>
                      <a:cubicBezTo>
                        <a:pt x="181762" y="780"/>
                        <a:pt x="182223" y="2127"/>
                        <a:pt x="181675" y="3236"/>
                      </a:cubicBezTo>
                      <a:lnTo>
                        <a:pt x="149105" y="69497"/>
                      </a:lnTo>
                      <a:cubicBezTo>
                        <a:pt x="148731" y="70270"/>
                        <a:pt x="147946" y="70756"/>
                        <a:pt x="147085" y="70756"/>
                      </a:cubicBezTo>
                      <a:close/>
                    </a:path>
                  </a:pathLst>
                </a:custGeom>
                <a:solidFill>
                  <a:srgbClr val="6EB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77" name="Graphic 525">
              <a:extLst>
                <a:ext uri="{FF2B5EF4-FFF2-40B4-BE49-F238E27FC236}">
                  <a16:creationId xmlns:a16="http://schemas.microsoft.com/office/drawing/2014/main" id="{A80EFDEF-81F5-F5E1-1D7E-D46DC513388E}"/>
                </a:ext>
              </a:extLst>
            </p:cNvPr>
            <p:cNvGrpSpPr/>
            <p:nvPr/>
          </p:nvGrpSpPr>
          <p:grpSpPr>
            <a:xfrm>
              <a:off x="754794" y="1796735"/>
              <a:ext cx="655649" cy="867512"/>
              <a:chOff x="3830977" y="2179260"/>
              <a:chExt cx="655649" cy="867512"/>
            </a:xfrm>
          </p:grpSpPr>
          <p:grpSp>
            <p:nvGrpSpPr>
              <p:cNvPr id="578" name="Graphic 525">
                <a:extLst>
                  <a:ext uri="{FF2B5EF4-FFF2-40B4-BE49-F238E27FC236}">
                    <a16:creationId xmlns:a16="http://schemas.microsoft.com/office/drawing/2014/main" id="{A3DC2CB0-653E-968E-5A2B-34123D1EEB02}"/>
                  </a:ext>
                </a:extLst>
              </p:cNvPr>
              <p:cNvGrpSpPr/>
              <p:nvPr/>
            </p:nvGrpSpPr>
            <p:grpSpPr>
              <a:xfrm>
                <a:off x="3830977" y="2179260"/>
                <a:ext cx="655649" cy="867512"/>
                <a:chOff x="3830977" y="2179260"/>
                <a:chExt cx="655649" cy="867512"/>
              </a:xfrm>
              <a:solidFill>
                <a:srgbClr val="93CEF1"/>
              </a:solidFill>
            </p:grpSpPr>
            <p:sp>
              <p:nvSpPr>
                <p:cNvPr id="579" name="Freeform: Shape 578">
                  <a:extLst>
                    <a:ext uri="{FF2B5EF4-FFF2-40B4-BE49-F238E27FC236}">
                      <a16:creationId xmlns:a16="http://schemas.microsoft.com/office/drawing/2014/main" id="{9F193DB9-6B5F-AAEA-670F-29B1B3790CB9}"/>
                    </a:ext>
                  </a:extLst>
                </p:cNvPr>
                <p:cNvSpPr/>
                <p:nvPr/>
              </p:nvSpPr>
              <p:spPr>
                <a:xfrm>
                  <a:off x="3830977" y="2179260"/>
                  <a:ext cx="655649" cy="867512"/>
                </a:xfrm>
                <a:custGeom>
                  <a:avLst/>
                  <a:gdLst>
                    <a:gd name="connsiteX0" fmla="*/ 650911 w 655649"/>
                    <a:gd name="connsiteY0" fmla="*/ 867512 h 867512"/>
                    <a:gd name="connsiteX1" fmla="*/ 4738 w 655649"/>
                    <a:gd name="connsiteY1" fmla="*/ 867512 h 867512"/>
                    <a:gd name="connsiteX2" fmla="*/ 0 w 655649"/>
                    <a:gd name="connsiteY2" fmla="*/ 862774 h 867512"/>
                    <a:gd name="connsiteX3" fmla="*/ 0 w 655649"/>
                    <a:gd name="connsiteY3" fmla="*/ 4738 h 867512"/>
                    <a:gd name="connsiteX4" fmla="*/ 4738 w 655649"/>
                    <a:gd name="connsiteY4" fmla="*/ 0 h 867512"/>
                    <a:gd name="connsiteX5" fmla="*/ 650911 w 655649"/>
                    <a:gd name="connsiteY5" fmla="*/ 0 h 867512"/>
                    <a:gd name="connsiteX6" fmla="*/ 655650 w 655649"/>
                    <a:gd name="connsiteY6" fmla="*/ 4738 h 867512"/>
                    <a:gd name="connsiteX7" fmla="*/ 655650 w 655649"/>
                    <a:gd name="connsiteY7" fmla="*/ 862774 h 867512"/>
                    <a:gd name="connsiteX8" fmla="*/ 650911 w 655649"/>
                    <a:gd name="connsiteY8" fmla="*/ 867512 h 867512"/>
                    <a:gd name="connsiteX9" fmla="*/ 9476 w 655649"/>
                    <a:gd name="connsiteY9" fmla="*/ 858036 h 867512"/>
                    <a:gd name="connsiteX10" fmla="*/ 646161 w 655649"/>
                    <a:gd name="connsiteY10" fmla="*/ 858036 h 867512"/>
                    <a:gd name="connsiteX11" fmla="*/ 646161 w 655649"/>
                    <a:gd name="connsiteY11" fmla="*/ 9489 h 867512"/>
                    <a:gd name="connsiteX12" fmla="*/ 9476 w 655649"/>
                    <a:gd name="connsiteY12" fmla="*/ 9489 h 867512"/>
                    <a:gd name="connsiteX13" fmla="*/ 9476 w 655649"/>
                    <a:gd name="connsiteY13" fmla="*/ 858036 h 86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649" h="867512">
                      <a:moveTo>
                        <a:pt x="650911" y="867512"/>
                      </a:moveTo>
                      <a:lnTo>
                        <a:pt x="4738" y="867512"/>
                      </a:lnTo>
                      <a:cubicBezTo>
                        <a:pt x="2120" y="867512"/>
                        <a:pt x="0" y="865392"/>
                        <a:pt x="0" y="862774"/>
                      </a:cubicBezTo>
                      <a:lnTo>
                        <a:pt x="0" y="4738"/>
                      </a:lnTo>
                      <a:cubicBezTo>
                        <a:pt x="0" y="2120"/>
                        <a:pt x="2120" y="0"/>
                        <a:pt x="4738" y="0"/>
                      </a:cubicBezTo>
                      <a:lnTo>
                        <a:pt x="650911" y="0"/>
                      </a:lnTo>
                      <a:cubicBezTo>
                        <a:pt x="653530" y="0"/>
                        <a:pt x="655650" y="2120"/>
                        <a:pt x="655650" y="4738"/>
                      </a:cubicBezTo>
                      <a:lnTo>
                        <a:pt x="655650" y="862774"/>
                      </a:lnTo>
                      <a:cubicBezTo>
                        <a:pt x="655650" y="865392"/>
                        <a:pt x="653530" y="867512"/>
                        <a:pt x="650911" y="867512"/>
                      </a:cubicBezTo>
                      <a:close/>
                      <a:moveTo>
                        <a:pt x="9476" y="858036"/>
                      </a:moveTo>
                      <a:lnTo>
                        <a:pt x="646161" y="858036"/>
                      </a:lnTo>
                      <a:lnTo>
                        <a:pt x="646161" y="9489"/>
                      </a:lnTo>
                      <a:lnTo>
                        <a:pt x="9476" y="9489"/>
                      </a:lnTo>
                      <a:lnTo>
                        <a:pt x="9476" y="858036"/>
                      </a:lnTo>
                      <a:close/>
                    </a:path>
                  </a:pathLst>
                </a:custGeom>
                <a:solidFill>
                  <a:srgbClr val="93CE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0" name="Freeform: Shape 579">
                  <a:extLst>
                    <a:ext uri="{FF2B5EF4-FFF2-40B4-BE49-F238E27FC236}">
                      <a16:creationId xmlns:a16="http://schemas.microsoft.com/office/drawing/2014/main" id="{AC49DF4E-1931-4594-BC9A-77C8E39FEF0A}"/>
                    </a:ext>
                  </a:extLst>
                </p:cNvPr>
                <p:cNvSpPr/>
                <p:nvPr/>
              </p:nvSpPr>
              <p:spPr>
                <a:xfrm>
                  <a:off x="3864531" y="2209061"/>
                  <a:ext cx="588541" cy="807884"/>
                </a:xfrm>
                <a:custGeom>
                  <a:avLst/>
                  <a:gdLst>
                    <a:gd name="connsiteX0" fmla="*/ 0 w 588541"/>
                    <a:gd name="connsiteY0" fmla="*/ 0 h 807884"/>
                    <a:gd name="connsiteX1" fmla="*/ 588541 w 588541"/>
                    <a:gd name="connsiteY1" fmla="*/ 0 h 807884"/>
                    <a:gd name="connsiteX2" fmla="*/ 588541 w 588541"/>
                    <a:gd name="connsiteY2" fmla="*/ 807885 h 807884"/>
                    <a:gd name="connsiteX3" fmla="*/ 0 w 588541"/>
                    <a:gd name="connsiteY3" fmla="*/ 807885 h 807884"/>
                  </a:gdLst>
                  <a:ahLst/>
                  <a:cxnLst>
                    <a:cxn ang="0">
                      <a:pos x="connsiteX0" y="connsiteY0"/>
                    </a:cxn>
                    <a:cxn ang="0">
                      <a:pos x="connsiteX1" y="connsiteY1"/>
                    </a:cxn>
                    <a:cxn ang="0">
                      <a:pos x="connsiteX2" y="connsiteY2"/>
                    </a:cxn>
                    <a:cxn ang="0">
                      <a:pos x="connsiteX3" y="connsiteY3"/>
                    </a:cxn>
                  </a:cxnLst>
                  <a:rect l="l" t="t" r="r" b="b"/>
                  <a:pathLst>
                    <a:path w="588541" h="807884">
                      <a:moveTo>
                        <a:pt x="0" y="0"/>
                      </a:moveTo>
                      <a:lnTo>
                        <a:pt x="588541" y="0"/>
                      </a:lnTo>
                      <a:lnTo>
                        <a:pt x="588541" y="807885"/>
                      </a:lnTo>
                      <a:lnTo>
                        <a:pt x="0" y="807885"/>
                      </a:lnTo>
                      <a:close/>
                    </a:path>
                  </a:pathLst>
                </a:custGeom>
                <a:solidFill>
                  <a:srgbClr val="93CEF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81" name="Graphic 525">
                <a:extLst>
                  <a:ext uri="{FF2B5EF4-FFF2-40B4-BE49-F238E27FC236}">
                    <a16:creationId xmlns:a16="http://schemas.microsoft.com/office/drawing/2014/main" id="{5C1CB36A-2E9C-83D7-30BC-AD9C750667DF}"/>
                  </a:ext>
                </a:extLst>
              </p:cNvPr>
              <p:cNvGrpSpPr/>
              <p:nvPr/>
            </p:nvGrpSpPr>
            <p:grpSpPr>
              <a:xfrm>
                <a:off x="3915096" y="2390425"/>
                <a:ext cx="487419" cy="449444"/>
                <a:chOff x="3915096" y="2390425"/>
                <a:chExt cx="487419" cy="449444"/>
              </a:xfrm>
            </p:grpSpPr>
            <p:sp>
              <p:nvSpPr>
                <p:cNvPr id="582" name="Freeform: Shape 581">
                  <a:extLst>
                    <a:ext uri="{FF2B5EF4-FFF2-40B4-BE49-F238E27FC236}">
                      <a16:creationId xmlns:a16="http://schemas.microsoft.com/office/drawing/2014/main" id="{0BAD3204-11F5-F6F3-6777-15E563BF0443}"/>
                    </a:ext>
                  </a:extLst>
                </p:cNvPr>
                <p:cNvSpPr/>
                <p:nvPr/>
              </p:nvSpPr>
              <p:spPr>
                <a:xfrm>
                  <a:off x="4177210" y="2449621"/>
                  <a:ext cx="225305" cy="383354"/>
                </a:xfrm>
                <a:custGeom>
                  <a:avLst/>
                  <a:gdLst>
                    <a:gd name="connsiteX0" fmla="*/ 5184 w 225305"/>
                    <a:gd name="connsiteY0" fmla="*/ 40942 h 383354"/>
                    <a:gd name="connsiteX1" fmla="*/ 24798 w 225305"/>
                    <a:gd name="connsiteY1" fmla="*/ 5268 h 383354"/>
                    <a:gd name="connsiteX2" fmla="*/ 54275 w 225305"/>
                    <a:gd name="connsiteY2" fmla="*/ 3547 h 383354"/>
                    <a:gd name="connsiteX3" fmla="*/ 155262 w 225305"/>
                    <a:gd name="connsiteY3" fmla="*/ 130994 h 383354"/>
                    <a:gd name="connsiteX4" fmla="*/ 150798 w 225305"/>
                    <a:gd name="connsiteY4" fmla="*/ 374889 h 383354"/>
                    <a:gd name="connsiteX5" fmla="*/ 53015 w 225305"/>
                    <a:gd name="connsiteY5" fmla="*/ 379191 h 383354"/>
                    <a:gd name="connsiteX6" fmla="*/ 1705 w 225305"/>
                    <a:gd name="connsiteY6" fmla="*/ 276808 h 383354"/>
                    <a:gd name="connsiteX7" fmla="*/ 5184 w 225305"/>
                    <a:gd name="connsiteY7" fmla="*/ 40955 h 38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305" h="383354">
                      <a:moveTo>
                        <a:pt x="5184" y="40942"/>
                      </a:moveTo>
                      <a:cubicBezTo>
                        <a:pt x="5483" y="26578"/>
                        <a:pt x="12740" y="13061"/>
                        <a:pt x="24798" y="5268"/>
                      </a:cubicBezTo>
                      <a:cubicBezTo>
                        <a:pt x="32927" y="19"/>
                        <a:pt x="43077" y="-2562"/>
                        <a:pt x="54275" y="3547"/>
                      </a:cubicBezTo>
                      <a:cubicBezTo>
                        <a:pt x="82081" y="18710"/>
                        <a:pt x="123603" y="47838"/>
                        <a:pt x="155262" y="130994"/>
                      </a:cubicBezTo>
                      <a:cubicBezTo>
                        <a:pt x="179414" y="194424"/>
                        <a:pt x="302596" y="338841"/>
                        <a:pt x="150798" y="374889"/>
                      </a:cubicBezTo>
                      <a:cubicBezTo>
                        <a:pt x="93876" y="389354"/>
                        <a:pt x="68539" y="381373"/>
                        <a:pt x="53015" y="379191"/>
                      </a:cubicBezTo>
                      <a:cubicBezTo>
                        <a:pt x="37491" y="377009"/>
                        <a:pt x="7428" y="355911"/>
                        <a:pt x="1705" y="276808"/>
                      </a:cubicBezTo>
                      <a:cubicBezTo>
                        <a:pt x="-3308" y="207517"/>
                        <a:pt x="4236" y="86068"/>
                        <a:pt x="5184" y="40955"/>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3" name="Freeform: Shape 582">
                  <a:extLst>
                    <a:ext uri="{FF2B5EF4-FFF2-40B4-BE49-F238E27FC236}">
                      <a16:creationId xmlns:a16="http://schemas.microsoft.com/office/drawing/2014/main" id="{97216FCE-E6B4-6955-869A-E3396B4EA0F7}"/>
                    </a:ext>
                  </a:extLst>
                </p:cNvPr>
                <p:cNvSpPr/>
                <p:nvPr/>
              </p:nvSpPr>
              <p:spPr>
                <a:xfrm>
                  <a:off x="3915096" y="2453446"/>
                  <a:ext cx="223317" cy="386423"/>
                </a:xfrm>
                <a:custGeom>
                  <a:avLst/>
                  <a:gdLst>
                    <a:gd name="connsiteX0" fmla="*/ 212683 w 223317"/>
                    <a:gd name="connsiteY0" fmla="*/ 38775 h 386423"/>
                    <a:gd name="connsiteX1" fmla="*/ 192084 w 223317"/>
                    <a:gd name="connsiteY1" fmla="*/ 4323 h 386423"/>
                    <a:gd name="connsiteX2" fmla="*/ 162582 w 223317"/>
                    <a:gd name="connsiteY2" fmla="*/ 4386 h 386423"/>
                    <a:gd name="connsiteX3" fmla="*/ 65261 w 223317"/>
                    <a:gd name="connsiteY3" fmla="*/ 137842 h 386423"/>
                    <a:gd name="connsiteX4" fmla="*/ 76570 w 223317"/>
                    <a:gd name="connsiteY4" fmla="*/ 381251 h 386423"/>
                    <a:gd name="connsiteX5" fmla="*/ 174390 w 223317"/>
                    <a:gd name="connsiteY5" fmla="*/ 379618 h 386423"/>
                    <a:gd name="connsiteX6" fmla="*/ 222783 w 223317"/>
                    <a:gd name="connsiteY6" fmla="*/ 274217 h 386423"/>
                    <a:gd name="connsiteX7" fmla="*/ 212683 w 223317"/>
                    <a:gd name="connsiteY7" fmla="*/ 38775 h 38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17" h="386423">
                      <a:moveTo>
                        <a:pt x="212683" y="38775"/>
                      </a:moveTo>
                      <a:cubicBezTo>
                        <a:pt x="211985" y="24448"/>
                        <a:pt x="204354" y="11381"/>
                        <a:pt x="192084" y="4323"/>
                      </a:cubicBezTo>
                      <a:cubicBezTo>
                        <a:pt x="183817" y="-427"/>
                        <a:pt x="173605" y="-2398"/>
                        <a:pt x="162582" y="4386"/>
                      </a:cubicBezTo>
                      <a:cubicBezTo>
                        <a:pt x="135225" y="21219"/>
                        <a:pt x="94551" y="52840"/>
                        <a:pt x="65261" y="137842"/>
                      </a:cubicBezTo>
                      <a:cubicBezTo>
                        <a:pt x="42916" y="202681"/>
                        <a:pt x="-76114" y="354443"/>
                        <a:pt x="76570" y="381251"/>
                      </a:cubicBezTo>
                      <a:cubicBezTo>
                        <a:pt x="133853" y="392262"/>
                        <a:pt x="158941" y="382748"/>
                        <a:pt x="174390" y="379618"/>
                      </a:cubicBezTo>
                      <a:cubicBezTo>
                        <a:pt x="189840" y="376488"/>
                        <a:pt x="219292" y="353595"/>
                        <a:pt x="222783" y="274217"/>
                      </a:cubicBezTo>
                      <a:cubicBezTo>
                        <a:pt x="225838" y="204677"/>
                        <a:pt x="214902" y="83789"/>
                        <a:pt x="212683" y="38775"/>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4" name="Freeform: Shape 583">
                  <a:extLst>
                    <a:ext uri="{FF2B5EF4-FFF2-40B4-BE49-F238E27FC236}">
                      <a16:creationId xmlns:a16="http://schemas.microsoft.com/office/drawing/2014/main" id="{3D0079AF-250E-AA44-F605-BAA27B034CC8}"/>
                    </a:ext>
                  </a:extLst>
                </p:cNvPr>
                <p:cNvSpPr/>
                <p:nvPr/>
              </p:nvSpPr>
              <p:spPr>
                <a:xfrm>
                  <a:off x="4005631" y="2390425"/>
                  <a:ext cx="304594" cy="333722"/>
                </a:xfrm>
                <a:custGeom>
                  <a:avLst/>
                  <a:gdLst>
                    <a:gd name="connsiteX0" fmla="*/ 247611 w 304594"/>
                    <a:gd name="connsiteY0" fmla="*/ 274892 h 333722"/>
                    <a:gd name="connsiteX1" fmla="*/ 180428 w 304594"/>
                    <a:gd name="connsiteY1" fmla="*/ 177982 h 333722"/>
                    <a:gd name="connsiteX2" fmla="*/ 166163 w 304594"/>
                    <a:gd name="connsiteY2" fmla="*/ 155912 h 333722"/>
                    <a:gd name="connsiteX3" fmla="*/ 164031 w 304594"/>
                    <a:gd name="connsiteY3" fmla="*/ 3665 h 333722"/>
                    <a:gd name="connsiteX4" fmla="*/ 159766 w 304594"/>
                    <a:gd name="connsiteY4" fmla="*/ 48 h 333722"/>
                    <a:gd name="connsiteX5" fmla="*/ 157659 w 304594"/>
                    <a:gd name="connsiteY5" fmla="*/ 385 h 333722"/>
                    <a:gd name="connsiteX6" fmla="*/ 138419 w 304594"/>
                    <a:gd name="connsiteY6" fmla="*/ 971 h 333722"/>
                    <a:gd name="connsiteX7" fmla="*/ 136312 w 304594"/>
                    <a:gd name="connsiteY7" fmla="*/ 772 h 333722"/>
                    <a:gd name="connsiteX8" fmla="*/ 132160 w 304594"/>
                    <a:gd name="connsiteY8" fmla="*/ 4650 h 333722"/>
                    <a:gd name="connsiteX9" fmla="*/ 134292 w 304594"/>
                    <a:gd name="connsiteY9" fmla="*/ 156561 h 333722"/>
                    <a:gd name="connsiteX10" fmla="*/ 120464 w 304594"/>
                    <a:gd name="connsiteY10" fmla="*/ 179579 h 333722"/>
                    <a:gd name="connsiteX11" fmla="*/ 55575 w 304594"/>
                    <a:gd name="connsiteY11" fmla="*/ 280740 h 333722"/>
                    <a:gd name="connsiteX12" fmla="*/ 0 w 304594"/>
                    <a:gd name="connsiteY12" fmla="*/ 333447 h 333722"/>
                    <a:gd name="connsiteX13" fmla="*/ 63094 w 304594"/>
                    <a:gd name="connsiteY13" fmla="*/ 294144 h 333722"/>
                    <a:gd name="connsiteX14" fmla="*/ 150390 w 304594"/>
                    <a:gd name="connsiteY14" fmla="*/ 192821 h 333722"/>
                    <a:gd name="connsiteX15" fmla="*/ 240018 w 304594"/>
                    <a:gd name="connsiteY15" fmla="*/ 289406 h 333722"/>
                    <a:gd name="connsiteX16" fmla="*/ 304595 w 304594"/>
                    <a:gd name="connsiteY16" fmla="*/ 324208 h 333722"/>
                    <a:gd name="connsiteX17" fmla="*/ 247599 w 304594"/>
                    <a:gd name="connsiteY17" fmla="*/ 274917 h 33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594" h="333722">
                      <a:moveTo>
                        <a:pt x="247611" y="274892"/>
                      </a:moveTo>
                      <a:cubicBezTo>
                        <a:pt x="241726" y="247784"/>
                        <a:pt x="219020" y="196013"/>
                        <a:pt x="180428" y="177982"/>
                      </a:cubicBezTo>
                      <a:cubicBezTo>
                        <a:pt x="171874" y="173980"/>
                        <a:pt x="166288" y="165488"/>
                        <a:pt x="166163" y="155912"/>
                      </a:cubicBezTo>
                      <a:lnTo>
                        <a:pt x="164031" y="3665"/>
                      </a:lnTo>
                      <a:cubicBezTo>
                        <a:pt x="163993" y="1395"/>
                        <a:pt x="161998" y="-313"/>
                        <a:pt x="159766" y="48"/>
                      </a:cubicBezTo>
                      <a:lnTo>
                        <a:pt x="157659" y="385"/>
                      </a:lnTo>
                      <a:cubicBezTo>
                        <a:pt x="151287" y="1395"/>
                        <a:pt x="144816" y="1582"/>
                        <a:pt x="138419" y="971"/>
                      </a:cubicBezTo>
                      <a:lnTo>
                        <a:pt x="136312" y="772"/>
                      </a:lnTo>
                      <a:cubicBezTo>
                        <a:pt x="134080" y="560"/>
                        <a:pt x="132122" y="2380"/>
                        <a:pt x="132160" y="4650"/>
                      </a:cubicBezTo>
                      <a:lnTo>
                        <a:pt x="134292" y="156561"/>
                      </a:lnTo>
                      <a:cubicBezTo>
                        <a:pt x="134429" y="166211"/>
                        <a:pt x="129005" y="175090"/>
                        <a:pt x="120464" y="179579"/>
                      </a:cubicBezTo>
                      <a:cubicBezTo>
                        <a:pt x="82109" y="199741"/>
                        <a:pt x="60712" y="253183"/>
                        <a:pt x="55575" y="280740"/>
                      </a:cubicBezTo>
                      <a:cubicBezTo>
                        <a:pt x="47108" y="326165"/>
                        <a:pt x="0" y="333447"/>
                        <a:pt x="0" y="333447"/>
                      </a:cubicBezTo>
                      <a:cubicBezTo>
                        <a:pt x="0" y="333447"/>
                        <a:pt x="54627" y="339569"/>
                        <a:pt x="63094" y="294144"/>
                      </a:cubicBezTo>
                      <a:cubicBezTo>
                        <a:pt x="69428" y="260154"/>
                        <a:pt x="93281" y="194554"/>
                        <a:pt x="150390" y="192821"/>
                      </a:cubicBezTo>
                      <a:cubicBezTo>
                        <a:pt x="207498" y="191088"/>
                        <a:pt x="232736" y="255839"/>
                        <a:pt x="240018" y="289406"/>
                      </a:cubicBezTo>
                      <a:cubicBezTo>
                        <a:pt x="249756" y="334282"/>
                        <a:pt x="304595" y="324208"/>
                        <a:pt x="304595" y="324208"/>
                      </a:cubicBezTo>
                      <a:cubicBezTo>
                        <a:pt x="304595" y="324208"/>
                        <a:pt x="257337" y="319781"/>
                        <a:pt x="247599" y="274917"/>
                      </a:cubicBezTo>
                      <a:close/>
                    </a:path>
                  </a:pathLst>
                </a:custGeom>
                <a:solidFill>
                  <a:srgbClr val="77BC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85" name="Freeform: Shape 584">
                <a:extLst>
                  <a:ext uri="{FF2B5EF4-FFF2-40B4-BE49-F238E27FC236}">
                    <a16:creationId xmlns:a16="http://schemas.microsoft.com/office/drawing/2014/main" id="{28CCF311-7869-16F0-2655-488316030D13}"/>
                  </a:ext>
                </a:extLst>
              </p:cNvPr>
              <p:cNvSpPr/>
              <p:nvPr/>
            </p:nvSpPr>
            <p:spPr>
              <a:xfrm>
                <a:off x="3913335" y="2260833"/>
                <a:ext cx="490933" cy="76809"/>
              </a:xfrm>
              <a:custGeom>
                <a:avLst/>
                <a:gdLst>
                  <a:gd name="connsiteX0" fmla="*/ 486781 w 490933"/>
                  <a:gd name="connsiteY0" fmla="*/ 0 h 76809"/>
                  <a:gd name="connsiteX1" fmla="*/ 490933 w 490933"/>
                  <a:gd name="connsiteY1" fmla="*/ 4152 h 76809"/>
                  <a:gd name="connsiteX2" fmla="*/ 490933 w 490933"/>
                  <a:gd name="connsiteY2" fmla="*/ 72657 h 76809"/>
                  <a:gd name="connsiteX3" fmla="*/ 486781 w 490933"/>
                  <a:gd name="connsiteY3" fmla="*/ 76809 h 76809"/>
                  <a:gd name="connsiteX4" fmla="*/ 4152 w 490933"/>
                  <a:gd name="connsiteY4" fmla="*/ 76809 h 76809"/>
                  <a:gd name="connsiteX5" fmla="*/ 0 w 490933"/>
                  <a:gd name="connsiteY5" fmla="*/ 72657 h 76809"/>
                  <a:gd name="connsiteX6" fmla="*/ 0 w 490933"/>
                  <a:gd name="connsiteY6" fmla="*/ 4152 h 76809"/>
                  <a:gd name="connsiteX7" fmla="*/ 4152 w 490933"/>
                  <a:gd name="connsiteY7" fmla="*/ 0 h 7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933" h="76809">
                    <a:moveTo>
                      <a:pt x="486781" y="0"/>
                    </a:moveTo>
                    <a:cubicBezTo>
                      <a:pt x="489074" y="0"/>
                      <a:pt x="490933" y="1859"/>
                      <a:pt x="490933" y="4152"/>
                    </a:cubicBezTo>
                    <a:lnTo>
                      <a:pt x="490933" y="72657"/>
                    </a:lnTo>
                    <a:cubicBezTo>
                      <a:pt x="490933" y="74951"/>
                      <a:pt x="489074" y="76809"/>
                      <a:pt x="486781" y="76809"/>
                    </a:cubicBezTo>
                    <a:lnTo>
                      <a:pt x="4152" y="76809"/>
                    </a:lnTo>
                    <a:cubicBezTo>
                      <a:pt x="1859" y="76809"/>
                      <a:pt x="0" y="74951"/>
                      <a:pt x="0" y="72657"/>
                    </a:cubicBezTo>
                    <a:lnTo>
                      <a:pt x="0" y="4152"/>
                    </a:lnTo>
                    <a:cubicBezTo>
                      <a:pt x="0" y="1859"/>
                      <a:pt x="1859" y="0"/>
                      <a:pt x="4152"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6" name="Freeform: Shape 585">
                <a:extLst>
                  <a:ext uri="{FF2B5EF4-FFF2-40B4-BE49-F238E27FC236}">
                    <a16:creationId xmlns:a16="http://schemas.microsoft.com/office/drawing/2014/main" id="{7419ECE3-5C68-337C-4F61-405BA501595A}"/>
                  </a:ext>
                </a:extLst>
              </p:cNvPr>
              <p:cNvSpPr/>
              <p:nvPr/>
            </p:nvSpPr>
            <p:spPr>
              <a:xfrm>
                <a:off x="3913335" y="2874586"/>
                <a:ext cx="490933" cy="36995"/>
              </a:xfrm>
              <a:custGeom>
                <a:avLst/>
                <a:gdLst>
                  <a:gd name="connsiteX0" fmla="*/ 486781 w 490933"/>
                  <a:gd name="connsiteY0" fmla="*/ 0 h 36995"/>
                  <a:gd name="connsiteX1" fmla="*/ 490933 w 490933"/>
                  <a:gd name="connsiteY1" fmla="*/ 4152 h 36995"/>
                  <a:gd name="connsiteX2" fmla="*/ 490933 w 490933"/>
                  <a:gd name="connsiteY2" fmla="*/ 32844 h 36995"/>
                  <a:gd name="connsiteX3" fmla="*/ 486781 w 490933"/>
                  <a:gd name="connsiteY3" fmla="*/ 36996 h 36995"/>
                  <a:gd name="connsiteX4" fmla="*/ 4152 w 490933"/>
                  <a:gd name="connsiteY4" fmla="*/ 36996 h 36995"/>
                  <a:gd name="connsiteX5" fmla="*/ 0 w 490933"/>
                  <a:gd name="connsiteY5" fmla="*/ 32844 h 36995"/>
                  <a:gd name="connsiteX6" fmla="*/ 0 w 490933"/>
                  <a:gd name="connsiteY6" fmla="*/ 4152 h 36995"/>
                  <a:gd name="connsiteX7" fmla="*/ 4152 w 490933"/>
                  <a:gd name="connsiteY7" fmla="*/ 0 h 3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933" h="36995">
                    <a:moveTo>
                      <a:pt x="486781" y="0"/>
                    </a:moveTo>
                    <a:cubicBezTo>
                      <a:pt x="489074" y="0"/>
                      <a:pt x="490933" y="1859"/>
                      <a:pt x="490933" y="4152"/>
                    </a:cubicBezTo>
                    <a:lnTo>
                      <a:pt x="490933" y="32844"/>
                    </a:lnTo>
                    <a:cubicBezTo>
                      <a:pt x="490933" y="35137"/>
                      <a:pt x="489074" y="36996"/>
                      <a:pt x="486781" y="36996"/>
                    </a:cubicBezTo>
                    <a:lnTo>
                      <a:pt x="4152" y="36996"/>
                    </a:lnTo>
                    <a:cubicBezTo>
                      <a:pt x="1859" y="36996"/>
                      <a:pt x="0" y="35137"/>
                      <a:pt x="0" y="32844"/>
                    </a:cubicBezTo>
                    <a:lnTo>
                      <a:pt x="0" y="4152"/>
                    </a:lnTo>
                    <a:cubicBezTo>
                      <a:pt x="0" y="1859"/>
                      <a:pt x="1859" y="0"/>
                      <a:pt x="4152"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7" name="Freeform: Shape 586">
                <a:extLst>
                  <a:ext uri="{FF2B5EF4-FFF2-40B4-BE49-F238E27FC236}">
                    <a16:creationId xmlns:a16="http://schemas.microsoft.com/office/drawing/2014/main" id="{EEC7FEA1-A4A5-0136-27A4-179A56BD401E}"/>
                  </a:ext>
                </a:extLst>
              </p:cNvPr>
              <p:cNvSpPr/>
              <p:nvPr/>
            </p:nvSpPr>
            <p:spPr>
              <a:xfrm>
                <a:off x="4004709" y="2932331"/>
                <a:ext cx="308186" cy="36995"/>
              </a:xfrm>
              <a:custGeom>
                <a:avLst/>
                <a:gdLst>
                  <a:gd name="connsiteX0" fmla="*/ 304034 w 308186"/>
                  <a:gd name="connsiteY0" fmla="*/ 0 h 36995"/>
                  <a:gd name="connsiteX1" fmla="*/ 308186 w 308186"/>
                  <a:gd name="connsiteY1" fmla="*/ 4152 h 36995"/>
                  <a:gd name="connsiteX2" fmla="*/ 308186 w 308186"/>
                  <a:gd name="connsiteY2" fmla="*/ 32844 h 36995"/>
                  <a:gd name="connsiteX3" fmla="*/ 304034 w 308186"/>
                  <a:gd name="connsiteY3" fmla="*/ 36996 h 36995"/>
                  <a:gd name="connsiteX4" fmla="*/ 4152 w 308186"/>
                  <a:gd name="connsiteY4" fmla="*/ 36996 h 36995"/>
                  <a:gd name="connsiteX5" fmla="*/ 0 w 308186"/>
                  <a:gd name="connsiteY5" fmla="*/ 32844 h 36995"/>
                  <a:gd name="connsiteX6" fmla="*/ 0 w 308186"/>
                  <a:gd name="connsiteY6" fmla="*/ 4152 h 36995"/>
                  <a:gd name="connsiteX7" fmla="*/ 4152 w 308186"/>
                  <a:gd name="connsiteY7" fmla="*/ 0 h 3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186" h="36995">
                    <a:moveTo>
                      <a:pt x="304034" y="0"/>
                    </a:moveTo>
                    <a:cubicBezTo>
                      <a:pt x="306327" y="0"/>
                      <a:pt x="308186" y="1859"/>
                      <a:pt x="308186" y="4152"/>
                    </a:cubicBezTo>
                    <a:lnTo>
                      <a:pt x="308186" y="32844"/>
                    </a:lnTo>
                    <a:cubicBezTo>
                      <a:pt x="308186" y="35137"/>
                      <a:pt x="306327" y="36996"/>
                      <a:pt x="304034" y="36996"/>
                    </a:cubicBezTo>
                    <a:lnTo>
                      <a:pt x="4152" y="36996"/>
                    </a:lnTo>
                    <a:cubicBezTo>
                      <a:pt x="1859" y="36996"/>
                      <a:pt x="0" y="35137"/>
                      <a:pt x="0" y="32844"/>
                    </a:cubicBezTo>
                    <a:lnTo>
                      <a:pt x="0" y="4152"/>
                    </a:lnTo>
                    <a:cubicBezTo>
                      <a:pt x="0" y="1859"/>
                      <a:pt x="1859" y="0"/>
                      <a:pt x="4152" y="0"/>
                    </a:cubicBezTo>
                    <a:close/>
                  </a:path>
                </a:pathLst>
              </a:custGeom>
              <a:solidFill>
                <a:srgbClr val="87C6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89" name="Freeform: Shape 588">
              <a:extLst>
                <a:ext uri="{FF2B5EF4-FFF2-40B4-BE49-F238E27FC236}">
                  <a16:creationId xmlns:a16="http://schemas.microsoft.com/office/drawing/2014/main" id="{3ECCA39C-9E0C-E8CF-0EC5-DE6E3ADC5A5D}"/>
                </a:ext>
              </a:extLst>
            </p:cNvPr>
            <p:cNvSpPr/>
            <p:nvPr/>
          </p:nvSpPr>
          <p:spPr>
            <a:xfrm>
              <a:off x="710168" y="5583173"/>
              <a:ext cx="1128654" cy="359190"/>
            </a:xfrm>
            <a:custGeom>
              <a:avLst/>
              <a:gdLst>
                <a:gd name="connsiteX0" fmla="*/ 709902 w 1128654"/>
                <a:gd name="connsiteY0" fmla="*/ 138707 h 359190"/>
                <a:gd name="connsiteX1" fmla="*/ 1128289 w 1128654"/>
                <a:gd name="connsiteY1" fmla="*/ 254233 h 359190"/>
                <a:gd name="connsiteX2" fmla="*/ 728643 w 1128654"/>
                <a:gd name="connsiteY2" fmla="*/ 344783 h 359190"/>
                <a:gd name="connsiteX3" fmla="*/ 350854 w 1128654"/>
                <a:gd name="connsiteY3" fmla="*/ 226140 h 359190"/>
                <a:gd name="connsiteX4" fmla="*/ 1159 w 1128654"/>
                <a:gd name="connsiteY4" fmla="*/ 79391 h 359190"/>
                <a:gd name="connsiteX5" fmla="*/ 357101 w 1128654"/>
                <a:gd name="connsiteY5" fmla="*/ 26311 h 359190"/>
                <a:gd name="connsiteX6" fmla="*/ 709914 w 1128654"/>
                <a:gd name="connsiteY6" fmla="*/ 138707 h 35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654" h="359190">
                  <a:moveTo>
                    <a:pt x="709902" y="138707"/>
                  </a:moveTo>
                  <a:cubicBezTo>
                    <a:pt x="709902" y="138707"/>
                    <a:pt x="1118913" y="163682"/>
                    <a:pt x="1128289" y="254233"/>
                  </a:cubicBezTo>
                  <a:cubicBezTo>
                    <a:pt x="1137654" y="344783"/>
                    <a:pt x="965929" y="382240"/>
                    <a:pt x="728643" y="344783"/>
                  </a:cubicBezTo>
                  <a:cubicBezTo>
                    <a:pt x="491356" y="307314"/>
                    <a:pt x="506967" y="257363"/>
                    <a:pt x="350854" y="226140"/>
                  </a:cubicBezTo>
                  <a:cubicBezTo>
                    <a:pt x="194741" y="194917"/>
                    <a:pt x="-17570" y="169942"/>
                    <a:pt x="1159" y="79391"/>
                  </a:cubicBezTo>
                  <a:cubicBezTo>
                    <a:pt x="19887" y="-11159"/>
                    <a:pt x="176000" y="-17394"/>
                    <a:pt x="357101" y="26311"/>
                  </a:cubicBezTo>
                  <a:cubicBezTo>
                    <a:pt x="538190" y="70027"/>
                    <a:pt x="709914" y="138707"/>
                    <a:pt x="709914" y="138707"/>
                  </a:cubicBezTo>
                  <a:close/>
                </a:path>
              </a:pathLst>
            </a:custGeom>
            <a:solidFill>
              <a:srgbClr val="85D2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93" name="Graphic 525">
              <a:extLst>
                <a:ext uri="{FF2B5EF4-FFF2-40B4-BE49-F238E27FC236}">
                  <a16:creationId xmlns:a16="http://schemas.microsoft.com/office/drawing/2014/main" id="{0ABC1DA6-B213-DAED-54D1-83BA257496BA}"/>
                </a:ext>
              </a:extLst>
            </p:cNvPr>
            <p:cNvGrpSpPr/>
            <p:nvPr/>
          </p:nvGrpSpPr>
          <p:grpSpPr>
            <a:xfrm>
              <a:off x="855432" y="3713503"/>
              <a:ext cx="712797" cy="2073459"/>
              <a:chOff x="3931615" y="4096028"/>
              <a:chExt cx="712797" cy="2073459"/>
            </a:xfrm>
          </p:grpSpPr>
          <p:grpSp>
            <p:nvGrpSpPr>
              <p:cNvPr id="594" name="Graphic 525">
                <a:extLst>
                  <a:ext uri="{FF2B5EF4-FFF2-40B4-BE49-F238E27FC236}">
                    <a16:creationId xmlns:a16="http://schemas.microsoft.com/office/drawing/2014/main" id="{0E3EC680-02A4-D6B4-AF44-3E5513EEF13A}"/>
                  </a:ext>
                </a:extLst>
              </p:cNvPr>
              <p:cNvGrpSpPr/>
              <p:nvPr/>
            </p:nvGrpSpPr>
            <p:grpSpPr>
              <a:xfrm>
                <a:off x="3931615" y="5658922"/>
                <a:ext cx="362581" cy="510565"/>
                <a:chOff x="3931615" y="5658922"/>
                <a:chExt cx="362581" cy="510565"/>
              </a:xfrm>
            </p:grpSpPr>
            <p:sp>
              <p:nvSpPr>
                <p:cNvPr id="595" name="Freeform: Shape 594">
                  <a:extLst>
                    <a:ext uri="{FF2B5EF4-FFF2-40B4-BE49-F238E27FC236}">
                      <a16:creationId xmlns:a16="http://schemas.microsoft.com/office/drawing/2014/main" id="{964E36B1-DD91-D9FB-4FAD-5206F7E2AC35}"/>
                    </a:ext>
                  </a:extLst>
                </p:cNvPr>
                <p:cNvSpPr/>
                <p:nvPr/>
              </p:nvSpPr>
              <p:spPr>
                <a:xfrm>
                  <a:off x="3931615" y="5848823"/>
                  <a:ext cx="362064" cy="320664"/>
                </a:xfrm>
                <a:custGeom>
                  <a:avLst/>
                  <a:gdLst>
                    <a:gd name="connsiteX0" fmla="*/ 362052 w 362064"/>
                    <a:gd name="connsiteY0" fmla="*/ 310109 h 320664"/>
                    <a:gd name="connsiteX1" fmla="*/ 334957 w 362064"/>
                    <a:gd name="connsiteY1" fmla="*/ 319586 h 320664"/>
                    <a:gd name="connsiteX2" fmla="*/ 119678 w 362064"/>
                    <a:gd name="connsiteY2" fmla="*/ 228861 h 320664"/>
                    <a:gd name="connsiteX3" fmla="*/ 50487 w 362064"/>
                    <a:gd name="connsiteY3" fmla="*/ 82773 h 320664"/>
                    <a:gd name="connsiteX4" fmla="*/ 19302 w 362064"/>
                    <a:gd name="connsiteY4" fmla="*/ 152375 h 320664"/>
                    <a:gd name="connsiteX5" fmla="*/ 0 w 362064"/>
                    <a:gd name="connsiteY5" fmla="*/ 142750 h 320664"/>
                    <a:gd name="connsiteX6" fmla="*/ 17768 w 362064"/>
                    <a:gd name="connsiteY6" fmla="*/ 57735 h 320664"/>
                    <a:gd name="connsiteX7" fmla="*/ 23504 w 362064"/>
                    <a:gd name="connsiteY7" fmla="*/ 165 h 320664"/>
                    <a:gd name="connsiteX8" fmla="*/ 362065 w 362064"/>
                    <a:gd name="connsiteY8" fmla="*/ 310109 h 32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064" h="320664">
                      <a:moveTo>
                        <a:pt x="362052" y="310109"/>
                      </a:moveTo>
                      <a:cubicBezTo>
                        <a:pt x="362052" y="310109"/>
                        <a:pt x="356741" y="324674"/>
                        <a:pt x="334957" y="319586"/>
                      </a:cubicBezTo>
                      <a:cubicBezTo>
                        <a:pt x="313174" y="314499"/>
                        <a:pt x="142098" y="256255"/>
                        <a:pt x="119678" y="228861"/>
                      </a:cubicBezTo>
                      <a:cubicBezTo>
                        <a:pt x="97259" y="201466"/>
                        <a:pt x="56098" y="83534"/>
                        <a:pt x="50487" y="82773"/>
                      </a:cubicBezTo>
                      <a:cubicBezTo>
                        <a:pt x="44864" y="82025"/>
                        <a:pt x="19302" y="152375"/>
                        <a:pt x="19302" y="152375"/>
                      </a:cubicBezTo>
                      <a:lnTo>
                        <a:pt x="0" y="142750"/>
                      </a:lnTo>
                      <a:cubicBezTo>
                        <a:pt x="0" y="142750"/>
                        <a:pt x="19489" y="69930"/>
                        <a:pt x="17768" y="57735"/>
                      </a:cubicBezTo>
                      <a:cubicBezTo>
                        <a:pt x="16048" y="45541"/>
                        <a:pt x="14152" y="8632"/>
                        <a:pt x="23504" y="165"/>
                      </a:cubicBezTo>
                      <a:cubicBezTo>
                        <a:pt x="32856" y="-8289"/>
                        <a:pt x="362065" y="310109"/>
                        <a:pt x="362065" y="310109"/>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6" name="Freeform: Shape 595">
                  <a:extLst>
                    <a:ext uri="{FF2B5EF4-FFF2-40B4-BE49-F238E27FC236}">
                      <a16:creationId xmlns:a16="http://schemas.microsoft.com/office/drawing/2014/main" id="{2927E39D-0896-8517-411D-C00F3CADB843}"/>
                    </a:ext>
                  </a:extLst>
                </p:cNvPr>
                <p:cNvSpPr/>
                <p:nvPr/>
              </p:nvSpPr>
              <p:spPr>
                <a:xfrm>
                  <a:off x="3961785" y="5658922"/>
                  <a:ext cx="264667" cy="436552"/>
                </a:xfrm>
                <a:custGeom>
                  <a:avLst/>
                  <a:gdLst>
                    <a:gd name="connsiteX0" fmla="*/ 188688 w 264667"/>
                    <a:gd name="connsiteY0" fmla="*/ 58654 h 436552"/>
                    <a:gd name="connsiteX1" fmla="*/ 145694 w 264667"/>
                    <a:gd name="connsiteY1" fmla="*/ 223571 h 436552"/>
                    <a:gd name="connsiteX2" fmla="*/ 255322 w 264667"/>
                    <a:gd name="connsiteY2" fmla="*/ 417976 h 436552"/>
                    <a:gd name="connsiteX3" fmla="*/ 230546 w 264667"/>
                    <a:gd name="connsiteY3" fmla="*/ 429934 h 436552"/>
                    <a:gd name="connsiteX4" fmla="*/ 179959 w 264667"/>
                    <a:gd name="connsiteY4" fmla="*/ 403774 h 436552"/>
                    <a:gd name="connsiteX5" fmla="*/ 14769 w 264667"/>
                    <a:gd name="connsiteY5" fmla="*/ 234481 h 436552"/>
                    <a:gd name="connsiteX6" fmla="*/ 9145 w 264667"/>
                    <a:gd name="connsiteY6" fmla="*/ 170540 h 436552"/>
                    <a:gd name="connsiteX7" fmla="*/ 55455 w 264667"/>
                    <a:gd name="connsiteY7" fmla="*/ 124180 h 436552"/>
                    <a:gd name="connsiteX8" fmla="*/ 97775 w 264667"/>
                    <a:gd name="connsiteY8" fmla="*/ 50 h 436552"/>
                    <a:gd name="connsiteX9" fmla="*/ 188700 w 264667"/>
                    <a:gd name="connsiteY9" fmla="*/ 58642 h 43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4667" h="436552">
                      <a:moveTo>
                        <a:pt x="188688" y="58654"/>
                      </a:moveTo>
                      <a:cubicBezTo>
                        <a:pt x="182129" y="60836"/>
                        <a:pt x="132577" y="197361"/>
                        <a:pt x="145694" y="223571"/>
                      </a:cubicBezTo>
                      <a:cubicBezTo>
                        <a:pt x="155869" y="243933"/>
                        <a:pt x="204374" y="367003"/>
                        <a:pt x="255322" y="417976"/>
                      </a:cubicBezTo>
                      <a:cubicBezTo>
                        <a:pt x="276607" y="439273"/>
                        <a:pt x="258627" y="440795"/>
                        <a:pt x="230546" y="429934"/>
                      </a:cubicBezTo>
                      <a:cubicBezTo>
                        <a:pt x="216706" y="424572"/>
                        <a:pt x="200022" y="416218"/>
                        <a:pt x="179959" y="403774"/>
                      </a:cubicBezTo>
                      <a:cubicBezTo>
                        <a:pt x="97052" y="352376"/>
                        <a:pt x="43834" y="275567"/>
                        <a:pt x="14769" y="234481"/>
                      </a:cubicBezTo>
                      <a:cubicBezTo>
                        <a:pt x="3060" y="217935"/>
                        <a:pt x="-8686" y="180191"/>
                        <a:pt x="9145" y="170540"/>
                      </a:cubicBezTo>
                      <a:cubicBezTo>
                        <a:pt x="22749" y="163171"/>
                        <a:pt x="38846" y="156150"/>
                        <a:pt x="55455" y="124180"/>
                      </a:cubicBezTo>
                      <a:cubicBezTo>
                        <a:pt x="84645" y="68006"/>
                        <a:pt x="91229" y="-2132"/>
                        <a:pt x="97775" y="50"/>
                      </a:cubicBezTo>
                      <a:cubicBezTo>
                        <a:pt x="104334" y="2232"/>
                        <a:pt x="188700" y="58642"/>
                        <a:pt x="188700" y="58642"/>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7" name="Freeform: Shape 596">
                  <a:extLst>
                    <a:ext uri="{FF2B5EF4-FFF2-40B4-BE49-F238E27FC236}">
                      <a16:creationId xmlns:a16="http://schemas.microsoft.com/office/drawing/2014/main" id="{5C5C21C1-37A6-4C07-0087-BDC79A9857E4}"/>
                    </a:ext>
                  </a:extLst>
                </p:cNvPr>
                <p:cNvSpPr/>
                <p:nvPr/>
              </p:nvSpPr>
              <p:spPr>
                <a:xfrm>
                  <a:off x="3950179" y="5801308"/>
                  <a:ext cx="344017" cy="359346"/>
                </a:xfrm>
                <a:custGeom>
                  <a:avLst/>
                  <a:gdLst>
                    <a:gd name="connsiteX0" fmla="*/ 176789 w 344017"/>
                    <a:gd name="connsiteY0" fmla="*/ 124652 h 359346"/>
                    <a:gd name="connsiteX1" fmla="*/ 194146 w 344017"/>
                    <a:gd name="connsiteY1" fmla="*/ 163730 h 359346"/>
                    <a:gd name="connsiteX2" fmla="*/ 224321 w 344017"/>
                    <a:gd name="connsiteY2" fmla="*/ 242597 h 359346"/>
                    <a:gd name="connsiteX3" fmla="*/ 111825 w 344017"/>
                    <a:gd name="connsiteY3" fmla="*/ 146959 h 359346"/>
                    <a:gd name="connsiteX4" fmla="*/ 55826 w 344017"/>
                    <a:gd name="connsiteY4" fmla="*/ 173 h 359346"/>
                    <a:gd name="connsiteX5" fmla="*/ 55477 w 344017"/>
                    <a:gd name="connsiteY5" fmla="*/ 48 h 359346"/>
                    <a:gd name="connsiteX6" fmla="*/ 15414 w 344017"/>
                    <a:gd name="connsiteY6" fmla="*/ 90212 h 359346"/>
                    <a:gd name="connsiteX7" fmla="*/ 120616 w 344017"/>
                    <a:gd name="connsiteY7" fmla="*/ 275790 h 359346"/>
                    <a:gd name="connsiteX8" fmla="*/ 343488 w 344017"/>
                    <a:gd name="connsiteY8" fmla="*/ 357637 h 359346"/>
                    <a:gd name="connsiteX9" fmla="*/ 316144 w 344017"/>
                    <a:gd name="connsiteY9" fmla="*/ 312012 h 359346"/>
                    <a:gd name="connsiteX10" fmla="*/ 252589 w 344017"/>
                    <a:gd name="connsiteY10" fmla="*/ 249480 h 359346"/>
                    <a:gd name="connsiteX11" fmla="*/ 176801 w 344017"/>
                    <a:gd name="connsiteY11" fmla="*/ 124664 h 35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017" h="359346">
                      <a:moveTo>
                        <a:pt x="176789" y="124652"/>
                      </a:moveTo>
                      <a:cubicBezTo>
                        <a:pt x="176789" y="124652"/>
                        <a:pt x="183884" y="142457"/>
                        <a:pt x="194146" y="163730"/>
                      </a:cubicBezTo>
                      <a:cubicBezTo>
                        <a:pt x="210618" y="197895"/>
                        <a:pt x="232364" y="241948"/>
                        <a:pt x="224321" y="242597"/>
                      </a:cubicBezTo>
                      <a:cubicBezTo>
                        <a:pt x="194283" y="245016"/>
                        <a:pt x="145928" y="198768"/>
                        <a:pt x="111825" y="146959"/>
                      </a:cubicBezTo>
                      <a:cubicBezTo>
                        <a:pt x="78894" y="96920"/>
                        <a:pt x="57273" y="6308"/>
                        <a:pt x="55826" y="173"/>
                      </a:cubicBezTo>
                      <a:cubicBezTo>
                        <a:pt x="55789" y="11"/>
                        <a:pt x="55602" y="-52"/>
                        <a:pt x="55477" y="48"/>
                      </a:cubicBezTo>
                      <a:cubicBezTo>
                        <a:pt x="50315" y="3889"/>
                        <a:pt x="-33864" y="45897"/>
                        <a:pt x="15414" y="90212"/>
                      </a:cubicBezTo>
                      <a:cubicBezTo>
                        <a:pt x="47784" y="119328"/>
                        <a:pt x="85590" y="254318"/>
                        <a:pt x="120616" y="275790"/>
                      </a:cubicBezTo>
                      <a:cubicBezTo>
                        <a:pt x="155641" y="297249"/>
                        <a:pt x="336418" y="371490"/>
                        <a:pt x="343488" y="357637"/>
                      </a:cubicBezTo>
                      <a:cubicBezTo>
                        <a:pt x="346805" y="351128"/>
                        <a:pt x="334161" y="331901"/>
                        <a:pt x="316144" y="312012"/>
                      </a:cubicBezTo>
                      <a:cubicBezTo>
                        <a:pt x="295794" y="289556"/>
                        <a:pt x="260245" y="259093"/>
                        <a:pt x="252589" y="249480"/>
                      </a:cubicBezTo>
                      <a:cubicBezTo>
                        <a:pt x="214857" y="202147"/>
                        <a:pt x="176801" y="124664"/>
                        <a:pt x="176801" y="12466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98" name="Freeform: Shape 597">
                <a:extLst>
                  <a:ext uri="{FF2B5EF4-FFF2-40B4-BE49-F238E27FC236}">
                    <a16:creationId xmlns:a16="http://schemas.microsoft.com/office/drawing/2014/main" id="{A858FE74-5CD5-87B4-F573-2B9C386DC8F2}"/>
                  </a:ext>
                </a:extLst>
              </p:cNvPr>
              <p:cNvSpPr/>
              <p:nvPr/>
            </p:nvSpPr>
            <p:spPr>
              <a:xfrm>
                <a:off x="4001766" y="5065468"/>
                <a:ext cx="538839" cy="758120"/>
              </a:xfrm>
              <a:custGeom>
                <a:avLst/>
                <a:gdLst>
                  <a:gd name="connsiteX0" fmla="*/ 538827 w 538839"/>
                  <a:gd name="connsiteY0" fmla="*/ 0 h 758120"/>
                  <a:gd name="connsiteX1" fmla="*/ 179817 w 538839"/>
                  <a:gd name="connsiteY1" fmla="*/ 662358 h 758120"/>
                  <a:gd name="connsiteX2" fmla="*/ 134030 w 538839"/>
                  <a:gd name="connsiteY2" fmla="*/ 758121 h 758120"/>
                  <a:gd name="connsiteX3" fmla="*/ 65675 w 538839"/>
                  <a:gd name="connsiteY3" fmla="*/ 725689 h 758120"/>
                  <a:gd name="connsiteX4" fmla="*/ 0 w 538839"/>
                  <a:gd name="connsiteY4" fmla="*/ 685950 h 758120"/>
                  <a:gd name="connsiteX5" fmla="*/ 77520 w 538839"/>
                  <a:gd name="connsiteY5" fmla="*/ 400395 h 758120"/>
                  <a:gd name="connsiteX6" fmla="*/ 254993 w 538839"/>
                  <a:gd name="connsiteY6" fmla="*/ 0 h 758120"/>
                  <a:gd name="connsiteX7" fmla="*/ 538839 w 538839"/>
                  <a:gd name="connsiteY7" fmla="*/ 0 h 75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839" h="758120">
                    <a:moveTo>
                      <a:pt x="538827" y="0"/>
                    </a:moveTo>
                    <a:cubicBezTo>
                      <a:pt x="538827" y="0"/>
                      <a:pt x="297101" y="468414"/>
                      <a:pt x="179817" y="662358"/>
                    </a:cubicBezTo>
                    <a:cubicBezTo>
                      <a:pt x="148345" y="714417"/>
                      <a:pt x="134030" y="758121"/>
                      <a:pt x="134030" y="758121"/>
                    </a:cubicBezTo>
                    <a:cubicBezTo>
                      <a:pt x="134030" y="758121"/>
                      <a:pt x="92047" y="740939"/>
                      <a:pt x="65675" y="725689"/>
                    </a:cubicBezTo>
                    <a:cubicBezTo>
                      <a:pt x="39303" y="710439"/>
                      <a:pt x="0" y="685950"/>
                      <a:pt x="0" y="685950"/>
                    </a:cubicBezTo>
                    <a:cubicBezTo>
                      <a:pt x="0" y="685950"/>
                      <a:pt x="63368" y="466107"/>
                      <a:pt x="77520" y="400395"/>
                    </a:cubicBezTo>
                    <a:cubicBezTo>
                      <a:pt x="115115" y="225716"/>
                      <a:pt x="172934" y="28779"/>
                      <a:pt x="254993" y="0"/>
                    </a:cubicBezTo>
                    <a:lnTo>
                      <a:pt x="538839" y="0"/>
                    </a:ln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9" name="Freeform: Shape 598">
                <a:extLst>
                  <a:ext uri="{FF2B5EF4-FFF2-40B4-BE49-F238E27FC236}">
                    <a16:creationId xmlns:a16="http://schemas.microsoft.com/office/drawing/2014/main" id="{2CFE7FF4-BAAE-F1E6-7A75-46740DF644A7}"/>
                  </a:ext>
                </a:extLst>
              </p:cNvPr>
              <p:cNvSpPr/>
              <p:nvPr/>
            </p:nvSpPr>
            <p:spPr>
              <a:xfrm>
                <a:off x="4081606" y="4096028"/>
                <a:ext cx="562806" cy="1046750"/>
              </a:xfrm>
              <a:custGeom>
                <a:avLst/>
                <a:gdLst>
                  <a:gd name="connsiteX0" fmla="*/ 12 w 562806"/>
                  <a:gd name="connsiteY0" fmla="*/ 8784 h 1046750"/>
                  <a:gd name="connsiteX1" fmla="*/ 28866 w 562806"/>
                  <a:gd name="connsiteY1" fmla="*/ 206843 h 1046750"/>
                  <a:gd name="connsiteX2" fmla="*/ 153519 w 562806"/>
                  <a:gd name="connsiteY2" fmla="*/ 985874 h 1046750"/>
                  <a:gd name="connsiteX3" fmla="*/ 273834 w 562806"/>
                  <a:gd name="connsiteY3" fmla="*/ 1043169 h 1046750"/>
                  <a:gd name="connsiteX4" fmla="*/ 430022 w 562806"/>
                  <a:gd name="connsiteY4" fmla="*/ 1020863 h 1046750"/>
                  <a:gd name="connsiteX5" fmla="*/ 557082 w 562806"/>
                  <a:gd name="connsiteY5" fmla="*/ 295610 h 1046750"/>
                  <a:gd name="connsiteX6" fmla="*/ 540410 w 562806"/>
                  <a:gd name="connsiteY6" fmla="*/ 206082 h 1046750"/>
                  <a:gd name="connsiteX7" fmla="*/ 448812 w 562806"/>
                  <a:gd name="connsiteY7" fmla="*/ 30467 h 1046750"/>
                  <a:gd name="connsiteX8" fmla="*/ 330568 w 562806"/>
                  <a:gd name="connsiteY8" fmla="*/ 5679 h 1046750"/>
                  <a:gd name="connsiteX9" fmla="*/ 0 w 562806"/>
                  <a:gd name="connsiteY9" fmla="*/ 8784 h 104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806" h="1046750">
                    <a:moveTo>
                      <a:pt x="12" y="8784"/>
                    </a:moveTo>
                    <a:cubicBezTo>
                      <a:pt x="12" y="8784"/>
                      <a:pt x="11783" y="90531"/>
                      <a:pt x="28866" y="206843"/>
                    </a:cubicBezTo>
                    <a:cubicBezTo>
                      <a:pt x="69291" y="481562"/>
                      <a:pt x="139330" y="949041"/>
                      <a:pt x="153519" y="985874"/>
                    </a:cubicBezTo>
                    <a:cubicBezTo>
                      <a:pt x="163919" y="1012658"/>
                      <a:pt x="215429" y="1034903"/>
                      <a:pt x="273834" y="1043169"/>
                    </a:cubicBezTo>
                    <a:cubicBezTo>
                      <a:pt x="329683" y="1051224"/>
                      <a:pt x="391804" y="1046474"/>
                      <a:pt x="430022" y="1020863"/>
                    </a:cubicBezTo>
                    <a:cubicBezTo>
                      <a:pt x="494961" y="977333"/>
                      <a:pt x="586696" y="485277"/>
                      <a:pt x="557082" y="295610"/>
                    </a:cubicBezTo>
                    <a:cubicBezTo>
                      <a:pt x="552119" y="263652"/>
                      <a:pt x="546620" y="233626"/>
                      <a:pt x="540410" y="206082"/>
                    </a:cubicBezTo>
                    <a:cubicBezTo>
                      <a:pt x="519612" y="112976"/>
                      <a:pt x="491095" y="47825"/>
                      <a:pt x="448812" y="30467"/>
                    </a:cubicBezTo>
                    <a:cubicBezTo>
                      <a:pt x="418238" y="17936"/>
                      <a:pt x="376429" y="10218"/>
                      <a:pt x="330568" y="5679"/>
                    </a:cubicBezTo>
                    <a:cubicBezTo>
                      <a:pt x="185528" y="-8710"/>
                      <a:pt x="0" y="8784"/>
                      <a:pt x="0" y="878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0" name="Freeform: Shape 599">
                <a:extLst>
                  <a:ext uri="{FF2B5EF4-FFF2-40B4-BE49-F238E27FC236}">
                    <a16:creationId xmlns:a16="http://schemas.microsoft.com/office/drawing/2014/main" id="{F8C6AB09-8896-6F44-3AB3-E078B078A7B9}"/>
                  </a:ext>
                </a:extLst>
              </p:cNvPr>
              <p:cNvSpPr/>
              <p:nvPr/>
            </p:nvSpPr>
            <p:spPr>
              <a:xfrm>
                <a:off x="4094661" y="4290327"/>
                <a:ext cx="347077" cy="1421999"/>
              </a:xfrm>
              <a:custGeom>
                <a:avLst/>
                <a:gdLst>
                  <a:gd name="connsiteX0" fmla="*/ 347065 w 347077"/>
                  <a:gd name="connsiteY0" fmla="*/ 964322 h 1421999"/>
                  <a:gd name="connsiteX1" fmla="*/ 96212 w 347077"/>
                  <a:gd name="connsiteY1" fmla="*/ 1422000 h 1421999"/>
                  <a:gd name="connsiteX2" fmla="*/ 0 w 347077"/>
                  <a:gd name="connsiteY2" fmla="*/ 1108016 h 1421999"/>
                  <a:gd name="connsiteX3" fmla="*/ 139242 w 347077"/>
                  <a:gd name="connsiteY3" fmla="*/ 787822 h 1421999"/>
                  <a:gd name="connsiteX4" fmla="*/ 55088 w 347077"/>
                  <a:gd name="connsiteY4" fmla="*/ 276452 h 1421999"/>
                  <a:gd name="connsiteX5" fmla="*/ 310829 w 347077"/>
                  <a:gd name="connsiteY5" fmla="*/ 0 h 1421999"/>
                  <a:gd name="connsiteX6" fmla="*/ 292375 w 347077"/>
                  <a:gd name="connsiteY6" fmla="*/ 186575 h 1421999"/>
                  <a:gd name="connsiteX7" fmla="*/ 333386 w 347077"/>
                  <a:gd name="connsiteY7" fmla="*/ 740153 h 1421999"/>
                  <a:gd name="connsiteX8" fmla="*/ 347077 w 347077"/>
                  <a:gd name="connsiteY8" fmla="*/ 964309 h 142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077" h="1421999">
                    <a:moveTo>
                      <a:pt x="347065" y="964322"/>
                    </a:moveTo>
                    <a:cubicBezTo>
                      <a:pt x="270143" y="1110186"/>
                      <a:pt x="165203" y="1305975"/>
                      <a:pt x="96212" y="1422000"/>
                    </a:cubicBezTo>
                    <a:cubicBezTo>
                      <a:pt x="67882" y="1358944"/>
                      <a:pt x="17345" y="1233592"/>
                      <a:pt x="0" y="1108016"/>
                    </a:cubicBezTo>
                    <a:cubicBezTo>
                      <a:pt x="33268" y="970295"/>
                      <a:pt x="79054" y="833796"/>
                      <a:pt x="139242" y="787822"/>
                    </a:cubicBezTo>
                    <a:cubicBezTo>
                      <a:pt x="127447" y="747085"/>
                      <a:pt x="89927" y="507629"/>
                      <a:pt x="55088" y="276452"/>
                    </a:cubicBezTo>
                    <a:cubicBezTo>
                      <a:pt x="102072" y="117920"/>
                      <a:pt x="180802" y="0"/>
                      <a:pt x="310829" y="0"/>
                    </a:cubicBezTo>
                    <a:cubicBezTo>
                      <a:pt x="310829" y="0"/>
                      <a:pt x="302625" y="137372"/>
                      <a:pt x="292375" y="186575"/>
                    </a:cubicBezTo>
                    <a:cubicBezTo>
                      <a:pt x="292375" y="186575"/>
                      <a:pt x="331329" y="623292"/>
                      <a:pt x="333386" y="740153"/>
                    </a:cubicBezTo>
                    <a:cubicBezTo>
                      <a:pt x="334608" y="809481"/>
                      <a:pt x="341591" y="901191"/>
                      <a:pt x="347077" y="964309"/>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01" name="Graphic 525">
              <a:extLst>
                <a:ext uri="{FF2B5EF4-FFF2-40B4-BE49-F238E27FC236}">
                  <a16:creationId xmlns:a16="http://schemas.microsoft.com/office/drawing/2014/main" id="{77477158-6202-D150-44B2-5AD26DDD186D}"/>
                </a:ext>
              </a:extLst>
            </p:cNvPr>
            <p:cNvGrpSpPr/>
            <p:nvPr/>
          </p:nvGrpSpPr>
          <p:grpSpPr>
            <a:xfrm>
              <a:off x="871067" y="3564740"/>
              <a:ext cx="844879" cy="2327862"/>
              <a:chOff x="3947250" y="3947265"/>
              <a:chExt cx="844879" cy="2327862"/>
            </a:xfrm>
          </p:grpSpPr>
          <p:grpSp>
            <p:nvGrpSpPr>
              <p:cNvPr id="602" name="Graphic 525">
                <a:extLst>
                  <a:ext uri="{FF2B5EF4-FFF2-40B4-BE49-F238E27FC236}">
                    <a16:creationId xmlns:a16="http://schemas.microsoft.com/office/drawing/2014/main" id="{FB2B3271-B6D9-6FB4-05A2-0A031DE9B50A}"/>
                  </a:ext>
                </a:extLst>
              </p:cNvPr>
              <p:cNvGrpSpPr/>
              <p:nvPr/>
            </p:nvGrpSpPr>
            <p:grpSpPr>
              <a:xfrm>
                <a:off x="4272475" y="5610523"/>
                <a:ext cx="519653" cy="664604"/>
                <a:chOff x="4272475" y="5610523"/>
                <a:chExt cx="519653" cy="664604"/>
              </a:xfrm>
            </p:grpSpPr>
            <p:sp>
              <p:nvSpPr>
                <p:cNvPr id="603" name="Freeform: Shape 602">
                  <a:extLst>
                    <a:ext uri="{FF2B5EF4-FFF2-40B4-BE49-F238E27FC236}">
                      <a16:creationId xmlns:a16="http://schemas.microsoft.com/office/drawing/2014/main" id="{1F6AD7D5-8C5E-BF8A-6B8F-1E19D2159FD1}"/>
                    </a:ext>
                  </a:extLst>
                </p:cNvPr>
                <p:cNvSpPr/>
                <p:nvPr/>
              </p:nvSpPr>
              <p:spPr>
                <a:xfrm>
                  <a:off x="4272836" y="6025781"/>
                  <a:ext cx="519292" cy="249346"/>
                </a:xfrm>
                <a:custGeom>
                  <a:avLst/>
                  <a:gdLst>
                    <a:gd name="connsiteX0" fmla="*/ 517562 w 519292"/>
                    <a:gd name="connsiteY0" fmla="*/ 229712 h 249346"/>
                    <a:gd name="connsiteX1" fmla="*/ 498634 w 519292"/>
                    <a:gd name="connsiteY1" fmla="*/ 247181 h 249346"/>
                    <a:gd name="connsiteX2" fmla="*/ 212543 w 519292"/>
                    <a:gd name="connsiteY2" fmla="*/ 229276 h 249346"/>
                    <a:gd name="connsiteX3" fmla="*/ 170074 w 519292"/>
                    <a:gd name="connsiteY3" fmla="*/ 192155 h 249346"/>
                    <a:gd name="connsiteX4" fmla="*/ 74224 w 519292"/>
                    <a:gd name="connsiteY4" fmla="*/ 105021 h 249346"/>
                    <a:gd name="connsiteX5" fmla="*/ 61992 w 519292"/>
                    <a:gd name="connsiteY5" fmla="*/ 207617 h 249346"/>
                    <a:gd name="connsiteX6" fmla="*/ 32190 w 519292"/>
                    <a:gd name="connsiteY6" fmla="*/ 207542 h 249346"/>
                    <a:gd name="connsiteX7" fmla="*/ 15270 w 519292"/>
                    <a:gd name="connsiteY7" fmla="*/ 90844 h 249346"/>
                    <a:gd name="connsiteX8" fmla="*/ 2452 w 519292"/>
                    <a:gd name="connsiteY8" fmla="*/ 630 h 249346"/>
                    <a:gd name="connsiteX9" fmla="*/ 517550 w 519292"/>
                    <a:gd name="connsiteY9" fmla="*/ 229700 h 24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292" h="249346">
                      <a:moveTo>
                        <a:pt x="517562" y="229712"/>
                      </a:moveTo>
                      <a:cubicBezTo>
                        <a:pt x="517562" y="229712"/>
                        <a:pt x="527762" y="244276"/>
                        <a:pt x="498634" y="247181"/>
                      </a:cubicBezTo>
                      <a:cubicBezTo>
                        <a:pt x="469506" y="250099"/>
                        <a:pt x="251871" y="254039"/>
                        <a:pt x="212543" y="229276"/>
                      </a:cubicBezTo>
                      <a:cubicBezTo>
                        <a:pt x="200162" y="221483"/>
                        <a:pt x="190361" y="211408"/>
                        <a:pt x="170074" y="192155"/>
                      </a:cubicBezTo>
                      <a:cubicBezTo>
                        <a:pt x="125946" y="150284"/>
                        <a:pt x="79211" y="104024"/>
                        <a:pt x="74224" y="105021"/>
                      </a:cubicBezTo>
                      <a:cubicBezTo>
                        <a:pt x="66942" y="106480"/>
                        <a:pt x="61992" y="207617"/>
                        <a:pt x="61992" y="207617"/>
                      </a:cubicBezTo>
                      <a:lnTo>
                        <a:pt x="32190" y="207542"/>
                      </a:lnTo>
                      <a:cubicBezTo>
                        <a:pt x="32190" y="207542"/>
                        <a:pt x="22552" y="105395"/>
                        <a:pt x="15270" y="90844"/>
                      </a:cubicBezTo>
                      <a:cubicBezTo>
                        <a:pt x="7988" y="76292"/>
                        <a:pt x="-5553" y="15218"/>
                        <a:pt x="2452" y="630"/>
                      </a:cubicBezTo>
                      <a:cubicBezTo>
                        <a:pt x="10457" y="-13959"/>
                        <a:pt x="517550" y="229700"/>
                        <a:pt x="517550" y="22970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4" name="Freeform: Shape 603">
                  <a:extLst>
                    <a:ext uri="{FF2B5EF4-FFF2-40B4-BE49-F238E27FC236}">
                      <a16:creationId xmlns:a16="http://schemas.microsoft.com/office/drawing/2014/main" id="{1EB3DBA7-FC36-3400-9E1D-904F148470C0}"/>
                    </a:ext>
                  </a:extLst>
                </p:cNvPr>
                <p:cNvSpPr/>
                <p:nvPr/>
              </p:nvSpPr>
              <p:spPr>
                <a:xfrm>
                  <a:off x="4274620" y="5610523"/>
                  <a:ext cx="384915" cy="626765"/>
                </a:xfrm>
                <a:custGeom>
                  <a:avLst/>
                  <a:gdLst>
                    <a:gd name="connsiteX0" fmla="*/ 194 w 384915"/>
                    <a:gd name="connsiteY0" fmla="*/ 177542 h 626765"/>
                    <a:gd name="connsiteX1" fmla="*/ 27738 w 384915"/>
                    <a:gd name="connsiteY1" fmla="*/ 344553 h 626765"/>
                    <a:gd name="connsiteX2" fmla="*/ 16055 w 384915"/>
                    <a:gd name="connsiteY2" fmla="*/ 393905 h 626765"/>
                    <a:gd name="connsiteX3" fmla="*/ 67590 w 384915"/>
                    <a:gd name="connsiteY3" fmla="*/ 482323 h 626765"/>
                    <a:gd name="connsiteX4" fmla="*/ 369753 w 384915"/>
                    <a:gd name="connsiteY4" fmla="*/ 624159 h 626765"/>
                    <a:gd name="connsiteX5" fmla="*/ 291110 w 384915"/>
                    <a:gd name="connsiteY5" fmla="*/ 484356 h 626765"/>
                    <a:gd name="connsiteX6" fmla="*/ 140534 w 384915"/>
                    <a:gd name="connsiteY6" fmla="*/ 85345 h 626765"/>
                    <a:gd name="connsiteX7" fmla="*/ 182 w 384915"/>
                    <a:gd name="connsiteY7" fmla="*/ 177542 h 62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915" h="626765">
                      <a:moveTo>
                        <a:pt x="194" y="177542"/>
                      </a:moveTo>
                      <a:cubicBezTo>
                        <a:pt x="-3035" y="187280"/>
                        <a:pt x="35207" y="306696"/>
                        <a:pt x="27738" y="344553"/>
                      </a:cubicBezTo>
                      <a:cubicBezTo>
                        <a:pt x="23910" y="363967"/>
                        <a:pt x="19459" y="376486"/>
                        <a:pt x="16055" y="393905"/>
                      </a:cubicBezTo>
                      <a:cubicBezTo>
                        <a:pt x="8598" y="432085"/>
                        <a:pt x="30631" y="470216"/>
                        <a:pt x="67590" y="482323"/>
                      </a:cubicBezTo>
                      <a:cubicBezTo>
                        <a:pt x="227942" y="534856"/>
                        <a:pt x="333156" y="645070"/>
                        <a:pt x="369753" y="624159"/>
                      </a:cubicBezTo>
                      <a:cubicBezTo>
                        <a:pt x="410527" y="600854"/>
                        <a:pt x="363930" y="560081"/>
                        <a:pt x="291110" y="484356"/>
                      </a:cubicBezTo>
                      <a:cubicBezTo>
                        <a:pt x="218303" y="408631"/>
                        <a:pt x="137903" y="277893"/>
                        <a:pt x="140534" y="85345"/>
                      </a:cubicBezTo>
                      <a:cubicBezTo>
                        <a:pt x="143763" y="-150608"/>
                        <a:pt x="182" y="177542"/>
                        <a:pt x="182" y="177542"/>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5" name="Freeform: Shape 604">
                  <a:extLst>
                    <a:ext uri="{FF2B5EF4-FFF2-40B4-BE49-F238E27FC236}">
                      <a16:creationId xmlns:a16="http://schemas.microsoft.com/office/drawing/2014/main" id="{E672F238-DA68-F905-528F-1BFF56ED388E}"/>
                    </a:ext>
                  </a:extLst>
                </p:cNvPr>
                <p:cNvSpPr/>
                <p:nvPr/>
              </p:nvSpPr>
              <p:spPr>
                <a:xfrm>
                  <a:off x="4272475" y="5955075"/>
                  <a:ext cx="518150" cy="312542"/>
                </a:xfrm>
                <a:custGeom>
                  <a:avLst/>
                  <a:gdLst>
                    <a:gd name="connsiteX0" fmla="*/ 272594 w 518150"/>
                    <a:gd name="connsiteY0" fmla="*/ 116960 h 312542"/>
                    <a:gd name="connsiteX1" fmla="*/ 282931 w 518150"/>
                    <a:gd name="connsiteY1" fmla="*/ 130676 h 312542"/>
                    <a:gd name="connsiteX2" fmla="*/ 336673 w 518150"/>
                    <a:gd name="connsiteY2" fmla="*/ 221351 h 312542"/>
                    <a:gd name="connsiteX3" fmla="*/ 176482 w 518150"/>
                    <a:gd name="connsiteY3" fmla="*/ 163969 h 312542"/>
                    <a:gd name="connsiteX4" fmla="*/ 29871 w 518150"/>
                    <a:gd name="connsiteY4" fmla="*/ 0 h 312542"/>
                    <a:gd name="connsiteX5" fmla="*/ 33163 w 518150"/>
                    <a:gd name="connsiteY5" fmla="*/ 133968 h 312542"/>
                    <a:gd name="connsiteX6" fmla="*/ 252207 w 518150"/>
                    <a:gd name="connsiteY6" fmla="*/ 299982 h 312542"/>
                    <a:gd name="connsiteX7" fmla="*/ 517911 w 518150"/>
                    <a:gd name="connsiteY7" fmla="*/ 300405 h 312542"/>
                    <a:gd name="connsiteX8" fmla="*/ 399542 w 518150"/>
                    <a:gd name="connsiteY8" fmla="*/ 218096 h 312542"/>
                    <a:gd name="connsiteX9" fmla="*/ 272594 w 518150"/>
                    <a:gd name="connsiteY9" fmla="*/ 116948 h 3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150" h="312542">
                      <a:moveTo>
                        <a:pt x="272594" y="116960"/>
                      </a:moveTo>
                      <a:cubicBezTo>
                        <a:pt x="272594" y="116960"/>
                        <a:pt x="276260" y="122895"/>
                        <a:pt x="282931" y="130676"/>
                      </a:cubicBezTo>
                      <a:cubicBezTo>
                        <a:pt x="307096" y="158831"/>
                        <a:pt x="361100" y="222785"/>
                        <a:pt x="336673" y="221351"/>
                      </a:cubicBezTo>
                      <a:cubicBezTo>
                        <a:pt x="290063" y="218621"/>
                        <a:pt x="240561" y="214344"/>
                        <a:pt x="176482" y="163969"/>
                      </a:cubicBezTo>
                      <a:cubicBezTo>
                        <a:pt x="112404" y="113594"/>
                        <a:pt x="29871" y="0"/>
                        <a:pt x="29871" y="0"/>
                      </a:cubicBezTo>
                      <a:cubicBezTo>
                        <a:pt x="29871" y="0"/>
                        <a:pt x="-39482" y="108368"/>
                        <a:pt x="33163" y="133968"/>
                      </a:cubicBezTo>
                      <a:cubicBezTo>
                        <a:pt x="86917" y="152908"/>
                        <a:pt x="199787" y="288023"/>
                        <a:pt x="252207" y="299982"/>
                      </a:cubicBezTo>
                      <a:cubicBezTo>
                        <a:pt x="304627" y="311939"/>
                        <a:pt x="514619" y="320742"/>
                        <a:pt x="517911" y="300405"/>
                      </a:cubicBezTo>
                      <a:cubicBezTo>
                        <a:pt x="523585" y="265255"/>
                        <a:pt x="426650" y="231912"/>
                        <a:pt x="399542" y="218096"/>
                      </a:cubicBezTo>
                      <a:cubicBezTo>
                        <a:pt x="327097" y="181188"/>
                        <a:pt x="272594" y="116948"/>
                        <a:pt x="272594" y="116948"/>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06" name="Freeform: Shape 605">
                <a:extLst>
                  <a:ext uri="{FF2B5EF4-FFF2-40B4-BE49-F238E27FC236}">
                    <a16:creationId xmlns:a16="http://schemas.microsoft.com/office/drawing/2014/main" id="{965A24D1-D0F4-C703-2FB8-BDA04575F470}"/>
                  </a:ext>
                </a:extLst>
              </p:cNvPr>
              <p:cNvSpPr/>
              <p:nvPr/>
            </p:nvSpPr>
            <p:spPr>
              <a:xfrm>
                <a:off x="4123155" y="4938834"/>
                <a:ext cx="350266" cy="913466"/>
              </a:xfrm>
              <a:custGeom>
                <a:avLst/>
                <a:gdLst>
                  <a:gd name="connsiteX0" fmla="*/ 129339 w 350266"/>
                  <a:gd name="connsiteY0" fmla="*/ 912187 h 913466"/>
                  <a:gd name="connsiteX1" fmla="*/ 242010 w 350266"/>
                  <a:gd name="connsiteY1" fmla="*/ 909980 h 913466"/>
                  <a:gd name="connsiteX2" fmla="*/ 350267 w 350266"/>
                  <a:gd name="connsiteY2" fmla="*/ 881264 h 913466"/>
                  <a:gd name="connsiteX3" fmla="*/ 257759 w 350266"/>
                  <a:gd name="connsiteY3" fmla="*/ 120836 h 913466"/>
                  <a:gd name="connsiteX4" fmla="*/ 254591 w 350266"/>
                  <a:gd name="connsiteY4" fmla="*/ 70361 h 913466"/>
                  <a:gd name="connsiteX5" fmla="*/ 30285 w 350266"/>
                  <a:gd name="connsiteY5" fmla="*/ 6794 h 913466"/>
                  <a:gd name="connsiteX6" fmla="*/ 17542 w 350266"/>
                  <a:gd name="connsiteY6" fmla="*/ 12368 h 913466"/>
                  <a:gd name="connsiteX7" fmla="*/ 7217 w 350266"/>
                  <a:gd name="connsiteY7" fmla="*/ 27929 h 913466"/>
                  <a:gd name="connsiteX8" fmla="*/ 2666 w 350266"/>
                  <a:gd name="connsiteY8" fmla="*/ 114352 h 913466"/>
                  <a:gd name="connsiteX9" fmla="*/ 129327 w 350266"/>
                  <a:gd name="connsiteY9" fmla="*/ 912175 h 9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266" h="913466">
                    <a:moveTo>
                      <a:pt x="129339" y="912187"/>
                    </a:moveTo>
                    <a:cubicBezTo>
                      <a:pt x="129339" y="912187"/>
                      <a:pt x="165250" y="916215"/>
                      <a:pt x="242010" y="909980"/>
                    </a:cubicBezTo>
                    <a:cubicBezTo>
                      <a:pt x="318770" y="903745"/>
                      <a:pt x="350267" y="881264"/>
                      <a:pt x="350267" y="881264"/>
                    </a:cubicBezTo>
                    <a:cubicBezTo>
                      <a:pt x="350267" y="881264"/>
                      <a:pt x="267061" y="287909"/>
                      <a:pt x="257759" y="120836"/>
                    </a:cubicBezTo>
                    <a:cubicBezTo>
                      <a:pt x="256312" y="94115"/>
                      <a:pt x="255140" y="76209"/>
                      <a:pt x="254591" y="70361"/>
                    </a:cubicBezTo>
                    <a:cubicBezTo>
                      <a:pt x="248532" y="8789"/>
                      <a:pt x="90623" y="-12284"/>
                      <a:pt x="30285" y="6794"/>
                    </a:cubicBezTo>
                    <a:cubicBezTo>
                      <a:pt x="25322" y="8378"/>
                      <a:pt x="21058" y="10236"/>
                      <a:pt x="17542" y="12368"/>
                    </a:cubicBezTo>
                    <a:cubicBezTo>
                      <a:pt x="10659" y="16495"/>
                      <a:pt x="6868" y="21732"/>
                      <a:pt x="7217" y="27929"/>
                    </a:cubicBezTo>
                    <a:cubicBezTo>
                      <a:pt x="7703" y="36471"/>
                      <a:pt x="4736" y="66982"/>
                      <a:pt x="2666" y="114352"/>
                    </a:cubicBezTo>
                    <a:cubicBezTo>
                      <a:pt x="-3805" y="262560"/>
                      <a:pt x="-9716" y="588989"/>
                      <a:pt x="129327" y="912175"/>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7" name="Freeform: Shape 606">
                <a:extLst>
                  <a:ext uri="{FF2B5EF4-FFF2-40B4-BE49-F238E27FC236}">
                    <a16:creationId xmlns:a16="http://schemas.microsoft.com/office/drawing/2014/main" id="{626AFC2D-8A36-4DEB-5A6F-260E8D7E4F5A}"/>
                  </a:ext>
                </a:extLst>
              </p:cNvPr>
              <p:cNvSpPr/>
              <p:nvPr/>
            </p:nvSpPr>
            <p:spPr>
              <a:xfrm>
                <a:off x="3947250" y="3947265"/>
                <a:ext cx="472694" cy="1266242"/>
              </a:xfrm>
              <a:custGeom>
                <a:avLst/>
                <a:gdLst>
                  <a:gd name="connsiteX0" fmla="*/ 251 w 472694"/>
                  <a:gd name="connsiteY0" fmla="*/ 458401 h 1266242"/>
                  <a:gd name="connsiteX1" fmla="*/ 53444 w 472694"/>
                  <a:gd name="connsiteY1" fmla="*/ 752921 h 1266242"/>
                  <a:gd name="connsiteX2" fmla="*/ 212936 w 472694"/>
                  <a:gd name="connsiteY2" fmla="*/ 1220537 h 1266242"/>
                  <a:gd name="connsiteX3" fmla="*/ 408177 w 472694"/>
                  <a:gd name="connsiteY3" fmla="*/ 1191958 h 1266242"/>
                  <a:gd name="connsiteX4" fmla="*/ 434624 w 472694"/>
                  <a:gd name="connsiteY4" fmla="*/ 1104363 h 1266242"/>
                  <a:gd name="connsiteX5" fmla="*/ 407416 w 472694"/>
                  <a:gd name="connsiteY5" fmla="*/ 519263 h 1266242"/>
                  <a:gd name="connsiteX6" fmla="*/ 451220 w 472694"/>
                  <a:gd name="connsiteY6" fmla="*/ 382764 h 1266242"/>
                  <a:gd name="connsiteX7" fmla="*/ 464924 w 472694"/>
                  <a:gd name="connsiteY7" fmla="*/ 154467 h 1266242"/>
                  <a:gd name="connsiteX8" fmla="*/ 395296 w 472694"/>
                  <a:gd name="connsiteY8" fmla="*/ 38841 h 1266242"/>
                  <a:gd name="connsiteX9" fmla="*/ 288686 w 472694"/>
                  <a:gd name="connsiteY9" fmla="*/ 0 h 1266242"/>
                  <a:gd name="connsiteX10" fmla="*/ 180155 w 472694"/>
                  <a:gd name="connsiteY10" fmla="*/ 15636 h 1266242"/>
                  <a:gd name="connsiteX11" fmla="*/ 158396 w 472694"/>
                  <a:gd name="connsiteY11" fmla="*/ 27619 h 1266242"/>
                  <a:gd name="connsiteX12" fmla="*/ 64117 w 472694"/>
                  <a:gd name="connsiteY12" fmla="*/ 152061 h 1266242"/>
                  <a:gd name="connsiteX13" fmla="*/ 10251 w 472694"/>
                  <a:gd name="connsiteY13" fmla="*/ 323610 h 1266242"/>
                  <a:gd name="connsiteX14" fmla="*/ 251 w 472694"/>
                  <a:gd name="connsiteY14" fmla="*/ 458414 h 126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694" h="1266242">
                    <a:moveTo>
                      <a:pt x="251" y="458401"/>
                    </a:moveTo>
                    <a:cubicBezTo>
                      <a:pt x="2520" y="554750"/>
                      <a:pt x="18805" y="651410"/>
                      <a:pt x="53444" y="752921"/>
                    </a:cubicBezTo>
                    <a:cubicBezTo>
                      <a:pt x="182087" y="1130323"/>
                      <a:pt x="217487" y="1193604"/>
                      <a:pt x="212936" y="1220537"/>
                    </a:cubicBezTo>
                    <a:cubicBezTo>
                      <a:pt x="204058" y="1273157"/>
                      <a:pt x="346405" y="1299317"/>
                      <a:pt x="408177" y="1191958"/>
                    </a:cubicBezTo>
                    <a:cubicBezTo>
                      <a:pt x="421469" y="1169165"/>
                      <a:pt x="430971" y="1140311"/>
                      <a:pt x="434624" y="1104363"/>
                    </a:cubicBezTo>
                    <a:cubicBezTo>
                      <a:pt x="449712" y="956230"/>
                      <a:pt x="429113" y="753620"/>
                      <a:pt x="407416" y="519263"/>
                    </a:cubicBezTo>
                    <a:cubicBezTo>
                      <a:pt x="426557" y="469062"/>
                      <a:pt x="440958" y="423737"/>
                      <a:pt x="451220" y="382764"/>
                    </a:cubicBezTo>
                    <a:cubicBezTo>
                      <a:pt x="476358" y="282911"/>
                      <a:pt x="477318" y="209082"/>
                      <a:pt x="464924" y="154467"/>
                    </a:cubicBezTo>
                    <a:cubicBezTo>
                      <a:pt x="452118" y="97509"/>
                      <a:pt x="424699" y="61560"/>
                      <a:pt x="395296" y="38841"/>
                    </a:cubicBezTo>
                    <a:cubicBezTo>
                      <a:pt x="345021" y="0"/>
                      <a:pt x="288686" y="0"/>
                      <a:pt x="288686" y="0"/>
                    </a:cubicBezTo>
                    <a:cubicBezTo>
                      <a:pt x="273461" y="16110"/>
                      <a:pt x="204532" y="5025"/>
                      <a:pt x="180155" y="15636"/>
                    </a:cubicBezTo>
                    <a:cubicBezTo>
                      <a:pt x="172511" y="18941"/>
                      <a:pt x="165279" y="23006"/>
                      <a:pt x="158396" y="27619"/>
                    </a:cubicBezTo>
                    <a:cubicBezTo>
                      <a:pt x="115428" y="56410"/>
                      <a:pt x="86425" y="107920"/>
                      <a:pt x="64117" y="152061"/>
                    </a:cubicBezTo>
                    <a:cubicBezTo>
                      <a:pt x="34852" y="209905"/>
                      <a:pt x="21062" y="267213"/>
                      <a:pt x="10251" y="323610"/>
                    </a:cubicBezTo>
                    <a:cubicBezTo>
                      <a:pt x="1510" y="368649"/>
                      <a:pt x="-847" y="413450"/>
                      <a:pt x="251" y="45841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0" name="Graphic 525">
              <a:extLst>
                <a:ext uri="{FF2B5EF4-FFF2-40B4-BE49-F238E27FC236}">
                  <a16:creationId xmlns:a16="http://schemas.microsoft.com/office/drawing/2014/main" id="{6D2E8EFB-2F68-3933-1C1A-CAE6EAD7DFD6}"/>
                </a:ext>
              </a:extLst>
            </p:cNvPr>
            <p:cNvGrpSpPr/>
            <p:nvPr/>
          </p:nvGrpSpPr>
          <p:grpSpPr>
            <a:xfrm>
              <a:off x="1083392" y="2446013"/>
              <a:ext cx="258895" cy="576072"/>
              <a:chOff x="4159575" y="2828538"/>
              <a:chExt cx="258895" cy="576072"/>
            </a:xfrm>
          </p:grpSpPr>
          <p:sp>
            <p:nvSpPr>
              <p:cNvPr id="611" name="Freeform: Shape 610">
                <a:extLst>
                  <a:ext uri="{FF2B5EF4-FFF2-40B4-BE49-F238E27FC236}">
                    <a16:creationId xmlns:a16="http://schemas.microsoft.com/office/drawing/2014/main" id="{114D7FA3-6442-B139-77B9-8EA8CDB7B27C}"/>
                  </a:ext>
                </a:extLst>
              </p:cNvPr>
              <p:cNvSpPr/>
              <p:nvPr/>
            </p:nvSpPr>
            <p:spPr>
              <a:xfrm>
                <a:off x="4159575" y="2828538"/>
                <a:ext cx="258895" cy="576072"/>
              </a:xfrm>
              <a:custGeom>
                <a:avLst/>
                <a:gdLst>
                  <a:gd name="connsiteX0" fmla="*/ 208620 w 258895"/>
                  <a:gd name="connsiteY0" fmla="*/ 90613 h 576072"/>
                  <a:gd name="connsiteX1" fmla="*/ 224119 w 258895"/>
                  <a:gd name="connsiteY1" fmla="*/ 180016 h 576072"/>
                  <a:gd name="connsiteX2" fmla="*/ 224119 w 258895"/>
                  <a:gd name="connsiteY2" fmla="*/ 300418 h 576072"/>
                  <a:gd name="connsiteX3" fmla="*/ 258896 w 258895"/>
                  <a:gd name="connsiteY3" fmla="*/ 576072 h 576072"/>
                  <a:gd name="connsiteX4" fmla="*/ 17881 w 258895"/>
                  <a:gd name="connsiteY4" fmla="*/ 300418 h 576072"/>
                  <a:gd name="connsiteX5" fmla="*/ 0 w 258895"/>
                  <a:gd name="connsiteY5" fmla="*/ 141861 h 576072"/>
                  <a:gd name="connsiteX6" fmla="*/ 19078 w 258895"/>
                  <a:gd name="connsiteY6" fmla="*/ 0 h 576072"/>
                  <a:gd name="connsiteX7" fmla="*/ 208620 w 258895"/>
                  <a:gd name="connsiteY7" fmla="*/ 90601 h 57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895" h="576072">
                    <a:moveTo>
                      <a:pt x="208620" y="90613"/>
                    </a:moveTo>
                    <a:cubicBezTo>
                      <a:pt x="208620" y="90613"/>
                      <a:pt x="202660" y="156175"/>
                      <a:pt x="224119" y="180016"/>
                    </a:cubicBezTo>
                    <a:lnTo>
                      <a:pt x="224119" y="300418"/>
                    </a:lnTo>
                    <a:lnTo>
                      <a:pt x="258896" y="576072"/>
                    </a:lnTo>
                    <a:lnTo>
                      <a:pt x="17881" y="300418"/>
                    </a:lnTo>
                    <a:lnTo>
                      <a:pt x="0" y="141861"/>
                    </a:lnTo>
                    <a:cubicBezTo>
                      <a:pt x="0" y="141861"/>
                      <a:pt x="29801" y="103718"/>
                      <a:pt x="19078" y="0"/>
                    </a:cubicBezTo>
                    <a:lnTo>
                      <a:pt x="208620" y="90601"/>
                    </a:ln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2" name="Freeform: Shape 611">
                <a:extLst>
                  <a:ext uri="{FF2B5EF4-FFF2-40B4-BE49-F238E27FC236}">
                    <a16:creationId xmlns:a16="http://schemas.microsoft.com/office/drawing/2014/main" id="{9DED5BA8-4C29-4750-5539-5ED0E5743C7F}"/>
                  </a:ext>
                </a:extLst>
              </p:cNvPr>
              <p:cNvSpPr/>
              <p:nvPr/>
            </p:nvSpPr>
            <p:spPr>
              <a:xfrm>
                <a:off x="4178652" y="2828550"/>
                <a:ext cx="189542" cy="127621"/>
              </a:xfrm>
              <a:custGeom>
                <a:avLst/>
                <a:gdLst>
                  <a:gd name="connsiteX0" fmla="*/ 189543 w 189542"/>
                  <a:gd name="connsiteY0" fmla="*/ 90601 h 127621"/>
                  <a:gd name="connsiteX1" fmla="*/ 189331 w 189542"/>
                  <a:gd name="connsiteY1" fmla="*/ 127621 h 127621"/>
                  <a:gd name="connsiteX2" fmla="*/ 26622 w 189542"/>
                  <a:gd name="connsiteY2" fmla="*/ 47283 h 127621"/>
                  <a:gd name="connsiteX3" fmla="*/ 561 w 189542"/>
                  <a:gd name="connsiteY3" fmla="*/ 5873 h 127621"/>
                  <a:gd name="connsiteX4" fmla="*/ 0 w 189542"/>
                  <a:gd name="connsiteY4" fmla="*/ 0 h 127621"/>
                  <a:gd name="connsiteX5" fmla="*/ 189543 w 189542"/>
                  <a:gd name="connsiteY5" fmla="*/ 90601 h 12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542" h="127621">
                    <a:moveTo>
                      <a:pt x="189543" y="90601"/>
                    </a:moveTo>
                    <a:cubicBezTo>
                      <a:pt x="189543" y="90601"/>
                      <a:pt x="187984" y="107708"/>
                      <a:pt x="189331" y="127621"/>
                    </a:cubicBezTo>
                    <a:cubicBezTo>
                      <a:pt x="127920" y="118731"/>
                      <a:pt x="58056" y="88668"/>
                      <a:pt x="26622" y="47283"/>
                    </a:cubicBezTo>
                    <a:cubicBezTo>
                      <a:pt x="18118" y="36073"/>
                      <a:pt x="9140" y="22008"/>
                      <a:pt x="561" y="5873"/>
                    </a:cubicBezTo>
                    <a:cubicBezTo>
                      <a:pt x="387" y="3940"/>
                      <a:pt x="200" y="1983"/>
                      <a:pt x="0" y="0"/>
                    </a:cubicBezTo>
                    <a:lnTo>
                      <a:pt x="189543" y="90601"/>
                    </a:ln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3" name="Graphic 525">
              <a:extLst>
                <a:ext uri="{FF2B5EF4-FFF2-40B4-BE49-F238E27FC236}">
                  <a16:creationId xmlns:a16="http://schemas.microsoft.com/office/drawing/2014/main" id="{F2054569-F972-EEA1-3B5C-5348EFDF2886}"/>
                </a:ext>
              </a:extLst>
            </p:cNvPr>
            <p:cNvGrpSpPr/>
            <p:nvPr/>
          </p:nvGrpSpPr>
          <p:grpSpPr>
            <a:xfrm>
              <a:off x="817974" y="2587886"/>
              <a:ext cx="1490917" cy="2082154"/>
              <a:chOff x="3894157" y="2970411"/>
              <a:chExt cx="1490917" cy="2082154"/>
            </a:xfrm>
          </p:grpSpPr>
          <p:grpSp>
            <p:nvGrpSpPr>
              <p:cNvPr id="614" name="Graphic 525">
                <a:extLst>
                  <a:ext uri="{FF2B5EF4-FFF2-40B4-BE49-F238E27FC236}">
                    <a16:creationId xmlns:a16="http://schemas.microsoft.com/office/drawing/2014/main" id="{2C3EF8B1-A554-7ADE-559F-04A79F75D6A2}"/>
                  </a:ext>
                </a:extLst>
              </p:cNvPr>
              <p:cNvGrpSpPr/>
              <p:nvPr/>
            </p:nvGrpSpPr>
            <p:grpSpPr>
              <a:xfrm>
                <a:off x="3923689" y="2970411"/>
                <a:ext cx="1461385" cy="2082154"/>
                <a:chOff x="3923689" y="2970411"/>
                <a:chExt cx="1461385" cy="2082154"/>
              </a:xfrm>
            </p:grpSpPr>
            <p:grpSp>
              <p:nvGrpSpPr>
                <p:cNvPr id="615" name="Graphic 525">
                  <a:extLst>
                    <a:ext uri="{FF2B5EF4-FFF2-40B4-BE49-F238E27FC236}">
                      <a16:creationId xmlns:a16="http://schemas.microsoft.com/office/drawing/2014/main" id="{CFE9600C-373F-7771-7C90-90E6152EC1A9}"/>
                    </a:ext>
                  </a:extLst>
                </p:cNvPr>
                <p:cNvGrpSpPr/>
                <p:nvPr/>
              </p:nvGrpSpPr>
              <p:grpSpPr>
                <a:xfrm>
                  <a:off x="4456414" y="2989380"/>
                  <a:ext cx="928659" cy="797449"/>
                  <a:chOff x="4456414" y="2989380"/>
                  <a:chExt cx="928659" cy="797449"/>
                </a:xfrm>
              </p:grpSpPr>
              <p:grpSp>
                <p:nvGrpSpPr>
                  <p:cNvPr id="616" name="Graphic 525">
                    <a:extLst>
                      <a:ext uri="{FF2B5EF4-FFF2-40B4-BE49-F238E27FC236}">
                        <a16:creationId xmlns:a16="http://schemas.microsoft.com/office/drawing/2014/main" id="{045E0D06-9925-4385-4826-2189E593B2D3}"/>
                      </a:ext>
                    </a:extLst>
                  </p:cNvPr>
                  <p:cNvGrpSpPr/>
                  <p:nvPr/>
                </p:nvGrpSpPr>
                <p:grpSpPr>
                  <a:xfrm>
                    <a:off x="4456414" y="3037894"/>
                    <a:ext cx="307839" cy="743393"/>
                    <a:chOff x="4456414" y="3037894"/>
                    <a:chExt cx="307839" cy="743393"/>
                  </a:xfrm>
                </p:grpSpPr>
                <p:sp>
                  <p:nvSpPr>
                    <p:cNvPr id="617" name="Freeform: Shape 616">
                      <a:extLst>
                        <a:ext uri="{FF2B5EF4-FFF2-40B4-BE49-F238E27FC236}">
                          <a16:creationId xmlns:a16="http://schemas.microsoft.com/office/drawing/2014/main" id="{A36522EB-648D-CB0D-0328-40A048FF4F15}"/>
                        </a:ext>
                      </a:extLst>
                    </p:cNvPr>
                    <p:cNvSpPr/>
                    <p:nvPr/>
                  </p:nvSpPr>
                  <p:spPr>
                    <a:xfrm>
                      <a:off x="4456414" y="3037894"/>
                      <a:ext cx="307839" cy="743393"/>
                    </a:xfrm>
                    <a:custGeom>
                      <a:avLst/>
                      <a:gdLst>
                        <a:gd name="connsiteX0" fmla="*/ 58130 w 307839"/>
                        <a:gd name="connsiteY0" fmla="*/ 0 h 743393"/>
                        <a:gd name="connsiteX1" fmla="*/ 142172 w 307839"/>
                        <a:gd name="connsiteY1" fmla="*/ 60799 h 743393"/>
                        <a:gd name="connsiteX2" fmla="*/ 292375 w 307839"/>
                        <a:gd name="connsiteY2" fmla="*/ 513190 h 743393"/>
                        <a:gd name="connsiteX3" fmla="*/ 263771 w 307839"/>
                        <a:gd name="connsiteY3" fmla="*/ 740277 h 743393"/>
                        <a:gd name="connsiteX4" fmla="*/ 120725 w 307839"/>
                        <a:gd name="connsiteY4" fmla="*/ 634776 h 743393"/>
                        <a:gd name="connsiteX5" fmla="*/ 922 w 307839"/>
                        <a:gd name="connsiteY5" fmla="*/ 144841 h 743393"/>
                        <a:gd name="connsiteX6" fmla="*/ 58143 w 307839"/>
                        <a:gd name="connsiteY6" fmla="*/ 0 h 74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839" h="743393">
                          <a:moveTo>
                            <a:pt x="58130" y="0"/>
                          </a:moveTo>
                          <a:cubicBezTo>
                            <a:pt x="58130" y="0"/>
                            <a:pt x="109989" y="3578"/>
                            <a:pt x="142172" y="60799"/>
                          </a:cubicBezTo>
                          <a:cubicBezTo>
                            <a:pt x="174355" y="118020"/>
                            <a:pt x="265554" y="380868"/>
                            <a:pt x="292375" y="513190"/>
                          </a:cubicBezTo>
                          <a:cubicBezTo>
                            <a:pt x="319196" y="645512"/>
                            <a:pt x="312039" y="727758"/>
                            <a:pt x="263771" y="740277"/>
                          </a:cubicBezTo>
                          <a:cubicBezTo>
                            <a:pt x="215490" y="752796"/>
                            <a:pt x="145763" y="729554"/>
                            <a:pt x="120725" y="634776"/>
                          </a:cubicBezTo>
                          <a:cubicBezTo>
                            <a:pt x="95687" y="540011"/>
                            <a:pt x="6284" y="189543"/>
                            <a:pt x="922" y="144841"/>
                          </a:cubicBezTo>
                          <a:cubicBezTo>
                            <a:pt x="-4439" y="100139"/>
                            <a:pt x="13441" y="1795"/>
                            <a:pt x="58143" y="0"/>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8" name="Freeform: Shape 617">
                      <a:extLst>
                        <a:ext uri="{FF2B5EF4-FFF2-40B4-BE49-F238E27FC236}">
                          <a16:creationId xmlns:a16="http://schemas.microsoft.com/office/drawing/2014/main" id="{AA7C92E7-AF9A-24F4-B027-7D67D61ED4D6}"/>
                        </a:ext>
                      </a:extLst>
                    </p:cNvPr>
                    <p:cNvSpPr/>
                    <p:nvPr/>
                  </p:nvSpPr>
                  <p:spPr>
                    <a:xfrm>
                      <a:off x="4603188" y="3444062"/>
                      <a:ext cx="145264" cy="203133"/>
                    </a:xfrm>
                    <a:custGeom>
                      <a:avLst/>
                      <a:gdLst>
                        <a:gd name="connsiteX0" fmla="*/ 0 w 145264"/>
                        <a:gd name="connsiteY0" fmla="*/ 203121 h 203133"/>
                        <a:gd name="connsiteX1" fmla="*/ 118631 w 145264"/>
                        <a:gd name="connsiteY1" fmla="*/ 0 h 203133"/>
                        <a:gd name="connsiteX2" fmla="*/ 145265 w 145264"/>
                        <a:gd name="connsiteY2" fmla="*/ 105401 h 203133"/>
                        <a:gd name="connsiteX3" fmla="*/ 12 w 145264"/>
                        <a:gd name="connsiteY3" fmla="*/ 203134 h 203133"/>
                      </a:gdLst>
                      <a:ahLst/>
                      <a:cxnLst>
                        <a:cxn ang="0">
                          <a:pos x="connsiteX0" y="connsiteY0"/>
                        </a:cxn>
                        <a:cxn ang="0">
                          <a:pos x="connsiteX1" y="connsiteY1"/>
                        </a:cxn>
                        <a:cxn ang="0">
                          <a:pos x="connsiteX2" y="connsiteY2"/>
                        </a:cxn>
                        <a:cxn ang="0">
                          <a:pos x="connsiteX3" y="connsiteY3"/>
                        </a:cxn>
                      </a:cxnLst>
                      <a:rect l="l" t="t" r="r" b="b"/>
                      <a:pathLst>
                        <a:path w="145264" h="203133">
                          <a:moveTo>
                            <a:pt x="0" y="203121"/>
                          </a:moveTo>
                          <a:cubicBezTo>
                            <a:pt x="39041" y="81111"/>
                            <a:pt x="95725" y="20611"/>
                            <a:pt x="118631" y="0"/>
                          </a:cubicBezTo>
                          <a:cubicBezTo>
                            <a:pt x="129791" y="39103"/>
                            <a:pt x="139130" y="75488"/>
                            <a:pt x="145265" y="105401"/>
                          </a:cubicBezTo>
                          <a:lnTo>
                            <a:pt x="12" y="203134"/>
                          </a:ln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9" name="Graphic 525">
                    <a:extLst>
                      <a:ext uri="{FF2B5EF4-FFF2-40B4-BE49-F238E27FC236}">
                        <a16:creationId xmlns:a16="http://schemas.microsoft.com/office/drawing/2014/main" id="{52C6DA3B-18E8-9841-8F34-2640EFF1B4B1}"/>
                      </a:ext>
                    </a:extLst>
                  </p:cNvPr>
                  <p:cNvGrpSpPr/>
                  <p:nvPr/>
                </p:nvGrpSpPr>
                <p:grpSpPr>
                  <a:xfrm>
                    <a:off x="4581591" y="2989380"/>
                    <a:ext cx="803483" cy="797449"/>
                    <a:chOff x="4581591" y="2989380"/>
                    <a:chExt cx="803483" cy="797449"/>
                  </a:xfrm>
                </p:grpSpPr>
                <p:grpSp>
                  <p:nvGrpSpPr>
                    <p:cNvPr id="620" name="Graphic 525">
                      <a:extLst>
                        <a:ext uri="{FF2B5EF4-FFF2-40B4-BE49-F238E27FC236}">
                          <a16:creationId xmlns:a16="http://schemas.microsoft.com/office/drawing/2014/main" id="{00721E2F-05B0-09CB-AB03-E217A20DFEE8}"/>
                        </a:ext>
                      </a:extLst>
                    </p:cNvPr>
                    <p:cNvGrpSpPr/>
                    <p:nvPr/>
                  </p:nvGrpSpPr>
                  <p:grpSpPr>
                    <a:xfrm>
                      <a:off x="4996130" y="2989380"/>
                      <a:ext cx="388944" cy="319043"/>
                      <a:chOff x="4996130" y="2989380"/>
                      <a:chExt cx="388944" cy="319043"/>
                    </a:xfrm>
                  </p:grpSpPr>
                  <p:grpSp>
                    <p:nvGrpSpPr>
                      <p:cNvPr id="621" name="Graphic 525">
                        <a:extLst>
                          <a:ext uri="{FF2B5EF4-FFF2-40B4-BE49-F238E27FC236}">
                            <a16:creationId xmlns:a16="http://schemas.microsoft.com/office/drawing/2014/main" id="{05E24D34-BEF1-2E08-40E9-6916F478BA3E}"/>
                          </a:ext>
                        </a:extLst>
                      </p:cNvPr>
                      <p:cNvGrpSpPr/>
                      <p:nvPr/>
                    </p:nvGrpSpPr>
                    <p:grpSpPr>
                      <a:xfrm>
                        <a:off x="5022361" y="3075813"/>
                        <a:ext cx="299925" cy="232610"/>
                        <a:chOff x="5022361" y="3075813"/>
                        <a:chExt cx="299925" cy="232610"/>
                      </a:xfrm>
                    </p:grpSpPr>
                    <p:sp>
                      <p:nvSpPr>
                        <p:cNvPr id="622" name="Freeform: Shape 621">
                          <a:extLst>
                            <a:ext uri="{FF2B5EF4-FFF2-40B4-BE49-F238E27FC236}">
                              <a16:creationId xmlns:a16="http://schemas.microsoft.com/office/drawing/2014/main" id="{D652CC82-8ABC-09DA-F4BB-ABA318FF47B1}"/>
                            </a:ext>
                          </a:extLst>
                        </p:cNvPr>
                        <p:cNvSpPr/>
                        <p:nvPr/>
                      </p:nvSpPr>
                      <p:spPr>
                        <a:xfrm>
                          <a:off x="5022361" y="3075813"/>
                          <a:ext cx="299925" cy="232610"/>
                        </a:xfrm>
                        <a:custGeom>
                          <a:avLst/>
                          <a:gdLst>
                            <a:gd name="connsiteX0" fmla="*/ 0 w 299925"/>
                            <a:gd name="connsiteY0" fmla="*/ 170166 h 232610"/>
                            <a:gd name="connsiteX1" fmla="*/ 37470 w 299925"/>
                            <a:gd name="connsiteY1" fmla="*/ 113967 h 232610"/>
                            <a:gd name="connsiteX2" fmla="*/ 98356 w 299925"/>
                            <a:gd name="connsiteY2" fmla="*/ 37470 h 232610"/>
                            <a:gd name="connsiteX3" fmla="*/ 263834 w 299925"/>
                            <a:gd name="connsiteY3" fmla="*/ 0 h 232610"/>
                            <a:gd name="connsiteX4" fmla="*/ 295056 w 299925"/>
                            <a:gd name="connsiteY4" fmla="*/ 24976 h 232610"/>
                            <a:gd name="connsiteX5" fmla="*/ 231052 w 299925"/>
                            <a:gd name="connsiteY5" fmla="*/ 31223 h 232610"/>
                            <a:gd name="connsiteX6" fmla="*/ 188907 w 299925"/>
                            <a:gd name="connsiteY6" fmla="*/ 45275 h 232610"/>
                            <a:gd name="connsiteX7" fmla="*/ 224818 w 299925"/>
                            <a:gd name="connsiteY7" fmla="*/ 57769 h 232610"/>
                            <a:gd name="connsiteX8" fmla="*/ 248235 w 299925"/>
                            <a:gd name="connsiteY8" fmla="*/ 88992 h 232610"/>
                            <a:gd name="connsiteX9" fmla="*/ 259158 w 299925"/>
                            <a:gd name="connsiteY9" fmla="*/ 126461 h 232610"/>
                            <a:gd name="connsiteX10" fmla="*/ 207635 w 299925"/>
                            <a:gd name="connsiteY10" fmla="*/ 163931 h 232610"/>
                            <a:gd name="connsiteX11" fmla="*/ 174854 w 299925"/>
                            <a:gd name="connsiteY11" fmla="*/ 159243 h 232610"/>
                            <a:gd name="connsiteX12" fmla="*/ 152996 w 299925"/>
                            <a:gd name="connsiteY12" fmla="*/ 182660 h 232610"/>
                            <a:gd name="connsiteX13" fmla="*/ 64016 w 299925"/>
                            <a:gd name="connsiteY13" fmla="*/ 232611 h 232610"/>
                            <a:gd name="connsiteX14" fmla="*/ 12 w 299925"/>
                            <a:gd name="connsiteY14" fmla="*/ 170166 h 23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925" h="232610">
                              <a:moveTo>
                                <a:pt x="0" y="170166"/>
                              </a:moveTo>
                              <a:cubicBezTo>
                                <a:pt x="0" y="170166"/>
                                <a:pt x="32781" y="134255"/>
                                <a:pt x="37470" y="113967"/>
                              </a:cubicBezTo>
                              <a:cubicBezTo>
                                <a:pt x="42158" y="93668"/>
                                <a:pt x="82745" y="53081"/>
                                <a:pt x="98356" y="37470"/>
                              </a:cubicBezTo>
                              <a:cubicBezTo>
                                <a:pt x="113968" y="21858"/>
                                <a:pt x="156113" y="0"/>
                                <a:pt x="263834" y="0"/>
                              </a:cubicBezTo>
                              <a:cubicBezTo>
                                <a:pt x="299744" y="0"/>
                                <a:pt x="305979" y="20300"/>
                                <a:pt x="295056" y="24976"/>
                              </a:cubicBezTo>
                              <a:cubicBezTo>
                                <a:pt x="284133" y="29664"/>
                                <a:pt x="254469" y="28093"/>
                                <a:pt x="231052" y="31223"/>
                              </a:cubicBezTo>
                              <a:cubicBezTo>
                                <a:pt x="207635" y="34340"/>
                                <a:pt x="195141" y="35911"/>
                                <a:pt x="188907" y="45275"/>
                              </a:cubicBezTo>
                              <a:cubicBezTo>
                                <a:pt x="188907" y="45275"/>
                                <a:pt x="218571" y="39028"/>
                                <a:pt x="224818" y="57769"/>
                              </a:cubicBezTo>
                              <a:cubicBezTo>
                                <a:pt x="224818" y="57769"/>
                                <a:pt x="251352" y="68692"/>
                                <a:pt x="248235" y="88992"/>
                              </a:cubicBezTo>
                              <a:cubicBezTo>
                                <a:pt x="248235" y="88992"/>
                                <a:pt x="268534" y="107720"/>
                                <a:pt x="259158" y="126461"/>
                              </a:cubicBezTo>
                              <a:cubicBezTo>
                                <a:pt x="249793" y="145190"/>
                                <a:pt x="207635" y="163931"/>
                                <a:pt x="207635" y="163931"/>
                              </a:cubicBezTo>
                              <a:cubicBezTo>
                                <a:pt x="207635" y="163931"/>
                                <a:pt x="193583" y="167048"/>
                                <a:pt x="174854" y="159243"/>
                              </a:cubicBezTo>
                              <a:cubicBezTo>
                                <a:pt x="174854" y="159243"/>
                                <a:pt x="168607" y="177971"/>
                                <a:pt x="152996" y="182660"/>
                              </a:cubicBezTo>
                              <a:cubicBezTo>
                                <a:pt x="137385" y="187348"/>
                                <a:pt x="84304" y="210765"/>
                                <a:pt x="64016" y="232611"/>
                              </a:cubicBezTo>
                              <a:cubicBezTo>
                                <a:pt x="64016" y="232611"/>
                                <a:pt x="20300" y="207635"/>
                                <a:pt x="12" y="170166"/>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3" name="Freeform: Shape 622">
                          <a:extLst>
                            <a:ext uri="{FF2B5EF4-FFF2-40B4-BE49-F238E27FC236}">
                              <a16:creationId xmlns:a16="http://schemas.microsoft.com/office/drawing/2014/main" id="{BE07A489-91CA-D707-C4F7-FAFFDFECF3A4}"/>
                            </a:ext>
                          </a:extLst>
                        </p:cNvPr>
                        <p:cNvSpPr/>
                        <p:nvPr/>
                      </p:nvSpPr>
                      <p:spPr>
                        <a:xfrm>
                          <a:off x="5076266" y="3101074"/>
                          <a:ext cx="134989" cy="126162"/>
                        </a:xfrm>
                        <a:custGeom>
                          <a:avLst/>
                          <a:gdLst>
                            <a:gd name="connsiteX0" fmla="*/ 134990 w 134989"/>
                            <a:gd name="connsiteY0" fmla="*/ 20014 h 126162"/>
                            <a:gd name="connsiteX1" fmla="*/ 113131 w 134989"/>
                            <a:gd name="connsiteY1" fmla="*/ 52795 h 126162"/>
                            <a:gd name="connsiteX2" fmla="*/ 80874 w 134989"/>
                            <a:gd name="connsiteY2" fmla="*/ 103270 h 126162"/>
                            <a:gd name="connsiteX3" fmla="*/ 54851 w 134989"/>
                            <a:gd name="connsiteY3" fmla="*/ 126163 h 126162"/>
                            <a:gd name="connsiteX4" fmla="*/ 211 w 134989"/>
                            <a:gd name="connsiteY4" fmla="*/ 81935 h 126162"/>
                            <a:gd name="connsiteX5" fmla="*/ 51210 w 134989"/>
                            <a:gd name="connsiteY5" fmla="*/ 21048 h 126162"/>
                            <a:gd name="connsiteX6" fmla="*/ 109154 w 134989"/>
                            <a:gd name="connsiteY6" fmla="*/ 836 h 126162"/>
                            <a:gd name="connsiteX7" fmla="*/ 134990 w 134989"/>
                            <a:gd name="connsiteY7" fmla="*/ 20014 h 12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89" h="126162">
                              <a:moveTo>
                                <a:pt x="134990" y="20014"/>
                              </a:moveTo>
                              <a:cubicBezTo>
                                <a:pt x="134990" y="20014"/>
                                <a:pt x="126660" y="43431"/>
                                <a:pt x="113131" y="52795"/>
                              </a:cubicBezTo>
                              <a:cubicBezTo>
                                <a:pt x="99602" y="62159"/>
                                <a:pt x="86073" y="87134"/>
                                <a:pt x="80874" y="103270"/>
                              </a:cubicBezTo>
                              <a:cubicBezTo>
                                <a:pt x="75674" y="119405"/>
                                <a:pt x="54851" y="126163"/>
                                <a:pt x="54851" y="126163"/>
                              </a:cubicBezTo>
                              <a:cubicBezTo>
                                <a:pt x="54851" y="126163"/>
                                <a:pt x="-3953" y="104304"/>
                                <a:pt x="211" y="81935"/>
                              </a:cubicBezTo>
                              <a:cubicBezTo>
                                <a:pt x="4376" y="59553"/>
                                <a:pt x="37681" y="27819"/>
                                <a:pt x="51210" y="21048"/>
                              </a:cubicBezTo>
                              <a:lnTo>
                                <a:pt x="109154" y="836"/>
                              </a:lnTo>
                              <a:cubicBezTo>
                                <a:pt x="133468" y="-4813"/>
                                <a:pt x="134990" y="20014"/>
                                <a:pt x="134990" y="20014"/>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4" name="Freeform: Shape 623">
                          <a:extLst>
                            <a:ext uri="{FF2B5EF4-FFF2-40B4-BE49-F238E27FC236}">
                              <a16:creationId xmlns:a16="http://schemas.microsoft.com/office/drawing/2014/main" id="{DF93F66F-F61E-1225-0716-3773D1B61008}"/>
                            </a:ext>
                          </a:extLst>
                        </p:cNvPr>
                        <p:cNvSpPr/>
                        <p:nvPr/>
                      </p:nvSpPr>
                      <p:spPr>
                        <a:xfrm>
                          <a:off x="5157830" y="3133557"/>
                          <a:ext cx="112728" cy="101905"/>
                        </a:xfrm>
                        <a:custGeom>
                          <a:avLst/>
                          <a:gdLst>
                            <a:gd name="connsiteX0" fmla="*/ 270 w 112728"/>
                            <a:gd name="connsiteY0" fmla="*/ 59602 h 101905"/>
                            <a:gd name="connsiteX1" fmla="*/ 2776 w 112728"/>
                            <a:gd name="connsiteY1" fmla="*/ 53704 h 101905"/>
                            <a:gd name="connsiteX2" fmla="*/ 4759 w 112728"/>
                            <a:gd name="connsiteY2" fmla="*/ 51348 h 101905"/>
                            <a:gd name="connsiteX3" fmla="*/ 5893 w 112728"/>
                            <a:gd name="connsiteY3" fmla="*/ 50313 h 101905"/>
                            <a:gd name="connsiteX4" fmla="*/ 7315 w 112728"/>
                            <a:gd name="connsiteY4" fmla="*/ 49265 h 101905"/>
                            <a:gd name="connsiteX5" fmla="*/ 7826 w 112728"/>
                            <a:gd name="connsiteY5" fmla="*/ 48991 h 101905"/>
                            <a:gd name="connsiteX6" fmla="*/ 29572 w 112728"/>
                            <a:gd name="connsiteY6" fmla="*/ 39140 h 101905"/>
                            <a:gd name="connsiteX7" fmla="*/ 40171 w 112728"/>
                            <a:gd name="connsiteY7" fmla="*/ 33866 h 101905"/>
                            <a:gd name="connsiteX8" fmla="*/ 50059 w 112728"/>
                            <a:gd name="connsiteY8" fmla="*/ 27806 h 101905"/>
                            <a:gd name="connsiteX9" fmla="*/ 69598 w 112728"/>
                            <a:gd name="connsiteY9" fmla="*/ 13890 h 101905"/>
                            <a:gd name="connsiteX10" fmla="*/ 89311 w 112728"/>
                            <a:gd name="connsiteY10" fmla="*/ 0 h 101905"/>
                            <a:gd name="connsiteX11" fmla="*/ 72004 w 112728"/>
                            <a:gd name="connsiteY11" fmla="*/ 16833 h 101905"/>
                            <a:gd name="connsiteX12" fmla="*/ 53924 w 112728"/>
                            <a:gd name="connsiteY12" fmla="*/ 32918 h 101905"/>
                            <a:gd name="connsiteX13" fmla="*/ 49011 w 112728"/>
                            <a:gd name="connsiteY13" fmla="*/ 36721 h 101905"/>
                            <a:gd name="connsiteX14" fmla="*/ 43812 w 112728"/>
                            <a:gd name="connsiteY14" fmla="*/ 40163 h 101905"/>
                            <a:gd name="connsiteX15" fmla="*/ 33238 w 112728"/>
                            <a:gd name="connsiteY15" fmla="*/ 46298 h 101905"/>
                            <a:gd name="connsiteX16" fmla="*/ 11991 w 112728"/>
                            <a:gd name="connsiteY16" fmla="*/ 56971 h 101905"/>
                            <a:gd name="connsiteX17" fmla="*/ 11691 w 112728"/>
                            <a:gd name="connsiteY17" fmla="*/ 57208 h 101905"/>
                            <a:gd name="connsiteX18" fmla="*/ 11155 w 112728"/>
                            <a:gd name="connsiteY18" fmla="*/ 57707 h 101905"/>
                            <a:gd name="connsiteX19" fmla="*/ 10233 w 112728"/>
                            <a:gd name="connsiteY19" fmla="*/ 58829 h 101905"/>
                            <a:gd name="connsiteX20" fmla="*/ 9247 w 112728"/>
                            <a:gd name="connsiteY20" fmla="*/ 61223 h 101905"/>
                            <a:gd name="connsiteX21" fmla="*/ 10644 w 112728"/>
                            <a:gd name="connsiteY21" fmla="*/ 66760 h 101905"/>
                            <a:gd name="connsiteX22" fmla="*/ 12826 w 112728"/>
                            <a:gd name="connsiteY22" fmla="*/ 69740 h 101905"/>
                            <a:gd name="connsiteX23" fmla="*/ 15445 w 112728"/>
                            <a:gd name="connsiteY23" fmla="*/ 72433 h 101905"/>
                            <a:gd name="connsiteX24" fmla="*/ 21729 w 112728"/>
                            <a:gd name="connsiteY24" fmla="*/ 75750 h 101905"/>
                            <a:gd name="connsiteX25" fmla="*/ 29410 w 112728"/>
                            <a:gd name="connsiteY25" fmla="*/ 76909 h 101905"/>
                            <a:gd name="connsiteX26" fmla="*/ 33313 w 112728"/>
                            <a:gd name="connsiteY26" fmla="*/ 76747 h 101905"/>
                            <a:gd name="connsiteX27" fmla="*/ 37565 w 112728"/>
                            <a:gd name="connsiteY27" fmla="*/ 76124 h 101905"/>
                            <a:gd name="connsiteX28" fmla="*/ 54473 w 112728"/>
                            <a:gd name="connsiteY28" fmla="*/ 72021 h 101905"/>
                            <a:gd name="connsiteX29" fmla="*/ 62254 w 112728"/>
                            <a:gd name="connsiteY29" fmla="*/ 68767 h 101905"/>
                            <a:gd name="connsiteX30" fmla="*/ 65720 w 112728"/>
                            <a:gd name="connsiteY30" fmla="*/ 66697 h 101905"/>
                            <a:gd name="connsiteX31" fmla="*/ 69149 w 112728"/>
                            <a:gd name="connsiteY31" fmla="*/ 64029 h 101905"/>
                            <a:gd name="connsiteX32" fmla="*/ 83463 w 112728"/>
                            <a:gd name="connsiteY32" fmla="*/ 52844 h 101905"/>
                            <a:gd name="connsiteX33" fmla="*/ 112728 w 112728"/>
                            <a:gd name="connsiteY33" fmla="*/ 31210 h 101905"/>
                            <a:gd name="connsiteX34" fmla="*/ 86880 w 112728"/>
                            <a:gd name="connsiteY34" fmla="*/ 56821 h 101905"/>
                            <a:gd name="connsiteX35" fmla="*/ 73638 w 112728"/>
                            <a:gd name="connsiteY35" fmla="*/ 69253 h 101905"/>
                            <a:gd name="connsiteX36" fmla="*/ 70121 w 112728"/>
                            <a:gd name="connsiteY36" fmla="*/ 72433 h 101905"/>
                            <a:gd name="connsiteX37" fmla="*/ 66007 w 112728"/>
                            <a:gd name="connsiteY37" fmla="*/ 75338 h 101905"/>
                            <a:gd name="connsiteX38" fmla="*/ 57303 w 112728"/>
                            <a:gd name="connsiteY38" fmla="*/ 79615 h 101905"/>
                            <a:gd name="connsiteX39" fmla="*/ 39198 w 112728"/>
                            <a:gd name="connsiteY39" fmla="*/ 84889 h 101905"/>
                            <a:gd name="connsiteX40" fmla="*/ 34485 w 112728"/>
                            <a:gd name="connsiteY40" fmla="*/ 85713 h 101905"/>
                            <a:gd name="connsiteX41" fmla="*/ 29335 w 112728"/>
                            <a:gd name="connsiteY41" fmla="*/ 86037 h 101905"/>
                            <a:gd name="connsiteX42" fmla="*/ 26617 w 112728"/>
                            <a:gd name="connsiteY42" fmla="*/ 85937 h 101905"/>
                            <a:gd name="connsiteX43" fmla="*/ 27053 w 112728"/>
                            <a:gd name="connsiteY43" fmla="*/ 86648 h 101905"/>
                            <a:gd name="connsiteX44" fmla="*/ 28886 w 112728"/>
                            <a:gd name="connsiteY44" fmla="*/ 89827 h 101905"/>
                            <a:gd name="connsiteX45" fmla="*/ 31268 w 112728"/>
                            <a:gd name="connsiteY45" fmla="*/ 92695 h 101905"/>
                            <a:gd name="connsiteX46" fmla="*/ 33836 w 112728"/>
                            <a:gd name="connsiteY46" fmla="*/ 95551 h 101905"/>
                            <a:gd name="connsiteX47" fmla="*/ 39547 w 112728"/>
                            <a:gd name="connsiteY47" fmla="*/ 101050 h 101905"/>
                            <a:gd name="connsiteX48" fmla="*/ 39722 w 112728"/>
                            <a:gd name="connsiteY48" fmla="*/ 101511 h 101905"/>
                            <a:gd name="connsiteX49" fmla="*/ 39161 w 112728"/>
                            <a:gd name="connsiteY49" fmla="*/ 101897 h 101905"/>
                            <a:gd name="connsiteX50" fmla="*/ 31205 w 112728"/>
                            <a:gd name="connsiteY50" fmla="*/ 99416 h 101905"/>
                            <a:gd name="connsiteX51" fmla="*/ 27402 w 112728"/>
                            <a:gd name="connsiteY51" fmla="*/ 97571 h 101905"/>
                            <a:gd name="connsiteX52" fmla="*/ 23774 w 112728"/>
                            <a:gd name="connsiteY52" fmla="*/ 95301 h 101905"/>
                            <a:gd name="connsiteX53" fmla="*/ 20108 w 112728"/>
                            <a:gd name="connsiteY53" fmla="*/ 92795 h 101905"/>
                            <a:gd name="connsiteX54" fmla="*/ 17277 w 112728"/>
                            <a:gd name="connsiteY54" fmla="*/ 89316 h 101905"/>
                            <a:gd name="connsiteX55" fmla="*/ 16130 w 112728"/>
                            <a:gd name="connsiteY55" fmla="*/ 84752 h 101905"/>
                            <a:gd name="connsiteX56" fmla="*/ 16105 w 112728"/>
                            <a:gd name="connsiteY56" fmla="*/ 83568 h 101905"/>
                            <a:gd name="connsiteX57" fmla="*/ 9422 w 112728"/>
                            <a:gd name="connsiteY57" fmla="*/ 79578 h 101905"/>
                            <a:gd name="connsiteX58" fmla="*/ 5706 w 112728"/>
                            <a:gd name="connsiteY58" fmla="*/ 75787 h 101905"/>
                            <a:gd name="connsiteX59" fmla="*/ 2614 w 112728"/>
                            <a:gd name="connsiteY59" fmla="*/ 71398 h 101905"/>
                            <a:gd name="connsiteX60" fmla="*/ 432 w 112728"/>
                            <a:gd name="connsiteY60" fmla="*/ 65974 h 101905"/>
                            <a:gd name="connsiteX61" fmla="*/ 257 w 112728"/>
                            <a:gd name="connsiteY61" fmla="*/ 59577 h 10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2728" h="101905">
                              <a:moveTo>
                                <a:pt x="270" y="59602"/>
                              </a:moveTo>
                              <a:cubicBezTo>
                                <a:pt x="669" y="57433"/>
                                <a:pt x="1591" y="55400"/>
                                <a:pt x="2776" y="53704"/>
                              </a:cubicBezTo>
                              <a:cubicBezTo>
                                <a:pt x="3375" y="52844"/>
                                <a:pt x="4035" y="52071"/>
                                <a:pt x="4759" y="51348"/>
                              </a:cubicBezTo>
                              <a:cubicBezTo>
                                <a:pt x="5120" y="50998"/>
                                <a:pt x="5494" y="50649"/>
                                <a:pt x="5893" y="50313"/>
                              </a:cubicBezTo>
                              <a:cubicBezTo>
                                <a:pt x="6330" y="49963"/>
                                <a:pt x="6616" y="49714"/>
                                <a:pt x="7315" y="49265"/>
                              </a:cubicBezTo>
                              <a:cubicBezTo>
                                <a:pt x="7477" y="49166"/>
                                <a:pt x="7651" y="49066"/>
                                <a:pt x="7826" y="48991"/>
                              </a:cubicBezTo>
                              <a:cubicBezTo>
                                <a:pt x="15108" y="45799"/>
                                <a:pt x="22452" y="42594"/>
                                <a:pt x="29572" y="39140"/>
                              </a:cubicBezTo>
                              <a:cubicBezTo>
                                <a:pt x="33126" y="37395"/>
                                <a:pt x="36704" y="35711"/>
                                <a:pt x="40171" y="33866"/>
                              </a:cubicBezTo>
                              <a:cubicBezTo>
                                <a:pt x="43687" y="32033"/>
                                <a:pt x="46817" y="30138"/>
                                <a:pt x="50059" y="27806"/>
                              </a:cubicBezTo>
                              <a:cubicBezTo>
                                <a:pt x="56617" y="23355"/>
                                <a:pt x="63039" y="18516"/>
                                <a:pt x="69598" y="13890"/>
                              </a:cubicBezTo>
                              <a:cubicBezTo>
                                <a:pt x="76094" y="9190"/>
                                <a:pt x="82665" y="4551"/>
                                <a:pt x="89311" y="0"/>
                              </a:cubicBezTo>
                              <a:cubicBezTo>
                                <a:pt x="83675" y="5761"/>
                                <a:pt x="77902" y="11372"/>
                                <a:pt x="72004" y="16833"/>
                              </a:cubicBezTo>
                              <a:cubicBezTo>
                                <a:pt x="66144" y="22357"/>
                                <a:pt x="60121" y="27656"/>
                                <a:pt x="53924" y="32918"/>
                              </a:cubicBezTo>
                              <a:cubicBezTo>
                                <a:pt x="52353" y="34203"/>
                                <a:pt x="50757" y="35487"/>
                                <a:pt x="49011" y="36721"/>
                              </a:cubicBezTo>
                              <a:cubicBezTo>
                                <a:pt x="47291" y="37943"/>
                                <a:pt x="45557" y="39078"/>
                                <a:pt x="43812" y="40163"/>
                              </a:cubicBezTo>
                              <a:cubicBezTo>
                                <a:pt x="40320" y="42333"/>
                                <a:pt x="36817" y="44402"/>
                                <a:pt x="33238" y="46298"/>
                              </a:cubicBezTo>
                              <a:cubicBezTo>
                                <a:pt x="26218" y="50026"/>
                                <a:pt x="19210" y="53617"/>
                                <a:pt x="11991" y="56971"/>
                              </a:cubicBezTo>
                              <a:cubicBezTo>
                                <a:pt x="11966" y="56996"/>
                                <a:pt x="11691" y="57208"/>
                                <a:pt x="11691" y="57208"/>
                              </a:cubicBezTo>
                              <a:cubicBezTo>
                                <a:pt x="11504" y="57358"/>
                                <a:pt x="11330" y="57532"/>
                                <a:pt x="11155" y="57707"/>
                              </a:cubicBezTo>
                              <a:cubicBezTo>
                                <a:pt x="10806" y="58068"/>
                                <a:pt x="10494" y="58442"/>
                                <a:pt x="10233" y="58829"/>
                              </a:cubicBezTo>
                              <a:cubicBezTo>
                                <a:pt x="9709" y="59615"/>
                                <a:pt x="9385" y="60413"/>
                                <a:pt x="9247" y="61223"/>
                              </a:cubicBezTo>
                              <a:cubicBezTo>
                                <a:pt x="8948" y="62807"/>
                                <a:pt x="9459" y="64739"/>
                                <a:pt x="10644" y="66760"/>
                              </a:cubicBezTo>
                              <a:cubicBezTo>
                                <a:pt x="11217" y="67769"/>
                                <a:pt x="11991" y="68767"/>
                                <a:pt x="12826" y="69740"/>
                              </a:cubicBezTo>
                              <a:cubicBezTo>
                                <a:pt x="13649" y="70700"/>
                                <a:pt x="14659" y="71735"/>
                                <a:pt x="15445" y="72433"/>
                              </a:cubicBezTo>
                              <a:cubicBezTo>
                                <a:pt x="17178" y="73917"/>
                                <a:pt x="19335" y="75014"/>
                                <a:pt x="21729" y="75750"/>
                              </a:cubicBezTo>
                              <a:cubicBezTo>
                                <a:pt x="24135" y="76460"/>
                                <a:pt x="26742" y="76847"/>
                                <a:pt x="29410" y="76909"/>
                              </a:cubicBezTo>
                              <a:cubicBezTo>
                                <a:pt x="30719" y="76934"/>
                                <a:pt x="32103" y="76884"/>
                                <a:pt x="33313" y="76747"/>
                              </a:cubicBezTo>
                              <a:cubicBezTo>
                                <a:pt x="34672" y="76585"/>
                                <a:pt x="36131" y="76348"/>
                                <a:pt x="37565" y="76124"/>
                              </a:cubicBezTo>
                              <a:cubicBezTo>
                                <a:pt x="43313" y="75189"/>
                                <a:pt x="49049" y="73879"/>
                                <a:pt x="54473" y="72021"/>
                              </a:cubicBezTo>
                              <a:cubicBezTo>
                                <a:pt x="57166" y="71074"/>
                                <a:pt x="59809" y="70014"/>
                                <a:pt x="62254" y="68767"/>
                              </a:cubicBezTo>
                              <a:cubicBezTo>
                                <a:pt x="63463" y="68131"/>
                                <a:pt x="64635" y="67445"/>
                                <a:pt x="65720" y="66697"/>
                              </a:cubicBezTo>
                              <a:cubicBezTo>
                                <a:pt x="66705" y="65999"/>
                                <a:pt x="67989" y="64939"/>
                                <a:pt x="69149" y="64029"/>
                              </a:cubicBezTo>
                              <a:cubicBezTo>
                                <a:pt x="73862" y="60238"/>
                                <a:pt x="78675" y="56547"/>
                                <a:pt x="83463" y="52844"/>
                              </a:cubicBezTo>
                              <a:cubicBezTo>
                                <a:pt x="93065" y="45450"/>
                                <a:pt x="102753" y="38168"/>
                                <a:pt x="112728" y="31210"/>
                              </a:cubicBezTo>
                              <a:cubicBezTo>
                                <a:pt x="104337" y="40013"/>
                                <a:pt x="95646" y="48467"/>
                                <a:pt x="86880" y="56821"/>
                              </a:cubicBezTo>
                              <a:cubicBezTo>
                                <a:pt x="82491" y="60986"/>
                                <a:pt x="78114" y="65176"/>
                                <a:pt x="73638" y="69253"/>
                              </a:cubicBezTo>
                              <a:cubicBezTo>
                                <a:pt x="72491" y="70301"/>
                                <a:pt x="71518" y="71248"/>
                                <a:pt x="70121" y="72433"/>
                              </a:cubicBezTo>
                              <a:cubicBezTo>
                                <a:pt x="68787" y="73518"/>
                                <a:pt x="67416" y="74465"/>
                                <a:pt x="66007" y="75338"/>
                              </a:cubicBezTo>
                              <a:cubicBezTo>
                                <a:pt x="63189" y="77072"/>
                                <a:pt x="60271" y="78455"/>
                                <a:pt x="57303" y="79615"/>
                              </a:cubicBezTo>
                              <a:cubicBezTo>
                                <a:pt x="51368" y="81947"/>
                                <a:pt x="45333" y="83593"/>
                                <a:pt x="39198" y="84889"/>
                              </a:cubicBezTo>
                              <a:cubicBezTo>
                                <a:pt x="37652" y="85214"/>
                                <a:pt x="36131" y="85476"/>
                                <a:pt x="34485" y="85713"/>
                              </a:cubicBezTo>
                              <a:cubicBezTo>
                                <a:pt x="32702" y="85949"/>
                                <a:pt x="31043" y="86037"/>
                                <a:pt x="29335" y="86037"/>
                              </a:cubicBezTo>
                              <a:cubicBezTo>
                                <a:pt x="28437" y="86037"/>
                                <a:pt x="27527" y="85999"/>
                                <a:pt x="26617" y="85937"/>
                              </a:cubicBezTo>
                              <a:cubicBezTo>
                                <a:pt x="26766" y="86174"/>
                                <a:pt x="26916" y="86398"/>
                                <a:pt x="27053" y="86648"/>
                              </a:cubicBezTo>
                              <a:cubicBezTo>
                                <a:pt x="27564" y="87732"/>
                                <a:pt x="28163" y="88830"/>
                                <a:pt x="28886" y="89827"/>
                              </a:cubicBezTo>
                              <a:cubicBezTo>
                                <a:pt x="29647" y="90788"/>
                                <a:pt x="30407" y="91772"/>
                                <a:pt x="31268" y="92695"/>
                              </a:cubicBezTo>
                              <a:cubicBezTo>
                                <a:pt x="32066" y="93680"/>
                                <a:pt x="32939" y="94615"/>
                                <a:pt x="33836" y="95551"/>
                              </a:cubicBezTo>
                              <a:cubicBezTo>
                                <a:pt x="35607" y="97446"/>
                                <a:pt x="37540" y="99254"/>
                                <a:pt x="39547" y="101050"/>
                              </a:cubicBezTo>
                              <a:cubicBezTo>
                                <a:pt x="39684" y="101174"/>
                                <a:pt x="39747" y="101336"/>
                                <a:pt x="39722" y="101511"/>
                              </a:cubicBezTo>
                              <a:cubicBezTo>
                                <a:pt x="39672" y="101773"/>
                                <a:pt x="39423" y="101947"/>
                                <a:pt x="39161" y="101897"/>
                              </a:cubicBezTo>
                              <a:cubicBezTo>
                                <a:pt x="36405" y="101398"/>
                                <a:pt x="33799" y="100488"/>
                                <a:pt x="31205" y="99416"/>
                              </a:cubicBezTo>
                              <a:cubicBezTo>
                                <a:pt x="29934" y="98855"/>
                                <a:pt x="28649" y="98257"/>
                                <a:pt x="27402" y="97571"/>
                              </a:cubicBezTo>
                              <a:cubicBezTo>
                                <a:pt x="26168" y="96885"/>
                                <a:pt x="24971" y="96099"/>
                                <a:pt x="23774" y="95301"/>
                              </a:cubicBezTo>
                              <a:cubicBezTo>
                                <a:pt x="22614" y="94453"/>
                                <a:pt x="21305" y="93705"/>
                                <a:pt x="20108" y="92795"/>
                              </a:cubicBezTo>
                              <a:cubicBezTo>
                                <a:pt x="18874" y="91922"/>
                                <a:pt x="17951" y="90675"/>
                                <a:pt x="17277" y="89316"/>
                              </a:cubicBezTo>
                              <a:cubicBezTo>
                                <a:pt x="16666" y="87895"/>
                                <a:pt x="16205" y="86398"/>
                                <a:pt x="16130" y="84752"/>
                              </a:cubicBezTo>
                              <a:cubicBezTo>
                                <a:pt x="16093" y="84366"/>
                                <a:pt x="16093" y="83967"/>
                                <a:pt x="16105" y="83568"/>
                              </a:cubicBezTo>
                              <a:cubicBezTo>
                                <a:pt x="13749" y="82583"/>
                                <a:pt x="11454" y="81286"/>
                                <a:pt x="9422" y="79578"/>
                              </a:cubicBezTo>
                              <a:cubicBezTo>
                                <a:pt x="7926" y="78293"/>
                                <a:pt x="6828" y="77134"/>
                                <a:pt x="5706" y="75787"/>
                              </a:cubicBezTo>
                              <a:cubicBezTo>
                                <a:pt x="4596" y="74453"/>
                                <a:pt x="3524" y="73031"/>
                                <a:pt x="2614" y="71398"/>
                              </a:cubicBezTo>
                              <a:cubicBezTo>
                                <a:pt x="1691" y="69777"/>
                                <a:pt x="906" y="67982"/>
                                <a:pt x="432" y="65974"/>
                              </a:cubicBezTo>
                              <a:cubicBezTo>
                                <a:pt x="-54" y="63979"/>
                                <a:pt x="-154" y="61747"/>
                                <a:pt x="257" y="59577"/>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25" name="Freeform: Shape 624">
                        <a:extLst>
                          <a:ext uri="{FF2B5EF4-FFF2-40B4-BE49-F238E27FC236}">
                            <a16:creationId xmlns:a16="http://schemas.microsoft.com/office/drawing/2014/main" id="{814A8CD0-1A9B-F143-B243-76C3A0740968}"/>
                          </a:ext>
                        </a:extLst>
                      </p:cNvPr>
                      <p:cNvSpPr/>
                      <p:nvPr/>
                    </p:nvSpPr>
                    <p:spPr>
                      <a:xfrm>
                        <a:off x="4996130" y="2989380"/>
                        <a:ext cx="388944" cy="289029"/>
                      </a:xfrm>
                      <a:custGeom>
                        <a:avLst/>
                        <a:gdLst>
                          <a:gd name="connsiteX0" fmla="*/ 3912 w 388944"/>
                          <a:gd name="connsiteY0" fmla="*/ 20733 h 289029"/>
                          <a:gd name="connsiteX1" fmla="*/ 346762 w 388944"/>
                          <a:gd name="connsiteY1" fmla="*/ 273456 h 289029"/>
                          <a:gd name="connsiteX2" fmla="*/ 388945 w 388944"/>
                          <a:gd name="connsiteY2" fmla="*/ 289030 h 289029"/>
                          <a:gd name="connsiteX3" fmla="*/ 360665 w 388944"/>
                          <a:gd name="connsiteY3" fmla="*/ 254603 h 289029"/>
                          <a:gd name="connsiteX4" fmla="*/ 17815 w 388944"/>
                          <a:gd name="connsiteY4" fmla="*/ 1879 h 289029"/>
                          <a:gd name="connsiteX5" fmla="*/ 4348 w 388944"/>
                          <a:gd name="connsiteY5" fmla="*/ 3912 h 289029"/>
                          <a:gd name="connsiteX6" fmla="*/ 1879 w 388944"/>
                          <a:gd name="connsiteY6" fmla="*/ 7266 h 289029"/>
                          <a:gd name="connsiteX7" fmla="*/ 3912 w 388944"/>
                          <a:gd name="connsiteY7" fmla="*/ 20733 h 28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944" h="289029">
                            <a:moveTo>
                              <a:pt x="3912" y="20733"/>
                            </a:moveTo>
                            <a:lnTo>
                              <a:pt x="346762" y="273456"/>
                            </a:lnTo>
                            <a:lnTo>
                              <a:pt x="388945" y="289030"/>
                            </a:lnTo>
                            <a:lnTo>
                              <a:pt x="360665" y="254603"/>
                            </a:lnTo>
                            <a:lnTo>
                              <a:pt x="17815" y="1879"/>
                            </a:lnTo>
                            <a:cubicBezTo>
                              <a:pt x="13538" y="-1276"/>
                              <a:pt x="7503" y="-365"/>
                              <a:pt x="4348" y="3912"/>
                            </a:cubicBezTo>
                            <a:lnTo>
                              <a:pt x="1879" y="7266"/>
                            </a:lnTo>
                            <a:cubicBezTo>
                              <a:pt x="-1276" y="11543"/>
                              <a:pt x="-365" y="17578"/>
                              <a:pt x="3912" y="20733"/>
                            </a:cubicBezTo>
                            <a:close/>
                          </a:path>
                        </a:pathLst>
                      </a:custGeom>
                      <a:solidFill>
                        <a:srgbClr val="1B1F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6" name="Freeform: Shape 625">
                        <a:extLst>
                          <a:ext uri="{FF2B5EF4-FFF2-40B4-BE49-F238E27FC236}">
                            <a16:creationId xmlns:a16="http://schemas.microsoft.com/office/drawing/2014/main" id="{A28817D0-339E-F0A1-DF38-F485A1B15235}"/>
                          </a:ext>
                        </a:extLst>
                      </p:cNvPr>
                      <p:cNvSpPr/>
                      <p:nvPr/>
                    </p:nvSpPr>
                    <p:spPr>
                      <a:xfrm>
                        <a:off x="5076493" y="3107035"/>
                        <a:ext cx="126246" cy="132888"/>
                      </a:xfrm>
                      <a:custGeom>
                        <a:avLst/>
                        <a:gdLst>
                          <a:gd name="connsiteX0" fmla="*/ 45770 w 126246"/>
                          <a:gd name="connsiteY0" fmla="*/ 129579 h 132888"/>
                          <a:gd name="connsiteX1" fmla="*/ 76993 w 126246"/>
                          <a:gd name="connsiteY1" fmla="*/ 81186 h 132888"/>
                          <a:gd name="connsiteX2" fmla="*/ 122268 w 126246"/>
                          <a:gd name="connsiteY2" fmla="*/ 21858 h 132888"/>
                          <a:gd name="connsiteX3" fmla="*/ 109774 w 126246"/>
                          <a:gd name="connsiteY3" fmla="*/ 0 h 132888"/>
                          <a:gd name="connsiteX4" fmla="*/ 48887 w 126246"/>
                          <a:gd name="connsiteY4" fmla="*/ 32781 h 132888"/>
                          <a:gd name="connsiteX5" fmla="*/ 495 w 126246"/>
                          <a:gd name="connsiteY5" fmla="*/ 93668 h 132888"/>
                          <a:gd name="connsiteX6" fmla="*/ 45770 w 126246"/>
                          <a:gd name="connsiteY6" fmla="*/ 129579 h 13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46" h="132888">
                            <a:moveTo>
                              <a:pt x="45770" y="129579"/>
                            </a:moveTo>
                            <a:cubicBezTo>
                              <a:pt x="45770" y="129579"/>
                              <a:pt x="64499" y="117085"/>
                              <a:pt x="76993" y="81186"/>
                            </a:cubicBezTo>
                            <a:cubicBezTo>
                              <a:pt x="89487" y="45275"/>
                              <a:pt x="111333" y="34352"/>
                              <a:pt x="122268" y="21858"/>
                            </a:cubicBezTo>
                            <a:cubicBezTo>
                              <a:pt x="133191" y="9364"/>
                              <a:pt x="119151" y="0"/>
                              <a:pt x="109774" y="0"/>
                            </a:cubicBezTo>
                            <a:cubicBezTo>
                              <a:pt x="100397" y="0"/>
                              <a:pt x="69187" y="23417"/>
                              <a:pt x="48887" y="32781"/>
                            </a:cubicBezTo>
                            <a:cubicBezTo>
                              <a:pt x="28588" y="42146"/>
                              <a:pt x="5171" y="64004"/>
                              <a:pt x="495" y="93668"/>
                            </a:cubicBezTo>
                            <a:cubicBezTo>
                              <a:pt x="-4194" y="123332"/>
                              <a:pt x="25470" y="140502"/>
                              <a:pt x="45770" y="129579"/>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27" name="Freeform: Shape 626">
                      <a:extLst>
                        <a:ext uri="{FF2B5EF4-FFF2-40B4-BE49-F238E27FC236}">
                          <a16:creationId xmlns:a16="http://schemas.microsoft.com/office/drawing/2014/main" id="{6E1CCF0E-B5A1-E8BD-FFD0-873077907E2C}"/>
                        </a:ext>
                      </a:extLst>
                    </p:cNvPr>
                    <p:cNvSpPr/>
                    <p:nvPr/>
                  </p:nvSpPr>
                  <p:spPr>
                    <a:xfrm>
                      <a:off x="4581591" y="3231826"/>
                      <a:ext cx="525110" cy="555003"/>
                    </a:xfrm>
                    <a:custGeom>
                      <a:avLst/>
                      <a:gdLst>
                        <a:gd name="connsiteX0" fmla="*/ 111386 w 525110"/>
                        <a:gd name="connsiteY0" fmla="*/ 554700 h 555003"/>
                        <a:gd name="connsiteX1" fmla="*/ 165552 w 525110"/>
                        <a:gd name="connsiteY1" fmla="*/ 529350 h 555003"/>
                        <a:gd name="connsiteX2" fmla="*/ 393986 w 525110"/>
                        <a:gd name="connsiteY2" fmla="*/ 273958 h 555003"/>
                        <a:gd name="connsiteX3" fmla="*/ 525111 w 525110"/>
                        <a:gd name="connsiteY3" fmla="*/ 88979 h 555003"/>
                        <a:gd name="connsiteX4" fmla="*/ 433787 w 525110"/>
                        <a:gd name="connsiteY4" fmla="*/ 0 h 555003"/>
                        <a:gd name="connsiteX5" fmla="*/ 0 w 525110"/>
                        <a:gd name="connsiteY5" fmla="*/ 452316 h 555003"/>
                        <a:gd name="connsiteX6" fmla="*/ 19252 w 525110"/>
                        <a:gd name="connsiteY6" fmla="*/ 506432 h 555003"/>
                        <a:gd name="connsiteX7" fmla="*/ 111374 w 525110"/>
                        <a:gd name="connsiteY7" fmla="*/ 554700 h 55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110" h="555003">
                          <a:moveTo>
                            <a:pt x="111386" y="554700"/>
                          </a:moveTo>
                          <a:cubicBezTo>
                            <a:pt x="131836" y="552992"/>
                            <a:pt x="150913" y="543727"/>
                            <a:pt x="165552" y="529350"/>
                          </a:cubicBezTo>
                          <a:cubicBezTo>
                            <a:pt x="199967" y="495547"/>
                            <a:pt x="302201" y="392514"/>
                            <a:pt x="393986" y="273958"/>
                          </a:cubicBezTo>
                          <a:cubicBezTo>
                            <a:pt x="485197" y="156138"/>
                            <a:pt x="525111" y="88979"/>
                            <a:pt x="525111" y="88979"/>
                          </a:cubicBezTo>
                          <a:cubicBezTo>
                            <a:pt x="525111" y="88979"/>
                            <a:pt x="492330" y="23417"/>
                            <a:pt x="433787" y="0"/>
                          </a:cubicBezTo>
                          <a:cubicBezTo>
                            <a:pt x="433787" y="0"/>
                            <a:pt x="36946" y="304009"/>
                            <a:pt x="0" y="452316"/>
                          </a:cubicBezTo>
                          <a:cubicBezTo>
                            <a:pt x="0" y="452316"/>
                            <a:pt x="1621" y="481494"/>
                            <a:pt x="19252" y="506432"/>
                          </a:cubicBezTo>
                          <a:cubicBezTo>
                            <a:pt x="38243" y="533291"/>
                            <a:pt x="71311" y="558041"/>
                            <a:pt x="111374" y="554700"/>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28" name="Freeform: Shape 627">
                    <a:extLst>
                      <a:ext uri="{FF2B5EF4-FFF2-40B4-BE49-F238E27FC236}">
                        <a16:creationId xmlns:a16="http://schemas.microsoft.com/office/drawing/2014/main" id="{EB4438D3-F0A3-B3CA-128D-42492DD8DD0B}"/>
                      </a:ext>
                    </a:extLst>
                  </p:cNvPr>
                  <p:cNvSpPr/>
                  <p:nvPr/>
                </p:nvSpPr>
                <p:spPr>
                  <a:xfrm>
                    <a:off x="4510804" y="3097970"/>
                    <a:ext cx="147694" cy="624788"/>
                  </a:xfrm>
                  <a:custGeom>
                    <a:avLst/>
                    <a:gdLst>
                      <a:gd name="connsiteX0" fmla="*/ 66323 w 147694"/>
                      <a:gd name="connsiteY0" fmla="*/ 574688 h 624788"/>
                      <a:gd name="connsiteX1" fmla="*/ 0 w 147694"/>
                      <a:gd name="connsiteY1" fmla="*/ 314757 h 624788"/>
                      <a:gd name="connsiteX2" fmla="*/ 45749 w 147694"/>
                      <a:gd name="connsiteY2" fmla="*/ 0 h 624788"/>
                      <a:gd name="connsiteX3" fmla="*/ 106548 w 147694"/>
                      <a:gd name="connsiteY3" fmla="*/ 140664 h 624788"/>
                      <a:gd name="connsiteX4" fmla="*/ 130389 w 147694"/>
                      <a:gd name="connsiteY4" fmla="*/ 447042 h 624788"/>
                      <a:gd name="connsiteX5" fmla="*/ 87122 w 147694"/>
                      <a:gd name="connsiteY5" fmla="*/ 624789 h 624788"/>
                      <a:gd name="connsiteX6" fmla="*/ 66336 w 147694"/>
                      <a:gd name="connsiteY6" fmla="*/ 574688 h 62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694" h="624788">
                        <a:moveTo>
                          <a:pt x="66323" y="574688"/>
                        </a:moveTo>
                        <a:cubicBezTo>
                          <a:pt x="53954" y="527879"/>
                          <a:pt x="25886" y="418675"/>
                          <a:pt x="0" y="314757"/>
                        </a:cubicBezTo>
                        <a:cubicBezTo>
                          <a:pt x="5225" y="167522"/>
                          <a:pt x="45749" y="0"/>
                          <a:pt x="45749" y="0"/>
                        </a:cubicBezTo>
                        <a:cubicBezTo>
                          <a:pt x="45749" y="0"/>
                          <a:pt x="85089" y="52458"/>
                          <a:pt x="106548" y="140664"/>
                        </a:cubicBezTo>
                        <a:cubicBezTo>
                          <a:pt x="128008" y="228883"/>
                          <a:pt x="172111" y="342127"/>
                          <a:pt x="130389" y="447042"/>
                        </a:cubicBezTo>
                        <a:cubicBezTo>
                          <a:pt x="98331" y="527654"/>
                          <a:pt x="89491" y="596995"/>
                          <a:pt x="87122" y="624789"/>
                        </a:cubicBezTo>
                        <a:cubicBezTo>
                          <a:pt x="78655" y="610961"/>
                          <a:pt x="71523" y="594364"/>
                          <a:pt x="66336" y="574688"/>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2" name="Freeform: Shape 631">
                    <a:extLst>
                      <a:ext uri="{FF2B5EF4-FFF2-40B4-BE49-F238E27FC236}">
                        <a16:creationId xmlns:a16="http://schemas.microsoft.com/office/drawing/2014/main" id="{284B78C2-BDF2-EF0A-4035-0986296FE3B2}"/>
                      </a:ext>
                    </a:extLst>
                  </p:cNvPr>
                  <p:cNvSpPr/>
                  <p:nvPr/>
                </p:nvSpPr>
                <p:spPr>
                  <a:xfrm>
                    <a:off x="4591579" y="3709803"/>
                    <a:ext cx="77552" cy="73218"/>
                  </a:xfrm>
                  <a:custGeom>
                    <a:avLst/>
                    <a:gdLst>
                      <a:gd name="connsiteX0" fmla="*/ 73667 w 77552"/>
                      <a:gd name="connsiteY0" fmla="*/ 19252 h 73218"/>
                      <a:gd name="connsiteX1" fmla="*/ 5998 w 77552"/>
                      <a:gd name="connsiteY1" fmla="*/ 0 h 73218"/>
                      <a:gd name="connsiteX2" fmla="*/ 0 w 77552"/>
                      <a:gd name="connsiteY2" fmla="*/ 12145 h 73218"/>
                      <a:gd name="connsiteX3" fmla="*/ 9277 w 77552"/>
                      <a:gd name="connsiteY3" fmla="*/ 28442 h 73218"/>
                      <a:gd name="connsiteX4" fmla="*/ 68680 w 77552"/>
                      <a:gd name="connsiteY4" fmla="*/ 73218 h 73218"/>
                      <a:gd name="connsiteX5" fmla="*/ 77358 w 77552"/>
                      <a:gd name="connsiteY5" fmla="*/ 64914 h 73218"/>
                      <a:gd name="connsiteX6" fmla="*/ 73680 w 77552"/>
                      <a:gd name="connsiteY6" fmla="*/ 19252 h 7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552" h="73218">
                        <a:moveTo>
                          <a:pt x="73667" y="19252"/>
                        </a:moveTo>
                        <a:cubicBezTo>
                          <a:pt x="68518" y="16310"/>
                          <a:pt x="5998" y="0"/>
                          <a:pt x="5998" y="0"/>
                        </a:cubicBezTo>
                        <a:cubicBezTo>
                          <a:pt x="5998" y="0"/>
                          <a:pt x="3354" y="4738"/>
                          <a:pt x="0" y="12145"/>
                        </a:cubicBezTo>
                        <a:cubicBezTo>
                          <a:pt x="2456" y="17557"/>
                          <a:pt x="5486" y="23093"/>
                          <a:pt x="9277" y="28442"/>
                        </a:cubicBezTo>
                        <a:cubicBezTo>
                          <a:pt x="22794" y="47557"/>
                          <a:pt x="43455" y="65600"/>
                          <a:pt x="68680" y="73218"/>
                        </a:cubicBezTo>
                        <a:cubicBezTo>
                          <a:pt x="74079" y="68443"/>
                          <a:pt x="77358" y="64914"/>
                          <a:pt x="77358" y="64914"/>
                        </a:cubicBezTo>
                        <a:cubicBezTo>
                          <a:pt x="77358" y="64914"/>
                          <a:pt x="78830" y="22195"/>
                          <a:pt x="73680" y="19252"/>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33" name="Graphic 525">
                  <a:extLst>
                    <a:ext uri="{FF2B5EF4-FFF2-40B4-BE49-F238E27FC236}">
                      <a16:creationId xmlns:a16="http://schemas.microsoft.com/office/drawing/2014/main" id="{C516E900-828B-80A0-CCF5-835728090FE7}"/>
                    </a:ext>
                  </a:extLst>
                </p:cNvPr>
                <p:cNvGrpSpPr/>
                <p:nvPr/>
              </p:nvGrpSpPr>
              <p:grpSpPr>
                <a:xfrm>
                  <a:off x="3923689" y="2970411"/>
                  <a:ext cx="748329" cy="2082154"/>
                  <a:chOff x="3923689" y="2970411"/>
                  <a:chExt cx="748329" cy="2082154"/>
                </a:xfrm>
              </p:grpSpPr>
              <p:grpSp>
                <p:nvGrpSpPr>
                  <p:cNvPr id="634" name="Graphic 525">
                    <a:extLst>
                      <a:ext uri="{FF2B5EF4-FFF2-40B4-BE49-F238E27FC236}">
                        <a16:creationId xmlns:a16="http://schemas.microsoft.com/office/drawing/2014/main" id="{0D9D6068-E626-45D2-7CBE-2708A5661B1E}"/>
                      </a:ext>
                    </a:extLst>
                  </p:cNvPr>
                  <p:cNvGrpSpPr/>
                  <p:nvPr/>
                </p:nvGrpSpPr>
                <p:grpSpPr>
                  <a:xfrm>
                    <a:off x="3923689" y="3005650"/>
                    <a:ext cx="748329" cy="2046916"/>
                    <a:chOff x="3923689" y="3005650"/>
                    <a:chExt cx="748329" cy="2046916"/>
                  </a:xfrm>
                </p:grpSpPr>
                <p:sp>
                  <p:nvSpPr>
                    <p:cNvPr id="635" name="Freeform: Shape 634">
                      <a:extLst>
                        <a:ext uri="{FF2B5EF4-FFF2-40B4-BE49-F238E27FC236}">
                          <a16:creationId xmlns:a16="http://schemas.microsoft.com/office/drawing/2014/main" id="{A548DCCE-9B6A-A14C-82B8-2DFB92E68EBB}"/>
                        </a:ext>
                      </a:extLst>
                    </p:cNvPr>
                    <p:cNvSpPr/>
                    <p:nvPr/>
                  </p:nvSpPr>
                  <p:spPr>
                    <a:xfrm>
                      <a:off x="3923689" y="3005650"/>
                      <a:ext cx="748329" cy="2046916"/>
                    </a:xfrm>
                    <a:custGeom>
                      <a:avLst/>
                      <a:gdLst>
                        <a:gd name="connsiteX0" fmla="*/ 80347 w 748329"/>
                        <a:gd name="connsiteY0" fmla="*/ 1001068 h 2046916"/>
                        <a:gd name="connsiteX1" fmla="*/ 127667 w 748329"/>
                        <a:gd name="connsiteY1" fmla="*/ 876688 h 2046916"/>
                        <a:gd name="connsiteX2" fmla="*/ 121395 w 748329"/>
                        <a:gd name="connsiteY2" fmla="*/ 504299 h 2046916"/>
                        <a:gd name="connsiteX3" fmla="*/ 39149 w 748329"/>
                        <a:gd name="connsiteY3" fmla="*/ 53703 h 2046916"/>
                        <a:gd name="connsiteX4" fmla="*/ 189351 w 748329"/>
                        <a:gd name="connsiteY4" fmla="*/ 61 h 2046916"/>
                        <a:gd name="connsiteX5" fmla="*/ 273181 w 748329"/>
                        <a:gd name="connsiteY5" fmla="*/ 41197 h 2046916"/>
                        <a:gd name="connsiteX6" fmla="*/ 379281 w 748329"/>
                        <a:gd name="connsiteY6" fmla="*/ 168319 h 2046916"/>
                        <a:gd name="connsiteX7" fmla="*/ 475642 w 748329"/>
                        <a:gd name="connsiteY7" fmla="*/ 372326 h 2046916"/>
                        <a:gd name="connsiteX8" fmla="*/ 477225 w 748329"/>
                        <a:gd name="connsiteY8" fmla="*/ 9014 h 2046916"/>
                        <a:gd name="connsiteX9" fmla="*/ 564846 w 748329"/>
                        <a:gd name="connsiteY9" fmla="*/ 28678 h 2046916"/>
                        <a:gd name="connsiteX10" fmla="*/ 643526 w 748329"/>
                        <a:gd name="connsiteY10" fmla="*/ 98417 h 2046916"/>
                        <a:gd name="connsiteX11" fmla="*/ 697168 w 748329"/>
                        <a:gd name="connsiteY11" fmla="*/ 348747 h 2046916"/>
                        <a:gd name="connsiteX12" fmla="*/ 681070 w 748329"/>
                        <a:gd name="connsiteY12" fmla="*/ 557953 h 2046916"/>
                        <a:gd name="connsiteX13" fmla="*/ 690010 w 748329"/>
                        <a:gd name="connsiteY13" fmla="*/ 903060 h 2046916"/>
                        <a:gd name="connsiteX14" fmla="*/ 748266 w 748329"/>
                        <a:gd name="connsiteY14" fmla="*/ 1683788 h 2046916"/>
                        <a:gd name="connsiteX15" fmla="*/ 724699 w 748329"/>
                        <a:gd name="connsiteY15" fmla="*/ 2034344 h 2046916"/>
                        <a:gd name="connsiteX16" fmla="*/ 495517 w 748329"/>
                        <a:gd name="connsiteY16" fmla="*/ 2009780 h 2046916"/>
                        <a:gd name="connsiteX17" fmla="*/ 50097 w 748329"/>
                        <a:gd name="connsiteY17" fmla="*/ 2028458 h 2046916"/>
                        <a:gd name="connsiteX18" fmla="*/ 21 w 748329"/>
                        <a:gd name="connsiteY18" fmla="*/ 1495255 h 2046916"/>
                        <a:gd name="connsiteX19" fmla="*/ 80359 w 748329"/>
                        <a:gd name="connsiteY19" fmla="*/ 1001093 h 204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8329" h="2046916">
                          <a:moveTo>
                            <a:pt x="80347" y="1001068"/>
                          </a:moveTo>
                          <a:cubicBezTo>
                            <a:pt x="117243" y="918048"/>
                            <a:pt x="127667" y="876701"/>
                            <a:pt x="127667" y="876688"/>
                          </a:cubicBezTo>
                          <a:cubicBezTo>
                            <a:pt x="132891" y="804155"/>
                            <a:pt x="142181" y="629002"/>
                            <a:pt x="121395" y="504299"/>
                          </a:cubicBezTo>
                          <a:cubicBezTo>
                            <a:pt x="94574" y="343373"/>
                            <a:pt x="3375" y="153830"/>
                            <a:pt x="39149" y="53703"/>
                          </a:cubicBezTo>
                          <a:cubicBezTo>
                            <a:pt x="44511" y="37606"/>
                            <a:pt x="108888" y="5423"/>
                            <a:pt x="189351" y="61"/>
                          </a:cubicBezTo>
                          <a:cubicBezTo>
                            <a:pt x="211010" y="-1385"/>
                            <a:pt x="241871" y="23054"/>
                            <a:pt x="273181" y="41197"/>
                          </a:cubicBezTo>
                          <a:cubicBezTo>
                            <a:pt x="320614" y="68666"/>
                            <a:pt x="370951" y="143306"/>
                            <a:pt x="379281" y="168319"/>
                          </a:cubicBezTo>
                          <a:lnTo>
                            <a:pt x="475642" y="372326"/>
                          </a:lnTo>
                          <a:cubicBezTo>
                            <a:pt x="472225" y="280740"/>
                            <a:pt x="467487" y="36172"/>
                            <a:pt x="477225" y="9014"/>
                          </a:cubicBezTo>
                          <a:cubicBezTo>
                            <a:pt x="477225" y="9014"/>
                            <a:pt x="525506" y="26895"/>
                            <a:pt x="564846" y="28678"/>
                          </a:cubicBezTo>
                          <a:cubicBezTo>
                            <a:pt x="604186" y="30461"/>
                            <a:pt x="627428" y="48342"/>
                            <a:pt x="643526" y="98417"/>
                          </a:cubicBezTo>
                          <a:cubicBezTo>
                            <a:pt x="659623" y="148481"/>
                            <a:pt x="679287" y="241463"/>
                            <a:pt x="697168" y="348747"/>
                          </a:cubicBezTo>
                          <a:cubicBezTo>
                            <a:pt x="715048" y="456031"/>
                            <a:pt x="698951" y="482852"/>
                            <a:pt x="681070" y="557953"/>
                          </a:cubicBezTo>
                          <a:cubicBezTo>
                            <a:pt x="663189" y="633055"/>
                            <a:pt x="677491" y="772522"/>
                            <a:pt x="690010" y="903060"/>
                          </a:cubicBezTo>
                          <a:cubicBezTo>
                            <a:pt x="690010" y="903060"/>
                            <a:pt x="745411" y="1337932"/>
                            <a:pt x="748266" y="1683788"/>
                          </a:cubicBezTo>
                          <a:cubicBezTo>
                            <a:pt x="749750" y="1863604"/>
                            <a:pt x="724699" y="2034344"/>
                            <a:pt x="724699" y="2034344"/>
                          </a:cubicBezTo>
                          <a:cubicBezTo>
                            <a:pt x="647815" y="2062025"/>
                            <a:pt x="495517" y="2009780"/>
                            <a:pt x="495517" y="2009780"/>
                          </a:cubicBezTo>
                          <a:cubicBezTo>
                            <a:pt x="280251" y="2080517"/>
                            <a:pt x="50097" y="2028458"/>
                            <a:pt x="50097" y="2028458"/>
                          </a:cubicBezTo>
                          <a:cubicBezTo>
                            <a:pt x="50097" y="2028458"/>
                            <a:pt x="1417" y="1700122"/>
                            <a:pt x="21" y="1495255"/>
                          </a:cubicBezTo>
                          <a:cubicBezTo>
                            <a:pt x="-1101" y="1329940"/>
                            <a:pt x="43463" y="1084124"/>
                            <a:pt x="80359" y="1001093"/>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41" name="Graphic 525">
                      <a:extLst>
                        <a:ext uri="{FF2B5EF4-FFF2-40B4-BE49-F238E27FC236}">
                          <a16:creationId xmlns:a16="http://schemas.microsoft.com/office/drawing/2014/main" id="{CFE56D8F-01FC-D4EA-82F3-A8217029BAAD}"/>
                        </a:ext>
                      </a:extLst>
                    </p:cNvPr>
                    <p:cNvGrpSpPr/>
                    <p:nvPr/>
                  </p:nvGrpSpPr>
                  <p:grpSpPr>
                    <a:xfrm>
                      <a:off x="3966503" y="3088284"/>
                      <a:ext cx="649627" cy="1927145"/>
                      <a:chOff x="3966503" y="3088284"/>
                      <a:chExt cx="649627" cy="1927145"/>
                    </a:xfrm>
                  </p:grpSpPr>
                  <p:sp>
                    <p:nvSpPr>
                      <p:cNvPr id="643" name="Freeform: Shape 642">
                        <a:extLst>
                          <a:ext uri="{FF2B5EF4-FFF2-40B4-BE49-F238E27FC236}">
                            <a16:creationId xmlns:a16="http://schemas.microsoft.com/office/drawing/2014/main" id="{B4DF6DC3-F1F8-CBC8-9EA5-736C2CCFBDCE}"/>
                          </a:ext>
                        </a:extLst>
                      </p:cNvPr>
                      <p:cNvSpPr/>
                      <p:nvPr/>
                    </p:nvSpPr>
                    <p:spPr>
                      <a:xfrm>
                        <a:off x="4435964" y="3353550"/>
                        <a:ext cx="161825" cy="52242"/>
                      </a:xfrm>
                      <a:custGeom>
                        <a:avLst/>
                        <a:gdLst>
                          <a:gd name="connsiteX0" fmla="*/ 8742 w 161825"/>
                          <a:gd name="connsiteY0" fmla="*/ 52232 h 52242"/>
                          <a:gd name="connsiteX1" fmla="*/ 159867 w 161825"/>
                          <a:gd name="connsiteY1" fmla="*/ 36957 h 52242"/>
                          <a:gd name="connsiteX2" fmla="*/ 161787 w 161825"/>
                          <a:gd name="connsiteY2" fmla="*/ 34376 h 52242"/>
                          <a:gd name="connsiteX3" fmla="*/ 155441 w 161825"/>
                          <a:gd name="connsiteY3" fmla="*/ 1757 h 52242"/>
                          <a:gd name="connsiteX4" fmla="*/ 153084 w 161825"/>
                          <a:gd name="connsiteY4" fmla="*/ 11 h 52242"/>
                          <a:gd name="connsiteX5" fmla="*/ 1959 w 161825"/>
                          <a:gd name="connsiteY5" fmla="*/ 15286 h 52242"/>
                          <a:gd name="connsiteX6" fmla="*/ 38 w 161825"/>
                          <a:gd name="connsiteY6" fmla="*/ 17867 h 52242"/>
                          <a:gd name="connsiteX7" fmla="*/ 6385 w 161825"/>
                          <a:gd name="connsiteY7" fmla="*/ 50486 h 52242"/>
                          <a:gd name="connsiteX8" fmla="*/ 8742 w 161825"/>
                          <a:gd name="connsiteY8" fmla="*/ 52232 h 5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825" h="52242">
                            <a:moveTo>
                              <a:pt x="8742" y="52232"/>
                            </a:moveTo>
                            <a:lnTo>
                              <a:pt x="159867" y="36957"/>
                            </a:lnTo>
                            <a:cubicBezTo>
                              <a:pt x="161139" y="36832"/>
                              <a:pt x="162024" y="35635"/>
                              <a:pt x="161787" y="34376"/>
                            </a:cubicBezTo>
                            <a:lnTo>
                              <a:pt x="155441" y="1757"/>
                            </a:lnTo>
                            <a:cubicBezTo>
                              <a:pt x="155229" y="647"/>
                              <a:pt x="154206" y="-101"/>
                              <a:pt x="153084" y="11"/>
                            </a:cubicBezTo>
                            <a:lnTo>
                              <a:pt x="1959" y="15286"/>
                            </a:lnTo>
                            <a:cubicBezTo>
                              <a:pt x="687" y="15411"/>
                              <a:pt x="-198" y="16608"/>
                              <a:pt x="38" y="17867"/>
                            </a:cubicBezTo>
                            <a:lnTo>
                              <a:pt x="6385" y="50486"/>
                            </a:lnTo>
                            <a:cubicBezTo>
                              <a:pt x="6597" y="51596"/>
                              <a:pt x="7620" y="52344"/>
                              <a:pt x="8742" y="52232"/>
                            </a:cubicBezTo>
                            <a:close/>
                          </a:path>
                        </a:pathLst>
                      </a:custGeom>
                      <a:solidFill>
                        <a:srgbClr val="85D2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4" name="Freeform: Shape 643">
                        <a:extLst>
                          <a:ext uri="{FF2B5EF4-FFF2-40B4-BE49-F238E27FC236}">
                            <a16:creationId xmlns:a16="http://schemas.microsoft.com/office/drawing/2014/main" id="{07DE492E-410E-38AF-FBA2-4B68C2846F4B}"/>
                          </a:ext>
                        </a:extLst>
                      </p:cNvPr>
                      <p:cNvSpPr/>
                      <p:nvPr/>
                    </p:nvSpPr>
                    <p:spPr>
                      <a:xfrm>
                        <a:off x="4398532" y="3375881"/>
                        <a:ext cx="77124" cy="1639548"/>
                      </a:xfrm>
                      <a:custGeom>
                        <a:avLst/>
                        <a:gdLst>
                          <a:gd name="connsiteX0" fmla="*/ 0 w 77124"/>
                          <a:gd name="connsiteY0" fmla="*/ 0 h 1639548"/>
                          <a:gd name="connsiteX1" fmla="*/ 11821 w 77124"/>
                          <a:gd name="connsiteY1" fmla="*/ 52246 h 1639548"/>
                          <a:gd name="connsiteX2" fmla="*/ 19988 w 77124"/>
                          <a:gd name="connsiteY2" fmla="*/ 102907 h 1639548"/>
                          <a:gd name="connsiteX3" fmla="*/ 22532 w 77124"/>
                          <a:gd name="connsiteY3" fmla="*/ 128307 h 1639548"/>
                          <a:gd name="connsiteX4" fmla="*/ 22232 w 77124"/>
                          <a:gd name="connsiteY4" fmla="*/ 153744 h 1639548"/>
                          <a:gd name="connsiteX5" fmla="*/ 17058 w 77124"/>
                          <a:gd name="connsiteY5" fmla="*/ 204792 h 1639548"/>
                          <a:gd name="connsiteX6" fmla="*/ 14664 w 77124"/>
                          <a:gd name="connsiteY6" fmla="*/ 256464 h 1639548"/>
                          <a:gd name="connsiteX7" fmla="*/ 18018 w 77124"/>
                          <a:gd name="connsiteY7" fmla="*/ 308136 h 1639548"/>
                          <a:gd name="connsiteX8" fmla="*/ 25799 w 77124"/>
                          <a:gd name="connsiteY8" fmla="*/ 359122 h 1639548"/>
                          <a:gd name="connsiteX9" fmla="*/ 29664 w 77124"/>
                          <a:gd name="connsiteY9" fmla="*/ 384447 h 1639548"/>
                          <a:gd name="connsiteX10" fmla="*/ 33143 w 77124"/>
                          <a:gd name="connsiteY10" fmla="*/ 409847 h 1639548"/>
                          <a:gd name="connsiteX11" fmla="*/ 53380 w 77124"/>
                          <a:gd name="connsiteY11" fmla="*/ 614103 h 1639548"/>
                          <a:gd name="connsiteX12" fmla="*/ 60625 w 77124"/>
                          <a:gd name="connsiteY12" fmla="*/ 716537 h 1639548"/>
                          <a:gd name="connsiteX13" fmla="*/ 63667 w 77124"/>
                          <a:gd name="connsiteY13" fmla="*/ 767797 h 1639548"/>
                          <a:gd name="connsiteX14" fmla="*/ 64378 w 77124"/>
                          <a:gd name="connsiteY14" fmla="*/ 780615 h 1639548"/>
                          <a:gd name="connsiteX15" fmla="*/ 64789 w 77124"/>
                          <a:gd name="connsiteY15" fmla="*/ 793234 h 1639548"/>
                          <a:gd name="connsiteX16" fmla="*/ 64702 w 77124"/>
                          <a:gd name="connsiteY16" fmla="*/ 818746 h 1639548"/>
                          <a:gd name="connsiteX17" fmla="*/ 61335 w 77124"/>
                          <a:gd name="connsiteY17" fmla="*/ 921279 h 1639548"/>
                          <a:gd name="connsiteX18" fmla="*/ 56223 w 77124"/>
                          <a:gd name="connsiteY18" fmla="*/ 1023887 h 1639548"/>
                          <a:gd name="connsiteX19" fmla="*/ 44664 w 77124"/>
                          <a:gd name="connsiteY19" fmla="*/ 1229091 h 1639548"/>
                          <a:gd name="connsiteX20" fmla="*/ 32519 w 77124"/>
                          <a:gd name="connsiteY20" fmla="*/ 1434295 h 1639548"/>
                          <a:gd name="connsiteX21" fmla="*/ 26597 w 77124"/>
                          <a:gd name="connsiteY21" fmla="*/ 1536915 h 1639548"/>
                          <a:gd name="connsiteX22" fmla="*/ 23567 w 77124"/>
                          <a:gd name="connsiteY22" fmla="*/ 1588226 h 1639548"/>
                          <a:gd name="connsiteX23" fmla="*/ 20699 w 77124"/>
                          <a:gd name="connsiteY23" fmla="*/ 1639549 h 1639548"/>
                          <a:gd name="connsiteX24" fmla="*/ 25412 w 77124"/>
                          <a:gd name="connsiteY24" fmla="*/ 1588363 h 1639548"/>
                          <a:gd name="connsiteX25" fmla="*/ 29839 w 77124"/>
                          <a:gd name="connsiteY25" fmla="*/ 1537152 h 1639548"/>
                          <a:gd name="connsiteX26" fmla="*/ 38517 w 77124"/>
                          <a:gd name="connsiteY26" fmla="*/ 1434719 h 1639548"/>
                          <a:gd name="connsiteX27" fmla="*/ 54228 w 77124"/>
                          <a:gd name="connsiteY27" fmla="*/ 1229715 h 1639548"/>
                          <a:gd name="connsiteX28" fmla="*/ 67844 w 77124"/>
                          <a:gd name="connsiteY28" fmla="*/ 1024536 h 1639548"/>
                          <a:gd name="connsiteX29" fmla="*/ 73356 w 77124"/>
                          <a:gd name="connsiteY29" fmla="*/ 921828 h 1639548"/>
                          <a:gd name="connsiteX30" fmla="*/ 77022 w 77124"/>
                          <a:gd name="connsiteY30" fmla="*/ 818908 h 1639548"/>
                          <a:gd name="connsiteX31" fmla="*/ 77047 w 77124"/>
                          <a:gd name="connsiteY31" fmla="*/ 793022 h 1639548"/>
                          <a:gd name="connsiteX32" fmla="*/ 76585 w 77124"/>
                          <a:gd name="connsiteY32" fmla="*/ 779954 h 1639548"/>
                          <a:gd name="connsiteX33" fmla="*/ 75837 w 77124"/>
                          <a:gd name="connsiteY33" fmla="*/ 767111 h 1639548"/>
                          <a:gd name="connsiteX34" fmla="*/ 72645 w 77124"/>
                          <a:gd name="connsiteY34" fmla="*/ 715763 h 1639548"/>
                          <a:gd name="connsiteX35" fmla="*/ 65026 w 77124"/>
                          <a:gd name="connsiteY35" fmla="*/ 613168 h 1639548"/>
                          <a:gd name="connsiteX36" fmla="*/ 55325 w 77124"/>
                          <a:gd name="connsiteY36" fmla="*/ 510722 h 1639548"/>
                          <a:gd name="connsiteX37" fmla="*/ 42719 w 77124"/>
                          <a:gd name="connsiteY37" fmla="*/ 408537 h 1639548"/>
                          <a:gd name="connsiteX38" fmla="*/ 38879 w 77124"/>
                          <a:gd name="connsiteY38" fmla="*/ 383063 h 1639548"/>
                          <a:gd name="connsiteX39" fmla="*/ 34639 w 77124"/>
                          <a:gd name="connsiteY39" fmla="*/ 357639 h 1639548"/>
                          <a:gd name="connsiteX40" fmla="*/ 26148 w 77124"/>
                          <a:gd name="connsiteY40" fmla="*/ 307139 h 1639548"/>
                          <a:gd name="connsiteX41" fmla="*/ 21871 w 77124"/>
                          <a:gd name="connsiteY41" fmla="*/ 256352 h 1639548"/>
                          <a:gd name="connsiteX42" fmla="*/ 23255 w 77124"/>
                          <a:gd name="connsiteY42" fmla="*/ 205354 h 1639548"/>
                          <a:gd name="connsiteX43" fmla="*/ 27083 w 77124"/>
                          <a:gd name="connsiteY43" fmla="*/ 154018 h 1639548"/>
                          <a:gd name="connsiteX44" fmla="*/ 26696 w 77124"/>
                          <a:gd name="connsiteY44" fmla="*/ 128095 h 1639548"/>
                          <a:gd name="connsiteX45" fmla="*/ 25337 w 77124"/>
                          <a:gd name="connsiteY45" fmla="*/ 115190 h 1639548"/>
                          <a:gd name="connsiteX46" fmla="*/ 23417 w 77124"/>
                          <a:gd name="connsiteY46" fmla="*/ 102446 h 1639548"/>
                          <a:gd name="connsiteX47" fmla="*/ 13778 w 77124"/>
                          <a:gd name="connsiteY47" fmla="*/ 51884 h 1639548"/>
                          <a:gd name="connsiteX48" fmla="*/ 37 w 77124"/>
                          <a:gd name="connsiteY48" fmla="*/ 25 h 163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7124" h="1639548">
                            <a:moveTo>
                              <a:pt x="0" y="0"/>
                            </a:moveTo>
                            <a:cubicBezTo>
                              <a:pt x="4314" y="16584"/>
                              <a:pt x="8641" y="35437"/>
                              <a:pt x="11821" y="52246"/>
                            </a:cubicBezTo>
                            <a:cubicBezTo>
                              <a:pt x="15013" y="69054"/>
                              <a:pt x="17768" y="85950"/>
                              <a:pt x="19988" y="102907"/>
                            </a:cubicBezTo>
                            <a:cubicBezTo>
                              <a:pt x="21023" y="111411"/>
                              <a:pt x="22207" y="119853"/>
                              <a:pt x="22532" y="128307"/>
                            </a:cubicBezTo>
                            <a:cubicBezTo>
                              <a:pt x="22918" y="136774"/>
                              <a:pt x="22756" y="145265"/>
                              <a:pt x="22232" y="153744"/>
                            </a:cubicBezTo>
                            <a:cubicBezTo>
                              <a:pt x="21135" y="170715"/>
                              <a:pt x="18716" y="187672"/>
                              <a:pt x="17058" y="204792"/>
                            </a:cubicBezTo>
                            <a:cubicBezTo>
                              <a:pt x="15399" y="221913"/>
                              <a:pt x="14502" y="239195"/>
                              <a:pt x="14664" y="256464"/>
                            </a:cubicBezTo>
                            <a:cubicBezTo>
                              <a:pt x="14838" y="273734"/>
                              <a:pt x="16035" y="290991"/>
                              <a:pt x="18018" y="308136"/>
                            </a:cubicBezTo>
                            <a:cubicBezTo>
                              <a:pt x="19851" y="325281"/>
                              <a:pt x="23105" y="342339"/>
                              <a:pt x="25799" y="359122"/>
                            </a:cubicBezTo>
                            <a:cubicBezTo>
                              <a:pt x="27257" y="367526"/>
                              <a:pt x="28405" y="376006"/>
                              <a:pt x="29664" y="384447"/>
                            </a:cubicBezTo>
                            <a:cubicBezTo>
                              <a:pt x="30961" y="392889"/>
                              <a:pt x="32008" y="401368"/>
                              <a:pt x="33143" y="409847"/>
                            </a:cubicBezTo>
                            <a:cubicBezTo>
                              <a:pt x="41771" y="477679"/>
                              <a:pt x="48206" y="545847"/>
                              <a:pt x="53380" y="614103"/>
                            </a:cubicBezTo>
                            <a:cubicBezTo>
                              <a:pt x="55999" y="648231"/>
                              <a:pt x="58480" y="682371"/>
                              <a:pt x="60625" y="716537"/>
                            </a:cubicBezTo>
                            <a:lnTo>
                              <a:pt x="63667" y="767797"/>
                            </a:lnTo>
                            <a:lnTo>
                              <a:pt x="64378" y="780615"/>
                            </a:lnTo>
                            <a:lnTo>
                              <a:pt x="64789" y="793234"/>
                            </a:lnTo>
                            <a:cubicBezTo>
                              <a:pt x="64827" y="801713"/>
                              <a:pt x="64877" y="810204"/>
                              <a:pt x="64702" y="818746"/>
                            </a:cubicBezTo>
                            <a:cubicBezTo>
                              <a:pt x="64228" y="852861"/>
                              <a:pt x="62844" y="887089"/>
                              <a:pt x="61335" y="921279"/>
                            </a:cubicBezTo>
                            <a:cubicBezTo>
                              <a:pt x="59814" y="955482"/>
                              <a:pt x="58006" y="989672"/>
                              <a:pt x="56223" y="1023887"/>
                            </a:cubicBezTo>
                            <a:cubicBezTo>
                              <a:pt x="52694" y="1092292"/>
                              <a:pt x="48555" y="1160686"/>
                              <a:pt x="44664" y="1229091"/>
                            </a:cubicBezTo>
                            <a:lnTo>
                              <a:pt x="32519" y="1434295"/>
                            </a:lnTo>
                            <a:lnTo>
                              <a:pt x="26597" y="1536915"/>
                            </a:lnTo>
                            <a:lnTo>
                              <a:pt x="23567" y="1588226"/>
                            </a:lnTo>
                            <a:lnTo>
                              <a:pt x="20699" y="1639549"/>
                            </a:lnTo>
                            <a:lnTo>
                              <a:pt x="25412" y="1588363"/>
                            </a:lnTo>
                            <a:lnTo>
                              <a:pt x="29839" y="1537152"/>
                            </a:lnTo>
                            <a:lnTo>
                              <a:pt x="38517" y="1434719"/>
                            </a:lnTo>
                            <a:cubicBezTo>
                              <a:pt x="44028" y="1366401"/>
                              <a:pt x="49353" y="1298082"/>
                              <a:pt x="54228" y="1229715"/>
                            </a:cubicBezTo>
                            <a:cubicBezTo>
                              <a:pt x="59266" y="1161359"/>
                              <a:pt x="63655" y="1092966"/>
                              <a:pt x="67844" y="1024536"/>
                            </a:cubicBezTo>
                            <a:cubicBezTo>
                              <a:pt x="69927" y="990320"/>
                              <a:pt x="71685" y="956080"/>
                              <a:pt x="73356" y="921828"/>
                            </a:cubicBezTo>
                            <a:cubicBezTo>
                              <a:pt x="74952" y="887562"/>
                              <a:pt x="76448" y="853310"/>
                              <a:pt x="77022" y="818908"/>
                            </a:cubicBezTo>
                            <a:cubicBezTo>
                              <a:pt x="77196" y="810317"/>
                              <a:pt x="77109" y="801676"/>
                              <a:pt x="77047" y="793022"/>
                            </a:cubicBezTo>
                            <a:lnTo>
                              <a:pt x="76585" y="779954"/>
                            </a:lnTo>
                            <a:lnTo>
                              <a:pt x="75837" y="767111"/>
                            </a:lnTo>
                            <a:lnTo>
                              <a:pt x="72645" y="715763"/>
                            </a:lnTo>
                            <a:cubicBezTo>
                              <a:pt x="70363" y="681548"/>
                              <a:pt x="67907" y="647346"/>
                              <a:pt x="65026" y="613168"/>
                            </a:cubicBezTo>
                            <a:cubicBezTo>
                              <a:pt x="62121" y="578990"/>
                              <a:pt x="58966" y="544837"/>
                              <a:pt x="55325" y="510722"/>
                            </a:cubicBezTo>
                            <a:cubicBezTo>
                              <a:pt x="51722" y="476606"/>
                              <a:pt x="47644" y="442516"/>
                              <a:pt x="42719" y="408537"/>
                            </a:cubicBezTo>
                            <a:cubicBezTo>
                              <a:pt x="41460" y="400046"/>
                              <a:pt x="40300" y="391542"/>
                              <a:pt x="38879" y="383063"/>
                            </a:cubicBezTo>
                            <a:cubicBezTo>
                              <a:pt x="37495" y="374584"/>
                              <a:pt x="36223" y="366093"/>
                              <a:pt x="34639" y="357639"/>
                            </a:cubicBezTo>
                            <a:cubicBezTo>
                              <a:pt x="31634" y="340631"/>
                              <a:pt x="28330" y="324034"/>
                              <a:pt x="26148" y="307139"/>
                            </a:cubicBezTo>
                            <a:cubicBezTo>
                              <a:pt x="23866" y="290281"/>
                              <a:pt x="22370" y="273335"/>
                              <a:pt x="21871" y="256352"/>
                            </a:cubicBezTo>
                            <a:cubicBezTo>
                              <a:pt x="21385" y="239357"/>
                              <a:pt x="21933" y="222361"/>
                              <a:pt x="23255" y="205354"/>
                            </a:cubicBezTo>
                            <a:cubicBezTo>
                              <a:pt x="24464" y="188333"/>
                              <a:pt x="26422" y="171276"/>
                              <a:pt x="27083" y="154018"/>
                            </a:cubicBezTo>
                            <a:cubicBezTo>
                              <a:pt x="27395" y="145390"/>
                              <a:pt x="27332" y="136724"/>
                              <a:pt x="26696" y="128095"/>
                            </a:cubicBezTo>
                            <a:cubicBezTo>
                              <a:pt x="26397" y="123781"/>
                              <a:pt x="25911" y="119479"/>
                              <a:pt x="25337" y="115190"/>
                            </a:cubicBezTo>
                            <a:lnTo>
                              <a:pt x="23417" y="102446"/>
                            </a:lnTo>
                            <a:cubicBezTo>
                              <a:pt x="20699" y="85488"/>
                              <a:pt x="17457" y="68630"/>
                              <a:pt x="13778" y="51884"/>
                            </a:cubicBezTo>
                            <a:cubicBezTo>
                              <a:pt x="9975" y="35163"/>
                              <a:pt x="4988" y="16434"/>
                              <a:pt x="37" y="25"/>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5" name="Freeform: Shape 644">
                        <a:extLst>
                          <a:ext uri="{FF2B5EF4-FFF2-40B4-BE49-F238E27FC236}">
                            <a16:creationId xmlns:a16="http://schemas.microsoft.com/office/drawing/2014/main" id="{D8316AA9-47F5-A426-92D6-EC1BB56E7628}"/>
                          </a:ext>
                        </a:extLst>
                      </p:cNvPr>
                      <p:cNvSpPr/>
                      <p:nvPr/>
                    </p:nvSpPr>
                    <p:spPr>
                      <a:xfrm>
                        <a:off x="3966503" y="3088284"/>
                        <a:ext cx="649627" cy="837895"/>
                      </a:xfrm>
                      <a:custGeom>
                        <a:avLst/>
                        <a:gdLst>
                          <a:gd name="connsiteX0" fmla="*/ 78580 w 649627"/>
                          <a:gd name="connsiteY0" fmla="*/ 421664 h 837895"/>
                          <a:gd name="connsiteX1" fmla="*/ 0 w 649627"/>
                          <a:gd name="connsiteY1" fmla="*/ 117157 h 837895"/>
                          <a:gd name="connsiteX2" fmla="*/ 94192 w 649627"/>
                          <a:gd name="connsiteY2" fmla="*/ 10 h 837895"/>
                          <a:gd name="connsiteX3" fmla="*/ 205029 w 649627"/>
                          <a:gd name="connsiteY3" fmla="*/ 256038 h 837895"/>
                          <a:gd name="connsiteX4" fmla="*/ 261227 w 649627"/>
                          <a:gd name="connsiteY4" fmla="*/ 494895 h 837895"/>
                          <a:gd name="connsiteX5" fmla="*/ 397041 w 649627"/>
                          <a:gd name="connsiteY5" fmla="*/ 535482 h 837895"/>
                          <a:gd name="connsiteX6" fmla="*/ 631061 w 649627"/>
                          <a:gd name="connsiteY6" fmla="*/ 621519 h 837895"/>
                          <a:gd name="connsiteX7" fmla="*/ 647183 w 649627"/>
                          <a:gd name="connsiteY7" fmla="*/ 820401 h 837895"/>
                          <a:gd name="connsiteX8" fmla="*/ 649627 w 649627"/>
                          <a:gd name="connsiteY8" fmla="*/ 837895 h 837895"/>
                          <a:gd name="connsiteX9" fmla="*/ 88019 w 649627"/>
                          <a:gd name="connsiteY9" fmla="*/ 742718 h 837895"/>
                          <a:gd name="connsiteX10" fmla="*/ 78568 w 649627"/>
                          <a:gd name="connsiteY10" fmla="*/ 421652 h 83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627" h="837895">
                            <a:moveTo>
                              <a:pt x="78580" y="421664"/>
                            </a:moveTo>
                            <a:cubicBezTo>
                              <a:pt x="61934" y="321775"/>
                              <a:pt x="20487" y="210875"/>
                              <a:pt x="0" y="117157"/>
                            </a:cubicBezTo>
                            <a:cubicBezTo>
                              <a:pt x="12482" y="46432"/>
                              <a:pt x="40749" y="-776"/>
                              <a:pt x="94192" y="10"/>
                            </a:cubicBezTo>
                            <a:cubicBezTo>
                              <a:pt x="94192" y="10"/>
                              <a:pt x="164442" y="59338"/>
                              <a:pt x="205029" y="256038"/>
                            </a:cubicBezTo>
                            <a:cubicBezTo>
                              <a:pt x="245616" y="452738"/>
                              <a:pt x="261227" y="494895"/>
                              <a:pt x="261227" y="494895"/>
                            </a:cubicBezTo>
                            <a:cubicBezTo>
                              <a:pt x="261227" y="494895"/>
                              <a:pt x="340843" y="513624"/>
                              <a:pt x="397041" y="535482"/>
                            </a:cubicBezTo>
                            <a:cubicBezTo>
                              <a:pt x="446044" y="554535"/>
                              <a:pt x="573379" y="605633"/>
                              <a:pt x="631061" y="621519"/>
                            </a:cubicBezTo>
                            <a:cubicBezTo>
                              <a:pt x="633816" y="683503"/>
                              <a:pt x="640737" y="753143"/>
                              <a:pt x="647183" y="820401"/>
                            </a:cubicBezTo>
                            <a:cubicBezTo>
                              <a:pt x="647183" y="820401"/>
                              <a:pt x="648081" y="826536"/>
                              <a:pt x="649627" y="837895"/>
                            </a:cubicBezTo>
                            <a:cubicBezTo>
                              <a:pt x="577818" y="835364"/>
                              <a:pt x="254507" y="819865"/>
                              <a:pt x="88019" y="742718"/>
                            </a:cubicBezTo>
                            <a:cubicBezTo>
                              <a:pt x="92508" y="656856"/>
                              <a:pt x="95401" y="522701"/>
                              <a:pt x="78568" y="421652"/>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646" name="Graphic 525">
                    <a:extLst>
                      <a:ext uri="{FF2B5EF4-FFF2-40B4-BE49-F238E27FC236}">
                        <a16:creationId xmlns:a16="http://schemas.microsoft.com/office/drawing/2014/main" id="{40F5C64A-7827-E901-A047-B4939F374BC2}"/>
                      </a:ext>
                    </a:extLst>
                  </p:cNvPr>
                  <p:cNvGrpSpPr/>
                  <p:nvPr/>
                </p:nvGrpSpPr>
                <p:grpSpPr>
                  <a:xfrm>
                    <a:off x="4038325" y="2970411"/>
                    <a:ext cx="482648" cy="717472"/>
                    <a:chOff x="4038325" y="2970411"/>
                    <a:chExt cx="482648" cy="717472"/>
                  </a:xfrm>
                </p:grpSpPr>
                <p:grpSp>
                  <p:nvGrpSpPr>
                    <p:cNvPr id="647" name="Graphic 525">
                      <a:extLst>
                        <a:ext uri="{FF2B5EF4-FFF2-40B4-BE49-F238E27FC236}">
                          <a16:creationId xmlns:a16="http://schemas.microsoft.com/office/drawing/2014/main" id="{21292EA9-7B2F-D215-83DE-11F30C0AEDC7}"/>
                        </a:ext>
                      </a:extLst>
                    </p:cNvPr>
                    <p:cNvGrpSpPr/>
                    <p:nvPr/>
                  </p:nvGrpSpPr>
                  <p:grpSpPr>
                    <a:xfrm>
                      <a:off x="4038325" y="2991671"/>
                      <a:ext cx="482648" cy="696212"/>
                      <a:chOff x="4038325" y="2991671"/>
                      <a:chExt cx="482648" cy="696212"/>
                    </a:xfrm>
                  </p:grpSpPr>
                  <p:sp>
                    <p:nvSpPr>
                      <p:cNvPr id="648" name="Freeform: Shape 647">
                        <a:extLst>
                          <a:ext uri="{FF2B5EF4-FFF2-40B4-BE49-F238E27FC236}">
                            <a16:creationId xmlns:a16="http://schemas.microsoft.com/office/drawing/2014/main" id="{DC302820-32B9-EC8A-B3D3-319E04676E1E}"/>
                          </a:ext>
                        </a:extLst>
                      </p:cNvPr>
                      <p:cNvSpPr/>
                      <p:nvPr/>
                    </p:nvSpPr>
                    <p:spPr>
                      <a:xfrm>
                        <a:off x="4395121" y="3014652"/>
                        <a:ext cx="80831" cy="444286"/>
                      </a:xfrm>
                      <a:custGeom>
                        <a:avLst/>
                        <a:gdLst>
                          <a:gd name="connsiteX0" fmla="*/ 2314 w 80831"/>
                          <a:gd name="connsiteY0" fmla="*/ 359285 h 444286"/>
                          <a:gd name="connsiteX1" fmla="*/ 4209 w 80831"/>
                          <a:gd name="connsiteY1" fmla="*/ 363312 h 444286"/>
                          <a:gd name="connsiteX2" fmla="*/ 5793 w 80831"/>
                          <a:gd name="connsiteY2" fmla="*/ 0 h 444286"/>
                          <a:gd name="connsiteX3" fmla="*/ 80832 w 80831"/>
                          <a:gd name="connsiteY3" fmla="*/ 18604 h 444286"/>
                          <a:gd name="connsiteX4" fmla="*/ 25394 w 80831"/>
                          <a:gd name="connsiteY4" fmla="*/ 163744 h 444286"/>
                          <a:gd name="connsiteX5" fmla="*/ 52739 w 80831"/>
                          <a:gd name="connsiteY5" fmla="*/ 178096 h 444286"/>
                          <a:gd name="connsiteX6" fmla="*/ 22663 w 80831"/>
                          <a:gd name="connsiteY6" fmla="*/ 444286 h 444286"/>
                          <a:gd name="connsiteX7" fmla="*/ 2314 w 80831"/>
                          <a:gd name="connsiteY7" fmla="*/ 359285 h 44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831" h="444286">
                            <a:moveTo>
                              <a:pt x="2314" y="359285"/>
                            </a:moveTo>
                            <a:lnTo>
                              <a:pt x="4209" y="363312"/>
                            </a:lnTo>
                            <a:cubicBezTo>
                              <a:pt x="793" y="271727"/>
                              <a:pt x="-3946" y="27158"/>
                              <a:pt x="5793" y="0"/>
                            </a:cubicBezTo>
                            <a:cubicBezTo>
                              <a:pt x="5793" y="0"/>
                              <a:pt x="44497" y="14327"/>
                              <a:pt x="80832" y="18604"/>
                            </a:cubicBezTo>
                            <a:cubicBezTo>
                              <a:pt x="33886" y="74341"/>
                              <a:pt x="25394" y="163744"/>
                              <a:pt x="25394" y="163744"/>
                            </a:cubicBezTo>
                            <a:cubicBezTo>
                              <a:pt x="39746" y="167161"/>
                              <a:pt x="52739" y="178096"/>
                              <a:pt x="52739" y="178096"/>
                            </a:cubicBezTo>
                            <a:cubicBezTo>
                              <a:pt x="8997" y="270355"/>
                              <a:pt x="22663" y="444286"/>
                              <a:pt x="22663" y="444286"/>
                            </a:cubicBezTo>
                            <a:cubicBezTo>
                              <a:pt x="14658" y="417603"/>
                              <a:pt x="7950" y="388874"/>
                              <a:pt x="2314" y="359285"/>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0" name="Freeform: Shape 649">
                        <a:extLst>
                          <a:ext uri="{FF2B5EF4-FFF2-40B4-BE49-F238E27FC236}">
                            <a16:creationId xmlns:a16="http://schemas.microsoft.com/office/drawing/2014/main" id="{467FC14C-9DEC-1FD6-94A9-8ED163212DF6}"/>
                          </a:ext>
                        </a:extLst>
                      </p:cNvPr>
                      <p:cNvSpPr/>
                      <p:nvPr/>
                    </p:nvSpPr>
                    <p:spPr>
                      <a:xfrm>
                        <a:off x="4038325" y="3005637"/>
                        <a:ext cx="379459" cy="457751"/>
                      </a:xfrm>
                      <a:custGeom>
                        <a:avLst/>
                        <a:gdLst>
                          <a:gd name="connsiteX0" fmla="*/ 12 w 379459"/>
                          <a:gd name="connsiteY0" fmla="*/ 13129 h 457751"/>
                          <a:gd name="connsiteX1" fmla="*/ 74715 w 379459"/>
                          <a:gd name="connsiteY1" fmla="*/ 61 h 457751"/>
                          <a:gd name="connsiteX2" fmla="*/ 158544 w 379459"/>
                          <a:gd name="connsiteY2" fmla="*/ 41197 h 457751"/>
                          <a:gd name="connsiteX3" fmla="*/ 264644 w 379459"/>
                          <a:gd name="connsiteY3" fmla="*/ 168319 h 457751"/>
                          <a:gd name="connsiteX4" fmla="*/ 361005 w 379459"/>
                          <a:gd name="connsiteY4" fmla="*/ 372326 h 457751"/>
                          <a:gd name="connsiteX5" fmla="*/ 379459 w 379459"/>
                          <a:gd name="connsiteY5" fmla="*/ 457752 h 457751"/>
                          <a:gd name="connsiteX6" fmla="*/ 212698 w 379459"/>
                          <a:gd name="connsiteY6" fmla="*/ 230852 h 457751"/>
                          <a:gd name="connsiteX7" fmla="*/ 237299 w 379459"/>
                          <a:gd name="connsiteY7" fmla="*/ 191213 h 457751"/>
                          <a:gd name="connsiteX8" fmla="*/ 0 w 379459"/>
                          <a:gd name="connsiteY8" fmla="*/ 13129 h 4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459" h="457751">
                            <a:moveTo>
                              <a:pt x="12" y="13129"/>
                            </a:moveTo>
                            <a:cubicBezTo>
                              <a:pt x="22033" y="6732"/>
                              <a:pt x="47395" y="1882"/>
                              <a:pt x="74715" y="61"/>
                            </a:cubicBezTo>
                            <a:cubicBezTo>
                              <a:pt x="96374" y="-1385"/>
                              <a:pt x="127235" y="23054"/>
                              <a:pt x="158544" y="41197"/>
                            </a:cubicBezTo>
                            <a:cubicBezTo>
                              <a:pt x="205977" y="68666"/>
                              <a:pt x="256315" y="143306"/>
                              <a:pt x="264644" y="168319"/>
                            </a:cubicBezTo>
                            <a:lnTo>
                              <a:pt x="361005" y="372326"/>
                            </a:lnTo>
                            <a:cubicBezTo>
                              <a:pt x="367950" y="399509"/>
                              <a:pt x="374185" y="428013"/>
                              <a:pt x="379459" y="457752"/>
                            </a:cubicBezTo>
                            <a:cubicBezTo>
                              <a:pt x="379459" y="457752"/>
                              <a:pt x="326840" y="327899"/>
                              <a:pt x="212698" y="230852"/>
                            </a:cubicBezTo>
                            <a:cubicBezTo>
                              <a:pt x="212698" y="230852"/>
                              <a:pt x="223633" y="202834"/>
                              <a:pt x="237299" y="191213"/>
                            </a:cubicBezTo>
                            <a:cubicBezTo>
                              <a:pt x="237299" y="191213"/>
                              <a:pt x="107970" y="49489"/>
                              <a:pt x="0" y="13129"/>
                            </a:cubicBezTo>
                            <a:close/>
                          </a:path>
                        </a:pathLst>
                      </a:custGeom>
                      <a:solidFill>
                        <a:srgbClr val="BBD3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54" name="Graphic 525">
                        <a:extLst>
                          <a:ext uri="{FF2B5EF4-FFF2-40B4-BE49-F238E27FC236}">
                            <a16:creationId xmlns:a16="http://schemas.microsoft.com/office/drawing/2014/main" id="{9885B8B7-0B1D-27C9-08F8-AC1F4197A422}"/>
                          </a:ext>
                        </a:extLst>
                      </p:cNvPr>
                      <p:cNvGrpSpPr/>
                      <p:nvPr/>
                    </p:nvGrpSpPr>
                    <p:grpSpPr>
                      <a:xfrm>
                        <a:off x="4112764" y="2991671"/>
                        <a:ext cx="408209" cy="696212"/>
                        <a:chOff x="4112764" y="2991671"/>
                        <a:chExt cx="408209" cy="696212"/>
                      </a:xfrm>
                    </p:grpSpPr>
                    <p:sp>
                      <p:nvSpPr>
                        <p:cNvPr id="655" name="Freeform: Shape 654">
                          <a:extLst>
                            <a:ext uri="{FF2B5EF4-FFF2-40B4-BE49-F238E27FC236}">
                              <a16:creationId xmlns:a16="http://schemas.microsoft.com/office/drawing/2014/main" id="{01FB3239-E2C1-89F6-4ABA-4AFF78424A18}"/>
                            </a:ext>
                          </a:extLst>
                        </p:cNvPr>
                        <p:cNvSpPr/>
                        <p:nvPr/>
                      </p:nvSpPr>
                      <p:spPr>
                        <a:xfrm>
                          <a:off x="4396791" y="3014207"/>
                          <a:ext cx="90776" cy="628562"/>
                        </a:xfrm>
                        <a:custGeom>
                          <a:avLst/>
                          <a:gdLst>
                            <a:gd name="connsiteX0" fmla="*/ 82267 w 90776"/>
                            <a:gd name="connsiteY0" fmla="*/ 628563 h 628562"/>
                            <a:gd name="connsiteX1" fmla="*/ 85684 w 90776"/>
                            <a:gd name="connsiteY1" fmla="*/ 626057 h 628562"/>
                            <a:gd name="connsiteX2" fmla="*/ 75696 w 90776"/>
                            <a:gd name="connsiteY2" fmla="*/ 511117 h 628562"/>
                            <a:gd name="connsiteX3" fmla="*/ 65484 w 90776"/>
                            <a:gd name="connsiteY3" fmla="*/ 470368 h 628562"/>
                            <a:gd name="connsiteX4" fmla="*/ 67604 w 90776"/>
                            <a:gd name="connsiteY4" fmla="*/ 270164 h 628562"/>
                            <a:gd name="connsiteX5" fmla="*/ 72716 w 90776"/>
                            <a:gd name="connsiteY5" fmla="*/ 223579 h 628562"/>
                            <a:gd name="connsiteX6" fmla="*/ 54561 w 90776"/>
                            <a:gd name="connsiteY6" fmla="*/ 50147 h 628562"/>
                            <a:gd name="connsiteX7" fmla="*/ 4847 w 90776"/>
                            <a:gd name="connsiteY7" fmla="*/ 233 h 628562"/>
                            <a:gd name="connsiteX8" fmla="*/ 233 w 90776"/>
                            <a:gd name="connsiteY8" fmla="*/ 2303 h 628562"/>
                            <a:gd name="connsiteX9" fmla="*/ 2303 w 90776"/>
                            <a:gd name="connsiteY9" fmla="*/ 6916 h 628562"/>
                            <a:gd name="connsiteX10" fmla="*/ 48002 w 90776"/>
                            <a:gd name="connsiteY10" fmla="*/ 52990 h 628562"/>
                            <a:gd name="connsiteX11" fmla="*/ 65609 w 90776"/>
                            <a:gd name="connsiteY11" fmla="*/ 222894 h 628562"/>
                            <a:gd name="connsiteX12" fmla="*/ 60521 w 90776"/>
                            <a:gd name="connsiteY12" fmla="*/ 269329 h 628562"/>
                            <a:gd name="connsiteX13" fmla="*/ 58539 w 90776"/>
                            <a:gd name="connsiteY13" fmla="*/ 472026 h 628562"/>
                            <a:gd name="connsiteX14" fmla="*/ 68788 w 90776"/>
                            <a:gd name="connsiteY14" fmla="*/ 512900 h 628562"/>
                            <a:gd name="connsiteX15" fmla="*/ 78876 w 90776"/>
                            <a:gd name="connsiteY15" fmla="*/ 623912 h 628562"/>
                            <a:gd name="connsiteX16" fmla="*/ 81220 w 90776"/>
                            <a:gd name="connsiteY16" fmla="*/ 628401 h 628562"/>
                            <a:gd name="connsiteX17" fmla="*/ 82292 w 90776"/>
                            <a:gd name="connsiteY17" fmla="*/ 628563 h 62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776" h="628562">
                              <a:moveTo>
                                <a:pt x="82267" y="628563"/>
                              </a:moveTo>
                              <a:cubicBezTo>
                                <a:pt x="83788" y="628563"/>
                                <a:pt x="85198" y="627590"/>
                                <a:pt x="85684" y="626057"/>
                              </a:cubicBezTo>
                              <a:cubicBezTo>
                                <a:pt x="96482" y="591692"/>
                                <a:pt x="88664" y="561367"/>
                                <a:pt x="75696" y="511117"/>
                              </a:cubicBezTo>
                              <a:cubicBezTo>
                                <a:pt x="72579" y="499034"/>
                                <a:pt x="69050" y="485356"/>
                                <a:pt x="65484" y="470368"/>
                              </a:cubicBezTo>
                              <a:cubicBezTo>
                                <a:pt x="51257" y="410628"/>
                                <a:pt x="59948" y="336001"/>
                                <a:pt x="67604" y="270164"/>
                              </a:cubicBezTo>
                              <a:cubicBezTo>
                                <a:pt x="69511" y="253804"/>
                                <a:pt x="71307" y="238355"/>
                                <a:pt x="72716" y="223579"/>
                              </a:cubicBezTo>
                              <a:cubicBezTo>
                                <a:pt x="79150" y="156072"/>
                                <a:pt x="72354" y="91233"/>
                                <a:pt x="54561" y="50147"/>
                              </a:cubicBezTo>
                              <a:cubicBezTo>
                                <a:pt x="38650" y="13426"/>
                                <a:pt x="6218" y="757"/>
                                <a:pt x="4847" y="233"/>
                              </a:cubicBezTo>
                              <a:cubicBezTo>
                                <a:pt x="3014" y="-465"/>
                                <a:pt x="931" y="458"/>
                                <a:pt x="233" y="2303"/>
                              </a:cubicBezTo>
                              <a:cubicBezTo>
                                <a:pt x="-465" y="4148"/>
                                <a:pt x="458" y="6206"/>
                                <a:pt x="2303" y="6916"/>
                              </a:cubicBezTo>
                              <a:cubicBezTo>
                                <a:pt x="2665" y="7054"/>
                                <a:pt x="33339" y="19149"/>
                                <a:pt x="48002" y="52990"/>
                              </a:cubicBezTo>
                              <a:cubicBezTo>
                                <a:pt x="65347" y="93016"/>
                                <a:pt x="71930" y="156533"/>
                                <a:pt x="65609" y="222894"/>
                              </a:cubicBezTo>
                              <a:cubicBezTo>
                                <a:pt x="64212" y="237595"/>
                                <a:pt x="62416" y="253007"/>
                                <a:pt x="60521" y="269329"/>
                              </a:cubicBezTo>
                              <a:cubicBezTo>
                                <a:pt x="52790" y="335752"/>
                                <a:pt x="44025" y="411052"/>
                                <a:pt x="58539" y="472026"/>
                              </a:cubicBezTo>
                              <a:cubicBezTo>
                                <a:pt x="62117" y="487076"/>
                                <a:pt x="65658" y="500792"/>
                                <a:pt x="68788" y="512900"/>
                              </a:cubicBezTo>
                              <a:cubicBezTo>
                                <a:pt x="81432" y="561916"/>
                                <a:pt x="89063" y="591505"/>
                                <a:pt x="78876" y="623912"/>
                              </a:cubicBezTo>
                              <a:cubicBezTo>
                                <a:pt x="78290" y="625795"/>
                                <a:pt x="79325" y="627803"/>
                                <a:pt x="81220" y="628401"/>
                              </a:cubicBezTo>
                              <a:cubicBezTo>
                                <a:pt x="81581" y="628513"/>
                                <a:pt x="81931" y="628563"/>
                                <a:pt x="82292" y="628563"/>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56" name="Graphic 525">
                          <a:extLst>
                            <a:ext uri="{FF2B5EF4-FFF2-40B4-BE49-F238E27FC236}">
                              <a16:creationId xmlns:a16="http://schemas.microsoft.com/office/drawing/2014/main" id="{C449C413-61AE-C4E6-5A6D-116DA8BDEC95}"/>
                            </a:ext>
                          </a:extLst>
                        </p:cNvPr>
                        <p:cNvGrpSpPr/>
                        <p:nvPr/>
                      </p:nvGrpSpPr>
                      <p:grpSpPr>
                        <a:xfrm>
                          <a:off x="4112764" y="2991671"/>
                          <a:ext cx="236564" cy="581745"/>
                          <a:chOff x="4112764" y="2991671"/>
                          <a:chExt cx="236564" cy="581745"/>
                        </a:xfrm>
                      </p:grpSpPr>
                      <p:grpSp>
                        <p:nvGrpSpPr>
                          <p:cNvPr id="657" name="Graphic 525">
                            <a:extLst>
                              <a:ext uri="{FF2B5EF4-FFF2-40B4-BE49-F238E27FC236}">
                                <a16:creationId xmlns:a16="http://schemas.microsoft.com/office/drawing/2014/main" id="{58541AC8-5E59-72A4-EDC2-B7BD4443BD35}"/>
                              </a:ext>
                            </a:extLst>
                          </p:cNvPr>
                          <p:cNvGrpSpPr/>
                          <p:nvPr/>
                        </p:nvGrpSpPr>
                        <p:grpSpPr>
                          <a:xfrm>
                            <a:off x="4112764" y="2991671"/>
                            <a:ext cx="236564" cy="581745"/>
                            <a:chOff x="4112764" y="2991671"/>
                            <a:chExt cx="236564" cy="581745"/>
                          </a:xfrm>
                          <a:solidFill>
                            <a:srgbClr val="1E2C56"/>
                          </a:solidFill>
                        </p:grpSpPr>
                        <p:sp>
                          <p:nvSpPr>
                            <p:cNvPr id="665" name="Freeform: Shape 664">
                              <a:extLst>
                                <a:ext uri="{FF2B5EF4-FFF2-40B4-BE49-F238E27FC236}">
                                  <a16:creationId xmlns:a16="http://schemas.microsoft.com/office/drawing/2014/main" id="{B37EFD60-5428-FA30-0627-B38D7A356620}"/>
                                </a:ext>
                              </a:extLst>
                            </p:cNvPr>
                            <p:cNvSpPr/>
                            <p:nvPr/>
                          </p:nvSpPr>
                          <p:spPr>
                            <a:xfrm>
                              <a:off x="4112764" y="2991671"/>
                              <a:ext cx="95088" cy="361129"/>
                            </a:xfrm>
                            <a:custGeom>
                              <a:avLst/>
                              <a:gdLst>
                                <a:gd name="connsiteX0" fmla="*/ 91512 w 95088"/>
                                <a:gd name="connsiteY0" fmla="*/ 361117 h 361129"/>
                                <a:gd name="connsiteX1" fmla="*/ 93557 w 95088"/>
                                <a:gd name="connsiteY1" fmla="*/ 360469 h 361129"/>
                                <a:gd name="connsiteX2" fmla="*/ 94442 w 95088"/>
                                <a:gd name="connsiteY2" fmla="*/ 355494 h 361129"/>
                                <a:gd name="connsiteX3" fmla="*/ 7458 w 95088"/>
                                <a:gd name="connsiteY3" fmla="*/ 107346 h 361129"/>
                                <a:gd name="connsiteX4" fmla="*/ 33182 w 95088"/>
                                <a:gd name="connsiteY4" fmla="*/ 6796 h 361129"/>
                                <a:gd name="connsiteX5" fmla="*/ 34865 w 95088"/>
                                <a:gd name="connsiteY5" fmla="*/ 2032 h 361129"/>
                                <a:gd name="connsiteX6" fmla="*/ 30089 w 95088"/>
                                <a:gd name="connsiteY6" fmla="*/ 349 h 361129"/>
                                <a:gd name="connsiteX7" fmla="*/ 301 w 95088"/>
                                <a:gd name="connsiteY7" fmla="*/ 107646 h 361129"/>
                                <a:gd name="connsiteX8" fmla="*/ 88557 w 95088"/>
                                <a:gd name="connsiteY8" fmla="*/ 359596 h 361129"/>
                                <a:gd name="connsiteX9" fmla="*/ 91487 w 95088"/>
                                <a:gd name="connsiteY9" fmla="*/ 361130 h 36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088" h="361129">
                                  <a:moveTo>
                                    <a:pt x="91512" y="361117"/>
                                  </a:moveTo>
                                  <a:cubicBezTo>
                                    <a:pt x="92223" y="361117"/>
                                    <a:pt x="92934" y="360905"/>
                                    <a:pt x="93557" y="360469"/>
                                  </a:cubicBezTo>
                                  <a:cubicBezTo>
                                    <a:pt x="95178" y="359334"/>
                                    <a:pt x="95577" y="357115"/>
                                    <a:pt x="94442" y="355494"/>
                                  </a:cubicBezTo>
                                  <a:cubicBezTo>
                                    <a:pt x="93632" y="354322"/>
                                    <a:pt x="12820" y="237000"/>
                                    <a:pt x="7458" y="107346"/>
                                  </a:cubicBezTo>
                                  <a:cubicBezTo>
                                    <a:pt x="3917" y="21808"/>
                                    <a:pt x="32895" y="6933"/>
                                    <a:pt x="33182" y="6796"/>
                                  </a:cubicBezTo>
                                  <a:cubicBezTo>
                                    <a:pt x="34965" y="5948"/>
                                    <a:pt x="35713" y="3803"/>
                                    <a:pt x="34865" y="2032"/>
                                  </a:cubicBezTo>
                                  <a:cubicBezTo>
                                    <a:pt x="34017" y="249"/>
                                    <a:pt x="31885" y="-499"/>
                                    <a:pt x="30089" y="349"/>
                                  </a:cubicBezTo>
                                  <a:cubicBezTo>
                                    <a:pt x="28718" y="1010"/>
                                    <a:pt x="-3428" y="17444"/>
                                    <a:pt x="301" y="107646"/>
                                  </a:cubicBezTo>
                                  <a:cubicBezTo>
                                    <a:pt x="5750" y="239419"/>
                                    <a:pt x="87734" y="358399"/>
                                    <a:pt x="88557" y="359596"/>
                                  </a:cubicBezTo>
                                  <a:cubicBezTo>
                                    <a:pt x="89255" y="360594"/>
                                    <a:pt x="90365" y="361130"/>
                                    <a:pt x="91487" y="36113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6" name="Freeform: Shape 665">
                              <a:extLst>
                                <a:ext uri="{FF2B5EF4-FFF2-40B4-BE49-F238E27FC236}">
                                  <a16:creationId xmlns:a16="http://schemas.microsoft.com/office/drawing/2014/main" id="{28BB6F82-4805-3612-A24F-7A0EEFE27A34}"/>
                                </a:ext>
                              </a:extLst>
                            </p:cNvPr>
                            <p:cNvSpPr/>
                            <p:nvPr/>
                          </p:nvSpPr>
                          <p:spPr>
                            <a:xfrm>
                              <a:off x="4164460" y="3338659"/>
                              <a:ext cx="184869" cy="234757"/>
                            </a:xfrm>
                            <a:custGeom>
                              <a:avLst/>
                              <a:gdLst>
                                <a:gd name="connsiteX0" fmla="*/ 115853 w 184869"/>
                                <a:gd name="connsiteY0" fmla="*/ 234758 h 234757"/>
                                <a:gd name="connsiteX1" fmla="*/ 120604 w 184869"/>
                                <a:gd name="connsiteY1" fmla="*/ 234446 h 234757"/>
                                <a:gd name="connsiteX2" fmla="*/ 123671 w 184869"/>
                                <a:gd name="connsiteY2" fmla="*/ 230431 h 234757"/>
                                <a:gd name="connsiteX3" fmla="*/ 119656 w 184869"/>
                                <a:gd name="connsiteY3" fmla="*/ 227363 h 234757"/>
                                <a:gd name="connsiteX4" fmla="*/ 50428 w 184869"/>
                                <a:gd name="connsiteY4" fmla="*/ 177350 h 234757"/>
                                <a:gd name="connsiteX5" fmla="*/ 8158 w 184869"/>
                                <a:gd name="connsiteY5" fmla="*/ 86026 h 234757"/>
                                <a:gd name="connsiteX6" fmla="*/ 7522 w 184869"/>
                                <a:gd name="connsiteY6" fmla="*/ 80889 h 234757"/>
                                <a:gd name="connsiteX7" fmla="*/ 44580 w 184869"/>
                                <a:gd name="connsiteY7" fmla="*/ 14067 h 234757"/>
                                <a:gd name="connsiteX8" fmla="*/ 119569 w 184869"/>
                                <a:gd name="connsiteY8" fmla="*/ 26299 h 234757"/>
                                <a:gd name="connsiteX9" fmla="*/ 120878 w 184869"/>
                                <a:gd name="connsiteY9" fmla="*/ 27596 h 234757"/>
                                <a:gd name="connsiteX10" fmla="*/ 168598 w 184869"/>
                                <a:gd name="connsiteY10" fmla="*/ 116202 h 234757"/>
                                <a:gd name="connsiteX11" fmla="*/ 167089 w 184869"/>
                                <a:gd name="connsiteY11" fmla="*/ 201590 h 234757"/>
                                <a:gd name="connsiteX12" fmla="*/ 167139 w 184869"/>
                                <a:gd name="connsiteY12" fmla="*/ 206652 h 234757"/>
                                <a:gd name="connsiteX13" fmla="*/ 172201 w 184869"/>
                                <a:gd name="connsiteY13" fmla="*/ 206602 h 234757"/>
                                <a:gd name="connsiteX14" fmla="*/ 175431 w 184869"/>
                                <a:gd name="connsiteY14" fmla="*/ 114069 h 234757"/>
                                <a:gd name="connsiteX15" fmla="*/ 125941 w 184869"/>
                                <a:gd name="connsiteY15" fmla="*/ 22534 h 234757"/>
                                <a:gd name="connsiteX16" fmla="*/ 124569 w 184869"/>
                                <a:gd name="connsiteY16" fmla="*/ 21175 h 234757"/>
                                <a:gd name="connsiteX17" fmla="*/ 41463 w 184869"/>
                                <a:gd name="connsiteY17" fmla="*/ 7621 h 234757"/>
                                <a:gd name="connsiteX18" fmla="*/ 414 w 184869"/>
                                <a:gd name="connsiteY18" fmla="*/ 81625 h 234757"/>
                                <a:gd name="connsiteX19" fmla="*/ 1075 w 184869"/>
                                <a:gd name="connsiteY19" fmla="*/ 87024 h 234757"/>
                                <a:gd name="connsiteX20" fmla="*/ 44630 w 184869"/>
                                <a:gd name="connsiteY20" fmla="*/ 181527 h 234757"/>
                                <a:gd name="connsiteX21" fmla="*/ 115853 w 184869"/>
                                <a:gd name="connsiteY21" fmla="*/ 234758 h 23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869" h="234757">
                                  <a:moveTo>
                                    <a:pt x="115853" y="234758"/>
                                  </a:moveTo>
                                  <a:cubicBezTo>
                                    <a:pt x="117437" y="234758"/>
                                    <a:pt x="119020" y="234658"/>
                                    <a:pt x="120604" y="234446"/>
                                  </a:cubicBezTo>
                                  <a:cubicBezTo>
                                    <a:pt x="122562" y="234184"/>
                                    <a:pt x="123933" y="232388"/>
                                    <a:pt x="123671" y="230431"/>
                                  </a:cubicBezTo>
                                  <a:cubicBezTo>
                                    <a:pt x="123409" y="228473"/>
                                    <a:pt x="121614" y="227102"/>
                                    <a:pt x="119656" y="227363"/>
                                  </a:cubicBezTo>
                                  <a:cubicBezTo>
                                    <a:pt x="100479" y="229932"/>
                                    <a:pt x="75216" y="211702"/>
                                    <a:pt x="50428" y="177350"/>
                                  </a:cubicBezTo>
                                  <a:cubicBezTo>
                                    <a:pt x="28969" y="147599"/>
                                    <a:pt x="11587" y="110042"/>
                                    <a:pt x="8158" y="86026"/>
                                  </a:cubicBezTo>
                                  <a:cubicBezTo>
                                    <a:pt x="7908" y="84306"/>
                                    <a:pt x="7696" y="82585"/>
                                    <a:pt x="7522" y="80889"/>
                                  </a:cubicBezTo>
                                  <a:cubicBezTo>
                                    <a:pt x="3968" y="46587"/>
                                    <a:pt x="24330" y="23880"/>
                                    <a:pt x="44580" y="14067"/>
                                  </a:cubicBezTo>
                                  <a:cubicBezTo>
                                    <a:pt x="64717" y="4304"/>
                                    <a:pt x="94992" y="2396"/>
                                    <a:pt x="119569" y="26299"/>
                                  </a:cubicBezTo>
                                  <a:cubicBezTo>
                                    <a:pt x="120005" y="26723"/>
                                    <a:pt x="120442" y="27160"/>
                                    <a:pt x="120878" y="27596"/>
                                  </a:cubicBezTo>
                                  <a:cubicBezTo>
                                    <a:pt x="138048" y="44741"/>
                                    <a:pt x="157662" y="81176"/>
                                    <a:pt x="168598" y="116202"/>
                                  </a:cubicBezTo>
                                  <a:cubicBezTo>
                                    <a:pt x="181216" y="156639"/>
                                    <a:pt x="180668" y="187762"/>
                                    <a:pt x="167089" y="201590"/>
                                  </a:cubicBezTo>
                                  <a:cubicBezTo>
                                    <a:pt x="165705" y="202999"/>
                                    <a:pt x="165730" y="205268"/>
                                    <a:pt x="167139" y="206652"/>
                                  </a:cubicBezTo>
                                  <a:cubicBezTo>
                                    <a:pt x="168548" y="208036"/>
                                    <a:pt x="170804" y="208012"/>
                                    <a:pt x="172201" y="206602"/>
                                  </a:cubicBezTo>
                                  <a:cubicBezTo>
                                    <a:pt x="193398" y="185018"/>
                                    <a:pt x="183324" y="139369"/>
                                    <a:pt x="175431" y="114069"/>
                                  </a:cubicBezTo>
                                  <a:cubicBezTo>
                                    <a:pt x="164009" y="77485"/>
                                    <a:pt x="144121" y="40701"/>
                                    <a:pt x="125941" y="22534"/>
                                  </a:cubicBezTo>
                                  <a:cubicBezTo>
                                    <a:pt x="125479" y="22072"/>
                                    <a:pt x="125018" y="21623"/>
                                    <a:pt x="124569" y="21175"/>
                                  </a:cubicBezTo>
                                  <a:cubicBezTo>
                                    <a:pt x="101788" y="-983"/>
                                    <a:pt x="69955" y="-6182"/>
                                    <a:pt x="41463" y="7621"/>
                                  </a:cubicBezTo>
                                  <a:cubicBezTo>
                                    <a:pt x="13282" y="21275"/>
                                    <a:pt x="-2840" y="50327"/>
                                    <a:pt x="414" y="81625"/>
                                  </a:cubicBezTo>
                                  <a:cubicBezTo>
                                    <a:pt x="601" y="83408"/>
                                    <a:pt x="826" y="85216"/>
                                    <a:pt x="1075" y="87024"/>
                                  </a:cubicBezTo>
                                  <a:cubicBezTo>
                                    <a:pt x="4704" y="112473"/>
                                    <a:pt x="22198" y="150454"/>
                                    <a:pt x="44630" y="181527"/>
                                  </a:cubicBezTo>
                                  <a:cubicBezTo>
                                    <a:pt x="59318" y="201877"/>
                                    <a:pt x="87436" y="234758"/>
                                    <a:pt x="115853" y="234758"/>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67" name="Freeform: Shape 666">
                            <a:extLst>
                              <a:ext uri="{FF2B5EF4-FFF2-40B4-BE49-F238E27FC236}">
                                <a16:creationId xmlns:a16="http://schemas.microsoft.com/office/drawing/2014/main" id="{E5B09B69-5DB2-DC6E-52AF-70C8DB19631B}"/>
                              </a:ext>
                            </a:extLst>
                          </p:cNvPr>
                          <p:cNvSpPr/>
                          <p:nvPr/>
                        </p:nvSpPr>
                        <p:spPr>
                          <a:xfrm>
                            <a:off x="4284362" y="3555815"/>
                            <a:ext cx="21420" cy="16533"/>
                          </a:xfrm>
                          <a:custGeom>
                            <a:avLst/>
                            <a:gdLst>
                              <a:gd name="connsiteX0" fmla="*/ 240 w 21420"/>
                              <a:gd name="connsiteY0" fmla="*/ 13387 h 16533"/>
                              <a:gd name="connsiteX1" fmla="*/ 16487 w 21420"/>
                              <a:gd name="connsiteY1" fmla="*/ 15307 h 16533"/>
                              <a:gd name="connsiteX2" fmla="*/ 20826 w 21420"/>
                              <a:gd name="connsiteY2" fmla="*/ 4933 h 16533"/>
                              <a:gd name="connsiteX3" fmla="*/ 10452 w 21420"/>
                              <a:gd name="connsiteY3" fmla="*/ 594 h 16533"/>
                              <a:gd name="connsiteX4" fmla="*/ 227 w 21420"/>
                              <a:gd name="connsiteY4" fmla="*/ 13374 h 16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20" h="16533">
                                <a:moveTo>
                                  <a:pt x="240" y="13387"/>
                                </a:moveTo>
                                <a:cubicBezTo>
                                  <a:pt x="1911" y="17452"/>
                                  <a:pt x="12435" y="16978"/>
                                  <a:pt x="16487" y="15307"/>
                                </a:cubicBezTo>
                                <a:cubicBezTo>
                                  <a:pt x="20552" y="13636"/>
                                  <a:pt x="22485" y="8998"/>
                                  <a:pt x="20826" y="4933"/>
                                </a:cubicBezTo>
                                <a:cubicBezTo>
                                  <a:pt x="19156" y="868"/>
                                  <a:pt x="14517" y="-1065"/>
                                  <a:pt x="10452" y="594"/>
                                </a:cubicBezTo>
                                <a:cubicBezTo>
                                  <a:pt x="6387" y="2265"/>
                                  <a:pt x="-1431" y="9310"/>
                                  <a:pt x="227" y="13374"/>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8" name="Freeform: Shape 667">
                            <a:extLst>
                              <a:ext uri="{FF2B5EF4-FFF2-40B4-BE49-F238E27FC236}">
                                <a16:creationId xmlns:a16="http://schemas.microsoft.com/office/drawing/2014/main" id="{7CEAFDC9-341D-A44F-5D84-15D92E1E5BAA}"/>
                              </a:ext>
                            </a:extLst>
                          </p:cNvPr>
                          <p:cNvSpPr/>
                          <p:nvPr/>
                        </p:nvSpPr>
                        <p:spPr>
                          <a:xfrm>
                            <a:off x="4317988" y="3536799"/>
                            <a:ext cx="19415" cy="18804"/>
                          </a:xfrm>
                          <a:custGeom>
                            <a:avLst/>
                            <a:gdLst>
                              <a:gd name="connsiteX0" fmla="*/ 18485 w 19415"/>
                              <a:gd name="connsiteY0" fmla="*/ 1192 h 18804"/>
                              <a:gd name="connsiteX1" fmla="*/ 2575 w 19415"/>
                              <a:gd name="connsiteY1" fmla="*/ 4996 h 18804"/>
                              <a:gd name="connsiteX2" fmla="*/ 2088 w 19415"/>
                              <a:gd name="connsiteY2" fmla="*/ 16230 h 18804"/>
                              <a:gd name="connsiteX3" fmla="*/ 13323 w 19415"/>
                              <a:gd name="connsiteY3" fmla="*/ 16717 h 18804"/>
                              <a:gd name="connsiteX4" fmla="*/ 18498 w 19415"/>
                              <a:gd name="connsiteY4" fmla="*/ 1192 h 18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15" h="18804">
                                <a:moveTo>
                                  <a:pt x="18485" y="1192"/>
                                </a:moveTo>
                                <a:cubicBezTo>
                                  <a:pt x="15518" y="-2049"/>
                                  <a:pt x="5804" y="2028"/>
                                  <a:pt x="2575" y="4996"/>
                                </a:cubicBezTo>
                                <a:cubicBezTo>
                                  <a:pt x="-655" y="7963"/>
                                  <a:pt x="-879" y="12988"/>
                                  <a:pt x="2088" y="16230"/>
                                </a:cubicBezTo>
                                <a:cubicBezTo>
                                  <a:pt x="5056" y="19460"/>
                                  <a:pt x="10081" y="19684"/>
                                  <a:pt x="13323" y="16717"/>
                                </a:cubicBezTo>
                                <a:cubicBezTo>
                                  <a:pt x="16565" y="13749"/>
                                  <a:pt x="21465" y="4422"/>
                                  <a:pt x="18498" y="1192"/>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69" name="Graphic 525">
                          <a:extLst>
                            <a:ext uri="{FF2B5EF4-FFF2-40B4-BE49-F238E27FC236}">
                              <a16:creationId xmlns:a16="http://schemas.microsoft.com/office/drawing/2014/main" id="{E8BEBF8C-B573-0A73-984D-54FFFC65225C}"/>
                            </a:ext>
                          </a:extLst>
                        </p:cNvPr>
                        <p:cNvGrpSpPr/>
                        <p:nvPr/>
                      </p:nvGrpSpPr>
                      <p:grpSpPr>
                        <a:xfrm>
                          <a:off x="4434930" y="3601840"/>
                          <a:ext cx="86043" cy="86043"/>
                          <a:chOff x="4434930" y="3601840"/>
                          <a:chExt cx="86043" cy="86043"/>
                        </a:xfrm>
                      </p:grpSpPr>
                      <p:sp>
                        <p:nvSpPr>
                          <p:cNvPr id="670" name="Freeform: Shape 669">
                            <a:extLst>
                              <a:ext uri="{FF2B5EF4-FFF2-40B4-BE49-F238E27FC236}">
                                <a16:creationId xmlns:a16="http://schemas.microsoft.com/office/drawing/2014/main" id="{475DD057-2953-5C86-4624-D54AE64568CD}"/>
                              </a:ext>
                            </a:extLst>
                          </p:cNvPr>
                          <p:cNvSpPr/>
                          <p:nvPr/>
                        </p:nvSpPr>
                        <p:spPr>
                          <a:xfrm rot="-339000">
                            <a:off x="4438612" y="3605522"/>
                            <a:ext cx="78679" cy="78679"/>
                          </a:xfrm>
                          <a:custGeom>
                            <a:avLst/>
                            <a:gdLst>
                              <a:gd name="connsiteX0" fmla="*/ 78680 w 78679"/>
                              <a:gd name="connsiteY0" fmla="*/ 39340 h 78679"/>
                              <a:gd name="connsiteX1" fmla="*/ 39340 w 78679"/>
                              <a:gd name="connsiteY1" fmla="*/ 78680 h 78679"/>
                              <a:gd name="connsiteX2" fmla="*/ 0 w 78679"/>
                              <a:gd name="connsiteY2" fmla="*/ 39340 h 78679"/>
                              <a:gd name="connsiteX3" fmla="*/ 39340 w 78679"/>
                              <a:gd name="connsiteY3" fmla="*/ 0 h 78679"/>
                              <a:gd name="connsiteX4" fmla="*/ 78680 w 78679"/>
                              <a:gd name="connsiteY4" fmla="*/ 39340 h 7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79" h="78679">
                                <a:moveTo>
                                  <a:pt x="78680" y="39340"/>
                                </a:moveTo>
                                <a:cubicBezTo>
                                  <a:pt x="78680" y="61067"/>
                                  <a:pt x="61067" y="78680"/>
                                  <a:pt x="39340" y="78680"/>
                                </a:cubicBezTo>
                                <a:cubicBezTo>
                                  <a:pt x="17613" y="78680"/>
                                  <a:pt x="0" y="61067"/>
                                  <a:pt x="0" y="39340"/>
                                </a:cubicBezTo>
                                <a:cubicBezTo>
                                  <a:pt x="0" y="17613"/>
                                  <a:pt x="17613" y="0"/>
                                  <a:pt x="39340" y="0"/>
                                </a:cubicBezTo>
                                <a:cubicBezTo>
                                  <a:pt x="61067" y="0"/>
                                  <a:pt x="78680" y="17613"/>
                                  <a:pt x="78680" y="3934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1" name="Freeform: Shape 670">
                            <a:extLst>
                              <a:ext uri="{FF2B5EF4-FFF2-40B4-BE49-F238E27FC236}">
                                <a16:creationId xmlns:a16="http://schemas.microsoft.com/office/drawing/2014/main" id="{9964BFC5-63FA-1A68-8E82-9B2AB564CFE1}"/>
                              </a:ext>
                            </a:extLst>
                          </p:cNvPr>
                          <p:cNvSpPr/>
                          <p:nvPr/>
                        </p:nvSpPr>
                        <p:spPr>
                          <a:xfrm rot="-796800">
                            <a:off x="4454669" y="3621386"/>
                            <a:ext cx="46883" cy="46883"/>
                          </a:xfrm>
                          <a:custGeom>
                            <a:avLst/>
                            <a:gdLst>
                              <a:gd name="connsiteX0" fmla="*/ 46884 w 46883"/>
                              <a:gd name="connsiteY0" fmla="*/ 23442 h 46883"/>
                              <a:gd name="connsiteX1" fmla="*/ 23442 w 46883"/>
                              <a:gd name="connsiteY1" fmla="*/ 46884 h 46883"/>
                              <a:gd name="connsiteX2" fmla="*/ 0 w 46883"/>
                              <a:gd name="connsiteY2" fmla="*/ 23442 h 46883"/>
                              <a:gd name="connsiteX3" fmla="*/ 23442 w 46883"/>
                              <a:gd name="connsiteY3" fmla="*/ 0 h 46883"/>
                              <a:gd name="connsiteX4" fmla="*/ 46884 w 46883"/>
                              <a:gd name="connsiteY4" fmla="*/ 23442 h 46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3" h="46883">
                                <a:moveTo>
                                  <a:pt x="46884" y="23442"/>
                                </a:moveTo>
                                <a:cubicBezTo>
                                  <a:pt x="46884" y="36389"/>
                                  <a:pt x="36388" y="46884"/>
                                  <a:pt x="23442" y="46884"/>
                                </a:cubicBezTo>
                                <a:cubicBezTo>
                                  <a:pt x="10495" y="46884"/>
                                  <a:pt x="0" y="36389"/>
                                  <a:pt x="0" y="23442"/>
                                </a:cubicBezTo>
                                <a:cubicBezTo>
                                  <a:pt x="0" y="10495"/>
                                  <a:pt x="10495" y="0"/>
                                  <a:pt x="23442" y="0"/>
                                </a:cubicBezTo>
                                <a:cubicBezTo>
                                  <a:pt x="36388" y="0"/>
                                  <a:pt x="46884" y="10495"/>
                                  <a:pt x="46884" y="23442"/>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672" name="Freeform: Shape 671">
                      <a:extLst>
                        <a:ext uri="{FF2B5EF4-FFF2-40B4-BE49-F238E27FC236}">
                          <a16:creationId xmlns:a16="http://schemas.microsoft.com/office/drawing/2014/main" id="{7D784035-50D4-41CC-9D3A-0BE93141D00C}"/>
                        </a:ext>
                      </a:extLst>
                    </p:cNvPr>
                    <p:cNvSpPr/>
                    <p:nvPr/>
                  </p:nvSpPr>
                  <p:spPr>
                    <a:xfrm>
                      <a:off x="4046108" y="2970411"/>
                      <a:ext cx="371677" cy="488539"/>
                    </a:xfrm>
                    <a:custGeom>
                      <a:avLst/>
                      <a:gdLst>
                        <a:gd name="connsiteX0" fmla="*/ 371677 w 371677"/>
                        <a:gd name="connsiteY0" fmla="*/ 488539 h 488539"/>
                        <a:gd name="connsiteX1" fmla="*/ 216886 w 371677"/>
                        <a:gd name="connsiteY1" fmla="*/ 256851 h 488539"/>
                        <a:gd name="connsiteX2" fmla="*/ 244567 w 371677"/>
                        <a:gd name="connsiteY2" fmla="*/ 229169 h 488539"/>
                        <a:gd name="connsiteX3" fmla="*/ 1831 w 371677"/>
                        <a:gd name="connsiteY3" fmla="*/ 39041 h 488539"/>
                        <a:gd name="connsiteX4" fmla="*/ 1806 w 371677"/>
                        <a:gd name="connsiteY4" fmla="*/ 33467 h 488539"/>
                        <a:gd name="connsiteX5" fmla="*/ 113467 w 371677"/>
                        <a:gd name="connsiteY5" fmla="*/ 0 h 488539"/>
                        <a:gd name="connsiteX6" fmla="*/ 371677 w 371677"/>
                        <a:gd name="connsiteY6" fmla="*/ 488539 h 4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677" h="488539">
                          <a:moveTo>
                            <a:pt x="371677" y="488539"/>
                          </a:moveTo>
                          <a:cubicBezTo>
                            <a:pt x="371677" y="488539"/>
                            <a:pt x="298895" y="322463"/>
                            <a:pt x="216886" y="256851"/>
                          </a:cubicBezTo>
                          <a:cubicBezTo>
                            <a:pt x="216886" y="256851"/>
                            <a:pt x="226113" y="238396"/>
                            <a:pt x="244567" y="229169"/>
                          </a:cubicBezTo>
                          <a:cubicBezTo>
                            <a:pt x="244567" y="229169"/>
                            <a:pt x="104552" y="84403"/>
                            <a:pt x="1831" y="39041"/>
                          </a:cubicBezTo>
                          <a:cubicBezTo>
                            <a:pt x="-600" y="37968"/>
                            <a:pt x="-613" y="34539"/>
                            <a:pt x="1806" y="33467"/>
                          </a:cubicBezTo>
                          <a:cubicBezTo>
                            <a:pt x="19937" y="25412"/>
                            <a:pt x="80761" y="4190"/>
                            <a:pt x="113467" y="0"/>
                          </a:cubicBezTo>
                          <a:cubicBezTo>
                            <a:pt x="113467" y="0"/>
                            <a:pt x="316327" y="189193"/>
                            <a:pt x="371677" y="488539"/>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3" name="Freeform: Shape 672">
                      <a:extLst>
                        <a:ext uri="{FF2B5EF4-FFF2-40B4-BE49-F238E27FC236}">
                          <a16:creationId xmlns:a16="http://schemas.microsoft.com/office/drawing/2014/main" id="{B356492D-B42A-9B4C-FBFC-BE54DEDF0BF5}"/>
                        </a:ext>
                      </a:extLst>
                    </p:cNvPr>
                    <p:cNvSpPr/>
                    <p:nvPr/>
                  </p:nvSpPr>
                  <p:spPr>
                    <a:xfrm>
                      <a:off x="4378183" y="3008542"/>
                      <a:ext cx="79013" cy="444585"/>
                    </a:xfrm>
                    <a:custGeom>
                      <a:avLst/>
                      <a:gdLst>
                        <a:gd name="connsiteX0" fmla="*/ 5511 w 79013"/>
                        <a:gd name="connsiteY0" fmla="*/ 12 h 444585"/>
                        <a:gd name="connsiteX1" fmla="*/ 38242 w 79013"/>
                        <a:gd name="connsiteY1" fmla="*/ 444586 h 444585"/>
                        <a:gd name="connsiteX2" fmla="*/ 57033 w 79013"/>
                        <a:gd name="connsiteY2" fmla="*/ 184879 h 444585"/>
                        <a:gd name="connsiteX3" fmla="*/ 34477 w 79013"/>
                        <a:gd name="connsiteY3" fmla="*/ 177697 h 444585"/>
                        <a:gd name="connsiteX4" fmla="*/ 78280 w 79013"/>
                        <a:gd name="connsiteY4" fmla="*/ 19427 h 444585"/>
                        <a:gd name="connsiteX5" fmla="*/ 74677 w 79013"/>
                        <a:gd name="connsiteY5" fmla="*/ 10399 h 444585"/>
                        <a:gd name="connsiteX6" fmla="*/ 5498 w 79013"/>
                        <a:gd name="connsiteY6" fmla="*/ 0 h 44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13" h="444585">
                          <a:moveTo>
                            <a:pt x="5511" y="12"/>
                          </a:moveTo>
                          <a:cubicBezTo>
                            <a:pt x="5511" y="12"/>
                            <a:pt x="-19851" y="238197"/>
                            <a:pt x="38242" y="444586"/>
                          </a:cubicBezTo>
                          <a:cubicBezTo>
                            <a:pt x="38242" y="444586"/>
                            <a:pt x="27307" y="250491"/>
                            <a:pt x="57033" y="184879"/>
                          </a:cubicBezTo>
                          <a:cubicBezTo>
                            <a:pt x="57033" y="184879"/>
                            <a:pt x="50886" y="178732"/>
                            <a:pt x="34477" y="177697"/>
                          </a:cubicBezTo>
                          <a:cubicBezTo>
                            <a:pt x="34477" y="177697"/>
                            <a:pt x="34501" y="103019"/>
                            <a:pt x="78280" y="19427"/>
                          </a:cubicBezTo>
                          <a:cubicBezTo>
                            <a:pt x="80101" y="15948"/>
                            <a:pt x="78393" y="11658"/>
                            <a:pt x="74677" y="10399"/>
                          </a:cubicBezTo>
                          <a:cubicBezTo>
                            <a:pt x="64165" y="6833"/>
                            <a:pt x="41584" y="923"/>
                            <a:pt x="5498" y="0"/>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674" name="Graphic 525">
                <a:extLst>
                  <a:ext uri="{FF2B5EF4-FFF2-40B4-BE49-F238E27FC236}">
                    <a16:creationId xmlns:a16="http://schemas.microsoft.com/office/drawing/2014/main" id="{4F18DE54-7E80-13C9-D0F0-B9A4DFA7BC0C}"/>
                  </a:ext>
                </a:extLst>
              </p:cNvPr>
              <p:cNvGrpSpPr/>
              <p:nvPr/>
            </p:nvGrpSpPr>
            <p:grpSpPr>
              <a:xfrm>
                <a:off x="3894157" y="3026024"/>
                <a:ext cx="1224716" cy="965968"/>
                <a:chOff x="3894157" y="3026024"/>
                <a:chExt cx="1224716" cy="965968"/>
              </a:xfrm>
            </p:grpSpPr>
            <p:sp>
              <p:nvSpPr>
                <p:cNvPr id="675" name="Freeform: Shape 674">
                  <a:extLst>
                    <a:ext uri="{FF2B5EF4-FFF2-40B4-BE49-F238E27FC236}">
                      <a16:creationId xmlns:a16="http://schemas.microsoft.com/office/drawing/2014/main" id="{06452D99-1CBD-A1C5-7AD1-FC119D7E3B45}"/>
                    </a:ext>
                  </a:extLst>
                </p:cNvPr>
                <p:cNvSpPr/>
                <p:nvPr/>
              </p:nvSpPr>
              <p:spPr>
                <a:xfrm>
                  <a:off x="3894157" y="3026024"/>
                  <a:ext cx="327020" cy="784994"/>
                </a:xfrm>
                <a:custGeom>
                  <a:avLst/>
                  <a:gdLst>
                    <a:gd name="connsiteX0" fmla="*/ 136063 w 327020"/>
                    <a:gd name="connsiteY0" fmla="*/ 0 h 784994"/>
                    <a:gd name="connsiteX1" fmla="*/ 220255 w 327020"/>
                    <a:gd name="connsiteY1" fmla="*/ 190677 h 784994"/>
                    <a:gd name="connsiteX2" fmla="*/ 326741 w 327020"/>
                    <a:gd name="connsiteY2" fmla="*/ 690887 h 784994"/>
                    <a:gd name="connsiteX3" fmla="*/ 240068 w 327020"/>
                    <a:gd name="connsiteY3" fmla="*/ 784992 h 784994"/>
                    <a:gd name="connsiteX4" fmla="*/ 79104 w 327020"/>
                    <a:gd name="connsiteY4" fmla="*/ 636410 h 784994"/>
                    <a:gd name="connsiteX5" fmla="*/ 136063 w 327020"/>
                    <a:gd name="connsiteY5" fmla="*/ 0 h 78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020" h="784994">
                      <a:moveTo>
                        <a:pt x="136063" y="0"/>
                      </a:moveTo>
                      <a:cubicBezTo>
                        <a:pt x="136063" y="0"/>
                        <a:pt x="193022" y="71809"/>
                        <a:pt x="220255" y="190677"/>
                      </a:cubicBezTo>
                      <a:cubicBezTo>
                        <a:pt x="247500" y="309545"/>
                        <a:pt x="321778" y="626509"/>
                        <a:pt x="326741" y="690887"/>
                      </a:cubicBezTo>
                      <a:cubicBezTo>
                        <a:pt x="331691" y="755265"/>
                        <a:pt x="269782" y="784992"/>
                        <a:pt x="240068" y="784992"/>
                      </a:cubicBezTo>
                      <a:cubicBezTo>
                        <a:pt x="210354" y="784992"/>
                        <a:pt x="126163" y="787473"/>
                        <a:pt x="79104" y="636410"/>
                      </a:cubicBezTo>
                      <a:cubicBezTo>
                        <a:pt x="32059" y="485359"/>
                        <a:pt x="-99191" y="4950"/>
                        <a:pt x="136063" y="0"/>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76" name="Graphic 525">
                  <a:extLst>
                    <a:ext uri="{FF2B5EF4-FFF2-40B4-BE49-F238E27FC236}">
                      <a16:creationId xmlns:a16="http://schemas.microsoft.com/office/drawing/2014/main" id="{61A300C7-1022-5642-8744-905FC06A3B34}"/>
                    </a:ext>
                  </a:extLst>
                </p:cNvPr>
                <p:cNvGrpSpPr/>
                <p:nvPr/>
              </p:nvGrpSpPr>
              <p:grpSpPr>
                <a:xfrm>
                  <a:off x="4048073" y="3484012"/>
                  <a:ext cx="1070800" cy="507979"/>
                  <a:chOff x="4048073" y="3484012"/>
                  <a:chExt cx="1070800" cy="507979"/>
                </a:xfrm>
              </p:grpSpPr>
              <p:grpSp>
                <p:nvGrpSpPr>
                  <p:cNvPr id="677" name="Graphic 525">
                    <a:extLst>
                      <a:ext uri="{FF2B5EF4-FFF2-40B4-BE49-F238E27FC236}">
                        <a16:creationId xmlns:a16="http://schemas.microsoft.com/office/drawing/2014/main" id="{8EC85BE5-0011-2300-4CA6-1FD4FE78083D}"/>
                      </a:ext>
                    </a:extLst>
                  </p:cNvPr>
                  <p:cNvGrpSpPr/>
                  <p:nvPr/>
                </p:nvGrpSpPr>
                <p:grpSpPr>
                  <a:xfrm>
                    <a:off x="4576886" y="3484012"/>
                    <a:ext cx="541986" cy="507979"/>
                    <a:chOff x="4576886" y="3484012"/>
                    <a:chExt cx="541986" cy="507979"/>
                  </a:xfrm>
                </p:grpSpPr>
                <p:sp>
                  <p:nvSpPr>
                    <p:cNvPr id="678" name="Freeform: Shape 677">
                      <a:extLst>
                        <a:ext uri="{FF2B5EF4-FFF2-40B4-BE49-F238E27FC236}">
                          <a16:creationId xmlns:a16="http://schemas.microsoft.com/office/drawing/2014/main" id="{E6BFDD43-3ABC-F3D5-42C3-D102252FE326}"/>
                        </a:ext>
                      </a:extLst>
                    </p:cNvPr>
                    <p:cNvSpPr/>
                    <p:nvPr/>
                  </p:nvSpPr>
                  <p:spPr>
                    <a:xfrm>
                      <a:off x="4576886" y="3484012"/>
                      <a:ext cx="534767" cy="504700"/>
                    </a:xfrm>
                    <a:custGeom>
                      <a:avLst/>
                      <a:gdLst>
                        <a:gd name="connsiteX0" fmla="*/ 207976 w 534767"/>
                        <a:gd name="connsiteY0" fmla="*/ 498340 h 504700"/>
                        <a:gd name="connsiteX1" fmla="*/ 529479 w 534767"/>
                        <a:gd name="connsiteY1" fmla="*/ 151400 h 504700"/>
                        <a:gd name="connsiteX2" fmla="*/ 527372 w 534767"/>
                        <a:gd name="connsiteY2" fmla="*/ 122447 h 504700"/>
                        <a:gd name="connsiteX3" fmla="*/ 380822 w 534767"/>
                        <a:gd name="connsiteY3" fmla="*/ 4390 h 504700"/>
                        <a:gd name="connsiteX4" fmla="*/ 353154 w 534767"/>
                        <a:gd name="connsiteY4" fmla="*/ 7108 h 504700"/>
                        <a:gd name="connsiteX5" fmla="*/ 4642 w 534767"/>
                        <a:gd name="connsiteY5" fmla="*/ 423439 h 504700"/>
                        <a:gd name="connsiteX6" fmla="*/ 14506 w 534767"/>
                        <a:gd name="connsiteY6" fmla="*/ 455297 h 504700"/>
                        <a:gd name="connsiteX7" fmla="*/ 188075 w 534767"/>
                        <a:gd name="connsiteY7" fmla="*/ 503964 h 504700"/>
                        <a:gd name="connsiteX8" fmla="*/ 208001 w 534767"/>
                        <a:gd name="connsiteY8" fmla="*/ 498340 h 50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767" h="504700">
                          <a:moveTo>
                            <a:pt x="207976" y="498340"/>
                          </a:moveTo>
                          <a:lnTo>
                            <a:pt x="529479" y="151400"/>
                          </a:lnTo>
                          <a:cubicBezTo>
                            <a:pt x="537297" y="142959"/>
                            <a:pt x="536324" y="129667"/>
                            <a:pt x="527372" y="122447"/>
                          </a:cubicBezTo>
                          <a:lnTo>
                            <a:pt x="380822" y="4390"/>
                          </a:lnTo>
                          <a:cubicBezTo>
                            <a:pt x="372393" y="-2393"/>
                            <a:pt x="360086" y="-1184"/>
                            <a:pt x="353154" y="7108"/>
                          </a:cubicBezTo>
                          <a:lnTo>
                            <a:pt x="4642" y="423439"/>
                          </a:lnTo>
                          <a:cubicBezTo>
                            <a:pt x="-4610" y="434486"/>
                            <a:pt x="627" y="451407"/>
                            <a:pt x="14506" y="455297"/>
                          </a:cubicBezTo>
                          <a:lnTo>
                            <a:pt x="188075" y="503964"/>
                          </a:lnTo>
                          <a:cubicBezTo>
                            <a:pt x="195245" y="505971"/>
                            <a:pt x="202938" y="503802"/>
                            <a:pt x="208001" y="498340"/>
                          </a:cubicBezTo>
                          <a:close/>
                        </a:path>
                      </a:pathLst>
                    </a:custGeom>
                    <a:solidFill>
                      <a:srgbClr val="F4CE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9" name="Freeform: Shape 678">
                      <a:extLst>
                        <a:ext uri="{FF2B5EF4-FFF2-40B4-BE49-F238E27FC236}">
                          <a16:creationId xmlns:a16="http://schemas.microsoft.com/office/drawing/2014/main" id="{70B1F561-27CF-F424-EE8B-CFD6B6744672}"/>
                        </a:ext>
                      </a:extLst>
                    </p:cNvPr>
                    <p:cNvSpPr/>
                    <p:nvPr/>
                  </p:nvSpPr>
                  <p:spPr>
                    <a:xfrm>
                      <a:off x="4584106" y="3487292"/>
                      <a:ext cx="534767" cy="504700"/>
                    </a:xfrm>
                    <a:custGeom>
                      <a:avLst/>
                      <a:gdLst>
                        <a:gd name="connsiteX0" fmla="*/ 207976 w 534767"/>
                        <a:gd name="connsiteY0" fmla="*/ 498340 h 504700"/>
                        <a:gd name="connsiteX1" fmla="*/ 529479 w 534767"/>
                        <a:gd name="connsiteY1" fmla="*/ 151400 h 504700"/>
                        <a:gd name="connsiteX2" fmla="*/ 527372 w 534767"/>
                        <a:gd name="connsiteY2" fmla="*/ 122447 h 504700"/>
                        <a:gd name="connsiteX3" fmla="*/ 380823 w 534767"/>
                        <a:gd name="connsiteY3" fmla="*/ 4390 h 504700"/>
                        <a:gd name="connsiteX4" fmla="*/ 353154 w 534767"/>
                        <a:gd name="connsiteY4" fmla="*/ 7108 h 504700"/>
                        <a:gd name="connsiteX5" fmla="*/ 4643 w 534767"/>
                        <a:gd name="connsiteY5" fmla="*/ 423439 h 504700"/>
                        <a:gd name="connsiteX6" fmla="*/ 14506 w 534767"/>
                        <a:gd name="connsiteY6" fmla="*/ 455297 h 504700"/>
                        <a:gd name="connsiteX7" fmla="*/ 188075 w 534767"/>
                        <a:gd name="connsiteY7" fmla="*/ 503964 h 504700"/>
                        <a:gd name="connsiteX8" fmla="*/ 208001 w 534767"/>
                        <a:gd name="connsiteY8" fmla="*/ 498340 h 50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767" h="504700">
                          <a:moveTo>
                            <a:pt x="207976" y="498340"/>
                          </a:moveTo>
                          <a:lnTo>
                            <a:pt x="529479" y="151400"/>
                          </a:lnTo>
                          <a:cubicBezTo>
                            <a:pt x="537297" y="142959"/>
                            <a:pt x="536325" y="129667"/>
                            <a:pt x="527372" y="122447"/>
                          </a:cubicBezTo>
                          <a:lnTo>
                            <a:pt x="380823" y="4390"/>
                          </a:lnTo>
                          <a:cubicBezTo>
                            <a:pt x="372393" y="-2393"/>
                            <a:pt x="360086" y="-1184"/>
                            <a:pt x="353154" y="7108"/>
                          </a:cubicBezTo>
                          <a:lnTo>
                            <a:pt x="4643" y="423439"/>
                          </a:lnTo>
                          <a:cubicBezTo>
                            <a:pt x="-4610" y="434486"/>
                            <a:pt x="627" y="451407"/>
                            <a:pt x="14506" y="455297"/>
                          </a:cubicBezTo>
                          <a:lnTo>
                            <a:pt x="188075" y="503964"/>
                          </a:lnTo>
                          <a:cubicBezTo>
                            <a:pt x="195245" y="505971"/>
                            <a:pt x="202938" y="503802"/>
                            <a:pt x="208001" y="49834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0" name="Freeform: Shape 679">
                      <a:extLst>
                        <a:ext uri="{FF2B5EF4-FFF2-40B4-BE49-F238E27FC236}">
                          <a16:creationId xmlns:a16="http://schemas.microsoft.com/office/drawing/2014/main" id="{3CEE9E0D-4AE9-73B7-4494-2226A9FC90B8}"/>
                        </a:ext>
                      </a:extLst>
                    </p:cNvPr>
                    <p:cNvSpPr/>
                    <p:nvPr/>
                  </p:nvSpPr>
                  <p:spPr>
                    <a:xfrm>
                      <a:off x="4971726" y="3492325"/>
                      <a:ext cx="112406" cy="98878"/>
                    </a:xfrm>
                    <a:custGeom>
                      <a:avLst/>
                      <a:gdLst>
                        <a:gd name="connsiteX0" fmla="*/ 106621 w 112406"/>
                        <a:gd name="connsiteY0" fmla="*/ 79496 h 98878"/>
                        <a:gd name="connsiteX1" fmla="*/ 96110 w 112406"/>
                        <a:gd name="connsiteY1" fmla="*/ 93237 h 98878"/>
                        <a:gd name="connsiteX2" fmla="*/ 76222 w 112406"/>
                        <a:gd name="connsiteY2" fmla="*/ 96129 h 98878"/>
                        <a:gd name="connsiteX3" fmla="*/ 5921 w 112406"/>
                        <a:gd name="connsiteY3" fmla="*/ 44969 h 98878"/>
                        <a:gd name="connsiteX4" fmla="*/ 3041 w 112406"/>
                        <a:gd name="connsiteY4" fmla="*/ 24494 h 98878"/>
                        <a:gd name="connsiteX5" fmla="*/ 14649 w 112406"/>
                        <a:gd name="connsiteY5" fmla="*/ 9594 h 98878"/>
                        <a:gd name="connsiteX6" fmla="*/ 49450 w 112406"/>
                        <a:gd name="connsiteY6" fmla="*/ 4831 h 98878"/>
                        <a:gd name="connsiteX7" fmla="*/ 101871 w 112406"/>
                        <a:gd name="connsiteY7" fmla="*/ 42737 h 98878"/>
                        <a:gd name="connsiteX8" fmla="*/ 106621 w 112406"/>
                        <a:gd name="connsiteY8" fmla="*/ 79508 h 9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06" h="98878">
                          <a:moveTo>
                            <a:pt x="106621" y="79496"/>
                          </a:moveTo>
                          <a:lnTo>
                            <a:pt x="96110" y="93237"/>
                          </a:lnTo>
                          <a:cubicBezTo>
                            <a:pt x="91359" y="99434"/>
                            <a:pt x="82531" y="100718"/>
                            <a:pt x="76222" y="96129"/>
                          </a:cubicBezTo>
                          <a:lnTo>
                            <a:pt x="5921" y="44969"/>
                          </a:lnTo>
                          <a:cubicBezTo>
                            <a:pt x="-650" y="40181"/>
                            <a:pt x="-1960" y="30916"/>
                            <a:pt x="3041" y="24494"/>
                          </a:cubicBezTo>
                          <a:lnTo>
                            <a:pt x="14649" y="9594"/>
                          </a:lnTo>
                          <a:cubicBezTo>
                            <a:pt x="23116" y="-1042"/>
                            <a:pt x="38440" y="-3137"/>
                            <a:pt x="49450" y="4831"/>
                          </a:cubicBezTo>
                          <a:lnTo>
                            <a:pt x="101871" y="42737"/>
                          </a:lnTo>
                          <a:cubicBezTo>
                            <a:pt x="113754" y="51328"/>
                            <a:pt x="115936" y="68174"/>
                            <a:pt x="106621" y="79508"/>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81" name="Freeform: Shape 680">
                    <a:extLst>
                      <a:ext uri="{FF2B5EF4-FFF2-40B4-BE49-F238E27FC236}">
                        <a16:creationId xmlns:a16="http://schemas.microsoft.com/office/drawing/2014/main" id="{EF14448F-52C4-DAE5-7814-FE641427FE76}"/>
                      </a:ext>
                    </a:extLst>
                  </p:cNvPr>
                  <p:cNvSpPr/>
                  <p:nvPr/>
                </p:nvSpPr>
                <p:spPr>
                  <a:xfrm>
                    <a:off x="4616541" y="3675014"/>
                    <a:ext cx="329620" cy="270237"/>
                  </a:xfrm>
                  <a:custGeom>
                    <a:avLst/>
                    <a:gdLst>
                      <a:gd name="connsiteX0" fmla="*/ 15425 w 329620"/>
                      <a:gd name="connsiteY0" fmla="*/ 106275 h 270237"/>
                      <a:gd name="connsiteX1" fmla="*/ 64952 w 329620"/>
                      <a:gd name="connsiteY1" fmla="*/ 76561 h 270237"/>
                      <a:gd name="connsiteX2" fmla="*/ 141712 w 329620"/>
                      <a:gd name="connsiteY2" fmla="*/ 4752 h 270237"/>
                      <a:gd name="connsiteX3" fmla="*/ 129330 w 329620"/>
                      <a:gd name="connsiteY3" fmla="*/ 54279 h 270237"/>
                      <a:gd name="connsiteX4" fmla="*/ 109517 w 329620"/>
                      <a:gd name="connsiteY4" fmla="*/ 131039 h 270237"/>
                      <a:gd name="connsiteX5" fmla="*/ 253136 w 329620"/>
                      <a:gd name="connsiteY5" fmla="*/ 163234 h 270237"/>
                      <a:gd name="connsiteX6" fmla="*/ 327427 w 329620"/>
                      <a:gd name="connsiteY6" fmla="*/ 163234 h 270237"/>
                      <a:gd name="connsiteX7" fmla="*/ 265518 w 329620"/>
                      <a:gd name="connsiteY7" fmla="*/ 202848 h 270237"/>
                      <a:gd name="connsiteX8" fmla="*/ 240754 w 329620"/>
                      <a:gd name="connsiteY8" fmla="*/ 242475 h 270237"/>
                      <a:gd name="connsiteX9" fmla="*/ 186277 w 329620"/>
                      <a:gd name="connsiteY9" fmla="*/ 269720 h 270237"/>
                      <a:gd name="connsiteX10" fmla="*/ 550 w 329620"/>
                      <a:gd name="connsiteY10" fmla="*/ 202861 h 270237"/>
                      <a:gd name="connsiteX11" fmla="*/ 15413 w 329620"/>
                      <a:gd name="connsiteY11" fmla="*/ 106288 h 27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620" h="270237">
                        <a:moveTo>
                          <a:pt x="15425" y="106275"/>
                        </a:moveTo>
                        <a:cubicBezTo>
                          <a:pt x="15425" y="106275"/>
                          <a:pt x="32757" y="93893"/>
                          <a:pt x="64952" y="76561"/>
                        </a:cubicBezTo>
                        <a:cubicBezTo>
                          <a:pt x="97148" y="59229"/>
                          <a:pt x="116949" y="-20012"/>
                          <a:pt x="141712" y="4752"/>
                        </a:cubicBezTo>
                        <a:cubicBezTo>
                          <a:pt x="153458" y="16498"/>
                          <a:pt x="134480" y="40127"/>
                          <a:pt x="129330" y="54279"/>
                        </a:cubicBezTo>
                        <a:cubicBezTo>
                          <a:pt x="119430" y="81524"/>
                          <a:pt x="111998" y="106275"/>
                          <a:pt x="109517" y="131039"/>
                        </a:cubicBezTo>
                        <a:cubicBezTo>
                          <a:pt x="107036" y="155802"/>
                          <a:pt x="208571" y="170665"/>
                          <a:pt x="253136" y="163234"/>
                        </a:cubicBezTo>
                        <a:cubicBezTo>
                          <a:pt x="297713" y="155802"/>
                          <a:pt x="339809" y="140952"/>
                          <a:pt x="327427" y="163234"/>
                        </a:cubicBezTo>
                        <a:cubicBezTo>
                          <a:pt x="315045" y="185516"/>
                          <a:pt x="280381" y="202848"/>
                          <a:pt x="265518" y="202848"/>
                        </a:cubicBezTo>
                        <a:cubicBezTo>
                          <a:pt x="265518" y="202848"/>
                          <a:pt x="280381" y="235043"/>
                          <a:pt x="240754" y="242475"/>
                        </a:cubicBezTo>
                        <a:cubicBezTo>
                          <a:pt x="240754" y="242475"/>
                          <a:pt x="225891" y="274670"/>
                          <a:pt x="186277" y="269720"/>
                        </a:cubicBezTo>
                        <a:cubicBezTo>
                          <a:pt x="146650" y="264770"/>
                          <a:pt x="59990" y="240006"/>
                          <a:pt x="550" y="202861"/>
                        </a:cubicBezTo>
                        <a:cubicBezTo>
                          <a:pt x="550" y="202861"/>
                          <a:pt x="-4401" y="163246"/>
                          <a:pt x="15413" y="106288"/>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9" name="Freeform: Shape 688">
                    <a:extLst>
                      <a:ext uri="{FF2B5EF4-FFF2-40B4-BE49-F238E27FC236}">
                        <a16:creationId xmlns:a16="http://schemas.microsoft.com/office/drawing/2014/main" id="{A56484C0-B6FD-871B-8B1C-B2E84BAE2F6F}"/>
                      </a:ext>
                    </a:extLst>
                  </p:cNvPr>
                  <p:cNvSpPr/>
                  <p:nvPr/>
                </p:nvSpPr>
                <p:spPr>
                  <a:xfrm>
                    <a:off x="4048073" y="3607864"/>
                    <a:ext cx="612633" cy="292292"/>
                  </a:xfrm>
                  <a:custGeom>
                    <a:avLst/>
                    <a:gdLst>
                      <a:gd name="connsiteX0" fmla="*/ 19293 w 612633"/>
                      <a:gd name="connsiteY0" fmla="*/ 190769 h 292292"/>
                      <a:gd name="connsiteX1" fmla="*/ 578931 w 612633"/>
                      <a:gd name="connsiteY1" fmla="*/ 292292 h 292292"/>
                      <a:gd name="connsiteX2" fmla="*/ 611126 w 612633"/>
                      <a:gd name="connsiteY2" fmla="*/ 148673 h 292292"/>
                      <a:gd name="connsiteX3" fmla="*/ 276830 w 612633"/>
                      <a:gd name="connsiteY3" fmla="*/ 37237 h 292292"/>
                      <a:gd name="connsiteX4" fmla="*/ 19293 w 612633"/>
                      <a:gd name="connsiteY4" fmla="*/ 190769 h 292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633" h="292292">
                        <a:moveTo>
                          <a:pt x="19293" y="190769"/>
                        </a:moveTo>
                        <a:cubicBezTo>
                          <a:pt x="19293" y="190769"/>
                          <a:pt x="197589" y="272491"/>
                          <a:pt x="578931" y="292292"/>
                        </a:cubicBezTo>
                        <a:cubicBezTo>
                          <a:pt x="578931" y="292292"/>
                          <a:pt x="621026" y="240296"/>
                          <a:pt x="611126" y="148673"/>
                        </a:cubicBezTo>
                        <a:cubicBezTo>
                          <a:pt x="611126" y="148673"/>
                          <a:pt x="389937" y="85480"/>
                          <a:pt x="276830" y="37237"/>
                        </a:cubicBezTo>
                        <a:cubicBezTo>
                          <a:pt x="108447" y="-34573"/>
                          <a:pt x="-57467" y="-12290"/>
                          <a:pt x="19293" y="190769"/>
                        </a:cubicBezTo>
                        <a:close/>
                      </a:path>
                    </a:pathLst>
                  </a:custGeom>
                  <a:solidFill>
                    <a:srgbClr val="FCFCF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789" name="Freeform: Shape 788">
              <a:extLst>
                <a:ext uri="{FF2B5EF4-FFF2-40B4-BE49-F238E27FC236}">
                  <a16:creationId xmlns:a16="http://schemas.microsoft.com/office/drawing/2014/main" id="{7BBD578B-DE62-C489-9676-A0CE7C41F269}"/>
                </a:ext>
              </a:extLst>
            </p:cNvPr>
            <p:cNvSpPr/>
            <p:nvPr/>
          </p:nvSpPr>
          <p:spPr>
            <a:xfrm>
              <a:off x="951766" y="2383219"/>
              <a:ext cx="152054" cy="179969"/>
            </a:xfrm>
            <a:custGeom>
              <a:avLst/>
              <a:gdLst>
                <a:gd name="connsiteX0" fmla="*/ 53358 w 152054"/>
                <a:gd name="connsiteY0" fmla="*/ 0 h 179969"/>
                <a:gd name="connsiteX1" fmla="*/ 1811 w 152054"/>
                <a:gd name="connsiteY1" fmla="*/ 102371 h 179969"/>
                <a:gd name="connsiteX2" fmla="*/ 152051 w 152054"/>
                <a:gd name="connsiteY2" fmla="*/ 130352 h 179969"/>
                <a:gd name="connsiteX3" fmla="*/ 53358 w 152054"/>
                <a:gd name="connsiteY3" fmla="*/ 0 h 179969"/>
              </a:gdLst>
              <a:ahLst/>
              <a:cxnLst>
                <a:cxn ang="0">
                  <a:pos x="connsiteX0" y="connsiteY0"/>
                </a:cxn>
                <a:cxn ang="0">
                  <a:pos x="connsiteX1" y="connsiteY1"/>
                </a:cxn>
                <a:cxn ang="0">
                  <a:pos x="connsiteX2" y="connsiteY2"/>
                </a:cxn>
                <a:cxn ang="0">
                  <a:pos x="connsiteX3" y="connsiteY3"/>
                </a:cxn>
              </a:cxnLst>
              <a:rect l="l" t="t" r="r" b="b"/>
              <a:pathLst>
                <a:path w="152054" h="179969">
                  <a:moveTo>
                    <a:pt x="53358" y="0"/>
                  </a:moveTo>
                  <a:cubicBezTo>
                    <a:pt x="53358" y="0"/>
                    <a:pt x="-11544" y="15574"/>
                    <a:pt x="1811" y="102371"/>
                  </a:cubicBezTo>
                  <a:cubicBezTo>
                    <a:pt x="12122" y="169392"/>
                    <a:pt x="122586" y="223147"/>
                    <a:pt x="152051" y="130352"/>
                  </a:cubicBezTo>
                  <a:cubicBezTo>
                    <a:pt x="152051" y="130352"/>
                    <a:pt x="154258" y="34614"/>
                    <a:pt x="53358" y="0"/>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0" name="Freeform: Shape 789">
              <a:extLst>
                <a:ext uri="{FF2B5EF4-FFF2-40B4-BE49-F238E27FC236}">
                  <a16:creationId xmlns:a16="http://schemas.microsoft.com/office/drawing/2014/main" id="{E60FBDBD-004A-D7E1-9775-01DD470FC65A}"/>
                </a:ext>
              </a:extLst>
            </p:cNvPr>
            <p:cNvSpPr/>
            <p:nvPr/>
          </p:nvSpPr>
          <p:spPr>
            <a:xfrm>
              <a:off x="1038947" y="2073486"/>
              <a:ext cx="361806" cy="473477"/>
            </a:xfrm>
            <a:custGeom>
              <a:avLst/>
              <a:gdLst>
                <a:gd name="connsiteX0" fmla="*/ 202989 w 361806"/>
                <a:gd name="connsiteY0" fmla="*/ 1783 h 473477"/>
                <a:gd name="connsiteX1" fmla="*/ 337693 w 361806"/>
                <a:gd name="connsiteY1" fmla="*/ 136487 h 473477"/>
                <a:gd name="connsiteX2" fmla="*/ 318615 w 361806"/>
                <a:gd name="connsiteY2" fmla="*/ 464324 h 473477"/>
                <a:gd name="connsiteX3" fmla="*/ 69457 w 361806"/>
                <a:gd name="connsiteY3" fmla="*/ 390407 h 473477"/>
                <a:gd name="connsiteX4" fmla="*/ 42038 w 361806"/>
                <a:gd name="connsiteY4" fmla="*/ 61385 h 473477"/>
                <a:gd name="connsiteX5" fmla="*/ 202976 w 361806"/>
                <a:gd name="connsiteY5" fmla="*/ 1783 h 47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806" h="473477">
                  <a:moveTo>
                    <a:pt x="202989" y="1783"/>
                  </a:moveTo>
                  <a:cubicBezTo>
                    <a:pt x="202989" y="1783"/>
                    <a:pt x="306707" y="14901"/>
                    <a:pt x="337693" y="136487"/>
                  </a:cubicBezTo>
                  <a:cubicBezTo>
                    <a:pt x="368691" y="258085"/>
                    <a:pt x="377033" y="436905"/>
                    <a:pt x="318615" y="464324"/>
                  </a:cubicBezTo>
                  <a:cubicBezTo>
                    <a:pt x="260197" y="491744"/>
                    <a:pt x="118336" y="454785"/>
                    <a:pt x="69457" y="390407"/>
                  </a:cubicBezTo>
                  <a:cubicBezTo>
                    <a:pt x="20579" y="326029"/>
                    <a:pt x="-43799" y="167485"/>
                    <a:pt x="42038" y="61385"/>
                  </a:cubicBezTo>
                  <a:cubicBezTo>
                    <a:pt x="108797" y="-16098"/>
                    <a:pt x="202976" y="1783"/>
                    <a:pt x="202976" y="1783"/>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92" name="Graphic 525">
              <a:extLst>
                <a:ext uri="{FF2B5EF4-FFF2-40B4-BE49-F238E27FC236}">
                  <a16:creationId xmlns:a16="http://schemas.microsoft.com/office/drawing/2014/main" id="{6CA8E3EE-0A9E-F081-8508-4C379469274D}"/>
                </a:ext>
              </a:extLst>
            </p:cNvPr>
            <p:cNvGrpSpPr/>
            <p:nvPr/>
          </p:nvGrpSpPr>
          <p:grpSpPr>
            <a:xfrm>
              <a:off x="986161" y="2057503"/>
              <a:ext cx="393581" cy="459799"/>
              <a:chOff x="4062344" y="2440028"/>
              <a:chExt cx="393581" cy="459799"/>
            </a:xfrm>
          </p:grpSpPr>
          <p:sp>
            <p:nvSpPr>
              <p:cNvPr id="793" name="Freeform: Shape 792">
                <a:extLst>
                  <a:ext uri="{FF2B5EF4-FFF2-40B4-BE49-F238E27FC236}">
                    <a16:creationId xmlns:a16="http://schemas.microsoft.com/office/drawing/2014/main" id="{EB2A64D6-05E6-21C5-B378-1E25F3D3BF46}"/>
                  </a:ext>
                </a:extLst>
              </p:cNvPr>
              <p:cNvSpPr/>
              <p:nvPr/>
            </p:nvSpPr>
            <p:spPr>
              <a:xfrm>
                <a:off x="4062344" y="2440028"/>
                <a:ext cx="393581" cy="459799"/>
              </a:xfrm>
              <a:custGeom>
                <a:avLst/>
                <a:gdLst>
                  <a:gd name="connsiteX0" fmla="*/ 270876 w 393581"/>
                  <a:gd name="connsiteY0" fmla="*/ 65461 h 459799"/>
                  <a:gd name="connsiteX1" fmla="*/ 247833 w 393581"/>
                  <a:gd name="connsiteY1" fmla="*/ 192621 h 459799"/>
                  <a:gd name="connsiteX2" fmla="*/ 148491 w 393581"/>
                  <a:gd name="connsiteY2" fmla="*/ 341240 h 459799"/>
                  <a:gd name="connsiteX3" fmla="*/ 117643 w 393581"/>
                  <a:gd name="connsiteY3" fmla="*/ 459771 h 459799"/>
                  <a:gd name="connsiteX4" fmla="*/ 11593 w 393581"/>
                  <a:gd name="connsiteY4" fmla="*/ 143093 h 459799"/>
                  <a:gd name="connsiteX5" fmla="*/ 226373 w 393581"/>
                  <a:gd name="connsiteY5" fmla="*/ 4275 h 459799"/>
                  <a:gd name="connsiteX6" fmla="*/ 393522 w 393581"/>
                  <a:gd name="connsiteY6" fmla="*/ 164864 h 459799"/>
                  <a:gd name="connsiteX7" fmla="*/ 270888 w 393581"/>
                  <a:gd name="connsiteY7" fmla="*/ 65473 h 45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581" h="459799">
                    <a:moveTo>
                      <a:pt x="270876" y="65461"/>
                    </a:moveTo>
                    <a:cubicBezTo>
                      <a:pt x="270876" y="65461"/>
                      <a:pt x="278033" y="140163"/>
                      <a:pt x="247833" y="192621"/>
                    </a:cubicBezTo>
                    <a:cubicBezTo>
                      <a:pt x="217633" y="245078"/>
                      <a:pt x="150873" y="242684"/>
                      <a:pt x="148491" y="341240"/>
                    </a:cubicBezTo>
                    <a:cubicBezTo>
                      <a:pt x="146110" y="439783"/>
                      <a:pt x="123304" y="460694"/>
                      <a:pt x="117643" y="459771"/>
                    </a:cubicBezTo>
                    <a:cubicBezTo>
                      <a:pt x="-3133" y="439882"/>
                      <a:pt x="-14642" y="236873"/>
                      <a:pt x="11593" y="143093"/>
                    </a:cubicBezTo>
                    <a:cubicBezTo>
                      <a:pt x="37816" y="49313"/>
                      <a:pt x="123055" y="-17970"/>
                      <a:pt x="226373" y="4275"/>
                    </a:cubicBezTo>
                    <a:cubicBezTo>
                      <a:pt x="226373" y="4275"/>
                      <a:pt x="397237" y="-21910"/>
                      <a:pt x="393522" y="164864"/>
                    </a:cubicBezTo>
                    <a:cubicBezTo>
                      <a:pt x="393522" y="164864"/>
                      <a:pt x="359094" y="71832"/>
                      <a:pt x="270888" y="6547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4" name="Freeform: Shape 793">
                <a:extLst>
                  <a:ext uri="{FF2B5EF4-FFF2-40B4-BE49-F238E27FC236}">
                    <a16:creationId xmlns:a16="http://schemas.microsoft.com/office/drawing/2014/main" id="{97557BFF-167D-A913-CC47-932DB800ACD8}"/>
                  </a:ext>
                </a:extLst>
              </p:cNvPr>
              <p:cNvSpPr/>
              <p:nvPr/>
            </p:nvSpPr>
            <p:spPr>
              <a:xfrm>
                <a:off x="4288717" y="2444290"/>
                <a:ext cx="44502" cy="61198"/>
              </a:xfrm>
              <a:custGeom>
                <a:avLst/>
                <a:gdLst>
                  <a:gd name="connsiteX0" fmla="*/ 44502 w 44502"/>
                  <a:gd name="connsiteY0" fmla="*/ 61198 h 61198"/>
                  <a:gd name="connsiteX1" fmla="*/ 41086 w 44502"/>
                  <a:gd name="connsiteY1" fmla="*/ 41397 h 61198"/>
                  <a:gd name="connsiteX2" fmla="*/ 32507 w 44502"/>
                  <a:gd name="connsiteY2" fmla="*/ 23068 h 61198"/>
                  <a:gd name="connsiteX3" fmla="*/ 18803 w 44502"/>
                  <a:gd name="connsiteY3" fmla="*/ 7793 h 61198"/>
                  <a:gd name="connsiteX4" fmla="*/ 9900 w 44502"/>
                  <a:gd name="connsiteY4" fmla="*/ 2506 h 61198"/>
                  <a:gd name="connsiteX5" fmla="*/ 0 w 44502"/>
                  <a:gd name="connsiteY5" fmla="*/ 0 h 61198"/>
                  <a:gd name="connsiteX6" fmla="*/ 7768 w 44502"/>
                  <a:gd name="connsiteY6" fmla="*/ 5935 h 61198"/>
                  <a:gd name="connsiteX7" fmla="*/ 14439 w 44502"/>
                  <a:gd name="connsiteY7" fmla="*/ 12556 h 61198"/>
                  <a:gd name="connsiteX8" fmla="*/ 25599 w 44502"/>
                  <a:gd name="connsiteY8" fmla="*/ 27494 h 61198"/>
                  <a:gd name="connsiteX9" fmla="*/ 35175 w 44502"/>
                  <a:gd name="connsiteY9" fmla="*/ 43916 h 61198"/>
                  <a:gd name="connsiteX10" fmla="*/ 44502 w 44502"/>
                  <a:gd name="connsiteY10" fmla="*/ 61198 h 6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02" h="61198">
                    <a:moveTo>
                      <a:pt x="44502" y="61198"/>
                    </a:moveTo>
                    <a:cubicBezTo>
                      <a:pt x="44502" y="54415"/>
                      <a:pt x="43106" y="47794"/>
                      <a:pt x="41086" y="41397"/>
                    </a:cubicBezTo>
                    <a:cubicBezTo>
                      <a:pt x="39003" y="35013"/>
                      <a:pt x="36198" y="28804"/>
                      <a:pt x="32507" y="23068"/>
                    </a:cubicBezTo>
                    <a:cubicBezTo>
                      <a:pt x="28853" y="17332"/>
                      <a:pt x="24290" y="12020"/>
                      <a:pt x="18803" y="7793"/>
                    </a:cubicBezTo>
                    <a:cubicBezTo>
                      <a:pt x="16035" y="5711"/>
                      <a:pt x="13068" y="3878"/>
                      <a:pt x="9900" y="2506"/>
                    </a:cubicBezTo>
                    <a:cubicBezTo>
                      <a:pt x="6708" y="1185"/>
                      <a:pt x="3379" y="249"/>
                      <a:pt x="0" y="0"/>
                    </a:cubicBezTo>
                    <a:cubicBezTo>
                      <a:pt x="2793" y="1945"/>
                      <a:pt x="5374" y="3853"/>
                      <a:pt x="7768" y="5935"/>
                    </a:cubicBezTo>
                    <a:cubicBezTo>
                      <a:pt x="10162" y="8030"/>
                      <a:pt x="12357" y="10250"/>
                      <a:pt x="14439" y="12556"/>
                    </a:cubicBezTo>
                    <a:cubicBezTo>
                      <a:pt x="18579" y="17195"/>
                      <a:pt x="22220" y="22220"/>
                      <a:pt x="25599" y="27494"/>
                    </a:cubicBezTo>
                    <a:cubicBezTo>
                      <a:pt x="29003" y="32756"/>
                      <a:pt x="32095" y="38280"/>
                      <a:pt x="35175" y="43916"/>
                    </a:cubicBezTo>
                    <a:cubicBezTo>
                      <a:pt x="38243" y="49565"/>
                      <a:pt x="41235" y="55313"/>
                      <a:pt x="44502" y="61198"/>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98" name="Graphic 525">
              <a:extLst>
                <a:ext uri="{FF2B5EF4-FFF2-40B4-BE49-F238E27FC236}">
                  <a16:creationId xmlns:a16="http://schemas.microsoft.com/office/drawing/2014/main" id="{A9A8BE36-7BD7-36BF-59B5-7CD32C352363}"/>
                </a:ext>
              </a:extLst>
            </p:cNvPr>
            <p:cNvGrpSpPr/>
            <p:nvPr/>
          </p:nvGrpSpPr>
          <p:grpSpPr>
            <a:xfrm>
              <a:off x="1085813" y="2310073"/>
              <a:ext cx="78436" cy="110955"/>
              <a:chOff x="4161996" y="2692598"/>
              <a:chExt cx="78436" cy="110955"/>
            </a:xfrm>
          </p:grpSpPr>
          <p:sp>
            <p:nvSpPr>
              <p:cNvPr id="820" name="Freeform: Shape 819">
                <a:extLst>
                  <a:ext uri="{FF2B5EF4-FFF2-40B4-BE49-F238E27FC236}">
                    <a16:creationId xmlns:a16="http://schemas.microsoft.com/office/drawing/2014/main" id="{0F653DED-41D4-A76C-0D2E-411D727D3A97}"/>
                  </a:ext>
                </a:extLst>
              </p:cNvPr>
              <p:cNvSpPr/>
              <p:nvPr/>
            </p:nvSpPr>
            <p:spPr>
              <a:xfrm>
                <a:off x="4161996" y="2692598"/>
                <a:ext cx="78436" cy="110955"/>
              </a:xfrm>
              <a:custGeom>
                <a:avLst/>
                <a:gdLst>
                  <a:gd name="connsiteX0" fmla="*/ 67904 w 78436"/>
                  <a:gd name="connsiteY0" fmla="*/ 33431 h 110955"/>
                  <a:gd name="connsiteX1" fmla="*/ 9486 w 78436"/>
                  <a:gd name="connsiteY1" fmla="*/ 2433 h 110955"/>
                  <a:gd name="connsiteX2" fmla="*/ 50023 w 78436"/>
                  <a:gd name="connsiteY2" fmla="*/ 110914 h 110955"/>
                  <a:gd name="connsiteX3" fmla="*/ 67904 w 78436"/>
                  <a:gd name="connsiteY3" fmla="*/ 33431 h 110955"/>
                </a:gdLst>
                <a:ahLst/>
                <a:cxnLst>
                  <a:cxn ang="0">
                    <a:pos x="connsiteX0" y="connsiteY0"/>
                  </a:cxn>
                  <a:cxn ang="0">
                    <a:pos x="connsiteX1" y="connsiteY1"/>
                  </a:cxn>
                  <a:cxn ang="0">
                    <a:pos x="connsiteX2" y="connsiteY2"/>
                  </a:cxn>
                  <a:cxn ang="0">
                    <a:pos x="connsiteX3" y="connsiteY3"/>
                  </a:cxn>
                </a:cxnLst>
                <a:rect l="l" t="t" r="r" b="b"/>
                <a:pathLst>
                  <a:path w="78436" h="110955">
                    <a:moveTo>
                      <a:pt x="67904" y="33431"/>
                    </a:moveTo>
                    <a:cubicBezTo>
                      <a:pt x="67904" y="33431"/>
                      <a:pt x="42866" y="-10672"/>
                      <a:pt x="9486" y="2433"/>
                    </a:cubicBezTo>
                    <a:cubicBezTo>
                      <a:pt x="-16886" y="12795"/>
                      <a:pt x="16644" y="113296"/>
                      <a:pt x="50023" y="110914"/>
                    </a:cubicBezTo>
                    <a:cubicBezTo>
                      <a:pt x="83403" y="108532"/>
                      <a:pt x="84600" y="73956"/>
                      <a:pt x="67904" y="33431"/>
                    </a:cubicBezTo>
                    <a:close/>
                  </a:path>
                </a:pathLst>
              </a:custGeom>
              <a:solidFill>
                <a:srgbClr val="DE968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1" name="Freeform: Shape 820">
                <a:extLst>
                  <a:ext uri="{FF2B5EF4-FFF2-40B4-BE49-F238E27FC236}">
                    <a16:creationId xmlns:a16="http://schemas.microsoft.com/office/drawing/2014/main" id="{A97ADE37-2EC6-95BF-D481-5E09DCCAC6C8}"/>
                  </a:ext>
                </a:extLst>
              </p:cNvPr>
              <p:cNvSpPr/>
              <p:nvPr/>
            </p:nvSpPr>
            <p:spPr>
              <a:xfrm>
                <a:off x="4184596" y="2721153"/>
                <a:ext cx="39330" cy="43031"/>
              </a:xfrm>
              <a:custGeom>
                <a:avLst/>
                <a:gdLst>
                  <a:gd name="connsiteX0" fmla="*/ 3919 w 39330"/>
                  <a:gd name="connsiteY0" fmla="*/ 7245 h 43031"/>
                  <a:gd name="connsiteX1" fmla="*/ 16 w 39330"/>
                  <a:gd name="connsiteY1" fmla="*/ 4028 h 43031"/>
                  <a:gd name="connsiteX2" fmla="*/ 3233 w 39330"/>
                  <a:gd name="connsiteY2" fmla="*/ 125 h 43031"/>
                  <a:gd name="connsiteX3" fmla="*/ 39269 w 39330"/>
                  <a:gd name="connsiteY3" fmla="*/ 38792 h 43031"/>
                  <a:gd name="connsiteX4" fmla="*/ 36414 w 39330"/>
                  <a:gd name="connsiteY4" fmla="*/ 42969 h 43031"/>
                  <a:gd name="connsiteX5" fmla="*/ 35753 w 39330"/>
                  <a:gd name="connsiteY5" fmla="*/ 43032 h 43031"/>
                  <a:gd name="connsiteX6" fmla="*/ 32236 w 39330"/>
                  <a:gd name="connsiteY6" fmla="*/ 40114 h 43031"/>
                  <a:gd name="connsiteX7" fmla="*/ 28708 w 39330"/>
                  <a:gd name="connsiteY7" fmla="*/ 28543 h 43031"/>
                  <a:gd name="connsiteX8" fmla="*/ 27560 w 39330"/>
                  <a:gd name="connsiteY8" fmla="*/ 27944 h 43031"/>
                  <a:gd name="connsiteX9" fmla="*/ 9505 w 39330"/>
                  <a:gd name="connsiteY9" fmla="*/ 27819 h 43031"/>
                  <a:gd name="connsiteX10" fmla="*/ 7136 w 39330"/>
                  <a:gd name="connsiteY10" fmla="*/ 28717 h 43031"/>
                  <a:gd name="connsiteX11" fmla="*/ 4455 w 39330"/>
                  <a:gd name="connsiteY11" fmla="*/ 27520 h 43031"/>
                  <a:gd name="connsiteX12" fmla="*/ 4755 w 39330"/>
                  <a:gd name="connsiteY12" fmla="*/ 22470 h 43031"/>
                  <a:gd name="connsiteX13" fmla="*/ 23309 w 39330"/>
                  <a:gd name="connsiteY13" fmla="*/ 18094 h 43031"/>
                  <a:gd name="connsiteX14" fmla="*/ 3894 w 39330"/>
                  <a:gd name="connsiteY14" fmla="*/ 7245 h 4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30" h="43031">
                    <a:moveTo>
                      <a:pt x="3919" y="7245"/>
                    </a:moveTo>
                    <a:cubicBezTo>
                      <a:pt x="1974" y="7432"/>
                      <a:pt x="203" y="5986"/>
                      <a:pt x="16" y="4028"/>
                    </a:cubicBezTo>
                    <a:cubicBezTo>
                      <a:pt x="-171" y="2058"/>
                      <a:pt x="1276" y="313"/>
                      <a:pt x="3233" y="125"/>
                    </a:cubicBezTo>
                    <a:cubicBezTo>
                      <a:pt x="31164" y="-2505"/>
                      <a:pt x="38957" y="37096"/>
                      <a:pt x="39269" y="38792"/>
                    </a:cubicBezTo>
                    <a:cubicBezTo>
                      <a:pt x="39631" y="40737"/>
                      <a:pt x="38359" y="42595"/>
                      <a:pt x="36414" y="42969"/>
                    </a:cubicBezTo>
                    <a:cubicBezTo>
                      <a:pt x="36189" y="43007"/>
                      <a:pt x="35965" y="43032"/>
                      <a:pt x="35753" y="43032"/>
                    </a:cubicBezTo>
                    <a:cubicBezTo>
                      <a:pt x="34069" y="43032"/>
                      <a:pt x="32573" y="41835"/>
                      <a:pt x="32236" y="40114"/>
                    </a:cubicBezTo>
                    <a:cubicBezTo>
                      <a:pt x="32211" y="39977"/>
                      <a:pt x="31189" y="34777"/>
                      <a:pt x="28708" y="28543"/>
                    </a:cubicBezTo>
                    <a:cubicBezTo>
                      <a:pt x="28309" y="28418"/>
                      <a:pt x="27910" y="28231"/>
                      <a:pt x="27560" y="27944"/>
                    </a:cubicBezTo>
                    <a:cubicBezTo>
                      <a:pt x="27161" y="27632"/>
                      <a:pt x="17797" y="20438"/>
                      <a:pt x="9505" y="27819"/>
                    </a:cubicBezTo>
                    <a:cubicBezTo>
                      <a:pt x="8819" y="28431"/>
                      <a:pt x="7972" y="28717"/>
                      <a:pt x="7136" y="28717"/>
                    </a:cubicBezTo>
                    <a:cubicBezTo>
                      <a:pt x="6151" y="28717"/>
                      <a:pt x="5166" y="28306"/>
                      <a:pt x="4455" y="27520"/>
                    </a:cubicBezTo>
                    <a:cubicBezTo>
                      <a:pt x="3146" y="26049"/>
                      <a:pt x="3271" y="23779"/>
                      <a:pt x="4755" y="22470"/>
                    </a:cubicBezTo>
                    <a:cubicBezTo>
                      <a:pt x="10939" y="16971"/>
                      <a:pt x="17772" y="16635"/>
                      <a:pt x="23309" y="18094"/>
                    </a:cubicBezTo>
                    <a:cubicBezTo>
                      <a:pt x="18894" y="11609"/>
                      <a:pt x="12610" y="6422"/>
                      <a:pt x="3894" y="7245"/>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349" name="Rectangle: Rounded Corners 3348">
            <a:extLst>
              <a:ext uri="{FF2B5EF4-FFF2-40B4-BE49-F238E27FC236}">
                <a16:creationId xmlns:a16="http://schemas.microsoft.com/office/drawing/2014/main" id="{06A09F9F-31F3-1E8F-34CD-0388A7AEF5EB}"/>
              </a:ext>
            </a:extLst>
          </p:cNvPr>
          <p:cNvSpPr/>
          <p:nvPr>
            <p:custDataLst>
              <p:tags r:id="rId7"/>
            </p:custDataLst>
          </p:nvPr>
        </p:nvSpPr>
        <p:spPr>
          <a:xfrm rot="10800000">
            <a:off x="4210958" y="1313197"/>
            <a:ext cx="1888175" cy="857390"/>
          </a:xfrm>
          <a:prstGeom prst="roundRect">
            <a:avLst/>
          </a:prstGeom>
          <a:solidFill>
            <a:srgbClr val="A8DE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787" name="Group 3786">
            <a:extLst>
              <a:ext uri="{FF2B5EF4-FFF2-40B4-BE49-F238E27FC236}">
                <a16:creationId xmlns:a16="http://schemas.microsoft.com/office/drawing/2014/main" id="{12CC8BC9-BAD4-000E-07FA-88737CAAD4DA}"/>
              </a:ext>
            </a:extLst>
          </p:cNvPr>
          <p:cNvGrpSpPr/>
          <p:nvPr>
            <p:custDataLst>
              <p:tags r:id="rId8"/>
            </p:custDataLst>
          </p:nvPr>
        </p:nvGrpSpPr>
        <p:grpSpPr>
          <a:xfrm>
            <a:off x="3438198" y="1235639"/>
            <a:ext cx="1121392" cy="1012504"/>
            <a:chOff x="3558513" y="1235639"/>
            <a:chExt cx="1121392" cy="1012504"/>
          </a:xfrm>
        </p:grpSpPr>
        <p:grpSp>
          <p:nvGrpSpPr>
            <p:cNvPr id="3352" name="Graphic 525">
              <a:extLst>
                <a:ext uri="{FF2B5EF4-FFF2-40B4-BE49-F238E27FC236}">
                  <a16:creationId xmlns:a16="http://schemas.microsoft.com/office/drawing/2014/main" id="{CB7A75DA-B7EF-4FB1-94FC-D050E1832F3B}"/>
                </a:ext>
              </a:extLst>
            </p:cNvPr>
            <p:cNvGrpSpPr/>
            <p:nvPr/>
          </p:nvGrpSpPr>
          <p:grpSpPr>
            <a:xfrm>
              <a:off x="3558513" y="1235639"/>
              <a:ext cx="1121392" cy="1012504"/>
              <a:chOff x="5692107" y="925605"/>
              <a:chExt cx="1352447" cy="1221123"/>
            </a:xfrm>
          </p:grpSpPr>
          <p:sp>
            <p:nvSpPr>
              <p:cNvPr id="3353" name="Freeform: Shape 3352">
                <a:extLst>
                  <a:ext uri="{FF2B5EF4-FFF2-40B4-BE49-F238E27FC236}">
                    <a16:creationId xmlns:a16="http://schemas.microsoft.com/office/drawing/2014/main" id="{1236F5CC-362F-0D85-C261-4AA9846FF418}"/>
                  </a:ext>
                </a:extLst>
              </p:cNvPr>
              <p:cNvSpPr/>
              <p:nvPr/>
            </p:nvSpPr>
            <p:spPr>
              <a:xfrm>
                <a:off x="5844174" y="1849452"/>
                <a:ext cx="1042266" cy="297275"/>
              </a:xfrm>
              <a:custGeom>
                <a:avLst/>
                <a:gdLst>
                  <a:gd name="connsiteX0" fmla="*/ 12 w 1042266"/>
                  <a:gd name="connsiteY0" fmla="*/ 0 h 297275"/>
                  <a:gd name="connsiteX1" fmla="*/ 117920 w 1042266"/>
                  <a:gd name="connsiteY1" fmla="*/ 204219 h 297275"/>
                  <a:gd name="connsiteX2" fmla="*/ 279108 w 1042266"/>
                  <a:gd name="connsiteY2" fmla="*/ 297276 h 297275"/>
                  <a:gd name="connsiteX3" fmla="*/ 769206 w 1042266"/>
                  <a:gd name="connsiteY3" fmla="*/ 297276 h 297275"/>
                  <a:gd name="connsiteX4" fmla="*/ 930394 w 1042266"/>
                  <a:gd name="connsiteY4" fmla="*/ 204219 h 297275"/>
                  <a:gd name="connsiteX5" fmla="*/ 1042266 w 1042266"/>
                  <a:gd name="connsiteY5" fmla="*/ 10437 h 297275"/>
                  <a:gd name="connsiteX6" fmla="*/ 0 w 1042266"/>
                  <a:gd name="connsiteY6" fmla="*/ 0 h 29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266" h="297275">
                    <a:moveTo>
                      <a:pt x="12" y="0"/>
                    </a:moveTo>
                    <a:lnTo>
                      <a:pt x="117920" y="204219"/>
                    </a:lnTo>
                    <a:cubicBezTo>
                      <a:pt x="151163" y="261801"/>
                      <a:pt x="212610" y="297276"/>
                      <a:pt x="279108" y="297276"/>
                    </a:cubicBezTo>
                    <a:lnTo>
                      <a:pt x="769206" y="297276"/>
                    </a:lnTo>
                    <a:cubicBezTo>
                      <a:pt x="835703" y="297276"/>
                      <a:pt x="897151" y="261801"/>
                      <a:pt x="930394" y="204219"/>
                    </a:cubicBezTo>
                    <a:lnTo>
                      <a:pt x="1042266" y="10437"/>
                    </a:lnTo>
                    <a:cubicBezTo>
                      <a:pt x="752933" y="10536"/>
                      <a:pt x="210316" y="95089"/>
                      <a:pt x="0" y="0"/>
                    </a:cubicBez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54" name="Freeform: Shape 3353">
                <a:extLst>
                  <a:ext uri="{FF2B5EF4-FFF2-40B4-BE49-F238E27FC236}">
                    <a16:creationId xmlns:a16="http://schemas.microsoft.com/office/drawing/2014/main" id="{C8A61949-0372-7D1D-6F08-6629321D9C84}"/>
                  </a:ext>
                </a:extLst>
              </p:cNvPr>
              <p:cNvSpPr/>
              <p:nvPr/>
            </p:nvSpPr>
            <p:spPr>
              <a:xfrm>
                <a:off x="5692107" y="925605"/>
                <a:ext cx="1352447" cy="978910"/>
              </a:xfrm>
              <a:custGeom>
                <a:avLst/>
                <a:gdLst>
                  <a:gd name="connsiteX0" fmla="*/ 1082460 w 1352447"/>
                  <a:gd name="connsiteY0" fmla="*/ 93057 h 978910"/>
                  <a:gd name="connsiteX1" fmla="*/ 921272 w 1352447"/>
                  <a:gd name="connsiteY1" fmla="*/ 0 h 978910"/>
                  <a:gd name="connsiteX2" fmla="*/ 431175 w 1352447"/>
                  <a:gd name="connsiteY2" fmla="*/ 0 h 978910"/>
                  <a:gd name="connsiteX3" fmla="*/ 269987 w 1352447"/>
                  <a:gd name="connsiteY3" fmla="*/ 93057 h 978910"/>
                  <a:gd name="connsiteX4" fmla="*/ 24932 w 1352447"/>
                  <a:gd name="connsiteY4" fmla="*/ 517505 h 978910"/>
                  <a:gd name="connsiteX5" fmla="*/ 24932 w 1352447"/>
                  <a:gd name="connsiteY5" fmla="*/ 703631 h 978910"/>
                  <a:gd name="connsiteX6" fmla="*/ 172978 w 1352447"/>
                  <a:gd name="connsiteY6" fmla="*/ 960058 h 978910"/>
                  <a:gd name="connsiteX7" fmla="*/ 296534 w 1352447"/>
                  <a:gd name="connsiteY7" fmla="*/ 978911 h 978910"/>
                  <a:gd name="connsiteX8" fmla="*/ 1168584 w 1352447"/>
                  <a:gd name="connsiteY8" fmla="*/ 978911 h 978910"/>
                  <a:gd name="connsiteX9" fmla="*/ 1327515 w 1352447"/>
                  <a:gd name="connsiteY9" fmla="*/ 703631 h 978910"/>
                  <a:gd name="connsiteX10" fmla="*/ 1327515 w 1352447"/>
                  <a:gd name="connsiteY10" fmla="*/ 517505 h 978910"/>
                  <a:gd name="connsiteX11" fmla="*/ 1082460 w 1352447"/>
                  <a:gd name="connsiteY11" fmla="*/ 93057 h 97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447" h="978910">
                    <a:moveTo>
                      <a:pt x="1082460" y="93057"/>
                    </a:moveTo>
                    <a:cubicBezTo>
                      <a:pt x="1049218" y="35475"/>
                      <a:pt x="987770" y="0"/>
                      <a:pt x="921272" y="0"/>
                    </a:cubicBezTo>
                    <a:lnTo>
                      <a:pt x="431175" y="0"/>
                    </a:lnTo>
                    <a:cubicBezTo>
                      <a:pt x="364677" y="0"/>
                      <a:pt x="303230" y="35475"/>
                      <a:pt x="269987" y="93057"/>
                    </a:cubicBezTo>
                    <a:lnTo>
                      <a:pt x="24932" y="517505"/>
                    </a:lnTo>
                    <a:cubicBezTo>
                      <a:pt x="-8311" y="575087"/>
                      <a:pt x="-8311" y="646036"/>
                      <a:pt x="24932" y="703631"/>
                    </a:cubicBezTo>
                    <a:lnTo>
                      <a:pt x="172978" y="960058"/>
                    </a:lnTo>
                    <a:cubicBezTo>
                      <a:pt x="211993" y="972302"/>
                      <a:pt x="253490" y="978911"/>
                      <a:pt x="296534" y="978911"/>
                    </a:cubicBezTo>
                    <a:lnTo>
                      <a:pt x="1168584" y="978911"/>
                    </a:lnTo>
                    <a:lnTo>
                      <a:pt x="1327515" y="703631"/>
                    </a:lnTo>
                    <a:cubicBezTo>
                      <a:pt x="1360758" y="646048"/>
                      <a:pt x="1360758" y="575099"/>
                      <a:pt x="1327515" y="517505"/>
                    </a:cubicBezTo>
                    <a:lnTo>
                      <a:pt x="1082460" y="93057"/>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355" name="Graphic 525">
              <a:extLst>
                <a:ext uri="{FF2B5EF4-FFF2-40B4-BE49-F238E27FC236}">
                  <a16:creationId xmlns:a16="http://schemas.microsoft.com/office/drawing/2014/main" id="{F0471F42-6677-4802-2CD5-DE8C84441294}"/>
                </a:ext>
              </a:extLst>
            </p:cNvPr>
            <p:cNvGrpSpPr/>
            <p:nvPr/>
          </p:nvGrpSpPr>
          <p:grpSpPr>
            <a:xfrm>
              <a:off x="3715793" y="1257071"/>
              <a:ext cx="962866" cy="944567"/>
              <a:chOff x="5881793" y="951453"/>
              <a:chExt cx="1161258" cy="1139188"/>
            </a:xfrm>
          </p:grpSpPr>
          <p:grpSp>
            <p:nvGrpSpPr>
              <p:cNvPr id="3356" name="Graphic 525">
                <a:extLst>
                  <a:ext uri="{FF2B5EF4-FFF2-40B4-BE49-F238E27FC236}">
                    <a16:creationId xmlns:a16="http://schemas.microsoft.com/office/drawing/2014/main" id="{21E6985E-C804-2FCF-62F8-B43B5274848F}"/>
                  </a:ext>
                </a:extLst>
              </p:cNvPr>
              <p:cNvGrpSpPr/>
              <p:nvPr/>
            </p:nvGrpSpPr>
            <p:grpSpPr>
              <a:xfrm>
                <a:off x="5881793" y="1216422"/>
                <a:ext cx="1161258" cy="874220"/>
                <a:chOff x="5881793" y="1216422"/>
                <a:chExt cx="1161258" cy="874220"/>
              </a:xfrm>
            </p:grpSpPr>
            <p:grpSp>
              <p:nvGrpSpPr>
                <p:cNvPr id="3357" name="Graphic 525">
                  <a:extLst>
                    <a:ext uri="{FF2B5EF4-FFF2-40B4-BE49-F238E27FC236}">
                      <a16:creationId xmlns:a16="http://schemas.microsoft.com/office/drawing/2014/main" id="{92A6FC2A-EE15-B981-2F74-EE8FB6869E31}"/>
                    </a:ext>
                  </a:extLst>
                </p:cNvPr>
                <p:cNvGrpSpPr/>
                <p:nvPr/>
              </p:nvGrpSpPr>
              <p:grpSpPr>
                <a:xfrm>
                  <a:off x="5881793" y="1559733"/>
                  <a:ext cx="1161258" cy="530908"/>
                  <a:chOff x="5881793" y="1559733"/>
                  <a:chExt cx="1161258" cy="530908"/>
                </a:xfrm>
              </p:grpSpPr>
              <p:grpSp>
                <p:nvGrpSpPr>
                  <p:cNvPr id="3358" name="Graphic 525">
                    <a:extLst>
                      <a:ext uri="{FF2B5EF4-FFF2-40B4-BE49-F238E27FC236}">
                        <a16:creationId xmlns:a16="http://schemas.microsoft.com/office/drawing/2014/main" id="{4A67A3F0-7E05-4A24-11D2-583BF73FB1CD}"/>
                      </a:ext>
                    </a:extLst>
                  </p:cNvPr>
                  <p:cNvGrpSpPr/>
                  <p:nvPr/>
                </p:nvGrpSpPr>
                <p:grpSpPr>
                  <a:xfrm>
                    <a:off x="5928166" y="1590133"/>
                    <a:ext cx="1076232" cy="500509"/>
                    <a:chOff x="5928166" y="1590133"/>
                    <a:chExt cx="1076232" cy="500509"/>
                  </a:xfrm>
                  <a:solidFill>
                    <a:srgbClr val="EAC7B9"/>
                  </a:solidFill>
                </p:grpSpPr>
                <p:sp>
                  <p:nvSpPr>
                    <p:cNvPr id="3359" name="Freeform: Shape 3358">
                      <a:extLst>
                        <a:ext uri="{FF2B5EF4-FFF2-40B4-BE49-F238E27FC236}">
                          <a16:creationId xmlns:a16="http://schemas.microsoft.com/office/drawing/2014/main" id="{D8A5B529-59B5-861E-89AA-E57944CAF684}"/>
                        </a:ext>
                      </a:extLst>
                    </p:cNvPr>
                    <p:cNvSpPr/>
                    <p:nvPr/>
                  </p:nvSpPr>
                  <p:spPr>
                    <a:xfrm>
                      <a:off x="5928166" y="1590133"/>
                      <a:ext cx="63966" cy="255965"/>
                    </a:xfrm>
                    <a:custGeom>
                      <a:avLst/>
                      <a:gdLst>
                        <a:gd name="connsiteX0" fmla="*/ 0 w 63966"/>
                        <a:gd name="connsiteY0" fmla="*/ 255966 h 255965"/>
                        <a:gd name="connsiteX1" fmla="*/ 47021 w 63966"/>
                        <a:gd name="connsiteY1" fmla="*/ 255966 h 255965"/>
                        <a:gd name="connsiteX2" fmla="*/ 63966 w 63966"/>
                        <a:gd name="connsiteY2" fmla="*/ 0 h 255965"/>
                        <a:gd name="connsiteX3" fmla="*/ 0 w 63966"/>
                        <a:gd name="connsiteY3" fmla="*/ 0 h 255965"/>
                        <a:gd name="connsiteX4" fmla="*/ 0 w 63966"/>
                        <a:gd name="connsiteY4" fmla="*/ 255966 h 255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 h="255965">
                          <a:moveTo>
                            <a:pt x="0" y="255966"/>
                          </a:moveTo>
                          <a:lnTo>
                            <a:pt x="47021" y="255966"/>
                          </a:lnTo>
                          <a:lnTo>
                            <a:pt x="63966" y="0"/>
                          </a:lnTo>
                          <a:lnTo>
                            <a:pt x="0" y="0"/>
                          </a:lnTo>
                          <a:lnTo>
                            <a:pt x="0" y="255966"/>
                          </a:ln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60" name="Freeform: Shape 3359">
                      <a:extLst>
                        <a:ext uri="{FF2B5EF4-FFF2-40B4-BE49-F238E27FC236}">
                          <a16:creationId xmlns:a16="http://schemas.microsoft.com/office/drawing/2014/main" id="{449726F7-7E12-4DC6-68DE-738F5C5A1849}"/>
                        </a:ext>
                      </a:extLst>
                    </p:cNvPr>
                    <p:cNvSpPr/>
                    <p:nvPr/>
                  </p:nvSpPr>
                  <p:spPr>
                    <a:xfrm>
                      <a:off x="6152036" y="1590133"/>
                      <a:ext cx="63966" cy="500509"/>
                    </a:xfrm>
                    <a:custGeom>
                      <a:avLst/>
                      <a:gdLst>
                        <a:gd name="connsiteX0" fmla="*/ 0 w 63966"/>
                        <a:gd name="connsiteY0" fmla="*/ 500509 h 500509"/>
                        <a:gd name="connsiteX1" fmla="*/ 25587 w 63966"/>
                        <a:gd name="connsiteY1" fmla="*/ 500509 h 500509"/>
                        <a:gd name="connsiteX2" fmla="*/ 63966 w 63966"/>
                        <a:gd name="connsiteY2" fmla="*/ 0 h 500509"/>
                        <a:gd name="connsiteX3" fmla="*/ 0 w 63966"/>
                        <a:gd name="connsiteY3" fmla="*/ 0 h 500509"/>
                        <a:gd name="connsiteX4" fmla="*/ 0 w 63966"/>
                        <a:gd name="connsiteY4" fmla="*/ 500509 h 500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 h="500509">
                          <a:moveTo>
                            <a:pt x="0" y="500509"/>
                          </a:moveTo>
                          <a:lnTo>
                            <a:pt x="25587" y="500509"/>
                          </a:lnTo>
                          <a:lnTo>
                            <a:pt x="63966" y="0"/>
                          </a:lnTo>
                          <a:lnTo>
                            <a:pt x="0" y="0"/>
                          </a:lnTo>
                          <a:lnTo>
                            <a:pt x="0" y="500509"/>
                          </a:ln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61" name="Freeform: Shape 3360">
                      <a:extLst>
                        <a:ext uri="{FF2B5EF4-FFF2-40B4-BE49-F238E27FC236}">
                          <a16:creationId xmlns:a16="http://schemas.microsoft.com/office/drawing/2014/main" id="{C9FC8455-3D23-DDCE-DCEB-199CA82EF2A5}"/>
                        </a:ext>
                      </a:extLst>
                    </p:cNvPr>
                    <p:cNvSpPr/>
                    <p:nvPr/>
                  </p:nvSpPr>
                  <p:spPr>
                    <a:xfrm>
                      <a:off x="6940431" y="1590133"/>
                      <a:ext cx="63966" cy="154853"/>
                    </a:xfrm>
                    <a:custGeom>
                      <a:avLst/>
                      <a:gdLst>
                        <a:gd name="connsiteX0" fmla="*/ 12357 w 63966"/>
                        <a:gd name="connsiteY0" fmla="*/ 154854 h 154853"/>
                        <a:gd name="connsiteX1" fmla="*/ 63966 w 63966"/>
                        <a:gd name="connsiteY1" fmla="*/ 65475 h 154853"/>
                        <a:gd name="connsiteX2" fmla="*/ 63966 w 63966"/>
                        <a:gd name="connsiteY2" fmla="*/ 0 h 154853"/>
                        <a:gd name="connsiteX3" fmla="*/ 0 w 63966"/>
                        <a:gd name="connsiteY3" fmla="*/ 0 h 154853"/>
                        <a:gd name="connsiteX4" fmla="*/ 12357 w 63966"/>
                        <a:gd name="connsiteY4" fmla="*/ 154854 h 15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 h="154853">
                          <a:moveTo>
                            <a:pt x="12357" y="154854"/>
                          </a:moveTo>
                          <a:lnTo>
                            <a:pt x="63966" y="65475"/>
                          </a:lnTo>
                          <a:lnTo>
                            <a:pt x="63966" y="0"/>
                          </a:lnTo>
                          <a:lnTo>
                            <a:pt x="0" y="0"/>
                          </a:lnTo>
                          <a:lnTo>
                            <a:pt x="12357" y="154854"/>
                          </a:ln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62" name="Freeform: Shape 3361">
                      <a:extLst>
                        <a:ext uri="{FF2B5EF4-FFF2-40B4-BE49-F238E27FC236}">
                          <a16:creationId xmlns:a16="http://schemas.microsoft.com/office/drawing/2014/main" id="{FF579A1D-9521-5662-7C90-E33F707851E9}"/>
                        </a:ext>
                      </a:extLst>
                    </p:cNvPr>
                    <p:cNvSpPr/>
                    <p:nvPr/>
                  </p:nvSpPr>
                  <p:spPr>
                    <a:xfrm>
                      <a:off x="6735714" y="1590133"/>
                      <a:ext cx="63966" cy="466269"/>
                    </a:xfrm>
                    <a:custGeom>
                      <a:avLst/>
                      <a:gdLst>
                        <a:gd name="connsiteX0" fmla="*/ 37233 w 63966"/>
                        <a:gd name="connsiteY0" fmla="*/ 466257 h 466269"/>
                        <a:gd name="connsiteX1" fmla="*/ 38866 w 63966"/>
                        <a:gd name="connsiteY1" fmla="*/ 463538 h 466269"/>
                        <a:gd name="connsiteX2" fmla="*/ 63966 w 63966"/>
                        <a:gd name="connsiteY2" fmla="*/ 420059 h 466269"/>
                        <a:gd name="connsiteX3" fmla="*/ 63966 w 63966"/>
                        <a:gd name="connsiteY3" fmla="*/ 0 h 466269"/>
                        <a:gd name="connsiteX4" fmla="*/ 0 w 63966"/>
                        <a:gd name="connsiteY4" fmla="*/ 0 h 466269"/>
                        <a:gd name="connsiteX5" fmla="*/ 37233 w 63966"/>
                        <a:gd name="connsiteY5" fmla="*/ 466269 h 46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66" h="466269">
                          <a:moveTo>
                            <a:pt x="37233" y="466257"/>
                          </a:moveTo>
                          <a:cubicBezTo>
                            <a:pt x="37781" y="465346"/>
                            <a:pt x="38330" y="464461"/>
                            <a:pt x="38866" y="463538"/>
                          </a:cubicBezTo>
                          <a:lnTo>
                            <a:pt x="63966" y="420059"/>
                          </a:lnTo>
                          <a:lnTo>
                            <a:pt x="63966" y="0"/>
                          </a:lnTo>
                          <a:lnTo>
                            <a:pt x="0" y="0"/>
                          </a:lnTo>
                          <a:lnTo>
                            <a:pt x="37233" y="466269"/>
                          </a:ln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363" name="Graphic 525">
                    <a:extLst>
                      <a:ext uri="{FF2B5EF4-FFF2-40B4-BE49-F238E27FC236}">
                        <a16:creationId xmlns:a16="http://schemas.microsoft.com/office/drawing/2014/main" id="{B96703FD-A2B1-BF18-E622-309562374629}"/>
                      </a:ext>
                    </a:extLst>
                  </p:cNvPr>
                  <p:cNvGrpSpPr/>
                  <p:nvPr/>
                </p:nvGrpSpPr>
                <p:grpSpPr>
                  <a:xfrm>
                    <a:off x="5881793" y="1559733"/>
                    <a:ext cx="1161258" cy="96622"/>
                    <a:chOff x="5881793" y="1559733"/>
                    <a:chExt cx="1161258" cy="96622"/>
                  </a:xfrm>
                </p:grpSpPr>
                <p:sp>
                  <p:nvSpPr>
                    <p:cNvPr id="3364" name="Freeform: Shape 3363">
                      <a:extLst>
                        <a:ext uri="{FF2B5EF4-FFF2-40B4-BE49-F238E27FC236}">
                          <a16:creationId xmlns:a16="http://schemas.microsoft.com/office/drawing/2014/main" id="{B0B9F79F-BD3E-4B1F-43C6-0DAF18693EF0}"/>
                        </a:ext>
                      </a:extLst>
                    </p:cNvPr>
                    <p:cNvSpPr/>
                    <p:nvPr/>
                  </p:nvSpPr>
                  <p:spPr>
                    <a:xfrm rot="10800000">
                      <a:off x="6273584" y="1592527"/>
                      <a:ext cx="577281" cy="63829"/>
                    </a:xfrm>
                    <a:custGeom>
                      <a:avLst/>
                      <a:gdLst>
                        <a:gd name="connsiteX0" fmla="*/ 12656 w 577281"/>
                        <a:gd name="connsiteY0" fmla="*/ 0 h 63829"/>
                        <a:gd name="connsiteX1" fmla="*/ 564638 w 577281"/>
                        <a:gd name="connsiteY1" fmla="*/ 0 h 63829"/>
                        <a:gd name="connsiteX2" fmla="*/ 577282 w 577281"/>
                        <a:gd name="connsiteY2" fmla="*/ 12644 h 63829"/>
                        <a:gd name="connsiteX3" fmla="*/ 577282 w 577281"/>
                        <a:gd name="connsiteY3" fmla="*/ 63829 h 63829"/>
                        <a:gd name="connsiteX4" fmla="*/ 0 w 577281"/>
                        <a:gd name="connsiteY4" fmla="*/ 63829 h 63829"/>
                        <a:gd name="connsiteX5" fmla="*/ 0 w 577281"/>
                        <a:gd name="connsiteY5" fmla="*/ 12644 h 63829"/>
                        <a:gd name="connsiteX6" fmla="*/ 12644 w 577281"/>
                        <a:gd name="connsiteY6" fmla="*/ 0 h 6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81" h="63829">
                          <a:moveTo>
                            <a:pt x="12656" y="0"/>
                          </a:moveTo>
                          <a:lnTo>
                            <a:pt x="564638" y="0"/>
                          </a:lnTo>
                          <a:cubicBezTo>
                            <a:pt x="571621" y="0"/>
                            <a:pt x="577282" y="5673"/>
                            <a:pt x="577282" y="12644"/>
                          </a:cubicBezTo>
                          <a:lnTo>
                            <a:pt x="577282" y="63829"/>
                          </a:lnTo>
                          <a:lnTo>
                            <a:pt x="0" y="63829"/>
                          </a:lnTo>
                          <a:lnTo>
                            <a:pt x="0" y="12644"/>
                          </a:lnTo>
                          <a:cubicBezTo>
                            <a:pt x="0" y="5661"/>
                            <a:pt x="5674" y="0"/>
                            <a:pt x="12644" y="0"/>
                          </a:cubicBez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365" name="Graphic 525">
                      <a:extLst>
                        <a:ext uri="{FF2B5EF4-FFF2-40B4-BE49-F238E27FC236}">
                          <a16:creationId xmlns:a16="http://schemas.microsoft.com/office/drawing/2014/main" id="{9D361E10-4BC6-B7AA-C582-8A12884CB1D6}"/>
                        </a:ext>
                      </a:extLst>
                    </p:cNvPr>
                    <p:cNvGrpSpPr/>
                    <p:nvPr/>
                  </p:nvGrpSpPr>
                  <p:grpSpPr>
                    <a:xfrm>
                      <a:off x="5881793" y="1559733"/>
                      <a:ext cx="1161258" cy="59178"/>
                      <a:chOff x="5881793" y="1559733"/>
                      <a:chExt cx="1161258" cy="59178"/>
                    </a:xfrm>
                  </p:grpSpPr>
                  <p:sp>
                    <p:nvSpPr>
                      <p:cNvPr id="3366" name="Freeform: Shape 3365">
                        <a:extLst>
                          <a:ext uri="{FF2B5EF4-FFF2-40B4-BE49-F238E27FC236}">
                            <a16:creationId xmlns:a16="http://schemas.microsoft.com/office/drawing/2014/main" id="{D1EF3A95-FD38-3DA0-0FB7-2C70E675689D}"/>
                          </a:ext>
                        </a:extLst>
                      </p:cNvPr>
                      <p:cNvSpPr/>
                      <p:nvPr/>
                    </p:nvSpPr>
                    <p:spPr>
                      <a:xfrm>
                        <a:off x="5881793" y="1559746"/>
                        <a:ext cx="1161258" cy="59165"/>
                      </a:xfrm>
                      <a:custGeom>
                        <a:avLst/>
                        <a:gdLst>
                          <a:gd name="connsiteX0" fmla="*/ 1161259 w 1161258"/>
                          <a:gd name="connsiteY0" fmla="*/ 0 h 59165"/>
                          <a:gd name="connsiteX1" fmla="*/ 8217 w 1161258"/>
                          <a:gd name="connsiteY1" fmla="*/ 0 h 59165"/>
                          <a:gd name="connsiteX2" fmla="*/ 0 w 1161258"/>
                          <a:gd name="connsiteY2" fmla="*/ 8217 h 59165"/>
                          <a:gd name="connsiteX3" fmla="*/ 0 w 1161258"/>
                          <a:gd name="connsiteY3" fmla="*/ 50949 h 59165"/>
                          <a:gd name="connsiteX4" fmla="*/ 8217 w 1161258"/>
                          <a:gd name="connsiteY4" fmla="*/ 59166 h 59165"/>
                          <a:gd name="connsiteX5" fmla="*/ 1143353 w 1161258"/>
                          <a:gd name="connsiteY5" fmla="*/ 59166 h 59165"/>
                          <a:gd name="connsiteX6" fmla="*/ 1161259 w 1161258"/>
                          <a:gd name="connsiteY6" fmla="*/ 0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258" h="59165">
                            <a:moveTo>
                              <a:pt x="1161259" y="0"/>
                            </a:moveTo>
                            <a:lnTo>
                              <a:pt x="8217" y="0"/>
                            </a:lnTo>
                            <a:cubicBezTo>
                              <a:pt x="3678" y="0"/>
                              <a:pt x="0" y="3678"/>
                              <a:pt x="0" y="8217"/>
                            </a:cubicBezTo>
                            <a:lnTo>
                              <a:pt x="0" y="50949"/>
                            </a:lnTo>
                            <a:cubicBezTo>
                              <a:pt x="0" y="55487"/>
                              <a:pt x="3678" y="59166"/>
                              <a:pt x="8217" y="59166"/>
                            </a:cubicBezTo>
                            <a:lnTo>
                              <a:pt x="1143353" y="59166"/>
                            </a:lnTo>
                            <a:cubicBezTo>
                              <a:pt x="1152693" y="40350"/>
                              <a:pt x="1158665" y="20337"/>
                              <a:pt x="1161259" y="0"/>
                            </a:cubicBezTo>
                            <a:close/>
                          </a:path>
                        </a:pathLst>
                      </a:custGeom>
                      <a:solidFill>
                        <a:srgbClr val="F4D7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67" name="Freeform: Shape 3366">
                        <a:extLst>
                          <a:ext uri="{FF2B5EF4-FFF2-40B4-BE49-F238E27FC236}">
                            <a16:creationId xmlns:a16="http://schemas.microsoft.com/office/drawing/2014/main" id="{D5725AD9-0AB9-7A9B-969F-78FB9A075302}"/>
                          </a:ext>
                        </a:extLst>
                      </p:cNvPr>
                      <p:cNvSpPr/>
                      <p:nvPr/>
                    </p:nvSpPr>
                    <p:spPr>
                      <a:xfrm rot="10800000">
                        <a:off x="5881793" y="1559733"/>
                        <a:ext cx="305430" cy="59165"/>
                      </a:xfrm>
                      <a:custGeom>
                        <a:avLst/>
                        <a:gdLst>
                          <a:gd name="connsiteX0" fmla="*/ 0 w 305430"/>
                          <a:gd name="connsiteY0" fmla="*/ 0 h 59165"/>
                          <a:gd name="connsiteX1" fmla="*/ 297213 w 305430"/>
                          <a:gd name="connsiteY1" fmla="*/ 0 h 59165"/>
                          <a:gd name="connsiteX2" fmla="*/ 305430 w 305430"/>
                          <a:gd name="connsiteY2" fmla="*/ 8217 h 59165"/>
                          <a:gd name="connsiteX3" fmla="*/ 305430 w 305430"/>
                          <a:gd name="connsiteY3" fmla="*/ 50949 h 59165"/>
                          <a:gd name="connsiteX4" fmla="*/ 297213 w 305430"/>
                          <a:gd name="connsiteY4" fmla="*/ 59166 h 59165"/>
                          <a:gd name="connsiteX5" fmla="*/ 0 w 305430"/>
                          <a:gd name="connsiteY5" fmla="*/ 59166 h 59165"/>
                          <a:gd name="connsiteX6" fmla="*/ 0 w 305430"/>
                          <a:gd name="connsiteY6" fmla="*/ 0 h 59165"/>
                          <a:gd name="connsiteX7" fmla="*/ 0 w 305430"/>
                          <a:gd name="connsiteY7" fmla="*/ 0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430" h="59165">
                            <a:moveTo>
                              <a:pt x="0" y="0"/>
                            </a:moveTo>
                            <a:lnTo>
                              <a:pt x="297213" y="0"/>
                            </a:lnTo>
                            <a:cubicBezTo>
                              <a:pt x="301752" y="0"/>
                              <a:pt x="305430" y="3678"/>
                              <a:pt x="305430" y="8217"/>
                            </a:cubicBezTo>
                            <a:lnTo>
                              <a:pt x="305430" y="50949"/>
                            </a:lnTo>
                            <a:cubicBezTo>
                              <a:pt x="305430" y="55487"/>
                              <a:pt x="301752" y="59166"/>
                              <a:pt x="297213" y="59166"/>
                            </a:cubicBezTo>
                            <a:lnTo>
                              <a:pt x="0" y="59166"/>
                            </a:lnTo>
                            <a:lnTo>
                              <a:pt x="0" y="0"/>
                            </a:lnTo>
                            <a:lnTo>
                              <a:pt x="0" y="0"/>
                            </a:lnTo>
                            <a:close/>
                          </a:path>
                        </a:pathLst>
                      </a:custGeom>
                      <a:solidFill>
                        <a:srgbClr val="EAC7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368" name="Graphic 525">
                  <a:extLst>
                    <a:ext uri="{FF2B5EF4-FFF2-40B4-BE49-F238E27FC236}">
                      <a16:creationId xmlns:a16="http://schemas.microsoft.com/office/drawing/2014/main" id="{A2A641C8-85EC-FC61-8348-B14587CFF9EF}"/>
                    </a:ext>
                  </a:extLst>
                </p:cNvPr>
                <p:cNvGrpSpPr/>
                <p:nvPr/>
              </p:nvGrpSpPr>
              <p:grpSpPr>
                <a:xfrm>
                  <a:off x="6178096" y="1216422"/>
                  <a:ext cx="455957" cy="343311"/>
                  <a:chOff x="6178096" y="1216422"/>
                  <a:chExt cx="455957" cy="343311"/>
                </a:xfrm>
              </p:grpSpPr>
              <p:grpSp>
                <p:nvGrpSpPr>
                  <p:cNvPr id="3369" name="Graphic 525">
                    <a:extLst>
                      <a:ext uri="{FF2B5EF4-FFF2-40B4-BE49-F238E27FC236}">
                        <a16:creationId xmlns:a16="http://schemas.microsoft.com/office/drawing/2014/main" id="{AADF829E-AC38-62EC-3AC7-1F8C96591ABA}"/>
                      </a:ext>
                    </a:extLst>
                  </p:cNvPr>
                  <p:cNvGrpSpPr/>
                  <p:nvPr/>
                </p:nvGrpSpPr>
                <p:grpSpPr>
                  <a:xfrm>
                    <a:off x="6341266" y="1486764"/>
                    <a:ext cx="136698" cy="72969"/>
                    <a:chOff x="6341266" y="1486764"/>
                    <a:chExt cx="136698" cy="72969"/>
                  </a:xfrm>
                  <a:solidFill>
                    <a:srgbClr val="8FE0EB"/>
                  </a:solidFill>
                </p:grpSpPr>
                <p:sp>
                  <p:nvSpPr>
                    <p:cNvPr id="3370" name="Freeform: Shape 3369">
                      <a:extLst>
                        <a:ext uri="{FF2B5EF4-FFF2-40B4-BE49-F238E27FC236}">
                          <a16:creationId xmlns:a16="http://schemas.microsoft.com/office/drawing/2014/main" id="{667341A6-0E27-CADD-D5E5-0EC4E6B7451D}"/>
                        </a:ext>
                      </a:extLst>
                    </p:cNvPr>
                    <p:cNvSpPr/>
                    <p:nvPr/>
                  </p:nvSpPr>
                  <p:spPr>
                    <a:xfrm rot="10800000">
                      <a:off x="6381180" y="1486764"/>
                      <a:ext cx="56871" cy="57619"/>
                    </a:xfrm>
                    <a:custGeom>
                      <a:avLst/>
                      <a:gdLst>
                        <a:gd name="connsiteX0" fmla="*/ 0 w 56871"/>
                        <a:gd name="connsiteY0" fmla="*/ 0 h 57619"/>
                        <a:gd name="connsiteX1" fmla="*/ 56872 w 56871"/>
                        <a:gd name="connsiteY1" fmla="*/ 0 h 57619"/>
                        <a:gd name="connsiteX2" fmla="*/ 56872 w 56871"/>
                        <a:gd name="connsiteY2" fmla="*/ 57620 h 57619"/>
                        <a:gd name="connsiteX3" fmla="*/ 0 w 56871"/>
                        <a:gd name="connsiteY3" fmla="*/ 57620 h 57619"/>
                      </a:gdLst>
                      <a:ahLst/>
                      <a:cxnLst>
                        <a:cxn ang="0">
                          <a:pos x="connsiteX0" y="connsiteY0"/>
                        </a:cxn>
                        <a:cxn ang="0">
                          <a:pos x="connsiteX1" y="connsiteY1"/>
                        </a:cxn>
                        <a:cxn ang="0">
                          <a:pos x="connsiteX2" y="connsiteY2"/>
                        </a:cxn>
                        <a:cxn ang="0">
                          <a:pos x="connsiteX3" y="connsiteY3"/>
                        </a:cxn>
                      </a:cxnLst>
                      <a:rect l="l" t="t" r="r" b="b"/>
                      <a:pathLst>
                        <a:path w="56871" h="57619">
                          <a:moveTo>
                            <a:pt x="0" y="0"/>
                          </a:moveTo>
                          <a:lnTo>
                            <a:pt x="56872" y="0"/>
                          </a:lnTo>
                          <a:lnTo>
                            <a:pt x="56872" y="57620"/>
                          </a:lnTo>
                          <a:lnTo>
                            <a:pt x="0" y="57620"/>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71" name="Freeform: Shape 3370">
                      <a:extLst>
                        <a:ext uri="{FF2B5EF4-FFF2-40B4-BE49-F238E27FC236}">
                          <a16:creationId xmlns:a16="http://schemas.microsoft.com/office/drawing/2014/main" id="{1E06BB3B-B50A-37A9-947D-9ED56BFC7AD9}"/>
                        </a:ext>
                      </a:extLst>
                    </p:cNvPr>
                    <p:cNvSpPr/>
                    <p:nvPr/>
                  </p:nvSpPr>
                  <p:spPr>
                    <a:xfrm rot="10800000">
                      <a:off x="6341266" y="1540693"/>
                      <a:ext cx="136698" cy="19040"/>
                    </a:xfrm>
                    <a:custGeom>
                      <a:avLst/>
                      <a:gdLst>
                        <a:gd name="connsiteX0" fmla="*/ 0 w 136698"/>
                        <a:gd name="connsiteY0" fmla="*/ 0 h 19040"/>
                        <a:gd name="connsiteX1" fmla="*/ 136699 w 136698"/>
                        <a:gd name="connsiteY1" fmla="*/ 0 h 19040"/>
                        <a:gd name="connsiteX2" fmla="*/ 136699 w 136698"/>
                        <a:gd name="connsiteY2" fmla="*/ 9414 h 19040"/>
                        <a:gd name="connsiteX3" fmla="*/ 127073 w 136698"/>
                        <a:gd name="connsiteY3" fmla="*/ 19040 h 19040"/>
                        <a:gd name="connsiteX4" fmla="*/ 9639 w 136698"/>
                        <a:gd name="connsiteY4" fmla="*/ 19040 h 19040"/>
                        <a:gd name="connsiteX5" fmla="*/ 12 w 136698"/>
                        <a:gd name="connsiteY5" fmla="*/ 9414 h 19040"/>
                        <a:gd name="connsiteX6" fmla="*/ 12 w 136698"/>
                        <a:gd name="connsiteY6" fmla="*/ 0 h 19040"/>
                        <a:gd name="connsiteX7" fmla="*/ 12 w 136698"/>
                        <a:gd name="connsiteY7" fmla="*/ 0 h 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698" h="19040">
                          <a:moveTo>
                            <a:pt x="0" y="0"/>
                          </a:moveTo>
                          <a:lnTo>
                            <a:pt x="136699" y="0"/>
                          </a:lnTo>
                          <a:lnTo>
                            <a:pt x="136699" y="9414"/>
                          </a:lnTo>
                          <a:cubicBezTo>
                            <a:pt x="136699" y="14726"/>
                            <a:pt x="132385" y="19040"/>
                            <a:pt x="127073" y="19040"/>
                          </a:cubicBezTo>
                          <a:lnTo>
                            <a:pt x="9639" y="19040"/>
                          </a:lnTo>
                          <a:cubicBezTo>
                            <a:pt x="4327" y="19040"/>
                            <a:pt x="12" y="14726"/>
                            <a:pt x="12" y="9414"/>
                          </a:cubicBezTo>
                          <a:lnTo>
                            <a:pt x="12" y="0"/>
                          </a:lnTo>
                          <a:lnTo>
                            <a:pt x="12" y="0"/>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372" name="Graphic 525">
                    <a:extLst>
                      <a:ext uri="{FF2B5EF4-FFF2-40B4-BE49-F238E27FC236}">
                        <a16:creationId xmlns:a16="http://schemas.microsoft.com/office/drawing/2014/main" id="{7255FD00-99FD-4E0F-6E1A-BB8C15FC81A9}"/>
                      </a:ext>
                    </a:extLst>
                  </p:cNvPr>
                  <p:cNvGrpSpPr/>
                  <p:nvPr/>
                </p:nvGrpSpPr>
                <p:grpSpPr>
                  <a:xfrm>
                    <a:off x="6178096" y="1216422"/>
                    <a:ext cx="455957" cy="279382"/>
                    <a:chOff x="6178096" y="1216422"/>
                    <a:chExt cx="455957" cy="279382"/>
                  </a:xfrm>
                </p:grpSpPr>
                <p:grpSp>
                  <p:nvGrpSpPr>
                    <p:cNvPr id="3373" name="Graphic 525">
                      <a:extLst>
                        <a:ext uri="{FF2B5EF4-FFF2-40B4-BE49-F238E27FC236}">
                          <a16:creationId xmlns:a16="http://schemas.microsoft.com/office/drawing/2014/main" id="{EAF11CDE-FDA7-5598-C00D-939D6CE933D6}"/>
                        </a:ext>
                      </a:extLst>
                    </p:cNvPr>
                    <p:cNvGrpSpPr/>
                    <p:nvPr/>
                  </p:nvGrpSpPr>
                  <p:grpSpPr>
                    <a:xfrm>
                      <a:off x="6178096" y="1216422"/>
                      <a:ext cx="455957" cy="279382"/>
                      <a:chOff x="6178096" y="1216422"/>
                      <a:chExt cx="455957" cy="279382"/>
                    </a:xfrm>
                  </p:grpSpPr>
                  <p:sp>
                    <p:nvSpPr>
                      <p:cNvPr id="3374" name="Freeform: Shape 3373">
                        <a:extLst>
                          <a:ext uri="{FF2B5EF4-FFF2-40B4-BE49-F238E27FC236}">
                            <a16:creationId xmlns:a16="http://schemas.microsoft.com/office/drawing/2014/main" id="{B9C2B623-8B93-BDCD-CE1D-49AEB51E8BDE}"/>
                          </a:ext>
                        </a:extLst>
                      </p:cNvPr>
                      <p:cNvSpPr/>
                      <p:nvPr/>
                    </p:nvSpPr>
                    <p:spPr>
                      <a:xfrm rot="10800000">
                        <a:off x="6178096" y="1216422"/>
                        <a:ext cx="455957" cy="279369"/>
                      </a:xfrm>
                      <a:custGeom>
                        <a:avLst/>
                        <a:gdLst>
                          <a:gd name="connsiteX0" fmla="*/ 446930 w 455957"/>
                          <a:gd name="connsiteY0" fmla="*/ 0 h 279369"/>
                          <a:gd name="connsiteX1" fmla="*/ 455957 w 455957"/>
                          <a:gd name="connsiteY1" fmla="*/ 9028 h 279369"/>
                          <a:gd name="connsiteX2" fmla="*/ 455957 w 455957"/>
                          <a:gd name="connsiteY2" fmla="*/ 270342 h 279369"/>
                          <a:gd name="connsiteX3" fmla="*/ 446930 w 455957"/>
                          <a:gd name="connsiteY3" fmla="*/ 279370 h 279369"/>
                          <a:gd name="connsiteX4" fmla="*/ 9028 w 455957"/>
                          <a:gd name="connsiteY4" fmla="*/ 279370 h 279369"/>
                          <a:gd name="connsiteX5" fmla="*/ 0 w 455957"/>
                          <a:gd name="connsiteY5" fmla="*/ 270342 h 279369"/>
                          <a:gd name="connsiteX6" fmla="*/ 0 w 455957"/>
                          <a:gd name="connsiteY6" fmla="*/ 9028 h 279369"/>
                          <a:gd name="connsiteX7" fmla="*/ 9028 w 455957"/>
                          <a:gd name="connsiteY7" fmla="*/ 0 h 2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957" h="279369">
                            <a:moveTo>
                              <a:pt x="446930" y="0"/>
                            </a:moveTo>
                            <a:cubicBezTo>
                              <a:pt x="451915" y="0"/>
                              <a:pt x="455957" y="4042"/>
                              <a:pt x="455957" y="9028"/>
                            </a:cubicBezTo>
                            <a:lnTo>
                              <a:pt x="455957" y="270342"/>
                            </a:lnTo>
                            <a:cubicBezTo>
                              <a:pt x="455957" y="275328"/>
                              <a:pt x="451915" y="279370"/>
                              <a:pt x="446930" y="279370"/>
                            </a:cubicBezTo>
                            <a:lnTo>
                              <a:pt x="9028" y="279370"/>
                            </a:lnTo>
                            <a:cubicBezTo>
                              <a:pt x="4042" y="279370"/>
                              <a:pt x="0" y="275328"/>
                              <a:pt x="0" y="270342"/>
                            </a:cubicBezTo>
                            <a:lnTo>
                              <a:pt x="0" y="9028"/>
                            </a:lnTo>
                            <a:cubicBezTo>
                              <a:pt x="0" y="4042"/>
                              <a:pt x="4042" y="0"/>
                              <a:pt x="9028" y="0"/>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75" name="Freeform: Shape 3374">
                        <a:extLst>
                          <a:ext uri="{FF2B5EF4-FFF2-40B4-BE49-F238E27FC236}">
                            <a16:creationId xmlns:a16="http://schemas.microsoft.com/office/drawing/2014/main" id="{AFE3ECCE-B4E0-B93A-57E6-C4F8B0D78C96}"/>
                          </a:ext>
                        </a:extLst>
                      </p:cNvPr>
                      <p:cNvSpPr/>
                      <p:nvPr/>
                    </p:nvSpPr>
                    <p:spPr>
                      <a:xfrm>
                        <a:off x="6192311" y="1216434"/>
                        <a:ext cx="441742" cy="279369"/>
                      </a:xfrm>
                      <a:custGeom>
                        <a:avLst/>
                        <a:gdLst>
                          <a:gd name="connsiteX0" fmla="*/ 432715 w 441742"/>
                          <a:gd name="connsiteY0" fmla="*/ 0 h 279369"/>
                          <a:gd name="connsiteX1" fmla="*/ 441742 w 441742"/>
                          <a:gd name="connsiteY1" fmla="*/ 9028 h 279369"/>
                          <a:gd name="connsiteX2" fmla="*/ 441742 w 441742"/>
                          <a:gd name="connsiteY2" fmla="*/ 270342 h 279369"/>
                          <a:gd name="connsiteX3" fmla="*/ 432715 w 441742"/>
                          <a:gd name="connsiteY3" fmla="*/ 279370 h 279369"/>
                          <a:gd name="connsiteX4" fmla="*/ 9028 w 441742"/>
                          <a:gd name="connsiteY4" fmla="*/ 279370 h 279369"/>
                          <a:gd name="connsiteX5" fmla="*/ 0 w 441742"/>
                          <a:gd name="connsiteY5" fmla="*/ 270342 h 279369"/>
                          <a:gd name="connsiteX6" fmla="*/ 0 w 441742"/>
                          <a:gd name="connsiteY6" fmla="*/ 9028 h 279369"/>
                          <a:gd name="connsiteX7" fmla="*/ 9028 w 441742"/>
                          <a:gd name="connsiteY7" fmla="*/ 0 h 2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742" h="279369">
                            <a:moveTo>
                              <a:pt x="432715" y="0"/>
                            </a:moveTo>
                            <a:cubicBezTo>
                              <a:pt x="437701" y="0"/>
                              <a:pt x="441742" y="4042"/>
                              <a:pt x="441742" y="9028"/>
                            </a:cubicBezTo>
                            <a:lnTo>
                              <a:pt x="441742" y="270342"/>
                            </a:lnTo>
                            <a:cubicBezTo>
                              <a:pt x="441742" y="275328"/>
                              <a:pt x="437701" y="279370"/>
                              <a:pt x="432715" y="279370"/>
                            </a:cubicBezTo>
                            <a:lnTo>
                              <a:pt x="9028" y="279370"/>
                            </a:lnTo>
                            <a:cubicBezTo>
                              <a:pt x="4042" y="279370"/>
                              <a:pt x="0" y="275328"/>
                              <a:pt x="0" y="270342"/>
                            </a:cubicBezTo>
                            <a:lnTo>
                              <a:pt x="0" y="9028"/>
                            </a:lnTo>
                            <a:cubicBezTo>
                              <a:pt x="0" y="4042"/>
                              <a:pt x="4042" y="0"/>
                              <a:pt x="9028" y="0"/>
                            </a:cubicBezTo>
                            <a:close/>
                          </a:path>
                        </a:pathLst>
                      </a:custGeom>
                      <a:solidFill>
                        <a:srgbClr val="93E7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376" name="Graphic 525">
                      <a:extLst>
                        <a:ext uri="{FF2B5EF4-FFF2-40B4-BE49-F238E27FC236}">
                          <a16:creationId xmlns:a16="http://schemas.microsoft.com/office/drawing/2014/main" id="{F185F516-C4A9-BFE9-E29E-B933E5C7AB80}"/>
                        </a:ext>
                      </a:extLst>
                    </p:cNvPr>
                    <p:cNvGrpSpPr/>
                    <p:nvPr/>
                  </p:nvGrpSpPr>
                  <p:grpSpPr>
                    <a:xfrm>
                      <a:off x="6205889" y="1230811"/>
                      <a:ext cx="414584" cy="251401"/>
                      <a:chOff x="6205889" y="1230811"/>
                      <a:chExt cx="414584" cy="251401"/>
                    </a:xfrm>
                  </p:grpSpPr>
                  <p:sp>
                    <p:nvSpPr>
                      <p:cNvPr id="3377" name="Freeform: Shape 3376">
                        <a:extLst>
                          <a:ext uri="{FF2B5EF4-FFF2-40B4-BE49-F238E27FC236}">
                            <a16:creationId xmlns:a16="http://schemas.microsoft.com/office/drawing/2014/main" id="{6DBC75A5-2A3A-B1A5-DDCD-DE313B248F28}"/>
                          </a:ext>
                        </a:extLst>
                      </p:cNvPr>
                      <p:cNvSpPr/>
                      <p:nvPr/>
                    </p:nvSpPr>
                    <p:spPr>
                      <a:xfrm>
                        <a:off x="6205890" y="1230811"/>
                        <a:ext cx="414584" cy="251401"/>
                      </a:xfrm>
                      <a:custGeom>
                        <a:avLst/>
                        <a:gdLst>
                          <a:gd name="connsiteX0" fmla="*/ 406106 w 414584"/>
                          <a:gd name="connsiteY0" fmla="*/ 0 h 251401"/>
                          <a:gd name="connsiteX1" fmla="*/ 414585 w 414584"/>
                          <a:gd name="connsiteY1" fmla="*/ 8479 h 251401"/>
                          <a:gd name="connsiteX2" fmla="*/ 414585 w 414584"/>
                          <a:gd name="connsiteY2" fmla="*/ 242923 h 251401"/>
                          <a:gd name="connsiteX3" fmla="*/ 406106 w 414584"/>
                          <a:gd name="connsiteY3" fmla="*/ 251402 h 251401"/>
                          <a:gd name="connsiteX4" fmla="*/ 8479 w 414584"/>
                          <a:gd name="connsiteY4" fmla="*/ 251402 h 251401"/>
                          <a:gd name="connsiteX5" fmla="*/ 0 w 414584"/>
                          <a:gd name="connsiteY5" fmla="*/ 242923 h 251401"/>
                          <a:gd name="connsiteX6" fmla="*/ 0 w 414584"/>
                          <a:gd name="connsiteY6" fmla="*/ 8479 h 251401"/>
                          <a:gd name="connsiteX7" fmla="*/ 8479 w 414584"/>
                          <a:gd name="connsiteY7" fmla="*/ 0 h 25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584" h="251401">
                            <a:moveTo>
                              <a:pt x="406106" y="0"/>
                            </a:moveTo>
                            <a:cubicBezTo>
                              <a:pt x="410789" y="0"/>
                              <a:pt x="414585" y="3796"/>
                              <a:pt x="414585" y="8479"/>
                            </a:cubicBezTo>
                            <a:lnTo>
                              <a:pt x="414585" y="242923"/>
                            </a:lnTo>
                            <a:cubicBezTo>
                              <a:pt x="414585" y="247606"/>
                              <a:pt x="410789" y="251402"/>
                              <a:pt x="406106" y="251402"/>
                            </a:cubicBezTo>
                            <a:lnTo>
                              <a:pt x="8479" y="251402"/>
                            </a:lnTo>
                            <a:cubicBezTo>
                              <a:pt x="3796" y="251402"/>
                              <a:pt x="0" y="247606"/>
                              <a:pt x="0" y="242923"/>
                            </a:cubicBezTo>
                            <a:lnTo>
                              <a:pt x="0" y="8479"/>
                            </a:lnTo>
                            <a:cubicBezTo>
                              <a:pt x="0" y="3796"/>
                              <a:pt x="3796" y="0"/>
                              <a:pt x="8479" y="0"/>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378" name="Graphic 525">
                        <a:extLst>
                          <a:ext uri="{FF2B5EF4-FFF2-40B4-BE49-F238E27FC236}">
                            <a16:creationId xmlns:a16="http://schemas.microsoft.com/office/drawing/2014/main" id="{C019D1E6-A957-1988-EA5A-B77E1C5751C3}"/>
                          </a:ext>
                        </a:extLst>
                      </p:cNvPr>
                      <p:cNvGrpSpPr/>
                      <p:nvPr/>
                    </p:nvGrpSpPr>
                    <p:grpSpPr>
                      <a:xfrm>
                        <a:off x="6205889" y="1230811"/>
                        <a:ext cx="412303" cy="251401"/>
                        <a:chOff x="6205889" y="1230811"/>
                        <a:chExt cx="412303" cy="251401"/>
                      </a:xfrm>
                      <a:solidFill>
                        <a:srgbClr val="CAF5FE"/>
                      </a:solidFill>
                    </p:grpSpPr>
                    <p:sp>
                      <p:nvSpPr>
                        <p:cNvPr id="3379" name="Freeform: Shape 3378">
                          <a:extLst>
                            <a:ext uri="{FF2B5EF4-FFF2-40B4-BE49-F238E27FC236}">
                              <a16:creationId xmlns:a16="http://schemas.microsoft.com/office/drawing/2014/main" id="{1964D0BD-415F-6811-CCCA-CED6CD6DF99F}"/>
                            </a:ext>
                          </a:extLst>
                        </p:cNvPr>
                        <p:cNvSpPr/>
                        <p:nvPr/>
                      </p:nvSpPr>
                      <p:spPr>
                        <a:xfrm>
                          <a:off x="6413562" y="1230811"/>
                          <a:ext cx="204630" cy="251401"/>
                        </a:xfrm>
                        <a:custGeom>
                          <a:avLst/>
                          <a:gdLst>
                            <a:gd name="connsiteX0" fmla="*/ 12 w 204630"/>
                            <a:gd name="connsiteY0" fmla="*/ 251402 h 251401"/>
                            <a:gd name="connsiteX1" fmla="*/ 85974 w 204630"/>
                            <a:gd name="connsiteY1" fmla="*/ 251402 h 251401"/>
                            <a:gd name="connsiteX2" fmla="*/ 204630 w 204630"/>
                            <a:gd name="connsiteY2" fmla="*/ 2706 h 251401"/>
                            <a:gd name="connsiteX3" fmla="*/ 198433 w 204630"/>
                            <a:gd name="connsiteY3" fmla="*/ 0 h 251401"/>
                            <a:gd name="connsiteX4" fmla="*/ 119953 w 204630"/>
                            <a:gd name="connsiteY4" fmla="*/ 0 h 251401"/>
                            <a:gd name="connsiteX5" fmla="*/ 0 w 204630"/>
                            <a:gd name="connsiteY5" fmla="*/ 251402 h 25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630" h="251401">
                              <a:moveTo>
                                <a:pt x="12" y="251402"/>
                              </a:moveTo>
                              <a:lnTo>
                                <a:pt x="85974" y="251402"/>
                              </a:lnTo>
                              <a:lnTo>
                                <a:pt x="204630" y="2706"/>
                              </a:lnTo>
                              <a:cubicBezTo>
                                <a:pt x="203084" y="1047"/>
                                <a:pt x="200877" y="0"/>
                                <a:pt x="198433" y="0"/>
                              </a:cubicBezTo>
                              <a:lnTo>
                                <a:pt x="119953" y="0"/>
                              </a:lnTo>
                              <a:lnTo>
                                <a:pt x="0" y="251402"/>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0" name="Freeform: Shape 3379">
                          <a:extLst>
                            <a:ext uri="{FF2B5EF4-FFF2-40B4-BE49-F238E27FC236}">
                              <a16:creationId xmlns:a16="http://schemas.microsoft.com/office/drawing/2014/main" id="{2C8A16A9-AE13-9D82-D0C3-44C0113687FF}"/>
                            </a:ext>
                          </a:extLst>
                        </p:cNvPr>
                        <p:cNvSpPr/>
                        <p:nvPr/>
                      </p:nvSpPr>
                      <p:spPr>
                        <a:xfrm>
                          <a:off x="6290692" y="1230811"/>
                          <a:ext cx="206762" cy="251401"/>
                        </a:xfrm>
                        <a:custGeom>
                          <a:avLst/>
                          <a:gdLst>
                            <a:gd name="connsiteX0" fmla="*/ 86810 w 206762"/>
                            <a:gd name="connsiteY0" fmla="*/ 251402 h 251401"/>
                            <a:gd name="connsiteX1" fmla="*/ 206763 w 206762"/>
                            <a:gd name="connsiteY1" fmla="*/ 0 h 251401"/>
                            <a:gd name="connsiteX2" fmla="*/ 119940 w 206762"/>
                            <a:gd name="connsiteY2" fmla="*/ 0 h 251401"/>
                            <a:gd name="connsiteX3" fmla="*/ 0 w 206762"/>
                            <a:gd name="connsiteY3" fmla="*/ 251402 h 251401"/>
                            <a:gd name="connsiteX4" fmla="*/ 86810 w 206762"/>
                            <a:gd name="connsiteY4" fmla="*/ 251402 h 25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62" h="251401">
                              <a:moveTo>
                                <a:pt x="86810" y="251402"/>
                              </a:moveTo>
                              <a:lnTo>
                                <a:pt x="206763" y="0"/>
                              </a:lnTo>
                              <a:lnTo>
                                <a:pt x="119940" y="0"/>
                              </a:lnTo>
                              <a:lnTo>
                                <a:pt x="0" y="251402"/>
                              </a:lnTo>
                              <a:lnTo>
                                <a:pt x="86810" y="251402"/>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1" name="Freeform: Shape 3380">
                          <a:extLst>
                            <a:ext uri="{FF2B5EF4-FFF2-40B4-BE49-F238E27FC236}">
                              <a16:creationId xmlns:a16="http://schemas.microsoft.com/office/drawing/2014/main" id="{5828AADE-02CD-C745-C499-95CEB9E79C55}"/>
                            </a:ext>
                          </a:extLst>
                        </p:cNvPr>
                        <p:cNvSpPr/>
                        <p:nvPr/>
                      </p:nvSpPr>
                      <p:spPr>
                        <a:xfrm>
                          <a:off x="6205889" y="1230811"/>
                          <a:ext cx="165514" cy="251401"/>
                        </a:xfrm>
                        <a:custGeom>
                          <a:avLst/>
                          <a:gdLst>
                            <a:gd name="connsiteX0" fmla="*/ 79540 w 165514"/>
                            <a:gd name="connsiteY0" fmla="*/ 0 h 251401"/>
                            <a:gd name="connsiteX1" fmla="*/ 0 w 165514"/>
                            <a:gd name="connsiteY1" fmla="*/ 166699 h 251401"/>
                            <a:gd name="connsiteX2" fmla="*/ 0 w 165514"/>
                            <a:gd name="connsiteY2" fmla="*/ 242923 h 251401"/>
                            <a:gd name="connsiteX3" fmla="*/ 8479 w 165514"/>
                            <a:gd name="connsiteY3" fmla="*/ 251402 h 251401"/>
                            <a:gd name="connsiteX4" fmla="*/ 45562 w 165514"/>
                            <a:gd name="connsiteY4" fmla="*/ 251402 h 251401"/>
                            <a:gd name="connsiteX5" fmla="*/ 165515 w 165514"/>
                            <a:gd name="connsiteY5" fmla="*/ 0 h 251401"/>
                            <a:gd name="connsiteX6" fmla="*/ 79553 w 165514"/>
                            <a:gd name="connsiteY6" fmla="*/ 0 h 25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14" h="251401">
                              <a:moveTo>
                                <a:pt x="79540" y="0"/>
                              </a:moveTo>
                              <a:lnTo>
                                <a:pt x="0" y="166699"/>
                              </a:lnTo>
                              <a:lnTo>
                                <a:pt x="0" y="242923"/>
                              </a:lnTo>
                              <a:cubicBezTo>
                                <a:pt x="0" y="247599"/>
                                <a:pt x="3791" y="251402"/>
                                <a:pt x="8479" y="251402"/>
                              </a:cubicBezTo>
                              <a:lnTo>
                                <a:pt x="45562" y="251402"/>
                              </a:lnTo>
                              <a:lnTo>
                                <a:pt x="165515" y="0"/>
                              </a:lnTo>
                              <a:lnTo>
                                <a:pt x="79553" y="0"/>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nvGrpSpPr>
              <p:cNvPr id="3382" name="Graphic 525">
                <a:extLst>
                  <a:ext uri="{FF2B5EF4-FFF2-40B4-BE49-F238E27FC236}">
                    <a16:creationId xmlns:a16="http://schemas.microsoft.com/office/drawing/2014/main" id="{5988E016-6985-F63E-9601-3488CD45CF26}"/>
                  </a:ext>
                </a:extLst>
              </p:cNvPr>
              <p:cNvGrpSpPr/>
              <p:nvPr/>
            </p:nvGrpSpPr>
            <p:grpSpPr>
              <a:xfrm>
                <a:off x="6296066" y="951453"/>
                <a:ext cx="178482" cy="178482"/>
                <a:chOff x="6296066" y="951453"/>
                <a:chExt cx="178482" cy="178482"/>
              </a:xfrm>
            </p:grpSpPr>
            <p:sp>
              <p:nvSpPr>
                <p:cNvPr id="3383" name="Freeform: Shape 3382">
                  <a:extLst>
                    <a:ext uri="{FF2B5EF4-FFF2-40B4-BE49-F238E27FC236}">
                      <a16:creationId xmlns:a16="http://schemas.microsoft.com/office/drawing/2014/main" id="{D3C0A70E-65ED-8C4E-7C60-FA2BA0C01DA7}"/>
                    </a:ext>
                  </a:extLst>
                </p:cNvPr>
                <p:cNvSpPr/>
                <p:nvPr/>
              </p:nvSpPr>
              <p:spPr>
                <a:xfrm>
                  <a:off x="6296066" y="951453"/>
                  <a:ext cx="178482" cy="178482"/>
                </a:xfrm>
                <a:custGeom>
                  <a:avLst/>
                  <a:gdLst>
                    <a:gd name="connsiteX0" fmla="*/ 178483 w 178482"/>
                    <a:gd name="connsiteY0" fmla="*/ 89241 h 178482"/>
                    <a:gd name="connsiteX1" fmla="*/ 89241 w 178482"/>
                    <a:gd name="connsiteY1" fmla="*/ 178483 h 178482"/>
                    <a:gd name="connsiteX2" fmla="*/ 0 w 178482"/>
                    <a:gd name="connsiteY2" fmla="*/ 89241 h 178482"/>
                    <a:gd name="connsiteX3" fmla="*/ 89241 w 178482"/>
                    <a:gd name="connsiteY3" fmla="*/ 0 h 178482"/>
                    <a:gd name="connsiteX4" fmla="*/ 178483 w 178482"/>
                    <a:gd name="connsiteY4" fmla="*/ 89241 h 178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82" h="178482">
                      <a:moveTo>
                        <a:pt x="178483" y="89241"/>
                      </a:moveTo>
                      <a:cubicBezTo>
                        <a:pt x="178483" y="138528"/>
                        <a:pt x="138528" y="178483"/>
                        <a:pt x="89241" y="178483"/>
                      </a:cubicBezTo>
                      <a:cubicBezTo>
                        <a:pt x="39955" y="178483"/>
                        <a:pt x="0" y="138528"/>
                        <a:pt x="0" y="89241"/>
                      </a:cubicBezTo>
                      <a:cubicBezTo>
                        <a:pt x="0" y="39955"/>
                        <a:pt x="39955" y="0"/>
                        <a:pt x="89241" y="0"/>
                      </a:cubicBezTo>
                      <a:cubicBezTo>
                        <a:pt x="138528" y="0"/>
                        <a:pt x="178483" y="39955"/>
                        <a:pt x="178483" y="89241"/>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4" name="Freeform: Shape 3383">
                  <a:extLst>
                    <a:ext uri="{FF2B5EF4-FFF2-40B4-BE49-F238E27FC236}">
                      <a16:creationId xmlns:a16="http://schemas.microsoft.com/office/drawing/2014/main" id="{F59A847B-E2C4-D221-13FA-94E928D772B3}"/>
                    </a:ext>
                  </a:extLst>
                </p:cNvPr>
                <p:cNvSpPr/>
                <p:nvPr/>
              </p:nvSpPr>
              <p:spPr>
                <a:xfrm>
                  <a:off x="6305231" y="960618"/>
                  <a:ext cx="160152" cy="160153"/>
                </a:xfrm>
                <a:custGeom>
                  <a:avLst/>
                  <a:gdLst>
                    <a:gd name="connsiteX0" fmla="*/ 160153 w 160152"/>
                    <a:gd name="connsiteY0" fmla="*/ 80076 h 160153"/>
                    <a:gd name="connsiteX1" fmla="*/ 80077 w 160152"/>
                    <a:gd name="connsiteY1" fmla="*/ 160153 h 160153"/>
                    <a:gd name="connsiteX2" fmla="*/ 0 w 160152"/>
                    <a:gd name="connsiteY2" fmla="*/ 80076 h 160153"/>
                    <a:gd name="connsiteX3" fmla="*/ 80077 w 160152"/>
                    <a:gd name="connsiteY3" fmla="*/ 0 h 160153"/>
                    <a:gd name="connsiteX4" fmla="*/ 160153 w 160152"/>
                    <a:gd name="connsiteY4" fmla="*/ 80076 h 160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52" h="160153">
                      <a:moveTo>
                        <a:pt x="160153" y="80076"/>
                      </a:moveTo>
                      <a:cubicBezTo>
                        <a:pt x="160153" y="124302"/>
                        <a:pt x="124302" y="160153"/>
                        <a:pt x="80077" y="160153"/>
                      </a:cubicBezTo>
                      <a:cubicBezTo>
                        <a:pt x="35851" y="160153"/>
                        <a:pt x="0" y="124302"/>
                        <a:pt x="0" y="80076"/>
                      </a:cubicBezTo>
                      <a:cubicBezTo>
                        <a:pt x="0" y="35851"/>
                        <a:pt x="35851" y="0"/>
                        <a:pt x="80077" y="0"/>
                      </a:cubicBezTo>
                      <a:cubicBezTo>
                        <a:pt x="124302" y="0"/>
                        <a:pt x="160153" y="35851"/>
                        <a:pt x="160153" y="80076"/>
                      </a:cubicBez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5" name="Freeform: Shape 3384">
                  <a:extLst>
                    <a:ext uri="{FF2B5EF4-FFF2-40B4-BE49-F238E27FC236}">
                      <a16:creationId xmlns:a16="http://schemas.microsoft.com/office/drawing/2014/main" id="{DCA219DE-C3F1-ADDB-C376-1F373526852A}"/>
                    </a:ext>
                  </a:extLst>
                </p:cNvPr>
                <p:cNvSpPr/>
                <p:nvPr/>
              </p:nvSpPr>
              <p:spPr>
                <a:xfrm>
                  <a:off x="6375083" y="1030470"/>
                  <a:ext cx="20449" cy="20449"/>
                </a:xfrm>
                <a:custGeom>
                  <a:avLst/>
                  <a:gdLst>
                    <a:gd name="connsiteX0" fmla="*/ 20449 w 20449"/>
                    <a:gd name="connsiteY0" fmla="*/ 10225 h 20449"/>
                    <a:gd name="connsiteX1" fmla="*/ 10225 w 20449"/>
                    <a:gd name="connsiteY1" fmla="*/ 20449 h 20449"/>
                    <a:gd name="connsiteX2" fmla="*/ 0 w 20449"/>
                    <a:gd name="connsiteY2" fmla="*/ 10225 h 20449"/>
                    <a:gd name="connsiteX3" fmla="*/ 10225 w 20449"/>
                    <a:gd name="connsiteY3" fmla="*/ 0 h 20449"/>
                    <a:gd name="connsiteX4" fmla="*/ 20449 w 20449"/>
                    <a:gd name="connsiteY4" fmla="*/ 10225 h 20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49" h="20449">
                      <a:moveTo>
                        <a:pt x="20449" y="10225"/>
                      </a:moveTo>
                      <a:cubicBezTo>
                        <a:pt x="20449" y="15872"/>
                        <a:pt x="15871" y="20449"/>
                        <a:pt x="10225" y="20449"/>
                      </a:cubicBezTo>
                      <a:cubicBezTo>
                        <a:pt x="4578" y="20449"/>
                        <a:pt x="0" y="15872"/>
                        <a:pt x="0" y="10225"/>
                      </a:cubicBezTo>
                      <a:cubicBezTo>
                        <a:pt x="0" y="4578"/>
                        <a:pt x="4578" y="0"/>
                        <a:pt x="10225" y="0"/>
                      </a:cubicBezTo>
                      <a:cubicBezTo>
                        <a:pt x="15872" y="0"/>
                        <a:pt x="20449" y="4578"/>
                        <a:pt x="20449" y="10225"/>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6" name="Freeform: Shape 3385">
                  <a:extLst>
                    <a:ext uri="{FF2B5EF4-FFF2-40B4-BE49-F238E27FC236}">
                      <a16:creationId xmlns:a16="http://schemas.microsoft.com/office/drawing/2014/main" id="{8672AC44-6D44-1C13-D5E6-1A582A98F3BF}"/>
                    </a:ext>
                  </a:extLst>
                </p:cNvPr>
                <p:cNvSpPr/>
                <p:nvPr/>
              </p:nvSpPr>
              <p:spPr>
                <a:xfrm>
                  <a:off x="6347863" y="981030"/>
                  <a:ext cx="37893" cy="59951"/>
                </a:xfrm>
                <a:custGeom>
                  <a:avLst/>
                  <a:gdLst>
                    <a:gd name="connsiteX0" fmla="*/ 36996 w 37893"/>
                    <a:gd name="connsiteY0" fmla="*/ 59939 h 59951"/>
                    <a:gd name="connsiteX1" fmla="*/ 25936 w 37893"/>
                    <a:gd name="connsiteY1" fmla="*/ 46223 h 59951"/>
                    <a:gd name="connsiteX2" fmla="*/ 23242 w 37893"/>
                    <a:gd name="connsiteY2" fmla="*/ 42756 h 59951"/>
                    <a:gd name="connsiteX3" fmla="*/ 20574 w 37893"/>
                    <a:gd name="connsiteY3" fmla="*/ 39265 h 59951"/>
                    <a:gd name="connsiteX4" fmla="*/ 17943 w 37893"/>
                    <a:gd name="connsiteY4" fmla="*/ 35749 h 59951"/>
                    <a:gd name="connsiteX5" fmla="*/ 15337 w 37893"/>
                    <a:gd name="connsiteY5" fmla="*/ 32220 h 59951"/>
                    <a:gd name="connsiteX6" fmla="*/ 9850 w 37893"/>
                    <a:gd name="connsiteY6" fmla="*/ 25337 h 59951"/>
                    <a:gd name="connsiteX7" fmla="*/ 5175 w 37893"/>
                    <a:gd name="connsiteY7" fmla="*/ 17943 h 59951"/>
                    <a:gd name="connsiteX8" fmla="*/ 1883 w 37893"/>
                    <a:gd name="connsiteY8" fmla="*/ 9688 h 59951"/>
                    <a:gd name="connsiteX9" fmla="*/ 698 w 37893"/>
                    <a:gd name="connsiteY9" fmla="*/ 5274 h 59951"/>
                    <a:gd name="connsiteX10" fmla="*/ 0 w 37893"/>
                    <a:gd name="connsiteY10" fmla="*/ 561 h 59951"/>
                    <a:gd name="connsiteX11" fmla="*/ 910 w 37893"/>
                    <a:gd name="connsiteY11" fmla="*/ 0 h 59951"/>
                    <a:gd name="connsiteX12" fmla="*/ 4838 w 37893"/>
                    <a:gd name="connsiteY12" fmla="*/ 2706 h 59951"/>
                    <a:gd name="connsiteX13" fmla="*/ 8279 w 37893"/>
                    <a:gd name="connsiteY13" fmla="*/ 5711 h 59951"/>
                    <a:gd name="connsiteX14" fmla="*/ 14227 w 37893"/>
                    <a:gd name="connsiteY14" fmla="*/ 12307 h 59951"/>
                    <a:gd name="connsiteX15" fmla="*/ 18803 w 37893"/>
                    <a:gd name="connsiteY15" fmla="*/ 19763 h 59951"/>
                    <a:gd name="connsiteX16" fmla="*/ 22569 w 37893"/>
                    <a:gd name="connsiteY16" fmla="*/ 27719 h 59951"/>
                    <a:gd name="connsiteX17" fmla="*/ 24589 w 37893"/>
                    <a:gd name="connsiteY17" fmla="*/ 31609 h 59951"/>
                    <a:gd name="connsiteX18" fmla="*/ 26584 w 37893"/>
                    <a:gd name="connsiteY18" fmla="*/ 35524 h 59951"/>
                    <a:gd name="connsiteX19" fmla="*/ 28542 w 37893"/>
                    <a:gd name="connsiteY19" fmla="*/ 39465 h 59951"/>
                    <a:gd name="connsiteX20" fmla="*/ 30462 w 37893"/>
                    <a:gd name="connsiteY20" fmla="*/ 43417 h 59951"/>
                    <a:gd name="connsiteX21" fmla="*/ 37893 w 37893"/>
                    <a:gd name="connsiteY21" fmla="*/ 59390 h 59951"/>
                    <a:gd name="connsiteX22" fmla="*/ 36983 w 37893"/>
                    <a:gd name="connsiteY22" fmla="*/ 59951 h 5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893" h="59951">
                      <a:moveTo>
                        <a:pt x="36996" y="59939"/>
                      </a:moveTo>
                      <a:cubicBezTo>
                        <a:pt x="33193" y="55438"/>
                        <a:pt x="29577" y="50824"/>
                        <a:pt x="25936" y="46223"/>
                      </a:cubicBezTo>
                      <a:lnTo>
                        <a:pt x="23242" y="42756"/>
                      </a:lnTo>
                      <a:lnTo>
                        <a:pt x="20574" y="39265"/>
                      </a:lnTo>
                      <a:lnTo>
                        <a:pt x="17943" y="35749"/>
                      </a:lnTo>
                      <a:lnTo>
                        <a:pt x="15337" y="32220"/>
                      </a:lnTo>
                      <a:cubicBezTo>
                        <a:pt x="13616" y="29863"/>
                        <a:pt x="11684" y="27631"/>
                        <a:pt x="9850" y="25337"/>
                      </a:cubicBezTo>
                      <a:cubicBezTo>
                        <a:pt x="8018" y="23043"/>
                        <a:pt x="6446" y="20586"/>
                        <a:pt x="5175" y="17943"/>
                      </a:cubicBezTo>
                      <a:cubicBezTo>
                        <a:pt x="3891" y="15300"/>
                        <a:pt x="2793" y="12556"/>
                        <a:pt x="1883" y="9688"/>
                      </a:cubicBezTo>
                      <a:cubicBezTo>
                        <a:pt x="1434" y="8255"/>
                        <a:pt x="1035" y="6783"/>
                        <a:pt x="698" y="5274"/>
                      </a:cubicBezTo>
                      <a:cubicBezTo>
                        <a:pt x="374" y="3753"/>
                        <a:pt x="100" y="2207"/>
                        <a:pt x="0" y="561"/>
                      </a:cubicBezTo>
                      <a:lnTo>
                        <a:pt x="910" y="0"/>
                      </a:lnTo>
                      <a:cubicBezTo>
                        <a:pt x="2357" y="823"/>
                        <a:pt x="3616" y="1746"/>
                        <a:pt x="4838" y="2706"/>
                      </a:cubicBezTo>
                      <a:cubicBezTo>
                        <a:pt x="6048" y="3666"/>
                        <a:pt x="7182" y="4676"/>
                        <a:pt x="8279" y="5711"/>
                      </a:cubicBezTo>
                      <a:cubicBezTo>
                        <a:pt x="10449" y="7793"/>
                        <a:pt x="12432" y="10000"/>
                        <a:pt x="14227" y="12307"/>
                      </a:cubicBezTo>
                      <a:cubicBezTo>
                        <a:pt x="16035" y="14614"/>
                        <a:pt x="17557" y="17108"/>
                        <a:pt x="18803" y="19763"/>
                      </a:cubicBezTo>
                      <a:cubicBezTo>
                        <a:pt x="20050" y="22419"/>
                        <a:pt x="21210" y="25138"/>
                        <a:pt x="22569" y="27719"/>
                      </a:cubicBezTo>
                      <a:lnTo>
                        <a:pt x="24589" y="31609"/>
                      </a:lnTo>
                      <a:lnTo>
                        <a:pt x="26584" y="35524"/>
                      </a:lnTo>
                      <a:lnTo>
                        <a:pt x="28542" y="39465"/>
                      </a:lnTo>
                      <a:lnTo>
                        <a:pt x="30462" y="43417"/>
                      </a:lnTo>
                      <a:cubicBezTo>
                        <a:pt x="32993" y="48717"/>
                        <a:pt x="35537" y="54004"/>
                        <a:pt x="37893" y="59390"/>
                      </a:cubicBezTo>
                      <a:lnTo>
                        <a:pt x="36983" y="59951"/>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7" name="Freeform: Shape 3386">
                  <a:extLst>
                    <a:ext uri="{FF2B5EF4-FFF2-40B4-BE49-F238E27FC236}">
                      <a16:creationId xmlns:a16="http://schemas.microsoft.com/office/drawing/2014/main" id="{DD7EE33E-1C52-8767-3AE1-8000BA4F436F}"/>
                    </a:ext>
                  </a:extLst>
                </p:cNvPr>
                <p:cNvSpPr/>
                <p:nvPr/>
              </p:nvSpPr>
              <p:spPr>
                <a:xfrm>
                  <a:off x="6384721" y="1014136"/>
                  <a:ext cx="27369" cy="27070"/>
                </a:xfrm>
                <a:custGeom>
                  <a:avLst/>
                  <a:gdLst>
                    <a:gd name="connsiteX0" fmla="*/ 0 w 27369"/>
                    <a:gd name="connsiteY0" fmla="*/ 26297 h 27070"/>
                    <a:gd name="connsiteX1" fmla="*/ 1247 w 27369"/>
                    <a:gd name="connsiteY1" fmla="*/ 24227 h 27070"/>
                    <a:gd name="connsiteX2" fmla="*/ 2531 w 27369"/>
                    <a:gd name="connsiteY2" fmla="*/ 22195 h 27070"/>
                    <a:gd name="connsiteX3" fmla="*/ 5162 w 27369"/>
                    <a:gd name="connsiteY3" fmla="*/ 18205 h 27070"/>
                    <a:gd name="connsiteX4" fmla="*/ 6509 w 27369"/>
                    <a:gd name="connsiteY4" fmla="*/ 16235 h 27070"/>
                    <a:gd name="connsiteX5" fmla="*/ 7868 w 27369"/>
                    <a:gd name="connsiteY5" fmla="*/ 14290 h 27070"/>
                    <a:gd name="connsiteX6" fmla="*/ 9264 w 27369"/>
                    <a:gd name="connsiteY6" fmla="*/ 12382 h 27070"/>
                    <a:gd name="connsiteX7" fmla="*/ 10686 w 27369"/>
                    <a:gd name="connsiteY7" fmla="*/ 10499 h 27070"/>
                    <a:gd name="connsiteX8" fmla="*/ 13304 w 27369"/>
                    <a:gd name="connsiteY8" fmla="*/ 6484 h 27070"/>
                    <a:gd name="connsiteX9" fmla="*/ 14776 w 27369"/>
                    <a:gd name="connsiteY9" fmla="*/ 4638 h 27070"/>
                    <a:gd name="connsiteX10" fmla="*/ 16596 w 27369"/>
                    <a:gd name="connsiteY10" fmla="*/ 3155 h 27070"/>
                    <a:gd name="connsiteX11" fmla="*/ 21023 w 27369"/>
                    <a:gd name="connsiteY11" fmla="*/ 985 h 27070"/>
                    <a:gd name="connsiteX12" fmla="*/ 26621 w 27369"/>
                    <a:gd name="connsiteY12" fmla="*/ 0 h 27070"/>
                    <a:gd name="connsiteX13" fmla="*/ 27370 w 27369"/>
                    <a:gd name="connsiteY13" fmla="*/ 761 h 27070"/>
                    <a:gd name="connsiteX14" fmla="*/ 26322 w 27369"/>
                    <a:gd name="connsiteY14" fmla="*/ 6347 h 27070"/>
                    <a:gd name="connsiteX15" fmla="*/ 24090 w 27369"/>
                    <a:gd name="connsiteY15" fmla="*/ 10748 h 27070"/>
                    <a:gd name="connsiteX16" fmla="*/ 22581 w 27369"/>
                    <a:gd name="connsiteY16" fmla="*/ 12556 h 27070"/>
                    <a:gd name="connsiteX17" fmla="*/ 20723 w 27369"/>
                    <a:gd name="connsiteY17" fmla="*/ 14003 h 27070"/>
                    <a:gd name="connsiteX18" fmla="*/ 16683 w 27369"/>
                    <a:gd name="connsiteY18" fmla="*/ 16571 h 27070"/>
                    <a:gd name="connsiteX19" fmla="*/ 14776 w 27369"/>
                    <a:gd name="connsiteY19" fmla="*/ 17968 h 27070"/>
                    <a:gd name="connsiteX20" fmla="*/ 12843 w 27369"/>
                    <a:gd name="connsiteY20" fmla="*/ 19340 h 27070"/>
                    <a:gd name="connsiteX21" fmla="*/ 10885 w 27369"/>
                    <a:gd name="connsiteY21" fmla="*/ 20686 h 27070"/>
                    <a:gd name="connsiteX22" fmla="*/ 8903 w 27369"/>
                    <a:gd name="connsiteY22" fmla="*/ 22008 h 27070"/>
                    <a:gd name="connsiteX23" fmla="*/ 4875 w 27369"/>
                    <a:gd name="connsiteY23" fmla="*/ 24589 h 27070"/>
                    <a:gd name="connsiteX24" fmla="*/ 2831 w 27369"/>
                    <a:gd name="connsiteY24" fmla="*/ 25848 h 27070"/>
                    <a:gd name="connsiteX25" fmla="*/ 748 w 27369"/>
                    <a:gd name="connsiteY25" fmla="*/ 27070 h 27070"/>
                    <a:gd name="connsiteX26" fmla="*/ 0 w 27369"/>
                    <a:gd name="connsiteY26" fmla="*/ 26310 h 2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369" h="27070">
                      <a:moveTo>
                        <a:pt x="0" y="26297"/>
                      </a:moveTo>
                      <a:cubicBezTo>
                        <a:pt x="399" y="25599"/>
                        <a:pt x="835" y="24913"/>
                        <a:pt x="1247" y="24227"/>
                      </a:cubicBezTo>
                      <a:lnTo>
                        <a:pt x="2531" y="22195"/>
                      </a:lnTo>
                      <a:cubicBezTo>
                        <a:pt x="3392" y="20848"/>
                        <a:pt x="4277" y="19527"/>
                        <a:pt x="5162" y="18205"/>
                      </a:cubicBezTo>
                      <a:lnTo>
                        <a:pt x="6509" y="16235"/>
                      </a:lnTo>
                      <a:lnTo>
                        <a:pt x="7868" y="14290"/>
                      </a:lnTo>
                      <a:lnTo>
                        <a:pt x="9264" y="12382"/>
                      </a:lnTo>
                      <a:lnTo>
                        <a:pt x="10686" y="10499"/>
                      </a:lnTo>
                      <a:cubicBezTo>
                        <a:pt x="11646" y="9252"/>
                        <a:pt x="12432" y="7831"/>
                        <a:pt x="13304" y="6484"/>
                      </a:cubicBezTo>
                      <a:cubicBezTo>
                        <a:pt x="13741" y="5823"/>
                        <a:pt x="14227" y="5200"/>
                        <a:pt x="14776" y="4638"/>
                      </a:cubicBezTo>
                      <a:cubicBezTo>
                        <a:pt x="15325" y="4077"/>
                        <a:pt x="15936" y="3591"/>
                        <a:pt x="16596" y="3155"/>
                      </a:cubicBezTo>
                      <a:cubicBezTo>
                        <a:pt x="17930" y="2282"/>
                        <a:pt x="19389" y="1534"/>
                        <a:pt x="21023" y="985"/>
                      </a:cubicBezTo>
                      <a:cubicBezTo>
                        <a:pt x="22669" y="436"/>
                        <a:pt x="24439" y="12"/>
                        <a:pt x="26621" y="0"/>
                      </a:cubicBezTo>
                      <a:lnTo>
                        <a:pt x="27370" y="761"/>
                      </a:lnTo>
                      <a:cubicBezTo>
                        <a:pt x="27332" y="2943"/>
                        <a:pt x="26896" y="4713"/>
                        <a:pt x="26322" y="6347"/>
                      </a:cubicBezTo>
                      <a:cubicBezTo>
                        <a:pt x="25749" y="7980"/>
                        <a:pt x="24988" y="9427"/>
                        <a:pt x="24090" y="10748"/>
                      </a:cubicBezTo>
                      <a:cubicBezTo>
                        <a:pt x="23641" y="11409"/>
                        <a:pt x="23143" y="12008"/>
                        <a:pt x="22581" y="12556"/>
                      </a:cubicBezTo>
                      <a:cubicBezTo>
                        <a:pt x="22020" y="13093"/>
                        <a:pt x="21384" y="13566"/>
                        <a:pt x="20723" y="14003"/>
                      </a:cubicBezTo>
                      <a:cubicBezTo>
                        <a:pt x="19377" y="14851"/>
                        <a:pt x="17943" y="15624"/>
                        <a:pt x="16683" y="16571"/>
                      </a:cubicBezTo>
                      <a:lnTo>
                        <a:pt x="14776" y="17968"/>
                      </a:lnTo>
                      <a:lnTo>
                        <a:pt x="12843" y="19340"/>
                      </a:lnTo>
                      <a:lnTo>
                        <a:pt x="10885" y="20686"/>
                      </a:lnTo>
                      <a:lnTo>
                        <a:pt x="8903" y="22008"/>
                      </a:lnTo>
                      <a:cubicBezTo>
                        <a:pt x="7569" y="22881"/>
                        <a:pt x="6235" y="23754"/>
                        <a:pt x="4875" y="24589"/>
                      </a:cubicBezTo>
                      <a:lnTo>
                        <a:pt x="2831" y="25848"/>
                      </a:lnTo>
                      <a:cubicBezTo>
                        <a:pt x="2132" y="26260"/>
                        <a:pt x="1459" y="26671"/>
                        <a:pt x="748" y="27070"/>
                      </a:cubicBezTo>
                      <a:lnTo>
                        <a:pt x="0" y="26310"/>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88" name="Freeform: Shape 3387">
                  <a:extLst>
                    <a:ext uri="{FF2B5EF4-FFF2-40B4-BE49-F238E27FC236}">
                      <a16:creationId xmlns:a16="http://schemas.microsoft.com/office/drawing/2014/main" id="{EC7E4269-518B-CE74-E113-E1CBB9B51722}"/>
                    </a:ext>
                  </a:extLst>
                </p:cNvPr>
                <p:cNvSpPr/>
                <p:nvPr/>
              </p:nvSpPr>
              <p:spPr>
                <a:xfrm>
                  <a:off x="6378749" y="1034136"/>
                  <a:ext cx="13117" cy="13117"/>
                </a:xfrm>
                <a:custGeom>
                  <a:avLst/>
                  <a:gdLst>
                    <a:gd name="connsiteX0" fmla="*/ 13118 w 13117"/>
                    <a:gd name="connsiteY0" fmla="*/ 6559 h 13117"/>
                    <a:gd name="connsiteX1" fmla="*/ 6559 w 13117"/>
                    <a:gd name="connsiteY1" fmla="*/ 13117 h 13117"/>
                    <a:gd name="connsiteX2" fmla="*/ 0 w 13117"/>
                    <a:gd name="connsiteY2" fmla="*/ 6559 h 13117"/>
                    <a:gd name="connsiteX3" fmla="*/ 6559 w 13117"/>
                    <a:gd name="connsiteY3" fmla="*/ 0 h 13117"/>
                    <a:gd name="connsiteX4" fmla="*/ 13118 w 13117"/>
                    <a:gd name="connsiteY4" fmla="*/ 6559 h 13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17" h="13117">
                      <a:moveTo>
                        <a:pt x="13118" y="6559"/>
                      </a:moveTo>
                      <a:cubicBezTo>
                        <a:pt x="13118" y="10181"/>
                        <a:pt x="10181" y="13117"/>
                        <a:pt x="6559" y="13117"/>
                      </a:cubicBezTo>
                      <a:cubicBezTo>
                        <a:pt x="2936" y="13117"/>
                        <a:pt x="0" y="10181"/>
                        <a:pt x="0" y="6559"/>
                      </a:cubicBezTo>
                      <a:cubicBezTo>
                        <a:pt x="0" y="2936"/>
                        <a:pt x="2936" y="0"/>
                        <a:pt x="6559" y="0"/>
                      </a:cubicBezTo>
                      <a:cubicBezTo>
                        <a:pt x="10181" y="0"/>
                        <a:pt x="13118" y="2936"/>
                        <a:pt x="13118" y="6559"/>
                      </a:cubicBez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391" name="Graphic 525">
              <a:extLst>
                <a:ext uri="{FF2B5EF4-FFF2-40B4-BE49-F238E27FC236}">
                  <a16:creationId xmlns:a16="http://schemas.microsoft.com/office/drawing/2014/main" id="{D30ED546-C3AC-D1D6-CC36-A5CE54012A7F}"/>
                </a:ext>
              </a:extLst>
            </p:cNvPr>
            <p:cNvGrpSpPr/>
            <p:nvPr/>
          </p:nvGrpSpPr>
          <p:grpSpPr>
            <a:xfrm>
              <a:off x="4217223" y="1447740"/>
              <a:ext cx="433965" cy="761594"/>
              <a:chOff x="6486540" y="1181408"/>
              <a:chExt cx="523381" cy="918514"/>
            </a:xfrm>
          </p:grpSpPr>
          <p:grpSp>
            <p:nvGrpSpPr>
              <p:cNvPr id="3392" name="Graphic 525">
                <a:extLst>
                  <a:ext uri="{FF2B5EF4-FFF2-40B4-BE49-F238E27FC236}">
                    <a16:creationId xmlns:a16="http://schemas.microsoft.com/office/drawing/2014/main" id="{46788851-782B-1A6E-81F8-DF4F9402EB1B}"/>
                  </a:ext>
                </a:extLst>
              </p:cNvPr>
              <p:cNvGrpSpPr/>
              <p:nvPr/>
            </p:nvGrpSpPr>
            <p:grpSpPr>
              <a:xfrm>
                <a:off x="6605105" y="1846996"/>
                <a:ext cx="198503" cy="252927"/>
                <a:chOff x="6605105" y="1846996"/>
                <a:chExt cx="198503" cy="252927"/>
              </a:xfrm>
            </p:grpSpPr>
            <p:grpSp>
              <p:nvGrpSpPr>
                <p:cNvPr id="3393" name="Graphic 525">
                  <a:extLst>
                    <a:ext uri="{FF2B5EF4-FFF2-40B4-BE49-F238E27FC236}">
                      <a16:creationId xmlns:a16="http://schemas.microsoft.com/office/drawing/2014/main" id="{CE09DA9E-1C5E-BDE6-F7AE-EED031D9343B}"/>
                    </a:ext>
                  </a:extLst>
                </p:cNvPr>
                <p:cNvGrpSpPr/>
                <p:nvPr/>
              </p:nvGrpSpPr>
              <p:grpSpPr>
                <a:xfrm>
                  <a:off x="6605105" y="1912371"/>
                  <a:ext cx="195498" cy="187551"/>
                  <a:chOff x="6605105" y="1912371"/>
                  <a:chExt cx="195498" cy="187551"/>
                </a:xfrm>
              </p:grpSpPr>
              <p:grpSp>
                <p:nvGrpSpPr>
                  <p:cNvPr id="3394" name="Graphic 525">
                    <a:extLst>
                      <a:ext uri="{FF2B5EF4-FFF2-40B4-BE49-F238E27FC236}">
                        <a16:creationId xmlns:a16="http://schemas.microsoft.com/office/drawing/2014/main" id="{91CF54B2-6ADD-F510-A81F-5B675B3E0E68}"/>
                      </a:ext>
                    </a:extLst>
                  </p:cNvPr>
                  <p:cNvGrpSpPr/>
                  <p:nvPr/>
                </p:nvGrpSpPr>
                <p:grpSpPr>
                  <a:xfrm>
                    <a:off x="6605105" y="2005902"/>
                    <a:ext cx="195498" cy="94021"/>
                    <a:chOff x="6605105" y="2005902"/>
                    <a:chExt cx="195498" cy="94021"/>
                  </a:xfrm>
                </p:grpSpPr>
                <p:sp>
                  <p:nvSpPr>
                    <p:cNvPr id="3395" name="Freeform: Shape 3394">
                      <a:extLst>
                        <a:ext uri="{FF2B5EF4-FFF2-40B4-BE49-F238E27FC236}">
                          <a16:creationId xmlns:a16="http://schemas.microsoft.com/office/drawing/2014/main" id="{A9ACB173-905B-E6BB-2479-B9DDA6C1B22C}"/>
                        </a:ext>
                      </a:extLst>
                    </p:cNvPr>
                    <p:cNvSpPr/>
                    <p:nvPr/>
                  </p:nvSpPr>
                  <p:spPr>
                    <a:xfrm>
                      <a:off x="6751450" y="2032723"/>
                      <a:ext cx="21933" cy="49489"/>
                    </a:xfrm>
                    <a:custGeom>
                      <a:avLst/>
                      <a:gdLst>
                        <a:gd name="connsiteX0" fmla="*/ 2818 w 21933"/>
                        <a:gd name="connsiteY0" fmla="*/ 49490 h 49489"/>
                        <a:gd name="connsiteX1" fmla="*/ 20499 w 21933"/>
                        <a:gd name="connsiteY1" fmla="*/ 25312 h 49489"/>
                        <a:gd name="connsiteX2" fmla="*/ 21933 w 21933"/>
                        <a:gd name="connsiteY2" fmla="*/ 0 h 49489"/>
                        <a:gd name="connsiteX3" fmla="*/ 0 w 21933"/>
                        <a:gd name="connsiteY3" fmla="*/ 0 h 49489"/>
                        <a:gd name="connsiteX4" fmla="*/ 2818 w 21933"/>
                        <a:gd name="connsiteY4" fmla="*/ 49490 h 4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33" h="49489">
                          <a:moveTo>
                            <a:pt x="2818" y="49490"/>
                          </a:moveTo>
                          <a:cubicBezTo>
                            <a:pt x="9302" y="41983"/>
                            <a:pt x="15225" y="33904"/>
                            <a:pt x="20499" y="25312"/>
                          </a:cubicBezTo>
                          <a:lnTo>
                            <a:pt x="21933" y="0"/>
                          </a:lnTo>
                          <a:lnTo>
                            <a:pt x="0" y="0"/>
                          </a:lnTo>
                          <a:lnTo>
                            <a:pt x="2818" y="49490"/>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396" name="Graphic 525">
                      <a:extLst>
                        <a:ext uri="{FF2B5EF4-FFF2-40B4-BE49-F238E27FC236}">
                          <a16:creationId xmlns:a16="http://schemas.microsoft.com/office/drawing/2014/main" id="{BCE33BCD-71E1-3365-8965-099325E07E24}"/>
                        </a:ext>
                      </a:extLst>
                    </p:cNvPr>
                    <p:cNvGrpSpPr/>
                    <p:nvPr/>
                  </p:nvGrpSpPr>
                  <p:grpSpPr>
                    <a:xfrm>
                      <a:off x="6605105" y="2011463"/>
                      <a:ext cx="105845" cy="88459"/>
                      <a:chOff x="6605105" y="2011463"/>
                      <a:chExt cx="105845" cy="88459"/>
                    </a:xfrm>
                    <a:solidFill>
                      <a:srgbClr val="1A2347"/>
                    </a:solidFill>
                  </p:grpSpPr>
                  <p:sp>
                    <p:nvSpPr>
                      <p:cNvPr id="3397" name="Freeform: Shape 3396">
                        <a:extLst>
                          <a:ext uri="{FF2B5EF4-FFF2-40B4-BE49-F238E27FC236}">
                            <a16:creationId xmlns:a16="http://schemas.microsoft.com/office/drawing/2014/main" id="{F5CB3366-3943-FBE5-1F21-B83D9F913D0E}"/>
                          </a:ext>
                        </a:extLst>
                      </p:cNvPr>
                      <p:cNvSpPr/>
                      <p:nvPr/>
                    </p:nvSpPr>
                    <p:spPr>
                      <a:xfrm>
                        <a:off x="6616023" y="2011463"/>
                        <a:ext cx="94927" cy="54839"/>
                      </a:xfrm>
                      <a:custGeom>
                        <a:avLst/>
                        <a:gdLst>
                          <a:gd name="connsiteX0" fmla="*/ 94927 w 94927"/>
                          <a:gd name="connsiteY0" fmla="*/ 0 h 54839"/>
                          <a:gd name="connsiteX1" fmla="*/ 0 w 94927"/>
                          <a:gd name="connsiteY1" fmla="*/ 51023 h 54839"/>
                          <a:gd name="connsiteX2" fmla="*/ 2344 w 94927"/>
                          <a:gd name="connsiteY2" fmla="*/ 54839 h 54839"/>
                          <a:gd name="connsiteX3" fmla="*/ 84316 w 94927"/>
                          <a:gd name="connsiteY3" fmla="*/ 16347 h 54839"/>
                          <a:gd name="connsiteX4" fmla="*/ 94927 w 94927"/>
                          <a:gd name="connsiteY4" fmla="*/ 0 h 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27" h="54839">
                            <a:moveTo>
                              <a:pt x="94927" y="0"/>
                            </a:moveTo>
                            <a:cubicBezTo>
                              <a:pt x="94927" y="0"/>
                              <a:pt x="19389" y="-100"/>
                              <a:pt x="0" y="51023"/>
                            </a:cubicBezTo>
                            <a:lnTo>
                              <a:pt x="2344" y="54839"/>
                            </a:lnTo>
                            <a:cubicBezTo>
                              <a:pt x="2344" y="54839"/>
                              <a:pt x="22619" y="18404"/>
                              <a:pt x="84316" y="16347"/>
                            </a:cubicBezTo>
                            <a:lnTo>
                              <a:pt x="94927" y="0"/>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98" name="Freeform: Shape 3397">
                        <a:extLst>
                          <a:ext uri="{FF2B5EF4-FFF2-40B4-BE49-F238E27FC236}">
                            <a16:creationId xmlns:a16="http://schemas.microsoft.com/office/drawing/2014/main" id="{2152BA08-819B-AF72-0255-5B0BFB7CBB85}"/>
                          </a:ext>
                        </a:extLst>
                      </p:cNvPr>
                      <p:cNvSpPr/>
                      <p:nvPr/>
                    </p:nvSpPr>
                    <p:spPr>
                      <a:xfrm rot="-4603200">
                        <a:off x="6609756" y="2049435"/>
                        <a:ext cx="45836" cy="45836"/>
                      </a:xfrm>
                      <a:custGeom>
                        <a:avLst/>
                        <a:gdLst>
                          <a:gd name="connsiteX0" fmla="*/ 45836 w 45836"/>
                          <a:gd name="connsiteY0" fmla="*/ 22918 h 45836"/>
                          <a:gd name="connsiteX1" fmla="*/ 22918 w 45836"/>
                          <a:gd name="connsiteY1" fmla="*/ 45836 h 45836"/>
                          <a:gd name="connsiteX2" fmla="*/ 0 w 45836"/>
                          <a:gd name="connsiteY2" fmla="*/ 22918 h 45836"/>
                          <a:gd name="connsiteX3" fmla="*/ 22918 w 45836"/>
                          <a:gd name="connsiteY3" fmla="*/ 0 h 45836"/>
                          <a:gd name="connsiteX4" fmla="*/ 45836 w 45836"/>
                          <a:gd name="connsiteY4" fmla="*/ 22918 h 4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36" h="45836">
                            <a:moveTo>
                              <a:pt x="45836" y="22918"/>
                            </a:moveTo>
                            <a:cubicBezTo>
                              <a:pt x="45836" y="35575"/>
                              <a:pt x="35575" y="45836"/>
                              <a:pt x="22918" y="45836"/>
                            </a:cubicBezTo>
                            <a:cubicBezTo>
                              <a:pt x="10261" y="45836"/>
                              <a:pt x="0" y="35575"/>
                              <a:pt x="0" y="22918"/>
                            </a:cubicBezTo>
                            <a:cubicBezTo>
                              <a:pt x="0" y="10261"/>
                              <a:pt x="10261" y="0"/>
                              <a:pt x="22918" y="0"/>
                            </a:cubicBezTo>
                            <a:cubicBezTo>
                              <a:pt x="35575" y="0"/>
                              <a:pt x="45836" y="10261"/>
                              <a:pt x="45836" y="22918"/>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399" name="Graphic 525">
                      <a:extLst>
                        <a:ext uri="{FF2B5EF4-FFF2-40B4-BE49-F238E27FC236}">
                          <a16:creationId xmlns:a16="http://schemas.microsoft.com/office/drawing/2014/main" id="{2D07F6C6-27EB-0EBC-E6F1-C7C9E44BE09E}"/>
                        </a:ext>
                      </a:extLst>
                    </p:cNvPr>
                    <p:cNvGrpSpPr/>
                    <p:nvPr/>
                  </p:nvGrpSpPr>
                  <p:grpSpPr>
                    <a:xfrm>
                      <a:off x="6700326" y="2005902"/>
                      <a:ext cx="100276" cy="34427"/>
                      <a:chOff x="6700326" y="2005902"/>
                      <a:chExt cx="100276" cy="34427"/>
                    </a:xfrm>
                  </p:grpSpPr>
                  <p:sp>
                    <p:nvSpPr>
                      <p:cNvPr id="3400" name="Freeform: Shape 3399">
                        <a:extLst>
                          <a:ext uri="{FF2B5EF4-FFF2-40B4-BE49-F238E27FC236}">
                            <a16:creationId xmlns:a16="http://schemas.microsoft.com/office/drawing/2014/main" id="{EB902DC1-53C8-7FCF-A465-9974ABE6466B}"/>
                          </a:ext>
                        </a:extLst>
                      </p:cNvPr>
                      <p:cNvSpPr/>
                      <p:nvPr/>
                    </p:nvSpPr>
                    <p:spPr>
                      <a:xfrm>
                        <a:off x="6700339" y="2012660"/>
                        <a:ext cx="96685" cy="27668"/>
                      </a:xfrm>
                      <a:custGeom>
                        <a:avLst/>
                        <a:gdLst>
                          <a:gd name="connsiteX0" fmla="*/ 9813 w 96685"/>
                          <a:gd name="connsiteY0" fmla="*/ 5761 h 27668"/>
                          <a:gd name="connsiteX1" fmla="*/ 0 w 96685"/>
                          <a:gd name="connsiteY1" fmla="*/ 5761 h 27668"/>
                          <a:gd name="connsiteX2" fmla="*/ 0 w 96685"/>
                          <a:gd name="connsiteY2" fmla="*/ 15162 h 27668"/>
                          <a:gd name="connsiteX3" fmla="*/ 61996 w 96685"/>
                          <a:gd name="connsiteY3" fmla="*/ 27669 h 27668"/>
                          <a:gd name="connsiteX4" fmla="*/ 82346 w 96685"/>
                          <a:gd name="connsiteY4" fmla="*/ 26971 h 27668"/>
                          <a:gd name="connsiteX5" fmla="*/ 96685 w 96685"/>
                          <a:gd name="connsiteY5" fmla="*/ 2145 h 27668"/>
                          <a:gd name="connsiteX6" fmla="*/ 62009 w 96685"/>
                          <a:gd name="connsiteY6" fmla="*/ 0 h 27668"/>
                          <a:gd name="connsiteX7" fmla="*/ 9826 w 96685"/>
                          <a:gd name="connsiteY7" fmla="*/ 5761 h 2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685" h="27668">
                            <a:moveTo>
                              <a:pt x="9813" y="5761"/>
                            </a:moveTo>
                            <a:lnTo>
                              <a:pt x="0" y="5761"/>
                            </a:lnTo>
                            <a:lnTo>
                              <a:pt x="0" y="15162"/>
                            </a:lnTo>
                            <a:cubicBezTo>
                              <a:pt x="0" y="22070"/>
                              <a:pt x="27756" y="27669"/>
                              <a:pt x="61996" y="27669"/>
                            </a:cubicBezTo>
                            <a:cubicBezTo>
                              <a:pt x="69129" y="27669"/>
                              <a:pt x="75962" y="27420"/>
                              <a:pt x="82346" y="26971"/>
                            </a:cubicBezTo>
                            <a:lnTo>
                              <a:pt x="96685" y="2145"/>
                            </a:lnTo>
                            <a:cubicBezTo>
                              <a:pt x="86785" y="798"/>
                              <a:pt x="74864" y="0"/>
                              <a:pt x="62009" y="0"/>
                            </a:cubicBezTo>
                            <a:cubicBezTo>
                              <a:pt x="40101" y="0"/>
                              <a:pt x="20848" y="2294"/>
                              <a:pt x="9826" y="5761"/>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01" name="Freeform: Shape 3400">
                        <a:extLst>
                          <a:ext uri="{FF2B5EF4-FFF2-40B4-BE49-F238E27FC236}">
                            <a16:creationId xmlns:a16="http://schemas.microsoft.com/office/drawing/2014/main" id="{8BDA50F5-CC26-B82C-1238-987E9AA4F584}"/>
                          </a:ext>
                        </a:extLst>
                      </p:cNvPr>
                      <p:cNvSpPr/>
                      <p:nvPr/>
                    </p:nvSpPr>
                    <p:spPr>
                      <a:xfrm>
                        <a:off x="6700326" y="2005902"/>
                        <a:ext cx="100276" cy="25013"/>
                      </a:xfrm>
                      <a:custGeom>
                        <a:avLst/>
                        <a:gdLst>
                          <a:gd name="connsiteX0" fmla="*/ 88044 w 100276"/>
                          <a:gd name="connsiteY0" fmla="*/ 23866 h 25013"/>
                          <a:gd name="connsiteX1" fmla="*/ 100277 w 100276"/>
                          <a:gd name="connsiteY1" fmla="*/ 2668 h 25013"/>
                          <a:gd name="connsiteX2" fmla="*/ 61996 w 100276"/>
                          <a:gd name="connsiteY2" fmla="*/ 0 h 25013"/>
                          <a:gd name="connsiteX3" fmla="*/ 0 w 100276"/>
                          <a:gd name="connsiteY3" fmla="*/ 12507 h 25013"/>
                          <a:gd name="connsiteX4" fmla="*/ 61996 w 100276"/>
                          <a:gd name="connsiteY4" fmla="*/ 25013 h 25013"/>
                          <a:gd name="connsiteX5" fmla="*/ 88032 w 100276"/>
                          <a:gd name="connsiteY5" fmla="*/ 23853 h 2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76" h="25013">
                            <a:moveTo>
                              <a:pt x="88044" y="23866"/>
                            </a:moveTo>
                            <a:lnTo>
                              <a:pt x="100277" y="2668"/>
                            </a:lnTo>
                            <a:cubicBezTo>
                              <a:pt x="89740" y="998"/>
                              <a:pt x="76448" y="0"/>
                              <a:pt x="61996" y="0"/>
                            </a:cubicBezTo>
                            <a:cubicBezTo>
                              <a:pt x="27756" y="0"/>
                              <a:pt x="0" y="5599"/>
                              <a:pt x="0" y="12507"/>
                            </a:cubicBezTo>
                            <a:cubicBezTo>
                              <a:pt x="0" y="19414"/>
                              <a:pt x="27756" y="25013"/>
                              <a:pt x="61996" y="25013"/>
                            </a:cubicBezTo>
                            <a:cubicBezTo>
                              <a:pt x="71298" y="25013"/>
                              <a:pt x="80114" y="24602"/>
                              <a:pt x="88032" y="23853"/>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02" name="Graphic 525">
                    <a:extLst>
                      <a:ext uri="{FF2B5EF4-FFF2-40B4-BE49-F238E27FC236}">
                        <a16:creationId xmlns:a16="http://schemas.microsoft.com/office/drawing/2014/main" id="{1DCCA508-0466-FF14-24F3-B6F672B3A04A}"/>
                      </a:ext>
                    </a:extLst>
                  </p:cNvPr>
                  <p:cNvGrpSpPr/>
                  <p:nvPr/>
                </p:nvGrpSpPr>
                <p:grpSpPr>
                  <a:xfrm>
                    <a:off x="6734542" y="1912371"/>
                    <a:ext cx="55537" cy="110388"/>
                    <a:chOff x="6734542" y="1912371"/>
                    <a:chExt cx="55537" cy="110388"/>
                  </a:xfrm>
                </p:grpSpPr>
                <p:sp>
                  <p:nvSpPr>
                    <p:cNvPr id="3403" name="Freeform: Shape 3402">
                      <a:extLst>
                        <a:ext uri="{FF2B5EF4-FFF2-40B4-BE49-F238E27FC236}">
                          <a16:creationId xmlns:a16="http://schemas.microsoft.com/office/drawing/2014/main" id="{FBA324C5-52C7-CB4F-5201-EA9D18AA2290}"/>
                        </a:ext>
                      </a:extLst>
                    </p:cNvPr>
                    <p:cNvSpPr/>
                    <p:nvPr/>
                  </p:nvSpPr>
                  <p:spPr>
                    <a:xfrm>
                      <a:off x="6734542" y="1917970"/>
                      <a:ext cx="55537" cy="104790"/>
                    </a:xfrm>
                    <a:custGeom>
                      <a:avLst/>
                      <a:gdLst>
                        <a:gd name="connsiteX0" fmla="*/ 0 w 55537"/>
                        <a:gd name="connsiteY0" fmla="*/ 0 h 104790"/>
                        <a:gd name="connsiteX1" fmla="*/ 0 w 55537"/>
                        <a:gd name="connsiteY1" fmla="*/ 99192 h 104790"/>
                        <a:gd name="connsiteX2" fmla="*/ 27769 w 55537"/>
                        <a:gd name="connsiteY2" fmla="*/ 104790 h 104790"/>
                        <a:gd name="connsiteX3" fmla="*/ 55537 w 55537"/>
                        <a:gd name="connsiteY3" fmla="*/ 99192 h 104790"/>
                        <a:gd name="connsiteX4" fmla="*/ 55537 w 55537"/>
                        <a:gd name="connsiteY4" fmla="*/ 0 h 104790"/>
                        <a:gd name="connsiteX5" fmla="*/ 12 w 55537"/>
                        <a:gd name="connsiteY5" fmla="*/ 0 h 10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37" h="104790">
                          <a:moveTo>
                            <a:pt x="0" y="0"/>
                          </a:moveTo>
                          <a:lnTo>
                            <a:pt x="0" y="99192"/>
                          </a:lnTo>
                          <a:cubicBezTo>
                            <a:pt x="0" y="102284"/>
                            <a:pt x="12432" y="104790"/>
                            <a:pt x="27769" y="104790"/>
                          </a:cubicBezTo>
                          <a:cubicBezTo>
                            <a:pt x="43105" y="104790"/>
                            <a:pt x="55537" y="102284"/>
                            <a:pt x="55537" y="99192"/>
                          </a:cubicBezTo>
                          <a:lnTo>
                            <a:pt x="55537" y="0"/>
                          </a:lnTo>
                          <a:lnTo>
                            <a:pt x="12" y="0"/>
                          </a:ln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04" name="Freeform: Shape 3403">
                      <a:extLst>
                        <a:ext uri="{FF2B5EF4-FFF2-40B4-BE49-F238E27FC236}">
                          <a16:creationId xmlns:a16="http://schemas.microsoft.com/office/drawing/2014/main" id="{2087E1DA-6C19-BD15-B714-A49E13A89CA0}"/>
                        </a:ext>
                      </a:extLst>
                    </p:cNvPr>
                    <p:cNvSpPr/>
                    <p:nvPr/>
                  </p:nvSpPr>
                  <p:spPr>
                    <a:xfrm>
                      <a:off x="6734542" y="1912371"/>
                      <a:ext cx="55537" cy="11197"/>
                    </a:xfrm>
                    <a:custGeom>
                      <a:avLst/>
                      <a:gdLst>
                        <a:gd name="connsiteX0" fmla="*/ 55537 w 55537"/>
                        <a:gd name="connsiteY0" fmla="*/ 5599 h 11197"/>
                        <a:gd name="connsiteX1" fmla="*/ 27769 w 55537"/>
                        <a:gd name="connsiteY1" fmla="*/ 11197 h 11197"/>
                        <a:gd name="connsiteX2" fmla="*/ 0 w 55537"/>
                        <a:gd name="connsiteY2" fmla="*/ 5599 h 11197"/>
                        <a:gd name="connsiteX3" fmla="*/ 27769 w 55537"/>
                        <a:gd name="connsiteY3" fmla="*/ 0 h 11197"/>
                        <a:gd name="connsiteX4" fmla="*/ 55537 w 55537"/>
                        <a:gd name="connsiteY4" fmla="*/ 5599 h 11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37" h="11197">
                          <a:moveTo>
                            <a:pt x="55537" y="5599"/>
                          </a:moveTo>
                          <a:cubicBezTo>
                            <a:pt x="55537" y="8691"/>
                            <a:pt x="43105" y="11197"/>
                            <a:pt x="27769" y="11197"/>
                          </a:cubicBezTo>
                          <a:cubicBezTo>
                            <a:pt x="12432" y="11197"/>
                            <a:pt x="0" y="8691"/>
                            <a:pt x="0" y="5599"/>
                          </a:cubicBezTo>
                          <a:cubicBezTo>
                            <a:pt x="0" y="2506"/>
                            <a:pt x="12432" y="0"/>
                            <a:pt x="27769" y="0"/>
                          </a:cubicBezTo>
                          <a:cubicBezTo>
                            <a:pt x="43105" y="0"/>
                            <a:pt x="55537" y="2506"/>
                            <a:pt x="55537" y="5599"/>
                          </a:cubicBezTo>
                          <a:close/>
                        </a:path>
                      </a:pathLst>
                    </a:custGeom>
                    <a:solidFill>
                      <a:srgbClr val="2F3D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05" name="Graphic 525">
                  <a:extLst>
                    <a:ext uri="{FF2B5EF4-FFF2-40B4-BE49-F238E27FC236}">
                      <a16:creationId xmlns:a16="http://schemas.microsoft.com/office/drawing/2014/main" id="{69AF7164-B5A9-B7F6-93BB-F6D14F833372}"/>
                    </a:ext>
                  </a:extLst>
                </p:cNvPr>
                <p:cNvGrpSpPr/>
                <p:nvPr/>
              </p:nvGrpSpPr>
              <p:grpSpPr>
                <a:xfrm>
                  <a:off x="6711898" y="1846996"/>
                  <a:ext cx="91710" cy="71123"/>
                  <a:chOff x="6711898" y="1846996"/>
                  <a:chExt cx="91710" cy="71123"/>
                </a:xfrm>
              </p:grpSpPr>
              <p:sp>
                <p:nvSpPr>
                  <p:cNvPr id="3406" name="Freeform: Shape 3405">
                    <a:extLst>
                      <a:ext uri="{FF2B5EF4-FFF2-40B4-BE49-F238E27FC236}">
                        <a16:creationId xmlns:a16="http://schemas.microsoft.com/office/drawing/2014/main" id="{8EE39CB5-9A65-0001-1DC7-29B566B68A11}"/>
                      </a:ext>
                    </a:extLst>
                  </p:cNvPr>
                  <p:cNvSpPr/>
                  <p:nvPr/>
                </p:nvSpPr>
                <p:spPr>
                  <a:xfrm>
                    <a:off x="6750752" y="1862944"/>
                    <a:ext cx="23104" cy="55175"/>
                  </a:xfrm>
                  <a:custGeom>
                    <a:avLst/>
                    <a:gdLst>
                      <a:gd name="connsiteX0" fmla="*/ 12 w 23104"/>
                      <a:gd name="connsiteY0" fmla="*/ 51410 h 55175"/>
                      <a:gd name="connsiteX1" fmla="*/ 12 w 23104"/>
                      <a:gd name="connsiteY1" fmla="*/ 0 h 55175"/>
                      <a:gd name="connsiteX2" fmla="*/ 23105 w 23104"/>
                      <a:gd name="connsiteY2" fmla="*/ 0 h 55175"/>
                      <a:gd name="connsiteX3" fmla="*/ 23105 w 23104"/>
                      <a:gd name="connsiteY3" fmla="*/ 51410 h 55175"/>
                      <a:gd name="connsiteX4" fmla="*/ 19340 w 23104"/>
                      <a:gd name="connsiteY4" fmla="*/ 55176 h 55175"/>
                      <a:gd name="connsiteX5" fmla="*/ 3766 w 23104"/>
                      <a:gd name="connsiteY5" fmla="*/ 55176 h 55175"/>
                      <a:gd name="connsiteX6" fmla="*/ 0 w 23104"/>
                      <a:gd name="connsiteY6" fmla="*/ 51410 h 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4" h="55175">
                        <a:moveTo>
                          <a:pt x="12" y="51410"/>
                        </a:moveTo>
                        <a:lnTo>
                          <a:pt x="12" y="0"/>
                        </a:lnTo>
                        <a:lnTo>
                          <a:pt x="23105" y="0"/>
                        </a:lnTo>
                        <a:lnTo>
                          <a:pt x="23105" y="51410"/>
                        </a:lnTo>
                        <a:cubicBezTo>
                          <a:pt x="23105" y="53492"/>
                          <a:pt x="21422" y="55176"/>
                          <a:pt x="19340" y="55176"/>
                        </a:cubicBezTo>
                        <a:lnTo>
                          <a:pt x="3766" y="55176"/>
                        </a:lnTo>
                        <a:cubicBezTo>
                          <a:pt x="1683" y="55176"/>
                          <a:pt x="0" y="53492"/>
                          <a:pt x="0" y="51410"/>
                        </a:cubicBez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07" name="Freeform: Shape 3406">
                    <a:extLst>
                      <a:ext uri="{FF2B5EF4-FFF2-40B4-BE49-F238E27FC236}">
                        <a16:creationId xmlns:a16="http://schemas.microsoft.com/office/drawing/2014/main" id="{350C1B60-34B8-1D9E-7E26-9D1A200074F4}"/>
                      </a:ext>
                    </a:extLst>
                  </p:cNvPr>
                  <p:cNvSpPr/>
                  <p:nvPr/>
                </p:nvSpPr>
                <p:spPr>
                  <a:xfrm>
                    <a:off x="6711898" y="1846996"/>
                    <a:ext cx="91710" cy="27506"/>
                  </a:xfrm>
                  <a:custGeom>
                    <a:avLst/>
                    <a:gdLst>
                      <a:gd name="connsiteX0" fmla="*/ 12 w 91710"/>
                      <a:gd name="connsiteY0" fmla="*/ 6870 h 27506"/>
                      <a:gd name="connsiteX1" fmla="*/ 22170 w 91710"/>
                      <a:gd name="connsiteY1" fmla="*/ 27507 h 27506"/>
                      <a:gd name="connsiteX2" fmla="*/ 83306 w 91710"/>
                      <a:gd name="connsiteY2" fmla="*/ 21397 h 27506"/>
                      <a:gd name="connsiteX3" fmla="*/ 91710 w 91710"/>
                      <a:gd name="connsiteY3" fmla="*/ 0 h 27506"/>
                      <a:gd name="connsiteX4" fmla="*/ 0 w 91710"/>
                      <a:gd name="connsiteY4" fmla="*/ 6883 h 27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10" h="27506">
                        <a:moveTo>
                          <a:pt x="12" y="6870"/>
                        </a:moveTo>
                        <a:cubicBezTo>
                          <a:pt x="12" y="6870"/>
                          <a:pt x="15300" y="27507"/>
                          <a:pt x="22170" y="27507"/>
                        </a:cubicBezTo>
                        <a:cubicBezTo>
                          <a:pt x="29041" y="27507"/>
                          <a:pt x="77196" y="24452"/>
                          <a:pt x="83306" y="21397"/>
                        </a:cubicBezTo>
                        <a:cubicBezTo>
                          <a:pt x="89416" y="18342"/>
                          <a:pt x="91710" y="0"/>
                          <a:pt x="91710" y="0"/>
                        </a:cubicBezTo>
                        <a:lnTo>
                          <a:pt x="0" y="6883"/>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08" name="Graphic 525">
                <a:extLst>
                  <a:ext uri="{FF2B5EF4-FFF2-40B4-BE49-F238E27FC236}">
                    <a16:creationId xmlns:a16="http://schemas.microsoft.com/office/drawing/2014/main" id="{DC950039-D387-9A02-3AC9-AAB83F66C3DF}"/>
                  </a:ext>
                </a:extLst>
              </p:cNvPr>
              <p:cNvGrpSpPr/>
              <p:nvPr/>
            </p:nvGrpSpPr>
            <p:grpSpPr>
              <a:xfrm>
                <a:off x="6486540" y="1181408"/>
                <a:ext cx="523381" cy="678817"/>
                <a:chOff x="6486540" y="1181408"/>
                <a:chExt cx="523381" cy="678817"/>
              </a:xfrm>
            </p:grpSpPr>
            <p:grpSp>
              <p:nvGrpSpPr>
                <p:cNvPr id="3409" name="Graphic 525">
                  <a:extLst>
                    <a:ext uri="{FF2B5EF4-FFF2-40B4-BE49-F238E27FC236}">
                      <a16:creationId xmlns:a16="http://schemas.microsoft.com/office/drawing/2014/main" id="{60DED585-5A41-7BE3-FDBE-8C4710E70EB4}"/>
                    </a:ext>
                  </a:extLst>
                </p:cNvPr>
                <p:cNvGrpSpPr/>
                <p:nvPr/>
              </p:nvGrpSpPr>
              <p:grpSpPr>
                <a:xfrm>
                  <a:off x="6486540" y="1585159"/>
                  <a:ext cx="230773" cy="141435"/>
                  <a:chOff x="6486540" y="1585159"/>
                  <a:chExt cx="230773" cy="141435"/>
                </a:xfrm>
              </p:grpSpPr>
              <p:sp>
                <p:nvSpPr>
                  <p:cNvPr id="3410" name="Freeform: Shape 3409">
                    <a:extLst>
                      <a:ext uri="{FF2B5EF4-FFF2-40B4-BE49-F238E27FC236}">
                        <a16:creationId xmlns:a16="http://schemas.microsoft.com/office/drawing/2014/main" id="{855C7495-2E2A-278E-BC66-9A0182C5FCF9}"/>
                      </a:ext>
                    </a:extLst>
                  </p:cNvPr>
                  <p:cNvSpPr/>
                  <p:nvPr/>
                </p:nvSpPr>
                <p:spPr>
                  <a:xfrm>
                    <a:off x="6550124" y="1643974"/>
                    <a:ext cx="65924" cy="82620"/>
                  </a:xfrm>
                  <a:custGeom>
                    <a:avLst/>
                    <a:gdLst>
                      <a:gd name="connsiteX0" fmla="*/ 0 w 65924"/>
                      <a:gd name="connsiteY0" fmla="*/ 13255 h 82620"/>
                      <a:gd name="connsiteX1" fmla="*/ 52121 w 65924"/>
                      <a:gd name="connsiteY1" fmla="*/ 82620 h 82620"/>
                      <a:gd name="connsiteX2" fmla="*/ 65924 w 65924"/>
                      <a:gd name="connsiteY2" fmla="*/ 78131 h 82620"/>
                      <a:gd name="connsiteX3" fmla="*/ 31584 w 65924"/>
                      <a:gd name="connsiteY3" fmla="*/ 0 h 82620"/>
                      <a:gd name="connsiteX4" fmla="*/ 0 w 65924"/>
                      <a:gd name="connsiteY4" fmla="*/ 13242 h 8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24" h="82620">
                        <a:moveTo>
                          <a:pt x="0" y="13255"/>
                        </a:moveTo>
                        <a:cubicBezTo>
                          <a:pt x="0" y="13255"/>
                          <a:pt x="33829" y="31896"/>
                          <a:pt x="52121" y="82620"/>
                        </a:cubicBezTo>
                        <a:lnTo>
                          <a:pt x="65924" y="78131"/>
                        </a:lnTo>
                        <a:cubicBezTo>
                          <a:pt x="65924" y="78131"/>
                          <a:pt x="51772" y="18080"/>
                          <a:pt x="31584" y="0"/>
                        </a:cubicBezTo>
                        <a:lnTo>
                          <a:pt x="0" y="13242"/>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11" name="Freeform: Shape 3410">
                    <a:extLst>
                      <a:ext uri="{FF2B5EF4-FFF2-40B4-BE49-F238E27FC236}">
                        <a16:creationId xmlns:a16="http://schemas.microsoft.com/office/drawing/2014/main" id="{FB99B9A2-06C1-3675-B2B9-AB7F65506F88}"/>
                      </a:ext>
                    </a:extLst>
                  </p:cNvPr>
                  <p:cNvSpPr/>
                  <p:nvPr/>
                </p:nvSpPr>
                <p:spPr>
                  <a:xfrm>
                    <a:off x="6631708" y="1626730"/>
                    <a:ext cx="38281" cy="91236"/>
                  </a:xfrm>
                  <a:custGeom>
                    <a:avLst/>
                    <a:gdLst>
                      <a:gd name="connsiteX0" fmla="*/ 38269 w 38281"/>
                      <a:gd name="connsiteY0" fmla="*/ 486 h 91236"/>
                      <a:gd name="connsiteX1" fmla="*/ 18855 w 38281"/>
                      <a:gd name="connsiteY1" fmla="*/ 86748 h 91236"/>
                      <a:gd name="connsiteX2" fmla="*/ 6086 w 38281"/>
                      <a:gd name="connsiteY2" fmla="*/ 91236 h 91236"/>
                      <a:gd name="connsiteX3" fmla="*/ 4104 w 38281"/>
                      <a:gd name="connsiteY3" fmla="*/ 0 h 91236"/>
                      <a:gd name="connsiteX4" fmla="*/ 38282 w 38281"/>
                      <a:gd name="connsiteY4" fmla="*/ 486 h 91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1" h="91236">
                        <a:moveTo>
                          <a:pt x="38269" y="486"/>
                        </a:moveTo>
                        <a:cubicBezTo>
                          <a:pt x="38269" y="486"/>
                          <a:pt x="20700" y="53056"/>
                          <a:pt x="18855" y="86748"/>
                        </a:cubicBezTo>
                        <a:lnTo>
                          <a:pt x="6086" y="91236"/>
                        </a:lnTo>
                        <a:cubicBezTo>
                          <a:pt x="6086" y="91236"/>
                          <a:pt x="-6171" y="17394"/>
                          <a:pt x="4104" y="0"/>
                        </a:cubicBezTo>
                        <a:lnTo>
                          <a:pt x="38282" y="486"/>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12" name="Graphic 525">
                    <a:extLst>
                      <a:ext uri="{FF2B5EF4-FFF2-40B4-BE49-F238E27FC236}">
                        <a16:creationId xmlns:a16="http://schemas.microsoft.com/office/drawing/2014/main" id="{AADC7DC6-9454-A9F9-C5A3-D684209B54DA}"/>
                      </a:ext>
                    </a:extLst>
                  </p:cNvPr>
                  <p:cNvGrpSpPr/>
                  <p:nvPr/>
                </p:nvGrpSpPr>
                <p:grpSpPr>
                  <a:xfrm>
                    <a:off x="6486540" y="1585159"/>
                    <a:ext cx="230773" cy="93907"/>
                    <a:chOff x="6486540" y="1585159"/>
                    <a:chExt cx="230773" cy="93907"/>
                  </a:xfrm>
                </p:grpSpPr>
                <p:sp>
                  <p:nvSpPr>
                    <p:cNvPr id="3413" name="Freeform: Shape 3412">
                      <a:extLst>
                        <a:ext uri="{FF2B5EF4-FFF2-40B4-BE49-F238E27FC236}">
                          <a16:creationId xmlns:a16="http://schemas.microsoft.com/office/drawing/2014/main" id="{7726A7FB-C253-B49C-7A31-062172B76261}"/>
                        </a:ext>
                      </a:extLst>
                    </p:cNvPr>
                    <p:cNvSpPr/>
                    <p:nvPr/>
                  </p:nvSpPr>
                  <p:spPr>
                    <a:xfrm>
                      <a:off x="6486540" y="1585159"/>
                      <a:ext cx="230773" cy="93907"/>
                    </a:xfrm>
                    <a:custGeom>
                      <a:avLst/>
                      <a:gdLst>
                        <a:gd name="connsiteX0" fmla="*/ 84170 w 230773"/>
                        <a:gd name="connsiteY0" fmla="*/ 28503 h 93907"/>
                        <a:gd name="connsiteX1" fmla="*/ 15628 w 230773"/>
                        <a:gd name="connsiteY1" fmla="*/ 62456 h 93907"/>
                        <a:gd name="connsiteX2" fmla="*/ 4742 w 230773"/>
                        <a:gd name="connsiteY2" fmla="*/ 93205 h 93907"/>
                        <a:gd name="connsiteX3" fmla="*/ 58546 w 230773"/>
                        <a:gd name="connsiteY3" fmla="*/ 76546 h 93907"/>
                        <a:gd name="connsiteX4" fmla="*/ 220619 w 230773"/>
                        <a:gd name="connsiteY4" fmla="*/ 37468 h 93907"/>
                        <a:gd name="connsiteX5" fmla="*/ 223188 w 230773"/>
                        <a:gd name="connsiteY5" fmla="*/ 13129 h 93907"/>
                        <a:gd name="connsiteX6" fmla="*/ 173224 w 230773"/>
                        <a:gd name="connsiteY6" fmla="*/ 323 h 93907"/>
                        <a:gd name="connsiteX7" fmla="*/ 84183 w 230773"/>
                        <a:gd name="connsiteY7" fmla="*/ 28503 h 9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73" h="93907">
                          <a:moveTo>
                            <a:pt x="84170" y="28503"/>
                          </a:moveTo>
                          <a:cubicBezTo>
                            <a:pt x="84170" y="28503"/>
                            <a:pt x="37411" y="47082"/>
                            <a:pt x="15628" y="62456"/>
                          </a:cubicBezTo>
                          <a:cubicBezTo>
                            <a:pt x="-6156" y="77831"/>
                            <a:pt x="-383" y="89365"/>
                            <a:pt x="4742" y="93205"/>
                          </a:cubicBezTo>
                          <a:cubicBezTo>
                            <a:pt x="9867" y="97046"/>
                            <a:pt x="36775" y="84240"/>
                            <a:pt x="58546" y="76546"/>
                          </a:cubicBezTo>
                          <a:cubicBezTo>
                            <a:pt x="80330" y="68865"/>
                            <a:pt x="192427" y="42593"/>
                            <a:pt x="220619" y="37468"/>
                          </a:cubicBezTo>
                          <a:cubicBezTo>
                            <a:pt x="228949" y="35548"/>
                            <a:pt x="237278" y="20810"/>
                            <a:pt x="223188" y="13129"/>
                          </a:cubicBezTo>
                          <a:cubicBezTo>
                            <a:pt x="209098" y="5448"/>
                            <a:pt x="186679" y="-1610"/>
                            <a:pt x="173224" y="323"/>
                          </a:cubicBezTo>
                          <a:cubicBezTo>
                            <a:pt x="159771" y="2243"/>
                            <a:pt x="128386" y="11208"/>
                            <a:pt x="84183" y="28503"/>
                          </a:cubicBezTo>
                          <a:close/>
                        </a:path>
                      </a:pathLst>
                    </a:custGeom>
                    <a:solidFill>
                      <a:srgbClr val="3440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14" name="Freeform: Shape 3413">
                      <a:extLst>
                        <a:ext uri="{FF2B5EF4-FFF2-40B4-BE49-F238E27FC236}">
                          <a16:creationId xmlns:a16="http://schemas.microsoft.com/office/drawing/2014/main" id="{0739A8CA-4E68-1ED0-2D2B-1753563107F7}"/>
                        </a:ext>
                      </a:extLst>
                    </p:cNvPr>
                    <p:cNvSpPr/>
                    <p:nvPr/>
                  </p:nvSpPr>
                  <p:spPr>
                    <a:xfrm>
                      <a:off x="6489225" y="1608462"/>
                      <a:ext cx="228081" cy="70604"/>
                    </a:xfrm>
                    <a:custGeom>
                      <a:avLst/>
                      <a:gdLst>
                        <a:gd name="connsiteX0" fmla="*/ 217934 w 228081"/>
                        <a:gd name="connsiteY0" fmla="*/ 14165 h 70604"/>
                        <a:gd name="connsiteX1" fmla="*/ 228047 w 228081"/>
                        <a:gd name="connsiteY1" fmla="*/ 0 h 70604"/>
                        <a:gd name="connsiteX2" fmla="*/ 214730 w 228081"/>
                        <a:gd name="connsiteY2" fmla="*/ 3915 h 70604"/>
                        <a:gd name="connsiteX3" fmla="*/ 25761 w 228081"/>
                        <a:gd name="connsiteY3" fmla="*/ 58368 h 70604"/>
                        <a:gd name="connsiteX4" fmla="*/ 0 w 228081"/>
                        <a:gd name="connsiteY4" fmla="*/ 67919 h 70604"/>
                        <a:gd name="connsiteX5" fmla="*/ 2057 w 228081"/>
                        <a:gd name="connsiteY5" fmla="*/ 69902 h 70604"/>
                        <a:gd name="connsiteX6" fmla="*/ 55861 w 228081"/>
                        <a:gd name="connsiteY6" fmla="*/ 53243 h 70604"/>
                        <a:gd name="connsiteX7" fmla="*/ 217934 w 228081"/>
                        <a:gd name="connsiteY7" fmla="*/ 14165 h 7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081" h="70604">
                          <a:moveTo>
                            <a:pt x="217934" y="14165"/>
                          </a:moveTo>
                          <a:cubicBezTo>
                            <a:pt x="223246" y="12943"/>
                            <a:pt x="228558" y="6497"/>
                            <a:pt x="228047" y="0"/>
                          </a:cubicBezTo>
                          <a:cubicBezTo>
                            <a:pt x="225441" y="1496"/>
                            <a:pt x="221289" y="2918"/>
                            <a:pt x="214730" y="3915"/>
                          </a:cubicBezTo>
                          <a:cubicBezTo>
                            <a:pt x="193595" y="7120"/>
                            <a:pt x="54589" y="45550"/>
                            <a:pt x="25761" y="58368"/>
                          </a:cubicBezTo>
                          <a:cubicBezTo>
                            <a:pt x="13753" y="63705"/>
                            <a:pt x="5524" y="66485"/>
                            <a:pt x="0" y="67919"/>
                          </a:cubicBezTo>
                          <a:cubicBezTo>
                            <a:pt x="648" y="68717"/>
                            <a:pt x="1359" y="69378"/>
                            <a:pt x="2057" y="69902"/>
                          </a:cubicBezTo>
                          <a:cubicBezTo>
                            <a:pt x="7182" y="73742"/>
                            <a:pt x="34090" y="60936"/>
                            <a:pt x="55861" y="53243"/>
                          </a:cubicBezTo>
                          <a:cubicBezTo>
                            <a:pt x="77645" y="45562"/>
                            <a:pt x="189742" y="19290"/>
                            <a:pt x="217934" y="14165"/>
                          </a:cubicBez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15" name="Graphic 525">
                  <a:extLst>
                    <a:ext uri="{FF2B5EF4-FFF2-40B4-BE49-F238E27FC236}">
                      <a16:creationId xmlns:a16="http://schemas.microsoft.com/office/drawing/2014/main" id="{196A49D3-D739-E423-3C34-86CE06F5D78F}"/>
                    </a:ext>
                  </a:extLst>
                </p:cNvPr>
                <p:cNvGrpSpPr/>
                <p:nvPr/>
              </p:nvGrpSpPr>
              <p:grpSpPr>
                <a:xfrm>
                  <a:off x="6517517" y="1181408"/>
                  <a:ext cx="492404" cy="678817"/>
                  <a:chOff x="6517517" y="1181408"/>
                  <a:chExt cx="492404" cy="678817"/>
                </a:xfrm>
              </p:grpSpPr>
              <p:grpSp>
                <p:nvGrpSpPr>
                  <p:cNvPr id="3416" name="Graphic 525">
                    <a:extLst>
                      <a:ext uri="{FF2B5EF4-FFF2-40B4-BE49-F238E27FC236}">
                        <a16:creationId xmlns:a16="http://schemas.microsoft.com/office/drawing/2014/main" id="{16806E1F-3477-E384-AC15-3142A146181B}"/>
                      </a:ext>
                    </a:extLst>
                  </p:cNvPr>
                  <p:cNvGrpSpPr/>
                  <p:nvPr/>
                </p:nvGrpSpPr>
                <p:grpSpPr>
                  <a:xfrm>
                    <a:off x="6725318" y="1181408"/>
                    <a:ext cx="284603" cy="602032"/>
                    <a:chOff x="6725318" y="1181408"/>
                    <a:chExt cx="284603" cy="602032"/>
                  </a:xfrm>
                </p:grpSpPr>
                <p:sp>
                  <p:nvSpPr>
                    <p:cNvPr id="3417" name="Freeform: Shape 3416">
                      <a:extLst>
                        <a:ext uri="{FF2B5EF4-FFF2-40B4-BE49-F238E27FC236}">
                          <a16:creationId xmlns:a16="http://schemas.microsoft.com/office/drawing/2014/main" id="{48518CC3-6DAC-77C3-9523-1975719F30BF}"/>
                        </a:ext>
                      </a:extLst>
                    </p:cNvPr>
                    <p:cNvSpPr/>
                    <p:nvPr/>
                  </p:nvSpPr>
                  <p:spPr>
                    <a:xfrm>
                      <a:off x="6725318" y="1181408"/>
                      <a:ext cx="284603" cy="602032"/>
                    </a:xfrm>
                    <a:custGeom>
                      <a:avLst/>
                      <a:gdLst>
                        <a:gd name="connsiteX0" fmla="*/ 261161 w 284603"/>
                        <a:gd name="connsiteY0" fmla="*/ 505235 h 602032"/>
                        <a:gd name="connsiteX1" fmla="*/ 284603 w 284603"/>
                        <a:gd name="connsiteY1" fmla="*/ 244881 h 602032"/>
                        <a:gd name="connsiteX2" fmla="*/ 143216 w 284603"/>
                        <a:gd name="connsiteY2" fmla="*/ 0 h 602032"/>
                        <a:gd name="connsiteX3" fmla="*/ 104899 w 284603"/>
                        <a:gd name="connsiteY3" fmla="*/ 3778 h 602032"/>
                        <a:gd name="connsiteX4" fmla="*/ 91257 w 284603"/>
                        <a:gd name="connsiteY4" fmla="*/ 14339 h 602032"/>
                        <a:gd name="connsiteX5" fmla="*/ 17939 w 284603"/>
                        <a:gd name="connsiteY5" fmla="*/ 280392 h 602032"/>
                        <a:gd name="connsiteX6" fmla="*/ 1131 w 284603"/>
                        <a:gd name="connsiteY6" fmla="*/ 522667 h 602032"/>
                        <a:gd name="connsiteX7" fmla="*/ 205300 w 284603"/>
                        <a:gd name="connsiteY7" fmla="*/ 602033 h 602032"/>
                        <a:gd name="connsiteX8" fmla="*/ 261174 w 284603"/>
                        <a:gd name="connsiteY8" fmla="*/ 505248 h 6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603" h="602032">
                          <a:moveTo>
                            <a:pt x="261161" y="505235"/>
                          </a:moveTo>
                          <a:cubicBezTo>
                            <a:pt x="266074" y="436007"/>
                            <a:pt x="274017" y="335668"/>
                            <a:pt x="284603" y="244881"/>
                          </a:cubicBezTo>
                          <a:lnTo>
                            <a:pt x="143216" y="0"/>
                          </a:lnTo>
                          <a:cubicBezTo>
                            <a:pt x="130710" y="736"/>
                            <a:pt x="117892" y="1958"/>
                            <a:pt x="104899" y="3778"/>
                          </a:cubicBezTo>
                          <a:cubicBezTo>
                            <a:pt x="98801" y="4626"/>
                            <a:pt x="93614" y="8654"/>
                            <a:pt x="91257" y="14339"/>
                          </a:cubicBezTo>
                          <a:cubicBezTo>
                            <a:pt x="78651" y="44777"/>
                            <a:pt x="38401" y="148669"/>
                            <a:pt x="17939" y="280392"/>
                          </a:cubicBezTo>
                          <a:cubicBezTo>
                            <a:pt x="-6513" y="437827"/>
                            <a:pt x="1131" y="522667"/>
                            <a:pt x="1131" y="522667"/>
                          </a:cubicBezTo>
                          <a:lnTo>
                            <a:pt x="205300" y="602033"/>
                          </a:lnTo>
                          <a:lnTo>
                            <a:pt x="261174" y="505248"/>
                          </a:lnTo>
                          <a:close/>
                        </a:path>
                      </a:pathLst>
                    </a:custGeom>
                    <a:solidFill>
                      <a:srgbClr val="37457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18" name="Freeform: Shape 3417">
                      <a:extLst>
                        <a:ext uri="{FF2B5EF4-FFF2-40B4-BE49-F238E27FC236}">
                          <a16:creationId xmlns:a16="http://schemas.microsoft.com/office/drawing/2014/main" id="{B21632CD-6D66-1326-B00A-518766D071E6}"/>
                        </a:ext>
                      </a:extLst>
                    </p:cNvPr>
                    <p:cNvSpPr/>
                    <p:nvPr/>
                  </p:nvSpPr>
                  <p:spPr>
                    <a:xfrm>
                      <a:off x="6962564" y="1402136"/>
                      <a:ext cx="47357" cy="325967"/>
                    </a:xfrm>
                    <a:custGeom>
                      <a:avLst/>
                      <a:gdLst>
                        <a:gd name="connsiteX0" fmla="*/ 23916 w 47357"/>
                        <a:gd name="connsiteY0" fmla="*/ 284507 h 325967"/>
                        <a:gd name="connsiteX1" fmla="*/ 47358 w 47357"/>
                        <a:gd name="connsiteY1" fmla="*/ 24153 h 325967"/>
                        <a:gd name="connsiteX2" fmla="*/ 33417 w 47357"/>
                        <a:gd name="connsiteY2" fmla="*/ 0 h 325967"/>
                        <a:gd name="connsiteX3" fmla="*/ 15524 w 47357"/>
                        <a:gd name="connsiteY3" fmla="*/ 145976 h 325967"/>
                        <a:gd name="connsiteX4" fmla="*/ 0 w 47357"/>
                        <a:gd name="connsiteY4" fmla="*/ 325967 h 325967"/>
                        <a:gd name="connsiteX5" fmla="*/ 23941 w 47357"/>
                        <a:gd name="connsiteY5" fmla="*/ 284507 h 32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57" h="325967">
                          <a:moveTo>
                            <a:pt x="23916" y="284507"/>
                          </a:moveTo>
                          <a:cubicBezTo>
                            <a:pt x="28829" y="215279"/>
                            <a:pt x="36771" y="114940"/>
                            <a:pt x="47358" y="24153"/>
                          </a:cubicBezTo>
                          <a:lnTo>
                            <a:pt x="33417" y="0"/>
                          </a:lnTo>
                          <a:cubicBezTo>
                            <a:pt x="25524" y="52881"/>
                            <a:pt x="18255" y="106798"/>
                            <a:pt x="15524" y="145976"/>
                          </a:cubicBezTo>
                          <a:cubicBezTo>
                            <a:pt x="11684" y="200865"/>
                            <a:pt x="5175" y="272013"/>
                            <a:pt x="0" y="325967"/>
                          </a:cubicBezTo>
                          <a:lnTo>
                            <a:pt x="23941" y="284507"/>
                          </a:ln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19" name="Graphic 525">
                    <a:extLst>
                      <a:ext uri="{FF2B5EF4-FFF2-40B4-BE49-F238E27FC236}">
                        <a16:creationId xmlns:a16="http://schemas.microsoft.com/office/drawing/2014/main" id="{86643477-C1E0-DBBE-5E5D-F01C4BD78248}"/>
                      </a:ext>
                    </a:extLst>
                  </p:cNvPr>
                  <p:cNvGrpSpPr/>
                  <p:nvPr/>
                </p:nvGrpSpPr>
                <p:grpSpPr>
                  <a:xfrm>
                    <a:off x="6517517" y="1700672"/>
                    <a:ext cx="425283" cy="159553"/>
                    <a:chOff x="6517517" y="1700672"/>
                    <a:chExt cx="425283" cy="159553"/>
                  </a:xfrm>
                </p:grpSpPr>
                <p:sp>
                  <p:nvSpPr>
                    <p:cNvPr id="3420" name="Freeform: Shape 3419">
                      <a:extLst>
                        <a:ext uri="{FF2B5EF4-FFF2-40B4-BE49-F238E27FC236}">
                          <a16:creationId xmlns:a16="http://schemas.microsoft.com/office/drawing/2014/main" id="{7AA1DCB7-CE75-611F-C2B9-BE995BC8E5B9}"/>
                        </a:ext>
                      </a:extLst>
                    </p:cNvPr>
                    <p:cNvSpPr/>
                    <p:nvPr/>
                  </p:nvSpPr>
                  <p:spPr>
                    <a:xfrm>
                      <a:off x="6517530" y="1700672"/>
                      <a:ext cx="425270" cy="159541"/>
                    </a:xfrm>
                    <a:custGeom>
                      <a:avLst/>
                      <a:gdLst>
                        <a:gd name="connsiteX0" fmla="*/ 425271 w 425270"/>
                        <a:gd name="connsiteY0" fmla="*/ 61621 h 159541"/>
                        <a:gd name="connsiteX1" fmla="*/ 259818 w 425270"/>
                        <a:gd name="connsiteY1" fmla="*/ 1283 h 159541"/>
                        <a:gd name="connsiteX2" fmla="*/ 118195 w 425270"/>
                        <a:gd name="connsiteY2" fmla="*/ 13516 h 159541"/>
                        <a:gd name="connsiteX3" fmla="*/ 0 w 425270"/>
                        <a:gd name="connsiteY3" fmla="*/ 81784 h 159541"/>
                        <a:gd name="connsiteX4" fmla="*/ 175253 w 425270"/>
                        <a:gd name="connsiteY4" fmla="*/ 159217 h 159541"/>
                        <a:gd name="connsiteX5" fmla="*/ 383437 w 425270"/>
                        <a:gd name="connsiteY5" fmla="*/ 134079 h 159541"/>
                        <a:gd name="connsiteX6" fmla="*/ 425271 w 425270"/>
                        <a:gd name="connsiteY6" fmla="*/ 61609 h 15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270" h="159541">
                          <a:moveTo>
                            <a:pt x="425271" y="61621"/>
                          </a:moveTo>
                          <a:cubicBezTo>
                            <a:pt x="387527" y="35698"/>
                            <a:pt x="313361" y="8727"/>
                            <a:pt x="259818" y="1283"/>
                          </a:cubicBezTo>
                          <a:cubicBezTo>
                            <a:pt x="259818" y="1283"/>
                            <a:pt x="213969" y="-5849"/>
                            <a:pt x="118195" y="13516"/>
                          </a:cubicBezTo>
                          <a:cubicBezTo>
                            <a:pt x="22419" y="32880"/>
                            <a:pt x="0" y="52232"/>
                            <a:pt x="0" y="81784"/>
                          </a:cubicBezTo>
                          <a:cubicBezTo>
                            <a:pt x="0" y="111335"/>
                            <a:pt x="119217" y="156162"/>
                            <a:pt x="175253" y="159217"/>
                          </a:cubicBezTo>
                          <a:cubicBezTo>
                            <a:pt x="228895" y="162147"/>
                            <a:pt x="337588" y="144528"/>
                            <a:pt x="383437" y="134079"/>
                          </a:cubicBezTo>
                          <a:lnTo>
                            <a:pt x="425271" y="61609"/>
                          </a:lnTo>
                          <a:close/>
                        </a:path>
                      </a:pathLst>
                    </a:custGeom>
                    <a:solidFill>
                      <a:srgbClr val="2F3D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21" name="Freeform: Shape 3420">
                      <a:extLst>
                        <a:ext uri="{FF2B5EF4-FFF2-40B4-BE49-F238E27FC236}">
                          <a16:creationId xmlns:a16="http://schemas.microsoft.com/office/drawing/2014/main" id="{38F2D928-332A-6A95-BA4D-968BE6D92FF8}"/>
                        </a:ext>
                      </a:extLst>
                    </p:cNvPr>
                    <p:cNvSpPr/>
                    <p:nvPr/>
                  </p:nvSpPr>
                  <p:spPr>
                    <a:xfrm>
                      <a:off x="6517517" y="1774775"/>
                      <a:ext cx="402664" cy="85450"/>
                    </a:xfrm>
                    <a:custGeom>
                      <a:avLst/>
                      <a:gdLst>
                        <a:gd name="connsiteX0" fmla="*/ 402664 w 402664"/>
                        <a:gd name="connsiteY0" fmla="*/ 26684 h 85450"/>
                        <a:gd name="connsiteX1" fmla="*/ 185440 w 402664"/>
                        <a:gd name="connsiteY1" fmla="*/ 62707 h 85450"/>
                        <a:gd name="connsiteX2" fmla="*/ 574 w 402664"/>
                        <a:gd name="connsiteY2" fmla="*/ 0 h 85450"/>
                        <a:gd name="connsiteX3" fmla="*/ 0 w 402664"/>
                        <a:gd name="connsiteY3" fmla="*/ 7693 h 85450"/>
                        <a:gd name="connsiteX4" fmla="*/ 175253 w 402664"/>
                        <a:gd name="connsiteY4" fmla="*/ 85127 h 85450"/>
                        <a:gd name="connsiteX5" fmla="*/ 383437 w 402664"/>
                        <a:gd name="connsiteY5" fmla="*/ 59989 h 85450"/>
                        <a:gd name="connsiteX6" fmla="*/ 402664 w 402664"/>
                        <a:gd name="connsiteY6" fmla="*/ 26684 h 8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664" h="85450">
                          <a:moveTo>
                            <a:pt x="402664" y="26684"/>
                          </a:moveTo>
                          <a:cubicBezTo>
                            <a:pt x="335306" y="43517"/>
                            <a:pt x="225877" y="66373"/>
                            <a:pt x="185440" y="62707"/>
                          </a:cubicBezTo>
                          <a:cubicBezTo>
                            <a:pt x="136262" y="58231"/>
                            <a:pt x="26684" y="11409"/>
                            <a:pt x="574" y="0"/>
                          </a:cubicBezTo>
                          <a:cubicBezTo>
                            <a:pt x="174" y="2481"/>
                            <a:pt x="0" y="5050"/>
                            <a:pt x="0" y="7693"/>
                          </a:cubicBezTo>
                          <a:cubicBezTo>
                            <a:pt x="0" y="37245"/>
                            <a:pt x="119217" y="82072"/>
                            <a:pt x="175253" y="85127"/>
                          </a:cubicBezTo>
                          <a:cubicBezTo>
                            <a:pt x="228895" y="88057"/>
                            <a:pt x="337588" y="70438"/>
                            <a:pt x="383437" y="59989"/>
                          </a:cubicBezTo>
                          <a:lnTo>
                            <a:pt x="402664" y="26684"/>
                          </a:ln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3424" name="Graphic 525">
              <a:extLst>
                <a:ext uri="{FF2B5EF4-FFF2-40B4-BE49-F238E27FC236}">
                  <a16:creationId xmlns:a16="http://schemas.microsoft.com/office/drawing/2014/main" id="{2DDC0D3C-3156-FC5B-0680-58AD9483CF35}"/>
                </a:ext>
              </a:extLst>
            </p:cNvPr>
            <p:cNvGrpSpPr/>
            <p:nvPr/>
          </p:nvGrpSpPr>
          <p:grpSpPr>
            <a:xfrm>
              <a:off x="4080340" y="1478876"/>
              <a:ext cx="471853" cy="769267"/>
              <a:chOff x="6321453" y="1218959"/>
              <a:chExt cx="569076" cy="927768"/>
            </a:xfrm>
          </p:grpSpPr>
          <p:grpSp>
            <p:nvGrpSpPr>
              <p:cNvPr id="3425" name="Graphic 525">
                <a:extLst>
                  <a:ext uri="{FF2B5EF4-FFF2-40B4-BE49-F238E27FC236}">
                    <a16:creationId xmlns:a16="http://schemas.microsoft.com/office/drawing/2014/main" id="{A1581DC1-B512-D9F9-14C0-BF80A11586E1}"/>
                  </a:ext>
                </a:extLst>
              </p:cNvPr>
              <p:cNvGrpSpPr/>
              <p:nvPr/>
            </p:nvGrpSpPr>
            <p:grpSpPr>
              <a:xfrm>
                <a:off x="6321453" y="1304194"/>
                <a:ext cx="398632" cy="258855"/>
                <a:chOff x="6321453" y="1304194"/>
                <a:chExt cx="398632" cy="258855"/>
              </a:xfrm>
            </p:grpSpPr>
            <p:grpSp>
              <p:nvGrpSpPr>
                <p:cNvPr id="3426" name="Graphic 525">
                  <a:extLst>
                    <a:ext uri="{FF2B5EF4-FFF2-40B4-BE49-F238E27FC236}">
                      <a16:creationId xmlns:a16="http://schemas.microsoft.com/office/drawing/2014/main" id="{0788939A-5D94-DBBF-DE48-42094EA92DCC}"/>
                    </a:ext>
                  </a:extLst>
                </p:cNvPr>
                <p:cNvGrpSpPr/>
                <p:nvPr/>
              </p:nvGrpSpPr>
              <p:grpSpPr>
                <a:xfrm>
                  <a:off x="6321453" y="1489508"/>
                  <a:ext cx="318580" cy="73541"/>
                  <a:chOff x="6321453" y="1489508"/>
                  <a:chExt cx="318580" cy="73541"/>
                </a:xfrm>
              </p:grpSpPr>
              <p:sp>
                <p:nvSpPr>
                  <p:cNvPr id="3427" name="Freeform: Shape 3426">
                    <a:extLst>
                      <a:ext uri="{FF2B5EF4-FFF2-40B4-BE49-F238E27FC236}">
                        <a16:creationId xmlns:a16="http://schemas.microsoft.com/office/drawing/2014/main" id="{A954569B-B279-5479-661C-03C7B19D6C9F}"/>
                      </a:ext>
                    </a:extLst>
                  </p:cNvPr>
                  <p:cNvSpPr/>
                  <p:nvPr/>
                </p:nvSpPr>
                <p:spPr>
                  <a:xfrm>
                    <a:off x="6427715" y="1493581"/>
                    <a:ext cx="206787" cy="66824"/>
                  </a:xfrm>
                  <a:custGeom>
                    <a:avLst/>
                    <a:gdLst>
                      <a:gd name="connsiteX0" fmla="*/ 179455 w 206787"/>
                      <a:gd name="connsiteY0" fmla="*/ 64307 h 66824"/>
                      <a:gd name="connsiteX1" fmla="*/ 87458 w 206787"/>
                      <a:gd name="connsiteY1" fmla="*/ 66713 h 66824"/>
                      <a:gd name="connsiteX2" fmla="*/ 1259 w 206787"/>
                      <a:gd name="connsiteY2" fmla="*/ 46451 h 66824"/>
                      <a:gd name="connsiteX3" fmla="*/ 33429 w 206787"/>
                      <a:gd name="connsiteY3" fmla="*/ 19543 h 66824"/>
                      <a:gd name="connsiteX4" fmla="*/ 117820 w 206787"/>
                      <a:gd name="connsiteY4" fmla="*/ 5178 h 66824"/>
                      <a:gd name="connsiteX5" fmla="*/ 196812 w 206787"/>
                      <a:gd name="connsiteY5" fmla="*/ 9742 h 66824"/>
                      <a:gd name="connsiteX6" fmla="*/ 179467 w 206787"/>
                      <a:gd name="connsiteY6" fmla="*/ 64307 h 6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787" h="66824">
                        <a:moveTo>
                          <a:pt x="179455" y="64307"/>
                        </a:moveTo>
                        <a:cubicBezTo>
                          <a:pt x="179455" y="64307"/>
                          <a:pt x="133918" y="67449"/>
                          <a:pt x="87458" y="66713"/>
                        </a:cubicBezTo>
                        <a:cubicBezTo>
                          <a:pt x="46148" y="66052"/>
                          <a:pt x="7569" y="59668"/>
                          <a:pt x="1259" y="46451"/>
                        </a:cubicBezTo>
                        <a:cubicBezTo>
                          <a:pt x="-5050" y="33234"/>
                          <a:pt x="13391" y="23595"/>
                          <a:pt x="33429" y="19543"/>
                        </a:cubicBezTo>
                        <a:cubicBezTo>
                          <a:pt x="62507" y="13670"/>
                          <a:pt x="94229" y="8084"/>
                          <a:pt x="117820" y="5178"/>
                        </a:cubicBezTo>
                        <a:cubicBezTo>
                          <a:pt x="150801" y="1113"/>
                          <a:pt x="183445" y="-6006"/>
                          <a:pt x="196812" y="9742"/>
                        </a:cubicBezTo>
                        <a:cubicBezTo>
                          <a:pt x="214081" y="30091"/>
                          <a:pt x="209318" y="54730"/>
                          <a:pt x="179467" y="64307"/>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28" name="Graphic 525">
                    <a:extLst>
                      <a:ext uri="{FF2B5EF4-FFF2-40B4-BE49-F238E27FC236}">
                        <a16:creationId xmlns:a16="http://schemas.microsoft.com/office/drawing/2014/main" id="{40B4C843-7AFD-AB74-97D6-3370A7782C6A}"/>
                      </a:ext>
                    </a:extLst>
                  </p:cNvPr>
                  <p:cNvGrpSpPr/>
                  <p:nvPr/>
                </p:nvGrpSpPr>
                <p:grpSpPr>
                  <a:xfrm>
                    <a:off x="6321453" y="1514826"/>
                    <a:ext cx="163750" cy="48223"/>
                    <a:chOff x="6321453" y="1514826"/>
                    <a:chExt cx="163750" cy="48223"/>
                  </a:xfrm>
                </p:grpSpPr>
                <p:sp>
                  <p:nvSpPr>
                    <p:cNvPr id="3429" name="Freeform: Shape 3428">
                      <a:extLst>
                        <a:ext uri="{FF2B5EF4-FFF2-40B4-BE49-F238E27FC236}">
                          <a16:creationId xmlns:a16="http://schemas.microsoft.com/office/drawing/2014/main" id="{7C806B57-ED4B-411C-2537-CFF3BD79BB2F}"/>
                        </a:ext>
                      </a:extLst>
                    </p:cNvPr>
                    <p:cNvSpPr/>
                    <p:nvPr/>
                  </p:nvSpPr>
                  <p:spPr>
                    <a:xfrm>
                      <a:off x="6321453" y="1514826"/>
                      <a:ext cx="163750" cy="48223"/>
                    </a:xfrm>
                    <a:custGeom>
                      <a:avLst/>
                      <a:gdLst>
                        <a:gd name="connsiteX0" fmla="*/ 141138 w 163750"/>
                        <a:gd name="connsiteY0" fmla="*/ 867 h 48223"/>
                        <a:gd name="connsiteX1" fmla="*/ 112970 w 163750"/>
                        <a:gd name="connsiteY1" fmla="*/ 2462 h 48223"/>
                        <a:gd name="connsiteX2" fmla="*/ 61498 w 163750"/>
                        <a:gd name="connsiteY2" fmla="*/ 43 h 48223"/>
                        <a:gd name="connsiteX3" fmla="*/ 26123 w 163750"/>
                        <a:gd name="connsiteY3" fmla="*/ 14869 h 48223"/>
                        <a:gd name="connsiteX4" fmla="*/ 38 w 163750"/>
                        <a:gd name="connsiteY4" fmla="*/ 39346 h 48223"/>
                        <a:gd name="connsiteX5" fmla="*/ 19702 w 163750"/>
                        <a:gd name="connsiteY5" fmla="*/ 39433 h 48223"/>
                        <a:gd name="connsiteX6" fmla="*/ 41547 w 163750"/>
                        <a:gd name="connsiteY6" fmla="*/ 26490 h 48223"/>
                        <a:gd name="connsiteX7" fmla="*/ 85576 w 163750"/>
                        <a:gd name="connsiteY7" fmla="*/ 30368 h 48223"/>
                        <a:gd name="connsiteX8" fmla="*/ 73119 w 163750"/>
                        <a:gd name="connsiteY8" fmla="*/ 36029 h 48223"/>
                        <a:gd name="connsiteX9" fmla="*/ 55475 w 163750"/>
                        <a:gd name="connsiteY9" fmla="*/ 44483 h 48223"/>
                        <a:gd name="connsiteX10" fmla="*/ 81922 w 163750"/>
                        <a:gd name="connsiteY10" fmla="*/ 48199 h 48223"/>
                        <a:gd name="connsiteX11" fmla="*/ 117871 w 163750"/>
                        <a:gd name="connsiteY11" fmla="*/ 39658 h 48223"/>
                        <a:gd name="connsiteX12" fmla="*/ 154330 w 163750"/>
                        <a:gd name="connsiteY12" fmla="*/ 32563 h 48223"/>
                        <a:gd name="connsiteX13" fmla="*/ 141113 w 163750"/>
                        <a:gd name="connsiteY13" fmla="*/ 854 h 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750" h="48223">
                          <a:moveTo>
                            <a:pt x="141138" y="867"/>
                          </a:moveTo>
                          <a:cubicBezTo>
                            <a:pt x="141138" y="867"/>
                            <a:pt x="125926" y="3759"/>
                            <a:pt x="112970" y="2462"/>
                          </a:cubicBezTo>
                          <a:cubicBezTo>
                            <a:pt x="100015" y="1153"/>
                            <a:pt x="69827" y="-268"/>
                            <a:pt x="61498" y="43"/>
                          </a:cubicBezTo>
                          <a:cubicBezTo>
                            <a:pt x="53169" y="368"/>
                            <a:pt x="32807" y="11228"/>
                            <a:pt x="26123" y="14869"/>
                          </a:cubicBezTo>
                          <a:cubicBezTo>
                            <a:pt x="19452" y="18510"/>
                            <a:pt x="948" y="34982"/>
                            <a:pt x="38" y="39346"/>
                          </a:cubicBezTo>
                          <a:cubicBezTo>
                            <a:pt x="-860" y="43723"/>
                            <a:pt x="14427" y="42900"/>
                            <a:pt x="19702" y="39433"/>
                          </a:cubicBezTo>
                          <a:cubicBezTo>
                            <a:pt x="24976" y="35967"/>
                            <a:pt x="36871" y="27974"/>
                            <a:pt x="41547" y="26490"/>
                          </a:cubicBezTo>
                          <a:cubicBezTo>
                            <a:pt x="46223" y="25019"/>
                            <a:pt x="85576" y="30368"/>
                            <a:pt x="85576" y="30368"/>
                          </a:cubicBezTo>
                          <a:cubicBezTo>
                            <a:pt x="85576" y="30368"/>
                            <a:pt x="84329" y="36403"/>
                            <a:pt x="73119" y="36029"/>
                          </a:cubicBezTo>
                          <a:cubicBezTo>
                            <a:pt x="62121" y="35668"/>
                            <a:pt x="54590" y="40568"/>
                            <a:pt x="55475" y="44483"/>
                          </a:cubicBezTo>
                          <a:cubicBezTo>
                            <a:pt x="56361" y="48399"/>
                            <a:pt x="68842" y="47912"/>
                            <a:pt x="81922" y="48199"/>
                          </a:cubicBezTo>
                          <a:cubicBezTo>
                            <a:pt x="95002" y="48486"/>
                            <a:pt x="107708" y="46304"/>
                            <a:pt x="117871" y="39658"/>
                          </a:cubicBezTo>
                          <a:cubicBezTo>
                            <a:pt x="128033" y="33012"/>
                            <a:pt x="146076" y="35543"/>
                            <a:pt x="154330" y="32563"/>
                          </a:cubicBezTo>
                          <a:cubicBezTo>
                            <a:pt x="168445" y="27463"/>
                            <a:pt x="168720" y="-1852"/>
                            <a:pt x="141113" y="85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30" name="Freeform: Shape 3429">
                      <a:extLst>
                        <a:ext uri="{FF2B5EF4-FFF2-40B4-BE49-F238E27FC236}">
                          <a16:creationId xmlns:a16="http://schemas.microsoft.com/office/drawing/2014/main" id="{48CC8A8C-B564-09A9-537E-DC0F69E81A9C}"/>
                        </a:ext>
                      </a:extLst>
                    </p:cNvPr>
                    <p:cNvSpPr/>
                    <p:nvPr/>
                  </p:nvSpPr>
                  <p:spPr>
                    <a:xfrm>
                      <a:off x="6406953" y="1534506"/>
                      <a:ext cx="5948" cy="10787"/>
                    </a:xfrm>
                    <a:custGeom>
                      <a:avLst/>
                      <a:gdLst>
                        <a:gd name="connsiteX0" fmla="*/ 13 w 5948"/>
                        <a:gd name="connsiteY0" fmla="*/ 10638 h 10787"/>
                        <a:gd name="connsiteX1" fmla="*/ 1198 w 5948"/>
                        <a:gd name="connsiteY1" fmla="*/ 7832 h 10787"/>
                        <a:gd name="connsiteX2" fmla="*/ 1796 w 5948"/>
                        <a:gd name="connsiteY2" fmla="*/ 6448 h 10787"/>
                        <a:gd name="connsiteX3" fmla="*/ 2407 w 5948"/>
                        <a:gd name="connsiteY3" fmla="*/ 5064 h 10787"/>
                        <a:gd name="connsiteX4" fmla="*/ 2943 w 5948"/>
                        <a:gd name="connsiteY4" fmla="*/ 3655 h 10787"/>
                        <a:gd name="connsiteX5" fmla="*/ 3617 w 5948"/>
                        <a:gd name="connsiteY5" fmla="*/ 2333 h 10787"/>
                        <a:gd name="connsiteX6" fmla="*/ 5724 w 5948"/>
                        <a:gd name="connsiteY6" fmla="*/ 27 h 10787"/>
                        <a:gd name="connsiteX7" fmla="*/ 5886 w 5948"/>
                        <a:gd name="connsiteY7" fmla="*/ 39 h 10787"/>
                        <a:gd name="connsiteX8" fmla="*/ 5911 w 5948"/>
                        <a:gd name="connsiteY8" fmla="*/ 101 h 10787"/>
                        <a:gd name="connsiteX9" fmla="*/ 5450 w 5948"/>
                        <a:gd name="connsiteY9" fmla="*/ 3256 h 10787"/>
                        <a:gd name="connsiteX10" fmla="*/ 4739 w 5948"/>
                        <a:gd name="connsiteY10" fmla="*/ 4615 h 10787"/>
                        <a:gd name="connsiteX11" fmla="*/ 3841 w 5948"/>
                        <a:gd name="connsiteY11" fmla="*/ 5862 h 10787"/>
                        <a:gd name="connsiteX12" fmla="*/ 2981 w 5948"/>
                        <a:gd name="connsiteY12" fmla="*/ 7122 h 10787"/>
                        <a:gd name="connsiteX13" fmla="*/ 2083 w 5948"/>
                        <a:gd name="connsiteY13" fmla="*/ 8356 h 10787"/>
                        <a:gd name="connsiteX14" fmla="*/ 188 w 5948"/>
                        <a:gd name="connsiteY14" fmla="*/ 10750 h 10787"/>
                        <a:gd name="connsiteX15" fmla="*/ 38 w 5948"/>
                        <a:gd name="connsiteY15" fmla="*/ 10750 h 10787"/>
                        <a:gd name="connsiteX16" fmla="*/ 13 w 5948"/>
                        <a:gd name="connsiteY16" fmla="*/ 10625 h 1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48" h="10787">
                          <a:moveTo>
                            <a:pt x="13" y="10638"/>
                          </a:moveTo>
                          <a:cubicBezTo>
                            <a:pt x="399" y="9690"/>
                            <a:pt x="799" y="8768"/>
                            <a:pt x="1198" y="7832"/>
                          </a:cubicBezTo>
                          <a:lnTo>
                            <a:pt x="1796" y="6448"/>
                          </a:lnTo>
                          <a:lnTo>
                            <a:pt x="2407" y="5064"/>
                          </a:lnTo>
                          <a:cubicBezTo>
                            <a:pt x="2607" y="4603"/>
                            <a:pt x="2769" y="4129"/>
                            <a:pt x="2943" y="3655"/>
                          </a:cubicBezTo>
                          <a:cubicBezTo>
                            <a:pt x="3118" y="3181"/>
                            <a:pt x="3342" y="2745"/>
                            <a:pt x="3617" y="2333"/>
                          </a:cubicBezTo>
                          <a:cubicBezTo>
                            <a:pt x="4178" y="1510"/>
                            <a:pt x="4814" y="725"/>
                            <a:pt x="5724" y="27"/>
                          </a:cubicBezTo>
                          <a:cubicBezTo>
                            <a:pt x="5774" y="-11"/>
                            <a:pt x="5849" y="-11"/>
                            <a:pt x="5886" y="39"/>
                          </a:cubicBezTo>
                          <a:cubicBezTo>
                            <a:pt x="5899" y="52"/>
                            <a:pt x="5911" y="76"/>
                            <a:pt x="5911" y="101"/>
                          </a:cubicBezTo>
                          <a:cubicBezTo>
                            <a:pt x="6048" y="1261"/>
                            <a:pt x="5786" y="2296"/>
                            <a:pt x="5450" y="3256"/>
                          </a:cubicBezTo>
                          <a:cubicBezTo>
                            <a:pt x="5275" y="3742"/>
                            <a:pt x="5025" y="4191"/>
                            <a:pt x="4739" y="4615"/>
                          </a:cubicBezTo>
                          <a:cubicBezTo>
                            <a:pt x="4439" y="5027"/>
                            <a:pt x="4128" y="5438"/>
                            <a:pt x="3841" y="5862"/>
                          </a:cubicBezTo>
                          <a:lnTo>
                            <a:pt x="2981" y="7122"/>
                          </a:lnTo>
                          <a:lnTo>
                            <a:pt x="2083" y="8356"/>
                          </a:lnTo>
                          <a:cubicBezTo>
                            <a:pt x="1472" y="9166"/>
                            <a:pt x="848" y="9977"/>
                            <a:pt x="188" y="10750"/>
                          </a:cubicBezTo>
                          <a:cubicBezTo>
                            <a:pt x="150" y="10800"/>
                            <a:pt x="88" y="10800"/>
                            <a:pt x="38" y="10750"/>
                          </a:cubicBezTo>
                          <a:cubicBezTo>
                            <a:pt x="0" y="10725"/>
                            <a:pt x="-12" y="10675"/>
                            <a:pt x="13" y="10625"/>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31" name="Freeform: Shape 3430">
                    <a:extLst>
                      <a:ext uri="{FF2B5EF4-FFF2-40B4-BE49-F238E27FC236}">
                        <a16:creationId xmlns:a16="http://schemas.microsoft.com/office/drawing/2014/main" id="{E87BD6DD-AF53-FD99-0BDC-1D0FEB262DCA}"/>
                      </a:ext>
                    </a:extLst>
                  </p:cNvPr>
                  <p:cNvSpPr/>
                  <p:nvPr/>
                </p:nvSpPr>
                <p:spPr>
                  <a:xfrm>
                    <a:off x="6450658" y="1489508"/>
                    <a:ext cx="189376" cy="72937"/>
                  </a:xfrm>
                  <a:custGeom>
                    <a:avLst/>
                    <a:gdLst>
                      <a:gd name="connsiteX0" fmla="*/ 187997 w 189376"/>
                      <a:gd name="connsiteY0" fmla="*/ 27855 h 72937"/>
                      <a:gd name="connsiteX1" fmla="*/ 153333 w 189376"/>
                      <a:gd name="connsiteY1" fmla="*/ 11 h 72937"/>
                      <a:gd name="connsiteX2" fmla="*/ 711 w 189376"/>
                      <a:gd name="connsiteY2" fmla="*/ 18815 h 72937"/>
                      <a:gd name="connsiteX3" fmla="*/ 3367 w 189376"/>
                      <a:gd name="connsiteY3" fmla="*/ 68841 h 72937"/>
                      <a:gd name="connsiteX4" fmla="*/ 160901 w 189376"/>
                      <a:gd name="connsiteY4" fmla="*/ 69527 h 72937"/>
                      <a:gd name="connsiteX5" fmla="*/ 187997 w 189376"/>
                      <a:gd name="connsiteY5" fmla="*/ 27867 h 7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76" h="72937">
                        <a:moveTo>
                          <a:pt x="187997" y="27855"/>
                        </a:moveTo>
                        <a:cubicBezTo>
                          <a:pt x="187997" y="27855"/>
                          <a:pt x="178196" y="298"/>
                          <a:pt x="153333" y="11"/>
                        </a:cubicBezTo>
                        <a:cubicBezTo>
                          <a:pt x="128482" y="-275"/>
                          <a:pt x="54228" y="4849"/>
                          <a:pt x="711" y="18815"/>
                        </a:cubicBezTo>
                        <a:cubicBezTo>
                          <a:pt x="711" y="18815"/>
                          <a:pt x="-2070" y="47568"/>
                          <a:pt x="3367" y="68841"/>
                        </a:cubicBezTo>
                        <a:cubicBezTo>
                          <a:pt x="3367" y="68841"/>
                          <a:pt x="129043" y="77582"/>
                          <a:pt x="160901" y="69527"/>
                        </a:cubicBezTo>
                        <a:cubicBezTo>
                          <a:pt x="165216" y="68454"/>
                          <a:pt x="196214" y="56072"/>
                          <a:pt x="187997" y="2786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32" name="Graphic 525">
                  <a:extLst>
                    <a:ext uri="{FF2B5EF4-FFF2-40B4-BE49-F238E27FC236}">
                      <a16:creationId xmlns:a16="http://schemas.microsoft.com/office/drawing/2014/main" id="{A18425ED-A807-EB8E-57CC-5C5DB47A22FD}"/>
                    </a:ext>
                  </a:extLst>
                </p:cNvPr>
                <p:cNvGrpSpPr/>
                <p:nvPr/>
              </p:nvGrpSpPr>
              <p:grpSpPr>
                <a:xfrm>
                  <a:off x="6573751" y="1304194"/>
                  <a:ext cx="146333" cy="254752"/>
                  <a:chOff x="6573751" y="1304194"/>
                  <a:chExt cx="146333" cy="254752"/>
                </a:xfrm>
              </p:grpSpPr>
              <p:sp>
                <p:nvSpPr>
                  <p:cNvPr id="3433" name="Freeform: Shape 3432">
                    <a:extLst>
                      <a:ext uri="{FF2B5EF4-FFF2-40B4-BE49-F238E27FC236}">
                        <a16:creationId xmlns:a16="http://schemas.microsoft.com/office/drawing/2014/main" id="{BA2ACD98-E5AC-9FE2-47A6-63906CFAA01C}"/>
                      </a:ext>
                    </a:extLst>
                  </p:cNvPr>
                  <p:cNvSpPr/>
                  <p:nvPr/>
                </p:nvSpPr>
                <p:spPr>
                  <a:xfrm>
                    <a:off x="6576276" y="1305526"/>
                    <a:ext cx="142219" cy="237882"/>
                  </a:xfrm>
                  <a:custGeom>
                    <a:avLst/>
                    <a:gdLst>
                      <a:gd name="connsiteX0" fmla="*/ 89237 w 142219"/>
                      <a:gd name="connsiteY0" fmla="*/ 5910 h 237882"/>
                      <a:gd name="connsiteX1" fmla="*/ 51381 w 142219"/>
                      <a:gd name="connsiteY1" fmla="*/ 69876 h 237882"/>
                      <a:gd name="connsiteX2" fmla="*/ 146 w 142219"/>
                      <a:gd name="connsiteY2" fmla="*/ 207522 h 237882"/>
                      <a:gd name="connsiteX3" fmla="*/ 47004 w 142219"/>
                      <a:gd name="connsiteY3" fmla="*/ 232062 h 237882"/>
                      <a:gd name="connsiteX4" fmla="*/ 106931 w 142219"/>
                      <a:gd name="connsiteY4" fmla="*/ 156885 h 237882"/>
                      <a:gd name="connsiteX5" fmla="*/ 137131 w 142219"/>
                      <a:gd name="connsiteY5" fmla="*/ 21758 h 237882"/>
                      <a:gd name="connsiteX6" fmla="*/ 89237 w 142219"/>
                      <a:gd name="connsiteY6" fmla="*/ 5922 h 23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219" h="237882">
                        <a:moveTo>
                          <a:pt x="89237" y="5910"/>
                        </a:moveTo>
                        <a:cubicBezTo>
                          <a:pt x="89237" y="5910"/>
                          <a:pt x="69848" y="25736"/>
                          <a:pt x="51381" y="69876"/>
                        </a:cubicBezTo>
                        <a:cubicBezTo>
                          <a:pt x="32902" y="114017"/>
                          <a:pt x="2315" y="188969"/>
                          <a:pt x="146" y="207522"/>
                        </a:cubicBezTo>
                        <a:cubicBezTo>
                          <a:pt x="-2037" y="226076"/>
                          <a:pt x="20632" y="248758"/>
                          <a:pt x="47004" y="232062"/>
                        </a:cubicBezTo>
                        <a:cubicBezTo>
                          <a:pt x="73376" y="215366"/>
                          <a:pt x="88888" y="186525"/>
                          <a:pt x="106931" y="156885"/>
                        </a:cubicBezTo>
                        <a:cubicBezTo>
                          <a:pt x="145373" y="93742"/>
                          <a:pt x="146944" y="43916"/>
                          <a:pt x="137131" y="21758"/>
                        </a:cubicBezTo>
                        <a:cubicBezTo>
                          <a:pt x="127330" y="-400"/>
                          <a:pt x="99798" y="-5549"/>
                          <a:pt x="89237" y="5922"/>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34" name="Freeform: Shape 3433">
                    <a:extLst>
                      <a:ext uri="{FF2B5EF4-FFF2-40B4-BE49-F238E27FC236}">
                        <a16:creationId xmlns:a16="http://schemas.microsoft.com/office/drawing/2014/main" id="{B5DB2070-2969-B39B-A1C0-81BE331B9FAF}"/>
                      </a:ext>
                    </a:extLst>
                  </p:cNvPr>
                  <p:cNvSpPr/>
                  <p:nvPr/>
                </p:nvSpPr>
                <p:spPr>
                  <a:xfrm>
                    <a:off x="6573751" y="1304194"/>
                    <a:ext cx="146333" cy="254752"/>
                  </a:xfrm>
                  <a:custGeom>
                    <a:avLst/>
                    <a:gdLst>
                      <a:gd name="connsiteX0" fmla="*/ 87821 w 146333"/>
                      <a:gd name="connsiteY0" fmla="*/ 10284 h 254752"/>
                      <a:gd name="connsiteX1" fmla="*/ 36760 w 146333"/>
                      <a:gd name="connsiteY1" fmla="*/ 105797 h 254752"/>
                      <a:gd name="connsiteX2" fmla="*/ 51 w 146333"/>
                      <a:gd name="connsiteY2" fmla="*/ 215002 h 254752"/>
                      <a:gd name="connsiteX3" fmla="*/ 43930 w 146333"/>
                      <a:gd name="connsiteY3" fmla="*/ 253007 h 254752"/>
                      <a:gd name="connsiteX4" fmla="*/ 107099 w 146333"/>
                      <a:gd name="connsiteY4" fmla="*/ 172881 h 254752"/>
                      <a:gd name="connsiteX5" fmla="*/ 144431 w 146333"/>
                      <a:gd name="connsiteY5" fmla="*/ 74088 h 254752"/>
                      <a:gd name="connsiteX6" fmla="*/ 119705 w 146333"/>
                      <a:gd name="connsiteY6" fmla="*/ 1693 h 254752"/>
                      <a:gd name="connsiteX7" fmla="*/ 87821 w 146333"/>
                      <a:gd name="connsiteY7" fmla="*/ 10272 h 25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333" h="254752">
                        <a:moveTo>
                          <a:pt x="87821" y="10284"/>
                        </a:moveTo>
                        <a:cubicBezTo>
                          <a:pt x="87821" y="10284"/>
                          <a:pt x="73058" y="20845"/>
                          <a:pt x="36760" y="105797"/>
                        </a:cubicBezTo>
                        <a:cubicBezTo>
                          <a:pt x="463" y="190749"/>
                          <a:pt x="999" y="206024"/>
                          <a:pt x="51" y="215002"/>
                        </a:cubicBezTo>
                        <a:cubicBezTo>
                          <a:pt x="-1171" y="226486"/>
                          <a:pt x="19628" y="263120"/>
                          <a:pt x="43930" y="253007"/>
                        </a:cubicBezTo>
                        <a:cubicBezTo>
                          <a:pt x="68232" y="242895"/>
                          <a:pt x="91600" y="200126"/>
                          <a:pt x="107099" y="172881"/>
                        </a:cubicBezTo>
                        <a:cubicBezTo>
                          <a:pt x="122598" y="145636"/>
                          <a:pt x="137573" y="113740"/>
                          <a:pt x="144431" y="74088"/>
                        </a:cubicBezTo>
                        <a:cubicBezTo>
                          <a:pt x="151289" y="34437"/>
                          <a:pt x="138820" y="8376"/>
                          <a:pt x="119705" y="1693"/>
                        </a:cubicBezTo>
                        <a:cubicBezTo>
                          <a:pt x="100590" y="-4991"/>
                          <a:pt x="87821" y="10272"/>
                          <a:pt x="87821" y="1027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35" name="Freeform: Shape 3434">
                    <a:extLst>
                      <a:ext uri="{FF2B5EF4-FFF2-40B4-BE49-F238E27FC236}">
                        <a16:creationId xmlns:a16="http://schemas.microsoft.com/office/drawing/2014/main" id="{77E2F4F1-52AA-8D74-0EE4-9270B9B6C7A1}"/>
                      </a:ext>
                    </a:extLst>
                  </p:cNvPr>
                  <p:cNvSpPr/>
                  <p:nvPr/>
                </p:nvSpPr>
                <p:spPr>
                  <a:xfrm>
                    <a:off x="6635175" y="1339055"/>
                    <a:ext cx="80351" cy="205640"/>
                  </a:xfrm>
                  <a:custGeom>
                    <a:avLst/>
                    <a:gdLst>
                      <a:gd name="connsiteX0" fmla="*/ 18442 w 80351"/>
                      <a:gd name="connsiteY0" fmla="*/ 0 h 205640"/>
                      <a:gd name="connsiteX1" fmla="*/ 5087 w 80351"/>
                      <a:gd name="connsiteY1" fmla="*/ 61635 h 205640"/>
                      <a:gd name="connsiteX2" fmla="*/ 0 w 80351"/>
                      <a:gd name="connsiteY2" fmla="*/ 205640 h 205640"/>
                      <a:gd name="connsiteX3" fmla="*/ 45674 w 80351"/>
                      <a:gd name="connsiteY3" fmla="*/ 138033 h 205640"/>
                      <a:gd name="connsiteX4" fmla="*/ 80351 w 80351"/>
                      <a:gd name="connsiteY4" fmla="*/ 52520 h 205640"/>
                      <a:gd name="connsiteX5" fmla="*/ 18442 w 80351"/>
                      <a:gd name="connsiteY5" fmla="*/ 0 h 20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51" h="205640">
                        <a:moveTo>
                          <a:pt x="18442" y="0"/>
                        </a:moveTo>
                        <a:cubicBezTo>
                          <a:pt x="18442" y="0"/>
                          <a:pt x="11247" y="6846"/>
                          <a:pt x="5087" y="61635"/>
                        </a:cubicBezTo>
                        <a:cubicBezTo>
                          <a:pt x="-374" y="110164"/>
                          <a:pt x="1422" y="172123"/>
                          <a:pt x="0" y="205640"/>
                        </a:cubicBezTo>
                        <a:cubicBezTo>
                          <a:pt x="17731" y="188121"/>
                          <a:pt x="33953" y="158632"/>
                          <a:pt x="45674" y="138033"/>
                        </a:cubicBezTo>
                        <a:cubicBezTo>
                          <a:pt x="59403" y="113905"/>
                          <a:pt x="72720" y="86111"/>
                          <a:pt x="80351" y="52520"/>
                        </a:cubicBezTo>
                        <a:cubicBezTo>
                          <a:pt x="61186" y="23417"/>
                          <a:pt x="35687" y="337"/>
                          <a:pt x="18442" y="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36" name="Freeform: Shape 3435">
                  <a:extLst>
                    <a:ext uri="{FF2B5EF4-FFF2-40B4-BE49-F238E27FC236}">
                      <a16:creationId xmlns:a16="http://schemas.microsoft.com/office/drawing/2014/main" id="{4393E086-5A33-EC16-4B88-53F7A179DF06}"/>
                    </a:ext>
                  </a:extLst>
                </p:cNvPr>
                <p:cNvSpPr/>
                <p:nvPr/>
              </p:nvSpPr>
              <p:spPr>
                <a:xfrm>
                  <a:off x="6580823" y="1398608"/>
                  <a:ext cx="112633" cy="147459"/>
                </a:xfrm>
                <a:custGeom>
                  <a:avLst/>
                  <a:gdLst>
                    <a:gd name="connsiteX0" fmla="*/ 34614 w 112633"/>
                    <a:gd name="connsiteY0" fmla="*/ 12 h 147459"/>
                    <a:gd name="connsiteX1" fmla="*/ 29689 w 112633"/>
                    <a:gd name="connsiteY1" fmla="*/ 11384 h 147459"/>
                    <a:gd name="connsiteX2" fmla="*/ 0 w 112633"/>
                    <a:gd name="connsiteY2" fmla="*/ 88169 h 147459"/>
                    <a:gd name="connsiteX3" fmla="*/ 52931 w 112633"/>
                    <a:gd name="connsiteY3" fmla="*/ 147459 h 147459"/>
                    <a:gd name="connsiteX4" fmla="*/ 68256 w 112633"/>
                    <a:gd name="connsiteY4" fmla="*/ 129778 h 147459"/>
                    <a:gd name="connsiteX5" fmla="*/ 98705 w 112633"/>
                    <a:gd name="connsiteY5" fmla="*/ 80812 h 147459"/>
                    <a:gd name="connsiteX6" fmla="*/ 100039 w 112633"/>
                    <a:gd name="connsiteY6" fmla="*/ 78468 h 147459"/>
                    <a:gd name="connsiteX7" fmla="*/ 112633 w 112633"/>
                    <a:gd name="connsiteY7" fmla="*/ 54702 h 147459"/>
                    <a:gd name="connsiteX8" fmla="*/ 34627 w 112633"/>
                    <a:gd name="connsiteY8" fmla="*/ 0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633" h="147459">
                      <a:moveTo>
                        <a:pt x="34614" y="12"/>
                      </a:moveTo>
                      <a:cubicBezTo>
                        <a:pt x="33018" y="3641"/>
                        <a:pt x="31385" y="7432"/>
                        <a:pt x="29689" y="11384"/>
                      </a:cubicBezTo>
                      <a:cubicBezTo>
                        <a:pt x="13816" y="48542"/>
                        <a:pt x="4988" y="72371"/>
                        <a:pt x="0" y="88169"/>
                      </a:cubicBezTo>
                      <a:cubicBezTo>
                        <a:pt x="9165" y="99640"/>
                        <a:pt x="32806" y="128544"/>
                        <a:pt x="52931" y="147459"/>
                      </a:cubicBezTo>
                      <a:cubicBezTo>
                        <a:pt x="58193" y="142484"/>
                        <a:pt x="63318" y="136412"/>
                        <a:pt x="68256" y="129778"/>
                      </a:cubicBezTo>
                      <a:lnTo>
                        <a:pt x="98705" y="80812"/>
                      </a:lnTo>
                      <a:cubicBezTo>
                        <a:pt x="99154" y="80014"/>
                        <a:pt x="99603" y="79241"/>
                        <a:pt x="100039" y="78468"/>
                      </a:cubicBezTo>
                      <a:cubicBezTo>
                        <a:pt x="104329" y="70924"/>
                        <a:pt x="108581" y="63031"/>
                        <a:pt x="112633" y="54702"/>
                      </a:cubicBezTo>
                      <a:lnTo>
                        <a:pt x="34627" y="0"/>
                      </a:ln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37" name="Graphic 525">
                <a:extLst>
                  <a:ext uri="{FF2B5EF4-FFF2-40B4-BE49-F238E27FC236}">
                    <a16:creationId xmlns:a16="http://schemas.microsoft.com/office/drawing/2014/main" id="{46CDC329-2C5F-B316-C7AC-1BFD2E594B08}"/>
                  </a:ext>
                </a:extLst>
              </p:cNvPr>
              <p:cNvGrpSpPr/>
              <p:nvPr/>
            </p:nvGrpSpPr>
            <p:grpSpPr>
              <a:xfrm>
                <a:off x="6365826" y="1218959"/>
                <a:ext cx="524703" cy="927768"/>
                <a:chOff x="6365826" y="1218959"/>
                <a:chExt cx="524703" cy="927768"/>
              </a:xfrm>
            </p:grpSpPr>
            <p:grpSp>
              <p:nvGrpSpPr>
                <p:cNvPr id="3438" name="Graphic 525">
                  <a:extLst>
                    <a:ext uri="{FF2B5EF4-FFF2-40B4-BE49-F238E27FC236}">
                      <a16:creationId xmlns:a16="http://schemas.microsoft.com/office/drawing/2014/main" id="{3AD35194-1559-864E-E5C2-DA2C42C6722F}"/>
                    </a:ext>
                  </a:extLst>
                </p:cNvPr>
                <p:cNvGrpSpPr/>
                <p:nvPr/>
              </p:nvGrpSpPr>
              <p:grpSpPr>
                <a:xfrm>
                  <a:off x="6365826" y="1218959"/>
                  <a:ext cx="520911" cy="927768"/>
                  <a:chOff x="6365826" y="1218959"/>
                  <a:chExt cx="520911" cy="927768"/>
                </a:xfrm>
              </p:grpSpPr>
              <p:grpSp>
                <p:nvGrpSpPr>
                  <p:cNvPr id="3439" name="Graphic 525">
                    <a:extLst>
                      <a:ext uri="{FF2B5EF4-FFF2-40B4-BE49-F238E27FC236}">
                        <a16:creationId xmlns:a16="http://schemas.microsoft.com/office/drawing/2014/main" id="{C2288436-A019-95DB-BE68-4E2FF104580B}"/>
                      </a:ext>
                    </a:extLst>
                  </p:cNvPr>
                  <p:cNvGrpSpPr/>
                  <p:nvPr/>
                </p:nvGrpSpPr>
                <p:grpSpPr>
                  <a:xfrm>
                    <a:off x="6647582" y="1218959"/>
                    <a:ext cx="228340" cy="446518"/>
                    <a:chOff x="6647582" y="1218959"/>
                    <a:chExt cx="228340" cy="446518"/>
                  </a:xfrm>
                </p:grpSpPr>
                <p:sp>
                  <p:nvSpPr>
                    <p:cNvPr id="3440" name="Freeform: Shape 3439">
                      <a:extLst>
                        <a:ext uri="{FF2B5EF4-FFF2-40B4-BE49-F238E27FC236}">
                          <a16:creationId xmlns:a16="http://schemas.microsoft.com/office/drawing/2014/main" id="{62B2881C-A44F-1175-1603-DE5A7E669C82}"/>
                        </a:ext>
                      </a:extLst>
                    </p:cNvPr>
                    <p:cNvSpPr/>
                    <p:nvPr/>
                  </p:nvSpPr>
                  <p:spPr>
                    <a:xfrm>
                      <a:off x="6649598" y="1279843"/>
                      <a:ext cx="226323" cy="385635"/>
                    </a:xfrm>
                    <a:custGeom>
                      <a:avLst/>
                      <a:gdLst>
                        <a:gd name="connsiteX0" fmla="*/ 107550 w 226323"/>
                        <a:gd name="connsiteY0" fmla="*/ 1518 h 385635"/>
                        <a:gd name="connsiteX1" fmla="*/ 193910 w 226323"/>
                        <a:gd name="connsiteY1" fmla="*/ 19611 h 385635"/>
                        <a:gd name="connsiteX2" fmla="*/ 219086 w 226323"/>
                        <a:gd name="connsiteY2" fmla="*/ 169489 h 385635"/>
                        <a:gd name="connsiteX3" fmla="*/ 212066 w 226323"/>
                        <a:gd name="connsiteY3" fmla="*/ 303918 h 385635"/>
                        <a:gd name="connsiteX4" fmla="*/ 114482 w 226323"/>
                        <a:gd name="connsiteY4" fmla="*/ 385491 h 385635"/>
                        <a:gd name="connsiteX5" fmla="*/ 22161 w 226323"/>
                        <a:gd name="connsiteY5" fmla="*/ 325652 h 385635"/>
                        <a:gd name="connsiteX6" fmla="*/ 5178 w 226323"/>
                        <a:gd name="connsiteY6" fmla="*/ 155723 h 385635"/>
                        <a:gd name="connsiteX7" fmla="*/ 34618 w 226323"/>
                        <a:gd name="connsiteY7" fmla="*/ 21057 h 385635"/>
                        <a:gd name="connsiteX8" fmla="*/ 107537 w 226323"/>
                        <a:gd name="connsiteY8" fmla="*/ 1518 h 38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23" h="385635">
                          <a:moveTo>
                            <a:pt x="107550" y="1518"/>
                          </a:moveTo>
                          <a:cubicBezTo>
                            <a:pt x="107550" y="1518"/>
                            <a:pt x="152937" y="-7772"/>
                            <a:pt x="193910" y="19611"/>
                          </a:cubicBezTo>
                          <a:cubicBezTo>
                            <a:pt x="234884" y="46993"/>
                            <a:pt x="229036" y="106844"/>
                            <a:pt x="219086" y="169489"/>
                          </a:cubicBezTo>
                          <a:cubicBezTo>
                            <a:pt x="211853" y="214989"/>
                            <a:pt x="208948" y="251610"/>
                            <a:pt x="212066" y="303918"/>
                          </a:cubicBezTo>
                          <a:cubicBezTo>
                            <a:pt x="214447" y="343907"/>
                            <a:pt x="187190" y="382810"/>
                            <a:pt x="114482" y="385491"/>
                          </a:cubicBezTo>
                          <a:cubicBezTo>
                            <a:pt x="41775" y="388172"/>
                            <a:pt x="25989" y="352860"/>
                            <a:pt x="22161" y="325652"/>
                          </a:cubicBezTo>
                          <a:cubicBezTo>
                            <a:pt x="17286" y="291038"/>
                            <a:pt x="13358" y="197096"/>
                            <a:pt x="5178" y="155723"/>
                          </a:cubicBezTo>
                          <a:cubicBezTo>
                            <a:pt x="-3001" y="114351"/>
                            <a:pt x="-6593" y="38551"/>
                            <a:pt x="34618" y="21057"/>
                          </a:cubicBezTo>
                          <a:cubicBezTo>
                            <a:pt x="75828" y="3563"/>
                            <a:pt x="85579" y="3925"/>
                            <a:pt x="107537" y="151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41" name="Graphic 525">
                      <a:extLst>
                        <a:ext uri="{FF2B5EF4-FFF2-40B4-BE49-F238E27FC236}">
                          <a16:creationId xmlns:a16="http://schemas.microsoft.com/office/drawing/2014/main" id="{BD82FDB5-370C-8841-C905-61DE022095D9}"/>
                        </a:ext>
                      </a:extLst>
                    </p:cNvPr>
                    <p:cNvGrpSpPr/>
                    <p:nvPr/>
                  </p:nvGrpSpPr>
                  <p:grpSpPr>
                    <a:xfrm>
                      <a:off x="6720353" y="1218959"/>
                      <a:ext cx="69441" cy="98889"/>
                      <a:chOff x="6720353" y="1218959"/>
                      <a:chExt cx="69441" cy="98889"/>
                    </a:xfrm>
                  </p:grpSpPr>
                  <p:sp>
                    <p:nvSpPr>
                      <p:cNvPr id="3442" name="Freeform: Shape 3441">
                        <a:extLst>
                          <a:ext uri="{FF2B5EF4-FFF2-40B4-BE49-F238E27FC236}">
                            <a16:creationId xmlns:a16="http://schemas.microsoft.com/office/drawing/2014/main" id="{BF824292-790C-CFE1-A11B-76ED843055AF}"/>
                          </a:ext>
                        </a:extLst>
                      </p:cNvPr>
                      <p:cNvSpPr/>
                      <p:nvPr/>
                    </p:nvSpPr>
                    <p:spPr>
                      <a:xfrm>
                        <a:off x="6720365" y="1218972"/>
                        <a:ext cx="69428" cy="98876"/>
                      </a:xfrm>
                      <a:custGeom>
                        <a:avLst/>
                        <a:gdLst>
                          <a:gd name="connsiteX0" fmla="*/ 52369 w 69428"/>
                          <a:gd name="connsiteY0" fmla="*/ 7625 h 98876"/>
                          <a:gd name="connsiteX1" fmla="*/ 58030 w 69428"/>
                          <a:gd name="connsiteY1" fmla="*/ 21004 h 98876"/>
                          <a:gd name="connsiteX2" fmla="*/ 67631 w 69428"/>
                          <a:gd name="connsiteY2" fmla="*/ 60282 h 98876"/>
                          <a:gd name="connsiteX3" fmla="*/ 32630 w 69428"/>
                          <a:gd name="connsiteY3" fmla="*/ 98861 h 98876"/>
                          <a:gd name="connsiteX4" fmla="*/ 3091 w 69428"/>
                          <a:gd name="connsiteY4" fmla="*/ 72589 h 98876"/>
                          <a:gd name="connsiteX5" fmla="*/ 61 w 69428"/>
                          <a:gd name="connsiteY5" fmla="*/ 36229 h 98876"/>
                          <a:gd name="connsiteX6" fmla="*/ 27905 w 69428"/>
                          <a:gd name="connsiteY6" fmla="*/ 293 h 98876"/>
                          <a:gd name="connsiteX7" fmla="*/ 52369 w 69428"/>
                          <a:gd name="connsiteY7" fmla="*/ 7625 h 9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428" h="98876">
                            <a:moveTo>
                              <a:pt x="52369" y="7625"/>
                            </a:moveTo>
                            <a:cubicBezTo>
                              <a:pt x="55686" y="11316"/>
                              <a:pt x="57606" y="16054"/>
                              <a:pt x="58030" y="21004"/>
                            </a:cubicBezTo>
                            <a:cubicBezTo>
                              <a:pt x="58741" y="29321"/>
                              <a:pt x="61035" y="48137"/>
                              <a:pt x="67631" y="60282"/>
                            </a:cubicBezTo>
                            <a:cubicBezTo>
                              <a:pt x="76310" y="76255"/>
                              <a:pt x="51758" y="99572"/>
                              <a:pt x="32630" y="98861"/>
                            </a:cubicBezTo>
                            <a:cubicBezTo>
                              <a:pt x="11894" y="98088"/>
                              <a:pt x="5024" y="90769"/>
                              <a:pt x="3091" y="72589"/>
                            </a:cubicBezTo>
                            <a:cubicBezTo>
                              <a:pt x="1146" y="54409"/>
                              <a:pt x="784" y="50818"/>
                              <a:pt x="61" y="36229"/>
                            </a:cubicBezTo>
                            <a:cubicBezTo>
                              <a:pt x="-1098" y="12961"/>
                              <a:pt x="14451" y="1764"/>
                              <a:pt x="27905" y="293"/>
                            </a:cubicBezTo>
                            <a:cubicBezTo>
                              <a:pt x="39875" y="-1016"/>
                              <a:pt x="47481" y="2176"/>
                              <a:pt x="52369" y="762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43" name="Freeform: Shape 3442">
                        <a:extLst>
                          <a:ext uri="{FF2B5EF4-FFF2-40B4-BE49-F238E27FC236}">
                            <a16:creationId xmlns:a16="http://schemas.microsoft.com/office/drawing/2014/main" id="{14CED929-AC3D-BC09-CE24-31B6377AE27B}"/>
                          </a:ext>
                        </a:extLst>
                      </p:cNvPr>
                      <p:cNvSpPr/>
                      <p:nvPr/>
                    </p:nvSpPr>
                    <p:spPr>
                      <a:xfrm>
                        <a:off x="6720353" y="1218959"/>
                        <a:ext cx="54111" cy="71528"/>
                      </a:xfrm>
                      <a:custGeom>
                        <a:avLst/>
                        <a:gdLst>
                          <a:gd name="connsiteX0" fmla="*/ 27917 w 54111"/>
                          <a:gd name="connsiteY0" fmla="*/ 293 h 71528"/>
                          <a:gd name="connsiteX1" fmla="*/ 52381 w 54111"/>
                          <a:gd name="connsiteY1" fmla="*/ 7625 h 71528"/>
                          <a:gd name="connsiteX2" fmla="*/ 51683 w 54111"/>
                          <a:gd name="connsiteY2" fmla="*/ 25493 h 71528"/>
                          <a:gd name="connsiteX3" fmla="*/ 2979 w 54111"/>
                          <a:gd name="connsiteY3" fmla="*/ 71529 h 71528"/>
                          <a:gd name="connsiteX4" fmla="*/ 61 w 54111"/>
                          <a:gd name="connsiteY4" fmla="*/ 36229 h 71528"/>
                          <a:gd name="connsiteX5" fmla="*/ 27905 w 54111"/>
                          <a:gd name="connsiteY5" fmla="*/ 293 h 7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11" h="71528">
                            <a:moveTo>
                              <a:pt x="27917" y="293"/>
                            </a:moveTo>
                            <a:cubicBezTo>
                              <a:pt x="39887" y="-1016"/>
                              <a:pt x="47494" y="2176"/>
                              <a:pt x="52381" y="7625"/>
                            </a:cubicBezTo>
                            <a:cubicBezTo>
                              <a:pt x="55698" y="11316"/>
                              <a:pt x="53553" y="20892"/>
                              <a:pt x="51683" y="25493"/>
                            </a:cubicBezTo>
                            <a:cubicBezTo>
                              <a:pt x="41870" y="49670"/>
                              <a:pt x="23092" y="65506"/>
                              <a:pt x="2979" y="71529"/>
                            </a:cubicBezTo>
                            <a:cubicBezTo>
                              <a:pt x="1133" y="54272"/>
                              <a:pt x="772" y="50531"/>
                              <a:pt x="61" y="36229"/>
                            </a:cubicBezTo>
                            <a:cubicBezTo>
                              <a:pt x="-1098" y="12961"/>
                              <a:pt x="14451" y="1764"/>
                              <a:pt x="27905" y="293"/>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44" name="Freeform: Shape 3443">
                      <a:extLst>
                        <a:ext uri="{FF2B5EF4-FFF2-40B4-BE49-F238E27FC236}">
                          <a16:creationId xmlns:a16="http://schemas.microsoft.com/office/drawing/2014/main" id="{63720BCA-551B-3753-9E8A-54B0D186651A}"/>
                        </a:ext>
                      </a:extLst>
                    </p:cNvPr>
                    <p:cNvSpPr/>
                    <p:nvPr/>
                  </p:nvSpPr>
                  <p:spPr>
                    <a:xfrm>
                      <a:off x="6647582" y="1277944"/>
                      <a:ext cx="228172" cy="345681"/>
                    </a:xfrm>
                    <a:custGeom>
                      <a:avLst/>
                      <a:gdLst>
                        <a:gd name="connsiteX0" fmla="*/ 68144 w 228172"/>
                        <a:gd name="connsiteY0" fmla="*/ 10150 h 345681"/>
                        <a:gd name="connsiteX1" fmla="*/ 76735 w 228172"/>
                        <a:gd name="connsiteY1" fmla="*/ 35524 h 345681"/>
                        <a:gd name="connsiteX2" fmla="*/ 143282 w 228172"/>
                        <a:gd name="connsiteY2" fmla="*/ 0 h 345681"/>
                        <a:gd name="connsiteX3" fmla="*/ 210453 w 228172"/>
                        <a:gd name="connsiteY3" fmla="*/ 34726 h 345681"/>
                        <a:gd name="connsiteX4" fmla="*/ 227237 w 228172"/>
                        <a:gd name="connsiteY4" fmla="*/ 117933 h 345681"/>
                        <a:gd name="connsiteX5" fmla="*/ 217062 w 228172"/>
                        <a:gd name="connsiteY5" fmla="*/ 237511 h 345681"/>
                        <a:gd name="connsiteX6" fmla="*/ 226426 w 228172"/>
                        <a:gd name="connsiteY6" fmla="*/ 337825 h 345681"/>
                        <a:gd name="connsiteX7" fmla="*/ 12133 w 228172"/>
                        <a:gd name="connsiteY7" fmla="*/ 332750 h 345681"/>
                        <a:gd name="connsiteX8" fmla="*/ 8230 w 228172"/>
                        <a:gd name="connsiteY8" fmla="*/ 233995 h 345681"/>
                        <a:gd name="connsiteX9" fmla="*/ 17207 w 228172"/>
                        <a:gd name="connsiteY9" fmla="*/ 36884 h 345681"/>
                        <a:gd name="connsiteX10" fmla="*/ 68144 w 228172"/>
                        <a:gd name="connsiteY10" fmla="*/ 10150 h 34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172" h="345681">
                          <a:moveTo>
                            <a:pt x="68144" y="10150"/>
                          </a:moveTo>
                          <a:cubicBezTo>
                            <a:pt x="68144" y="10150"/>
                            <a:pt x="56635" y="33766"/>
                            <a:pt x="76735" y="35524"/>
                          </a:cubicBezTo>
                          <a:cubicBezTo>
                            <a:pt x="96835" y="37283"/>
                            <a:pt x="127284" y="25961"/>
                            <a:pt x="143282" y="0"/>
                          </a:cubicBezTo>
                          <a:cubicBezTo>
                            <a:pt x="143282" y="0"/>
                            <a:pt x="188196" y="8566"/>
                            <a:pt x="210453" y="34726"/>
                          </a:cubicBezTo>
                          <a:cubicBezTo>
                            <a:pt x="232698" y="60874"/>
                            <a:pt x="228010" y="98805"/>
                            <a:pt x="227237" y="117933"/>
                          </a:cubicBezTo>
                          <a:cubicBezTo>
                            <a:pt x="226451" y="137060"/>
                            <a:pt x="217448" y="203944"/>
                            <a:pt x="217062" y="237511"/>
                          </a:cubicBezTo>
                          <a:cubicBezTo>
                            <a:pt x="216675" y="271078"/>
                            <a:pt x="226426" y="337825"/>
                            <a:pt x="226426" y="337825"/>
                          </a:cubicBezTo>
                          <a:cubicBezTo>
                            <a:pt x="226426" y="337825"/>
                            <a:pt x="108942" y="358511"/>
                            <a:pt x="12133" y="332750"/>
                          </a:cubicBezTo>
                          <a:cubicBezTo>
                            <a:pt x="12133" y="332750"/>
                            <a:pt x="12519" y="282013"/>
                            <a:pt x="8230" y="233995"/>
                          </a:cubicBezTo>
                          <a:cubicBezTo>
                            <a:pt x="3940" y="185989"/>
                            <a:pt x="-12070" y="71622"/>
                            <a:pt x="17207" y="36884"/>
                          </a:cubicBezTo>
                          <a:cubicBezTo>
                            <a:pt x="19165" y="33766"/>
                            <a:pt x="36335" y="17369"/>
                            <a:pt x="68144" y="10150"/>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45" name="Graphic 525">
                    <a:extLst>
                      <a:ext uri="{FF2B5EF4-FFF2-40B4-BE49-F238E27FC236}">
                        <a16:creationId xmlns:a16="http://schemas.microsoft.com/office/drawing/2014/main" id="{9454791E-1CC1-21E3-2C78-692F55B7D4A5}"/>
                      </a:ext>
                    </a:extLst>
                  </p:cNvPr>
                  <p:cNvGrpSpPr/>
                  <p:nvPr/>
                </p:nvGrpSpPr>
                <p:grpSpPr>
                  <a:xfrm>
                    <a:off x="6365826" y="1528604"/>
                    <a:ext cx="520911" cy="618124"/>
                    <a:chOff x="6365826" y="1528604"/>
                    <a:chExt cx="520911" cy="618124"/>
                  </a:xfrm>
                </p:grpSpPr>
                <p:grpSp>
                  <p:nvGrpSpPr>
                    <p:cNvPr id="3446" name="Graphic 525">
                      <a:extLst>
                        <a:ext uri="{FF2B5EF4-FFF2-40B4-BE49-F238E27FC236}">
                          <a16:creationId xmlns:a16="http://schemas.microsoft.com/office/drawing/2014/main" id="{34C1F384-3D67-65AD-2AA5-A3516E3BD631}"/>
                        </a:ext>
                      </a:extLst>
                    </p:cNvPr>
                    <p:cNvGrpSpPr/>
                    <p:nvPr/>
                  </p:nvGrpSpPr>
                  <p:grpSpPr>
                    <a:xfrm>
                      <a:off x="6365826" y="1615902"/>
                      <a:ext cx="393137" cy="482401"/>
                      <a:chOff x="6365826" y="1615902"/>
                      <a:chExt cx="393137" cy="482401"/>
                    </a:xfrm>
                  </p:grpSpPr>
                  <p:grpSp>
                    <p:nvGrpSpPr>
                      <p:cNvPr id="3447" name="Graphic 525">
                        <a:extLst>
                          <a:ext uri="{FF2B5EF4-FFF2-40B4-BE49-F238E27FC236}">
                            <a16:creationId xmlns:a16="http://schemas.microsoft.com/office/drawing/2014/main" id="{A7254F43-26B5-4CBA-0B09-5CE8EC276FAB}"/>
                          </a:ext>
                        </a:extLst>
                      </p:cNvPr>
                      <p:cNvGrpSpPr/>
                      <p:nvPr/>
                    </p:nvGrpSpPr>
                    <p:grpSpPr>
                      <a:xfrm>
                        <a:off x="6365826" y="1991119"/>
                        <a:ext cx="168400" cy="107184"/>
                        <a:chOff x="6365826" y="1991119"/>
                        <a:chExt cx="168400" cy="107184"/>
                      </a:xfrm>
                    </p:grpSpPr>
                    <p:sp>
                      <p:nvSpPr>
                        <p:cNvPr id="3448" name="Freeform: Shape 3447">
                          <a:extLst>
                            <a:ext uri="{FF2B5EF4-FFF2-40B4-BE49-F238E27FC236}">
                              <a16:creationId xmlns:a16="http://schemas.microsoft.com/office/drawing/2014/main" id="{BA6C44BA-81C2-5905-E3DD-AE641135B4BC}"/>
                            </a:ext>
                          </a:extLst>
                        </p:cNvPr>
                        <p:cNvSpPr/>
                        <p:nvPr/>
                      </p:nvSpPr>
                      <p:spPr>
                        <a:xfrm>
                          <a:off x="6371537" y="1991119"/>
                          <a:ext cx="161091" cy="95405"/>
                        </a:xfrm>
                        <a:custGeom>
                          <a:avLst/>
                          <a:gdLst>
                            <a:gd name="connsiteX0" fmla="*/ 119072 w 161091"/>
                            <a:gd name="connsiteY0" fmla="*/ 5182 h 95405"/>
                            <a:gd name="connsiteX1" fmla="*/ 150494 w 161091"/>
                            <a:gd name="connsiteY1" fmla="*/ 13299 h 95405"/>
                            <a:gd name="connsiteX2" fmla="*/ 152252 w 161091"/>
                            <a:gd name="connsiteY2" fmla="*/ 22264 h 95405"/>
                            <a:gd name="connsiteX3" fmla="*/ 159920 w 161091"/>
                            <a:gd name="connsiteY3" fmla="*/ 58961 h 95405"/>
                            <a:gd name="connsiteX4" fmla="*/ 137626 w 161091"/>
                            <a:gd name="connsiteY4" fmla="*/ 90919 h 95405"/>
                            <a:gd name="connsiteX5" fmla="*/ 49731 w 161091"/>
                            <a:gd name="connsiteY5" fmla="*/ 94909 h 95405"/>
                            <a:gd name="connsiteX6" fmla="*/ 29 w 161091"/>
                            <a:gd name="connsiteY6" fmla="*/ 80570 h 95405"/>
                            <a:gd name="connsiteX7" fmla="*/ 42848 w 161091"/>
                            <a:gd name="connsiteY7" fmla="*/ 53100 h 95405"/>
                            <a:gd name="connsiteX8" fmla="*/ 100942 w 161091"/>
                            <a:gd name="connsiteY8" fmla="*/ 28462 h 95405"/>
                            <a:gd name="connsiteX9" fmla="*/ 119059 w 161091"/>
                            <a:gd name="connsiteY9" fmla="*/ 5194 h 9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091" h="95405">
                              <a:moveTo>
                                <a:pt x="119072" y="5182"/>
                              </a:moveTo>
                              <a:cubicBezTo>
                                <a:pt x="129346" y="-4444"/>
                                <a:pt x="145980" y="-43"/>
                                <a:pt x="150494" y="13299"/>
                              </a:cubicBezTo>
                              <a:cubicBezTo>
                                <a:pt x="151354" y="15855"/>
                                <a:pt x="152002" y="18823"/>
                                <a:pt x="152252" y="22264"/>
                              </a:cubicBezTo>
                              <a:cubicBezTo>
                                <a:pt x="153574" y="39783"/>
                                <a:pt x="155905" y="43175"/>
                                <a:pt x="159920" y="58961"/>
                              </a:cubicBezTo>
                              <a:cubicBezTo>
                                <a:pt x="163948" y="74734"/>
                                <a:pt x="157838" y="87852"/>
                                <a:pt x="137626" y="90919"/>
                              </a:cubicBezTo>
                              <a:cubicBezTo>
                                <a:pt x="117413" y="93987"/>
                                <a:pt x="78697" y="92690"/>
                                <a:pt x="49731" y="94909"/>
                              </a:cubicBezTo>
                              <a:cubicBezTo>
                                <a:pt x="20765" y="97129"/>
                                <a:pt x="939" y="91829"/>
                                <a:pt x="29" y="80570"/>
                              </a:cubicBezTo>
                              <a:cubicBezTo>
                                <a:pt x="-881" y="69323"/>
                                <a:pt x="19568" y="60033"/>
                                <a:pt x="42848" y="53100"/>
                              </a:cubicBezTo>
                              <a:cubicBezTo>
                                <a:pt x="66128" y="46168"/>
                                <a:pt x="90854" y="37190"/>
                                <a:pt x="100942" y="28462"/>
                              </a:cubicBezTo>
                              <a:cubicBezTo>
                                <a:pt x="109757" y="20818"/>
                                <a:pt x="111989" y="11815"/>
                                <a:pt x="119059" y="519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49" name="Graphic 525">
                          <a:extLst>
                            <a:ext uri="{FF2B5EF4-FFF2-40B4-BE49-F238E27FC236}">
                              <a16:creationId xmlns:a16="http://schemas.microsoft.com/office/drawing/2014/main" id="{57E17A53-7EAF-3815-BBC7-6445FE3FCD34}"/>
                            </a:ext>
                          </a:extLst>
                        </p:cNvPr>
                        <p:cNvGrpSpPr/>
                        <p:nvPr/>
                      </p:nvGrpSpPr>
                      <p:grpSpPr>
                        <a:xfrm>
                          <a:off x="6365826" y="2026125"/>
                          <a:ext cx="168400" cy="72178"/>
                          <a:chOff x="6365826" y="2026125"/>
                          <a:chExt cx="168400" cy="72178"/>
                        </a:xfrm>
                      </p:grpSpPr>
                      <p:sp>
                        <p:nvSpPr>
                          <p:cNvPr id="3450" name="Freeform: Shape 3449">
                            <a:extLst>
                              <a:ext uri="{FF2B5EF4-FFF2-40B4-BE49-F238E27FC236}">
                                <a16:creationId xmlns:a16="http://schemas.microsoft.com/office/drawing/2014/main" id="{D3C65BE1-FAD6-F795-8BD8-A4BB811C5866}"/>
                              </a:ext>
                            </a:extLst>
                          </p:cNvPr>
                          <p:cNvSpPr/>
                          <p:nvPr/>
                        </p:nvSpPr>
                        <p:spPr>
                          <a:xfrm>
                            <a:off x="6366629" y="2075966"/>
                            <a:ext cx="166473" cy="22338"/>
                          </a:xfrm>
                          <a:custGeom>
                            <a:avLst/>
                            <a:gdLst>
                              <a:gd name="connsiteX0" fmla="*/ 0 w 166473"/>
                              <a:gd name="connsiteY0" fmla="*/ 0 h 22338"/>
                              <a:gd name="connsiteX1" fmla="*/ 2032 w 166473"/>
                              <a:gd name="connsiteY1" fmla="*/ 13666 h 22338"/>
                              <a:gd name="connsiteX2" fmla="*/ 63181 w 166473"/>
                              <a:gd name="connsiteY2" fmla="*/ 21734 h 22338"/>
                              <a:gd name="connsiteX3" fmla="*/ 157123 w 166473"/>
                              <a:gd name="connsiteY3" fmla="*/ 20437 h 22338"/>
                              <a:gd name="connsiteX4" fmla="*/ 160801 w 166473"/>
                              <a:gd name="connsiteY4" fmla="*/ 20437 h 22338"/>
                              <a:gd name="connsiteX5" fmla="*/ 166450 w 166473"/>
                              <a:gd name="connsiteY5" fmla="*/ 14252 h 22338"/>
                              <a:gd name="connsiteX6" fmla="*/ 165714 w 166473"/>
                              <a:gd name="connsiteY6" fmla="*/ 6122 h 22338"/>
                              <a:gd name="connsiteX7" fmla="*/ 0 w 166473"/>
                              <a:gd name="connsiteY7" fmla="*/ 0 h 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473" h="22338">
                                <a:moveTo>
                                  <a:pt x="0" y="0"/>
                                </a:moveTo>
                                <a:cubicBezTo>
                                  <a:pt x="0" y="0"/>
                                  <a:pt x="998" y="12369"/>
                                  <a:pt x="2032" y="13666"/>
                                </a:cubicBezTo>
                                <a:cubicBezTo>
                                  <a:pt x="3067" y="14963"/>
                                  <a:pt x="15823" y="24851"/>
                                  <a:pt x="63181" y="21734"/>
                                </a:cubicBezTo>
                                <a:cubicBezTo>
                                  <a:pt x="110538" y="18616"/>
                                  <a:pt x="144367" y="19913"/>
                                  <a:pt x="157123" y="20437"/>
                                </a:cubicBezTo>
                                <a:lnTo>
                                  <a:pt x="160801" y="20437"/>
                                </a:lnTo>
                                <a:cubicBezTo>
                                  <a:pt x="164143" y="20437"/>
                                  <a:pt x="166749" y="17569"/>
                                  <a:pt x="166450" y="14252"/>
                                </a:cubicBezTo>
                                <a:lnTo>
                                  <a:pt x="165714" y="6122"/>
                                </a:lnTo>
                                <a:lnTo>
                                  <a:pt x="0" y="0"/>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1" name="Freeform: Shape 3450">
                            <a:extLst>
                              <a:ext uri="{FF2B5EF4-FFF2-40B4-BE49-F238E27FC236}">
                                <a16:creationId xmlns:a16="http://schemas.microsoft.com/office/drawing/2014/main" id="{A711A598-AFF9-1924-1782-4C1B580188F3}"/>
                              </a:ext>
                            </a:extLst>
                          </p:cNvPr>
                          <p:cNvSpPr/>
                          <p:nvPr/>
                        </p:nvSpPr>
                        <p:spPr>
                          <a:xfrm>
                            <a:off x="6365826" y="2026138"/>
                            <a:ext cx="168400" cy="62841"/>
                          </a:xfrm>
                          <a:custGeom>
                            <a:avLst/>
                            <a:gdLst>
                              <a:gd name="connsiteX0" fmla="*/ 91315 w 168400"/>
                              <a:gd name="connsiteY0" fmla="*/ 2 h 62841"/>
                              <a:gd name="connsiteX1" fmla="*/ 110306 w 168400"/>
                              <a:gd name="connsiteY1" fmla="*/ 15875 h 62841"/>
                              <a:gd name="connsiteX2" fmla="*/ 143611 w 168400"/>
                              <a:gd name="connsiteY2" fmla="*/ 12758 h 62841"/>
                              <a:gd name="connsiteX3" fmla="*/ 160706 w 168400"/>
                              <a:gd name="connsiteY3" fmla="*/ 5326 h 62841"/>
                              <a:gd name="connsiteX4" fmla="*/ 168324 w 168400"/>
                              <a:gd name="connsiteY4" fmla="*/ 40601 h 62841"/>
                              <a:gd name="connsiteX5" fmla="*/ 166504 w 168400"/>
                              <a:gd name="connsiteY5" fmla="*/ 55951 h 62841"/>
                              <a:gd name="connsiteX6" fmla="*/ 107176 w 168400"/>
                              <a:gd name="connsiteY6" fmla="*/ 60901 h 62841"/>
                              <a:gd name="connsiteX7" fmla="*/ 3608 w 168400"/>
                              <a:gd name="connsiteY7" fmla="*/ 54392 h 62841"/>
                              <a:gd name="connsiteX8" fmla="*/ 22860 w 168400"/>
                              <a:gd name="connsiteY8" fmla="*/ 25252 h 62841"/>
                              <a:gd name="connsiteX9" fmla="*/ 91303 w 168400"/>
                              <a:gd name="connsiteY9" fmla="*/ 14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400" h="62841">
                                <a:moveTo>
                                  <a:pt x="91315" y="2"/>
                                </a:moveTo>
                                <a:cubicBezTo>
                                  <a:pt x="91315" y="2"/>
                                  <a:pt x="100168" y="-522"/>
                                  <a:pt x="110306" y="15875"/>
                                </a:cubicBezTo>
                                <a:cubicBezTo>
                                  <a:pt x="110306" y="15875"/>
                                  <a:pt x="126703" y="20040"/>
                                  <a:pt x="143611" y="12758"/>
                                </a:cubicBezTo>
                                <a:cubicBezTo>
                                  <a:pt x="152589" y="8892"/>
                                  <a:pt x="158112" y="4765"/>
                                  <a:pt x="160706" y="5326"/>
                                </a:cubicBezTo>
                                <a:cubicBezTo>
                                  <a:pt x="162751" y="5763"/>
                                  <a:pt x="167639" y="28120"/>
                                  <a:pt x="168324" y="40601"/>
                                </a:cubicBezTo>
                                <a:cubicBezTo>
                                  <a:pt x="168848" y="49965"/>
                                  <a:pt x="166504" y="55951"/>
                                  <a:pt x="166504" y="55951"/>
                                </a:cubicBezTo>
                                <a:cubicBezTo>
                                  <a:pt x="166504" y="55951"/>
                                  <a:pt x="144384" y="59592"/>
                                  <a:pt x="107176" y="60901"/>
                                </a:cubicBezTo>
                                <a:cubicBezTo>
                                  <a:pt x="69968" y="62198"/>
                                  <a:pt x="14793" y="66886"/>
                                  <a:pt x="3608" y="54392"/>
                                </a:cubicBezTo>
                                <a:cubicBezTo>
                                  <a:pt x="-7577" y="41898"/>
                                  <a:pt x="9618" y="30127"/>
                                  <a:pt x="22860" y="25252"/>
                                </a:cubicBezTo>
                                <a:cubicBezTo>
                                  <a:pt x="47586" y="16149"/>
                                  <a:pt x="91303" y="14"/>
                                  <a:pt x="91303" y="14"/>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2" name="Freeform: Shape 3451">
                            <a:extLst>
                              <a:ext uri="{FF2B5EF4-FFF2-40B4-BE49-F238E27FC236}">
                                <a16:creationId xmlns:a16="http://schemas.microsoft.com/office/drawing/2014/main" id="{7AE922A6-83FC-7240-BD0B-B5872BCBCAE4}"/>
                              </a:ext>
                            </a:extLst>
                          </p:cNvPr>
                          <p:cNvSpPr/>
                          <p:nvPr/>
                        </p:nvSpPr>
                        <p:spPr>
                          <a:xfrm>
                            <a:off x="6403350" y="2026125"/>
                            <a:ext cx="72794" cy="28725"/>
                          </a:xfrm>
                          <a:custGeom>
                            <a:avLst/>
                            <a:gdLst>
                              <a:gd name="connsiteX0" fmla="*/ 53792 w 72794"/>
                              <a:gd name="connsiteY0" fmla="*/ 14 h 28725"/>
                              <a:gd name="connsiteX1" fmla="*/ 0 w 72794"/>
                              <a:gd name="connsiteY1" fmla="*/ 19853 h 28725"/>
                              <a:gd name="connsiteX2" fmla="*/ 22307 w 72794"/>
                              <a:gd name="connsiteY2" fmla="*/ 28107 h 28725"/>
                              <a:gd name="connsiteX3" fmla="*/ 72795 w 72794"/>
                              <a:gd name="connsiteY3" fmla="*/ 15875 h 28725"/>
                              <a:gd name="connsiteX4" fmla="*/ 53804 w 72794"/>
                              <a:gd name="connsiteY4" fmla="*/ 2 h 2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94" h="28725">
                                <a:moveTo>
                                  <a:pt x="53792" y="14"/>
                                </a:moveTo>
                                <a:cubicBezTo>
                                  <a:pt x="53792" y="14"/>
                                  <a:pt x="24240" y="10912"/>
                                  <a:pt x="0" y="19853"/>
                                </a:cubicBezTo>
                                <a:cubicBezTo>
                                  <a:pt x="7731" y="27534"/>
                                  <a:pt x="11073" y="30027"/>
                                  <a:pt x="22307" y="28107"/>
                                </a:cubicBezTo>
                                <a:cubicBezTo>
                                  <a:pt x="34539" y="26025"/>
                                  <a:pt x="72795" y="15875"/>
                                  <a:pt x="72795" y="15875"/>
                                </a:cubicBezTo>
                                <a:cubicBezTo>
                                  <a:pt x="62645" y="-522"/>
                                  <a:pt x="53804" y="2"/>
                                  <a:pt x="53804" y="2"/>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53" name="Graphic 525">
                        <a:extLst>
                          <a:ext uri="{FF2B5EF4-FFF2-40B4-BE49-F238E27FC236}">
                            <a16:creationId xmlns:a16="http://schemas.microsoft.com/office/drawing/2014/main" id="{50BFE3AA-953E-C1B2-9F9A-D0AF9669BE68}"/>
                          </a:ext>
                        </a:extLst>
                      </p:cNvPr>
                      <p:cNvGrpSpPr/>
                      <p:nvPr/>
                    </p:nvGrpSpPr>
                    <p:grpSpPr>
                      <a:xfrm>
                        <a:off x="6437352" y="1615902"/>
                        <a:ext cx="321611" cy="168914"/>
                        <a:chOff x="6437352" y="1615902"/>
                        <a:chExt cx="321611" cy="168914"/>
                      </a:xfrm>
                    </p:grpSpPr>
                    <p:sp>
                      <p:nvSpPr>
                        <p:cNvPr id="3454" name="Freeform: Shape 3453">
                          <a:extLst>
                            <a:ext uri="{FF2B5EF4-FFF2-40B4-BE49-F238E27FC236}">
                              <a16:creationId xmlns:a16="http://schemas.microsoft.com/office/drawing/2014/main" id="{B0099258-10C2-D788-F39F-54E2CFA3705C}"/>
                            </a:ext>
                          </a:extLst>
                        </p:cNvPr>
                        <p:cNvSpPr/>
                        <p:nvPr/>
                      </p:nvSpPr>
                      <p:spPr>
                        <a:xfrm>
                          <a:off x="6439087" y="1618893"/>
                          <a:ext cx="316843" cy="165503"/>
                        </a:xfrm>
                        <a:custGeom>
                          <a:avLst/>
                          <a:gdLst>
                            <a:gd name="connsiteX0" fmla="*/ 316427 w 316843"/>
                            <a:gd name="connsiteY0" fmla="*/ 48797 h 165503"/>
                            <a:gd name="connsiteX1" fmla="*/ 239855 w 316843"/>
                            <a:gd name="connsiteY1" fmla="*/ 150146 h 165503"/>
                            <a:gd name="connsiteX2" fmla="*/ 33254 w 316843"/>
                            <a:gd name="connsiteY2" fmla="*/ 147416 h 165503"/>
                            <a:gd name="connsiteX3" fmla="*/ 52020 w 316843"/>
                            <a:gd name="connsiteY3" fmla="*/ 50930 h 165503"/>
                            <a:gd name="connsiteX4" fmla="*/ 178294 w 316843"/>
                            <a:gd name="connsiteY4" fmla="*/ 14271 h 165503"/>
                            <a:gd name="connsiteX5" fmla="*/ 316427 w 316843"/>
                            <a:gd name="connsiteY5" fmla="*/ 48810 h 16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843" h="165503">
                              <a:moveTo>
                                <a:pt x="316427" y="48797"/>
                              </a:moveTo>
                              <a:cubicBezTo>
                                <a:pt x="316427" y="48797"/>
                                <a:pt x="327138" y="126355"/>
                                <a:pt x="239855" y="150146"/>
                              </a:cubicBezTo>
                              <a:cubicBezTo>
                                <a:pt x="135476" y="178613"/>
                                <a:pt x="73193" y="161368"/>
                                <a:pt x="33254" y="147416"/>
                              </a:cubicBezTo>
                              <a:cubicBezTo>
                                <a:pt x="-6684" y="133463"/>
                                <a:pt x="-21710" y="74135"/>
                                <a:pt x="52020" y="50930"/>
                              </a:cubicBezTo>
                              <a:cubicBezTo>
                                <a:pt x="116585" y="30605"/>
                                <a:pt x="131436" y="26727"/>
                                <a:pt x="178294" y="14271"/>
                              </a:cubicBezTo>
                              <a:cubicBezTo>
                                <a:pt x="237598" y="-1490"/>
                                <a:pt x="306539" y="-18585"/>
                                <a:pt x="316427" y="48810"/>
                              </a:cubicBezTo>
                              <a:close/>
                            </a:path>
                          </a:pathLst>
                        </a:custGeom>
                        <a:solidFill>
                          <a:srgbClr val="DD88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5" name="Freeform: Shape 3454">
                          <a:extLst>
                            <a:ext uri="{FF2B5EF4-FFF2-40B4-BE49-F238E27FC236}">
                              <a16:creationId xmlns:a16="http://schemas.microsoft.com/office/drawing/2014/main" id="{DC8CA7EA-3302-27E5-3749-3E31FA929AAC}"/>
                            </a:ext>
                          </a:extLst>
                        </p:cNvPr>
                        <p:cNvSpPr/>
                        <p:nvPr/>
                      </p:nvSpPr>
                      <p:spPr>
                        <a:xfrm>
                          <a:off x="6437352" y="1615902"/>
                          <a:ext cx="321611" cy="168914"/>
                        </a:xfrm>
                        <a:custGeom>
                          <a:avLst/>
                          <a:gdLst>
                            <a:gd name="connsiteX0" fmla="*/ 76 w 321611"/>
                            <a:gd name="connsiteY0" fmla="*/ 107014 h 168914"/>
                            <a:gd name="connsiteX1" fmla="*/ 30712 w 321611"/>
                            <a:gd name="connsiteY1" fmla="*/ 60953 h 168914"/>
                            <a:gd name="connsiteX2" fmla="*/ 164393 w 321611"/>
                            <a:gd name="connsiteY2" fmla="*/ 18795 h 168914"/>
                            <a:gd name="connsiteX3" fmla="*/ 291254 w 321611"/>
                            <a:gd name="connsiteY3" fmla="*/ 4742 h 168914"/>
                            <a:gd name="connsiteX4" fmla="*/ 315843 w 321611"/>
                            <a:gd name="connsiteY4" fmla="*/ 91789 h 168914"/>
                            <a:gd name="connsiteX5" fmla="*/ 184107 w 321611"/>
                            <a:gd name="connsiteY5" fmla="*/ 166728 h 168914"/>
                            <a:gd name="connsiteX6" fmla="*/ 23293 w 321611"/>
                            <a:gd name="connsiteY6" fmla="*/ 146628 h 168914"/>
                            <a:gd name="connsiteX7" fmla="*/ 63 w 321611"/>
                            <a:gd name="connsiteY7" fmla="*/ 107014 h 16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611" h="168914">
                              <a:moveTo>
                                <a:pt x="76" y="107014"/>
                              </a:moveTo>
                              <a:cubicBezTo>
                                <a:pt x="76" y="107014"/>
                                <a:pt x="-3041" y="80280"/>
                                <a:pt x="30712" y="60953"/>
                              </a:cubicBezTo>
                              <a:cubicBezTo>
                                <a:pt x="64479" y="41626"/>
                                <a:pt x="123221" y="30503"/>
                                <a:pt x="164393" y="18795"/>
                              </a:cubicBezTo>
                              <a:cubicBezTo>
                                <a:pt x="205579" y="7086"/>
                                <a:pt x="269782" y="-7752"/>
                                <a:pt x="291254" y="4742"/>
                              </a:cubicBezTo>
                              <a:cubicBezTo>
                                <a:pt x="312726" y="17236"/>
                                <a:pt x="331454" y="51975"/>
                                <a:pt x="315843" y="91789"/>
                              </a:cubicBezTo>
                              <a:cubicBezTo>
                                <a:pt x="300232" y="131603"/>
                                <a:pt x="263735" y="160681"/>
                                <a:pt x="184107" y="166728"/>
                              </a:cubicBezTo>
                              <a:cubicBezTo>
                                <a:pt x="104479" y="172776"/>
                                <a:pt x="59005" y="166342"/>
                                <a:pt x="23293" y="146628"/>
                              </a:cubicBezTo>
                              <a:cubicBezTo>
                                <a:pt x="15687" y="142725"/>
                                <a:pt x="1048" y="128286"/>
                                <a:pt x="63" y="107014"/>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6" name="Freeform: Shape 3455">
                          <a:extLst>
                            <a:ext uri="{FF2B5EF4-FFF2-40B4-BE49-F238E27FC236}">
                              <a16:creationId xmlns:a16="http://schemas.microsoft.com/office/drawing/2014/main" id="{C00F0775-8077-0B70-ECAB-496F9EE2BDC1}"/>
                            </a:ext>
                          </a:extLst>
                        </p:cNvPr>
                        <p:cNvSpPr/>
                        <p:nvPr/>
                      </p:nvSpPr>
                      <p:spPr>
                        <a:xfrm>
                          <a:off x="6532006" y="1718091"/>
                          <a:ext cx="27008" cy="66622"/>
                        </a:xfrm>
                        <a:custGeom>
                          <a:avLst/>
                          <a:gdLst>
                            <a:gd name="connsiteX0" fmla="*/ 8953 w 27008"/>
                            <a:gd name="connsiteY0" fmla="*/ 0 h 66622"/>
                            <a:gd name="connsiteX1" fmla="*/ 0 w 27008"/>
                            <a:gd name="connsiteY1" fmla="*/ 65014 h 66622"/>
                            <a:gd name="connsiteX2" fmla="*/ 27008 w 27008"/>
                            <a:gd name="connsiteY2" fmla="*/ 66622 h 66622"/>
                            <a:gd name="connsiteX3" fmla="*/ 8953 w 27008"/>
                            <a:gd name="connsiteY3" fmla="*/ 0 h 66622"/>
                          </a:gdLst>
                          <a:ahLst/>
                          <a:cxnLst>
                            <a:cxn ang="0">
                              <a:pos x="connsiteX0" y="connsiteY0"/>
                            </a:cxn>
                            <a:cxn ang="0">
                              <a:pos x="connsiteX1" y="connsiteY1"/>
                            </a:cxn>
                            <a:cxn ang="0">
                              <a:pos x="connsiteX2" y="connsiteY2"/>
                            </a:cxn>
                            <a:cxn ang="0">
                              <a:pos x="connsiteX3" y="connsiteY3"/>
                            </a:cxn>
                          </a:cxnLst>
                          <a:rect l="l" t="t" r="r" b="b"/>
                          <a:pathLst>
                            <a:path w="27008" h="66622">
                              <a:moveTo>
                                <a:pt x="8953" y="0"/>
                              </a:moveTo>
                              <a:lnTo>
                                <a:pt x="0" y="65014"/>
                              </a:lnTo>
                              <a:cubicBezTo>
                                <a:pt x="8404" y="65862"/>
                                <a:pt x="17382" y="66398"/>
                                <a:pt x="27008" y="66622"/>
                              </a:cubicBezTo>
                              <a:cubicBezTo>
                                <a:pt x="22906" y="13965"/>
                                <a:pt x="8953" y="0"/>
                                <a:pt x="8953" y="0"/>
                              </a:cubicBezTo>
                              <a:close/>
                            </a:path>
                          </a:pathLst>
                        </a:custGeom>
                        <a:solidFill>
                          <a:srgbClr val="1721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57" name="Graphic 525">
                        <a:extLst>
                          <a:ext uri="{FF2B5EF4-FFF2-40B4-BE49-F238E27FC236}">
                            <a16:creationId xmlns:a16="http://schemas.microsoft.com/office/drawing/2014/main" id="{34D7CEB5-C3A4-8E78-FC00-47BC37F64EA4}"/>
                          </a:ext>
                        </a:extLst>
                      </p:cNvPr>
                      <p:cNvGrpSpPr/>
                      <p:nvPr/>
                    </p:nvGrpSpPr>
                    <p:grpSpPr>
                      <a:xfrm>
                        <a:off x="6436200" y="1677532"/>
                        <a:ext cx="111895" cy="361204"/>
                        <a:chOff x="6436200" y="1677532"/>
                        <a:chExt cx="111895" cy="361204"/>
                      </a:xfrm>
                    </p:grpSpPr>
                    <p:sp>
                      <p:nvSpPr>
                        <p:cNvPr id="3458" name="Freeform: Shape 3457">
                          <a:extLst>
                            <a:ext uri="{FF2B5EF4-FFF2-40B4-BE49-F238E27FC236}">
                              <a16:creationId xmlns:a16="http://schemas.microsoft.com/office/drawing/2014/main" id="{D604B8C2-6206-2D4C-CADB-2D8FD5D4E8E3}"/>
                            </a:ext>
                          </a:extLst>
                        </p:cNvPr>
                        <p:cNvSpPr/>
                        <p:nvPr/>
                      </p:nvSpPr>
                      <p:spPr>
                        <a:xfrm>
                          <a:off x="6438077" y="1688264"/>
                          <a:ext cx="107956" cy="350472"/>
                        </a:xfrm>
                        <a:custGeom>
                          <a:avLst/>
                          <a:gdLst>
                            <a:gd name="connsiteX0" fmla="*/ 95401 w 107956"/>
                            <a:gd name="connsiteY0" fmla="*/ 25338 h 350472"/>
                            <a:gd name="connsiteX1" fmla="*/ 107246 w 107956"/>
                            <a:gd name="connsiteY1" fmla="*/ 116475 h 350472"/>
                            <a:gd name="connsiteX2" fmla="*/ 95213 w 107956"/>
                            <a:gd name="connsiteY2" fmla="*/ 277475 h 350472"/>
                            <a:gd name="connsiteX3" fmla="*/ 61123 w 107956"/>
                            <a:gd name="connsiteY3" fmla="*/ 350332 h 350472"/>
                            <a:gd name="connsiteX4" fmla="*/ 27643 w 107956"/>
                            <a:gd name="connsiteY4" fmla="*/ 255704 h 350472"/>
                            <a:gd name="connsiteX5" fmla="*/ 885 w 107956"/>
                            <a:gd name="connsiteY5" fmla="*/ 31036 h 350472"/>
                            <a:gd name="connsiteX6" fmla="*/ 95388 w 107956"/>
                            <a:gd name="connsiteY6" fmla="*/ 25338 h 35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6" h="350472">
                              <a:moveTo>
                                <a:pt x="95401" y="25338"/>
                              </a:moveTo>
                              <a:cubicBezTo>
                                <a:pt x="95401" y="25338"/>
                                <a:pt x="105376" y="49241"/>
                                <a:pt x="107246" y="116475"/>
                              </a:cubicBezTo>
                              <a:cubicBezTo>
                                <a:pt x="109117" y="183708"/>
                                <a:pt x="107994" y="222212"/>
                                <a:pt x="95213" y="277475"/>
                              </a:cubicBezTo>
                              <a:cubicBezTo>
                                <a:pt x="82433" y="332739"/>
                                <a:pt x="86622" y="347639"/>
                                <a:pt x="61123" y="350332"/>
                              </a:cubicBezTo>
                              <a:cubicBezTo>
                                <a:pt x="34901" y="353088"/>
                                <a:pt x="38654" y="314920"/>
                                <a:pt x="27643" y="255704"/>
                              </a:cubicBezTo>
                              <a:cubicBezTo>
                                <a:pt x="12344" y="173408"/>
                                <a:pt x="-4015" y="68705"/>
                                <a:pt x="885" y="31036"/>
                              </a:cubicBezTo>
                              <a:cubicBezTo>
                                <a:pt x="5461" y="-4089"/>
                                <a:pt x="78081" y="-13902"/>
                                <a:pt x="95388" y="2533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59" name="Freeform: Shape 3458">
                          <a:extLst>
                            <a:ext uri="{FF2B5EF4-FFF2-40B4-BE49-F238E27FC236}">
                              <a16:creationId xmlns:a16="http://schemas.microsoft.com/office/drawing/2014/main" id="{77893550-8ED5-84FC-A63A-5883A7E1198D}"/>
                            </a:ext>
                          </a:extLst>
                        </p:cNvPr>
                        <p:cNvSpPr/>
                        <p:nvPr/>
                      </p:nvSpPr>
                      <p:spPr>
                        <a:xfrm>
                          <a:off x="6436200" y="1677532"/>
                          <a:ext cx="111895" cy="351805"/>
                        </a:xfrm>
                        <a:custGeom>
                          <a:avLst/>
                          <a:gdLst>
                            <a:gd name="connsiteX0" fmla="*/ 3572 w 111895"/>
                            <a:gd name="connsiteY0" fmla="*/ 29586 h 351805"/>
                            <a:gd name="connsiteX1" fmla="*/ 842 w 111895"/>
                            <a:gd name="connsiteY1" fmla="*/ 82480 h 351805"/>
                            <a:gd name="connsiteX2" fmla="*/ 31017 w 111895"/>
                            <a:gd name="connsiteY2" fmla="*/ 346313 h 351805"/>
                            <a:gd name="connsiteX3" fmla="*/ 97764 w 111895"/>
                            <a:gd name="connsiteY3" fmla="*/ 346700 h 351805"/>
                            <a:gd name="connsiteX4" fmla="*/ 111892 w 111895"/>
                            <a:gd name="connsiteY4" fmla="*/ 189228 h 351805"/>
                            <a:gd name="connsiteX5" fmla="*/ 105645 w 111895"/>
                            <a:gd name="connsiteY5" fmla="*/ 38950 h 351805"/>
                            <a:gd name="connsiteX6" fmla="*/ 6490 w 111895"/>
                            <a:gd name="connsiteY6" fmla="*/ 23227 h 351805"/>
                            <a:gd name="connsiteX7" fmla="*/ 3572 w 111895"/>
                            <a:gd name="connsiteY7" fmla="*/ 29586 h 35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95" h="351805">
                              <a:moveTo>
                                <a:pt x="3572" y="29586"/>
                              </a:moveTo>
                              <a:cubicBezTo>
                                <a:pt x="3572" y="29586"/>
                                <a:pt x="-2089" y="43252"/>
                                <a:pt x="842" y="82480"/>
                              </a:cubicBezTo>
                              <a:cubicBezTo>
                                <a:pt x="3772" y="121708"/>
                                <a:pt x="25942" y="301811"/>
                                <a:pt x="31017" y="346313"/>
                              </a:cubicBezTo>
                              <a:cubicBezTo>
                                <a:pt x="31017" y="346313"/>
                                <a:pt x="67315" y="358408"/>
                                <a:pt x="97764" y="346700"/>
                              </a:cubicBezTo>
                              <a:cubicBezTo>
                                <a:pt x="97764" y="346700"/>
                                <a:pt x="111892" y="246611"/>
                                <a:pt x="111892" y="189228"/>
                              </a:cubicBezTo>
                              <a:cubicBezTo>
                                <a:pt x="111892" y="131845"/>
                                <a:pt x="112278" y="76420"/>
                                <a:pt x="105645" y="38950"/>
                              </a:cubicBezTo>
                              <a:cubicBezTo>
                                <a:pt x="99273" y="2977"/>
                                <a:pt x="33960" y="-19318"/>
                                <a:pt x="6490" y="23227"/>
                              </a:cubicBezTo>
                              <a:cubicBezTo>
                                <a:pt x="5343" y="24997"/>
                                <a:pt x="4483" y="27229"/>
                                <a:pt x="3572" y="29586"/>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460" name="Freeform: Shape 3459">
                      <a:extLst>
                        <a:ext uri="{FF2B5EF4-FFF2-40B4-BE49-F238E27FC236}">
                          <a16:creationId xmlns:a16="http://schemas.microsoft.com/office/drawing/2014/main" id="{AF8C9A39-5BB2-047C-A16A-6C09714BB914}"/>
                        </a:ext>
                      </a:extLst>
                    </p:cNvPr>
                    <p:cNvSpPr/>
                    <p:nvPr/>
                  </p:nvSpPr>
                  <p:spPr>
                    <a:xfrm>
                      <a:off x="6671731" y="1528604"/>
                      <a:ext cx="213290" cy="277062"/>
                    </a:xfrm>
                    <a:custGeom>
                      <a:avLst/>
                      <a:gdLst>
                        <a:gd name="connsiteX0" fmla="*/ 96028 w 213290"/>
                        <a:gd name="connsiteY0" fmla="*/ 767 h 277062"/>
                        <a:gd name="connsiteX1" fmla="*/ 189933 w 213290"/>
                        <a:gd name="connsiteY1" fmla="*/ 52826 h 277062"/>
                        <a:gd name="connsiteX2" fmla="*/ 211791 w 213290"/>
                        <a:gd name="connsiteY2" fmla="*/ 150409 h 277062"/>
                        <a:gd name="connsiteX3" fmla="*/ 162962 w 213290"/>
                        <a:gd name="connsiteY3" fmla="*/ 260798 h 277062"/>
                        <a:gd name="connsiteX4" fmla="*/ 16238 w 213290"/>
                        <a:gd name="connsiteY4" fmla="*/ 213739 h 277062"/>
                        <a:gd name="connsiteX5" fmla="*/ 29 w 213290"/>
                        <a:gd name="connsiteY5" fmla="*/ 76904 h 277062"/>
                        <a:gd name="connsiteX6" fmla="*/ 96016 w 213290"/>
                        <a:gd name="connsiteY6" fmla="*/ 767 h 2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290" h="277062">
                          <a:moveTo>
                            <a:pt x="96028" y="767"/>
                          </a:moveTo>
                          <a:cubicBezTo>
                            <a:pt x="96028" y="767"/>
                            <a:pt x="182427" y="-10442"/>
                            <a:pt x="189933" y="52826"/>
                          </a:cubicBezTo>
                          <a:cubicBezTo>
                            <a:pt x="191841" y="71866"/>
                            <a:pt x="207452" y="115720"/>
                            <a:pt x="211791" y="150409"/>
                          </a:cubicBezTo>
                          <a:cubicBezTo>
                            <a:pt x="217253" y="194126"/>
                            <a:pt x="209273" y="229687"/>
                            <a:pt x="162962" y="260798"/>
                          </a:cubicBezTo>
                          <a:cubicBezTo>
                            <a:pt x="116652" y="291908"/>
                            <a:pt x="32099" y="279539"/>
                            <a:pt x="16238" y="213739"/>
                          </a:cubicBezTo>
                          <a:cubicBezTo>
                            <a:pt x="228" y="147292"/>
                            <a:pt x="2173" y="132067"/>
                            <a:pt x="29" y="76904"/>
                          </a:cubicBezTo>
                          <a:cubicBezTo>
                            <a:pt x="-1331" y="41940"/>
                            <a:pt x="45902" y="-4308"/>
                            <a:pt x="96016" y="76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61" name="Graphic 525">
                      <a:extLst>
                        <a:ext uri="{FF2B5EF4-FFF2-40B4-BE49-F238E27FC236}">
                          <a16:creationId xmlns:a16="http://schemas.microsoft.com/office/drawing/2014/main" id="{CC8DC199-A33B-C8F0-5765-96C5F7AC8C6F}"/>
                        </a:ext>
                      </a:extLst>
                    </p:cNvPr>
                    <p:cNvGrpSpPr/>
                    <p:nvPr/>
                  </p:nvGrpSpPr>
                  <p:grpSpPr>
                    <a:xfrm>
                      <a:off x="6476116" y="1645676"/>
                      <a:ext cx="410621" cy="501052"/>
                      <a:chOff x="6476116" y="1645676"/>
                      <a:chExt cx="410621" cy="501052"/>
                    </a:xfrm>
                  </p:grpSpPr>
                  <p:grpSp>
                    <p:nvGrpSpPr>
                      <p:cNvPr id="3462" name="Graphic 525">
                        <a:extLst>
                          <a:ext uri="{FF2B5EF4-FFF2-40B4-BE49-F238E27FC236}">
                            <a16:creationId xmlns:a16="http://schemas.microsoft.com/office/drawing/2014/main" id="{32337489-0281-1D86-1EDE-29D54CE4F489}"/>
                          </a:ext>
                        </a:extLst>
                      </p:cNvPr>
                      <p:cNvGrpSpPr/>
                      <p:nvPr/>
                    </p:nvGrpSpPr>
                    <p:grpSpPr>
                      <a:xfrm>
                        <a:off x="6549147" y="1645676"/>
                        <a:ext cx="337590" cy="176271"/>
                        <a:chOff x="6549147" y="1645676"/>
                        <a:chExt cx="337590" cy="176271"/>
                      </a:xfrm>
                    </p:grpSpPr>
                    <p:sp>
                      <p:nvSpPr>
                        <p:cNvPr id="3463" name="Freeform: Shape 3462">
                          <a:extLst>
                            <a:ext uri="{FF2B5EF4-FFF2-40B4-BE49-F238E27FC236}">
                              <a16:creationId xmlns:a16="http://schemas.microsoft.com/office/drawing/2014/main" id="{76F4E9FA-26B0-7914-8172-7420567713B5}"/>
                            </a:ext>
                          </a:extLst>
                        </p:cNvPr>
                        <p:cNvSpPr/>
                        <p:nvPr/>
                      </p:nvSpPr>
                      <p:spPr>
                        <a:xfrm>
                          <a:off x="6553714" y="1647773"/>
                          <a:ext cx="329467" cy="172111"/>
                        </a:xfrm>
                        <a:custGeom>
                          <a:avLst/>
                          <a:gdLst>
                            <a:gd name="connsiteX0" fmla="*/ 329035 w 329467"/>
                            <a:gd name="connsiteY0" fmla="*/ 50754 h 172111"/>
                            <a:gd name="connsiteX1" fmla="*/ 249408 w 329467"/>
                            <a:gd name="connsiteY1" fmla="*/ 156143 h 172111"/>
                            <a:gd name="connsiteX2" fmla="*/ 34578 w 329467"/>
                            <a:gd name="connsiteY2" fmla="*/ 153300 h 172111"/>
                            <a:gd name="connsiteX3" fmla="*/ 54092 w 329467"/>
                            <a:gd name="connsiteY3" fmla="*/ 52961 h 172111"/>
                            <a:gd name="connsiteX4" fmla="*/ 185404 w 329467"/>
                            <a:gd name="connsiteY4" fmla="*/ 14843 h 172111"/>
                            <a:gd name="connsiteX5" fmla="*/ 329048 w 329467"/>
                            <a:gd name="connsiteY5" fmla="*/ 50754 h 17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467" h="172111">
                              <a:moveTo>
                                <a:pt x="329035" y="50754"/>
                              </a:moveTo>
                              <a:cubicBezTo>
                                <a:pt x="329035" y="50754"/>
                                <a:pt x="340170" y="131391"/>
                                <a:pt x="249408" y="156143"/>
                              </a:cubicBezTo>
                              <a:cubicBezTo>
                                <a:pt x="140864" y="185744"/>
                                <a:pt x="76100" y="167814"/>
                                <a:pt x="34578" y="153300"/>
                              </a:cubicBezTo>
                              <a:cubicBezTo>
                                <a:pt x="-6944" y="138798"/>
                                <a:pt x="-22581" y="77101"/>
                                <a:pt x="54092" y="52961"/>
                              </a:cubicBezTo>
                              <a:cubicBezTo>
                                <a:pt x="121226" y="31826"/>
                                <a:pt x="136675" y="27786"/>
                                <a:pt x="185404" y="14843"/>
                              </a:cubicBezTo>
                              <a:cubicBezTo>
                                <a:pt x="247076" y="-1554"/>
                                <a:pt x="318761" y="-19322"/>
                                <a:pt x="329048" y="50754"/>
                              </a:cubicBezTo>
                              <a:close/>
                            </a:path>
                          </a:pathLst>
                        </a:custGeom>
                        <a:solidFill>
                          <a:srgbClr val="F9B3A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64" name="Graphic 525">
                          <a:extLst>
                            <a:ext uri="{FF2B5EF4-FFF2-40B4-BE49-F238E27FC236}">
                              <a16:creationId xmlns:a16="http://schemas.microsoft.com/office/drawing/2014/main" id="{69A5D093-6722-D698-E65A-DE28AA4D5CC1}"/>
                            </a:ext>
                          </a:extLst>
                        </p:cNvPr>
                        <p:cNvGrpSpPr/>
                        <p:nvPr/>
                      </p:nvGrpSpPr>
                      <p:grpSpPr>
                        <a:xfrm>
                          <a:off x="6549147" y="1645676"/>
                          <a:ext cx="337590" cy="176271"/>
                          <a:chOff x="6549147" y="1645676"/>
                          <a:chExt cx="337590" cy="176271"/>
                        </a:xfrm>
                      </p:grpSpPr>
                      <p:sp>
                        <p:nvSpPr>
                          <p:cNvPr id="3465" name="Freeform: Shape 3464">
                            <a:extLst>
                              <a:ext uri="{FF2B5EF4-FFF2-40B4-BE49-F238E27FC236}">
                                <a16:creationId xmlns:a16="http://schemas.microsoft.com/office/drawing/2014/main" id="{F67D319D-B733-EAE8-E25D-CB61FFDA8CFF}"/>
                              </a:ext>
                            </a:extLst>
                          </p:cNvPr>
                          <p:cNvSpPr/>
                          <p:nvPr/>
                        </p:nvSpPr>
                        <p:spPr>
                          <a:xfrm>
                            <a:off x="6549147" y="1645676"/>
                            <a:ext cx="337590" cy="176271"/>
                          </a:xfrm>
                          <a:custGeom>
                            <a:avLst/>
                            <a:gdLst>
                              <a:gd name="connsiteX0" fmla="*/ 365 w 337590"/>
                              <a:gd name="connsiteY0" fmla="*/ 118426 h 176271"/>
                              <a:gd name="connsiteX1" fmla="*/ 10777 w 337590"/>
                              <a:gd name="connsiteY1" fmla="*/ 81729 h 176271"/>
                              <a:gd name="connsiteX2" fmla="*/ 102375 w 337590"/>
                              <a:gd name="connsiteY2" fmla="*/ 39571 h 176271"/>
                              <a:gd name="connsiteX3" fmla="*/ 270221 w 337590"/>
                              <a:gd name="connsiteY3" fmla="*/ 19 h 176271"/>
                              <a:gd name="connsiteX4" fmla="*/ 336320 w 337590"/>
                              <a:gd name="connsiteY4" fmla="*/ 52327 h 176271"/>
                              <a:gd name="connsiteX5" fmla="*/ 277516 w 337590"/>
                              <a:gd name="connsiteY5" fmla="*/ 152254 h 176271"/>
                              <a:gd name="connsiteX6" fmla="*/ 61801 w 337590"/>
                              <a:gd name="connsiteY6" fmla="*/ 164486 h 176271"/>
                              <a:gd name="connsiteX7" fmla="*/ 390 w 337590"/>
                              <a:gd name="connsiteY7" fmla="*/ 118426 h 17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590" h="176271">
                                <a:moveTo>
                                  <a:pt x="365" y="118426"/>
                                </a:moveTo>
                                <a:cubicBezTo>
                                  <a:pt x="365" y="118426"/>
                                  <a:pt x="-3014" y="96829"/>
                                  <a:pt x="10777" y="81729"/>
                                </a:cubicBezTo>
                                <a:cubicBezTo>
                                  <a:pt x="24568" y="66641"/>
                                  <a:pt x="40179" y="56230"/>
                                  <a:pt x="102375" y="39571"/>
                                </a:cubicBezTo>
                                <a:cubicBezTo>
                                  <a:pt x="164571" y="22912"/>
                                  <a:pt x="231705" y="-767"/>
                                  <a:pt x="270221" y="19"/>
                                </a:cubicBezTo>
                                <a:cubicBezTo>
                                  <a:pt x="308739" y="805"/>
                                  <a:pt x="327729" y="5742"/>
                                  <a:pt x="336320" y="52327"/>
                                </a:cubicBezTo>
                                <a:cubicBezTo>
                                  <a:pt x="344911" y="98911"/>
                                  <a:pt x="308215" y="139760"/>
                                  <a:pt x="277516" y="152254"/>
                                </a:cubicBezTo>
                                <a:cubicBezTo>
                                  <a:pt x="246805" y="164748"/>
                                  <a:pt x="152089" y="191806"/>
                                  <a:pt x="61801" y="164486"/>
                                </a:cubicBezTo>
                                <a:cubicBezTo>
                                  <a:pt x="52175" y="162142"/>
                                  <a:pt x="3508" y="151219"/>
                                  <a:pt x="390" y="118426"/>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66" name="Freeform: Shape 3465">
                            <a:extLst>
                              <a:ext uri="{FF2B5EF4-FFF2-40B4-BE49-F238E27FC236}">
                                <a16:creationId xmlns:a16="http://schemas.microsoft.com/office/drawing/2014/main" id="{2147865D-1A65-D472-1599-8A6AACB64F62}"/>
                              </a:ext>
                            </a:extLst>
                          </p:cNvPr>
                          <p:cNvSpPr/>
                          <p:nvPr/>
                        </p:nvSpPr>
                        <p:spPr>
                          <a:xfrm>
                            <a:off x="6651722" y="1761682"/>
                            <a:ext cx="28703" cy="59939"/>
                          </a:xfrm>
                          <a:custGeom>
                            <a:avLst/>
                            <a:gdLst>
                              <a:gd name="connsiteX0" fmla="*/ 6110 w 28703"/>
                              <a:gd name="connsiteY0" fmla="*/ 12 h 59939"/>
                              <a:gd name="connsiteX1" fmla="*/ 0 w 28703"/>
                              <a:gd name="connsiteY1" fmla="*/ 57345 h 59939"/>
                              <a:gd name="connsiteX2" fmla="*/ 28704 w 28703"/>
                              <a:gd name="connsiteY2" fmla="*/ 59939 h 59939"/>
                              <a:gd name="connsiteX3" fmla="*/ 6123 w 28703"/>
                              <a:gd name="connsiteY3" fmla="*/ 0 h 59939"/>
                            </a:gdLst>
                            <a:ahLst/>
                            <a:cxnLst>
                              <a:cxn ang="0">
                                <a:pos x="connsiteX0" y="connsiteY0"/>
                              </a:cxn>
                              <a:cxn ang="0">
                                <a:pos x="connsiteX1" y="connsiteY1"/>
                              </a:cxn>
                              <a:cxn ang="0">
                                <a:pos x="connsiteX2" y="connsiteY2"/>
                              </a:cxn>
                              <a:cxn ang="0">
                                <a:pos x="connsiteX3" y="connsiteY3"/>
                              </a:cxn>
                            </a:cxnLst>
                            <a:rect l="l" t="t" r="r" b="b"/>
                            <a:pathLst>
                              <a:path w="28703" h="59939">
                                <a:moveTo>
                                  <a:pt x="6110" y="12"/>
                                </a:moveTo>
                                <a:lnTo>
                                  <a:pt x="0" y="57345"/>
                                </a:lnTo>
                                <a:cubicBezTo>
                                  <a:pt x="9664" y="58692"/>
                                  <a:pt x="19265" y="59527"/>
                                  <a:pt x="28704" y="59939"/>
                                </a:cubicBezTo>
                                <a:cubicBezTo>
                                  <a:pt x="23479" y="22544"/>
                                  <a:pt x="6123" y="0"/>
                                  <a:pt x="6123" y="0"/>
                                </a:cubicBezTo>
                                <a:close/>
                              </a:path>
                            </a:pathLst>
                          </a:custGeom>
                          <a:solidFill>
                            <a:srgbClr val="1B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467" name="Graphic 525">
                        <a:extLst>
                          <a:ext uri="{FF2B5EF4-FFF2-40B4-BE49-F238E27FC236}">
                            <a16:creationId xmlns:a16="http://schemas.microsoft.com/office/drawing/2014/main" id="{F4EB8102-0779-F8F2-3254-11EAB27EBDCC}"/>
                          </a:ext>
                        </a:extLst>
                      </p:cNvPr>
                      <p:cNvGrpSpPr/>
                      <p:nvPr/>
                    </p:nvGrpSpPr>
                    <p:grpSpPr>
                      <a:xfrm>
                        <a:off x="6548999" y="1716477"/>
                        <a:ext cx="119921" cy="379168"/>
                        <a:chOff x="6548999" y="1716477"/>
                        <a:chExt cx="119921" cy="379168"/>
                      </a:xfrm>
                    </p:grpSpPr>
                    <p:sp>
                      <p:nvSpPr>
                        <p:cNvPr id="3468" name="Freeform: Shape 3467">
                          <a:extLst>
                            <a:ext uri="{FF2B5EF4-FFF2-40B4-BE49-F238E27FC236}">
                              <a16:creationId xmlns:a16="http://schemas.microsoft.com/office/drawing/2014/main" id="{71638274-743E-49AA-310E-F80DDE7D5CDF}"/>
                            </a:ext>
                          </a:extLst>
                        </p:cNvPr>
                        <p:cNvSpPr/>
                        <p:nvPr/>
                      </p:nvSpPr>
                      <p:spPr>
                        <a:xfrm>
                          <a:off x="6552657" y="1719891"/>
                          <a:ext cx="112260" cy="375754"/>
                        </a:xfrm>
                        <a:custGeom>
                          <a:avLst/>
                          <a:gdLst>
                            <a:gd name="connsiteX0" fmla="*/ 99203 w 112260"/>
                            <a:gd name="connsiteY0" fmla="*/ 26367 h 375754"/>
                            <a:gd name="connsiteX1" fmla="*/ 111522 w 112260"/>
                            <a:gd name="connsiteY1" fmla="*/ 121132 h 375754"/>
                            <a:gd name="connsiteX2" fmla="*/ 99003 w 112260"/>
                            <a:gd name="connsiteY2" fmla="*/ 288542 h 375754"/>
                            <a:gd name="connsiteX3" fmla="*/ 64289 w 112260"/>
                            <a:gd name="connsiteY3" fmla="*/ 375639 h 375754"/>
                            <a:gd name="connsiteX4" fmla="*/ 28752 w 112260"/>
                            <a:gd name="connsiteY4" fmla="*/ 265899 h 375754"/>
                            <a:gd name="connsiteX5" fmla="*/ 921 w 112260"/>
                            <a:gd name="connsiteY5" fmla="*/ 32278 h 375754"/>
                            <a:gd name="connsiteX6" fmla="*/ 99190 w 112260"/>
                            <a:gd name="connsiteY6" fmla="*/ 26355 h 37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60" h="375754">
                              <a:moveTo>
                                <a:pt x="99203" y="26367"/>
                              </a:moveTo>
                              <a:cubicBezTo>
                                <a:pt x="99203" y="26367"/>
                                <a:pt x="109577" y="51231"/>
                                <a:pt x="111522" y="121132"/>
                              </a:cubicBezTo>
                              <a:cubicBezTo>
                                <a:pt x="113467" y="191034"/>
                                <a:pt x="112295" y="231085"/>
                                <a:pt x="99003" y="288542"/>
                              </a:cubicBezTo>
                              <a:cubicBezTo>
                                <a:pt x="85711" y="346012"/>
                                <a:pt x="90811" y="372858"/>
                                <a:pt x="64289" y="375639"/>
                              </a:cubicBezTo>
                              <a:cubicBezTo>
                                <a:pt x="37019" y="378507"/>
                                <a:pt x="40199" y="327471"/>
                                <a:pt x="28752" y="265899"/>
                              </a:cubicBezTo>
                              <a:cubicBezTo>
                                <a:pt x="12842" y="180323"/>
                                <a:pt x="-4179" y="71456"/>
                                <a:pt x="921" y="32278"/>
                              </a:cubicBezTo>
                              <a:cubicBezTo>
                                <a:pt x="5684" y="-4257"/>
                                <a:pt x="81185" y="-14456"/>
                                <a:pt x="99190" y="2635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69" name="Freeform: Shape 3468">
                          <a:extLst>
                            <a:ext uri="{FF2B5EF4-FFF2-40B4-BE49-F238E27FC236}">
                              <a16:creationId xmlns:a16="http://schemas.microsoft.com/office/drawing/2014/main" id="{E027C567-4FC0-019A-F173-26A41DD98A06}"/>
                            </a:ext>
                          </a:extLst>
                        </p:cNvPr>
                        <p:cNvSpPr/>
                        <p:nvPr/>
                      </p:nvSpPr>
                      <p:spPr>
                        <a:xfrm>
                          <a:off x="6548999" y="1716477"/>
                          <a:ext cx="119921" cy="324456"/>
                        </a:xfrm>
                        <a:custGeom>
                          <a:avLst/>
                          <a:gdLst>
                            <a:gd name="connsiteX0" fmla="*/ 20938 w 119921"/>
                            <a:gd name="connsiteY0" fmla="*/ 5853 h 324456"/>
                            <a:gd name="connsiteX1" fmla="*/ 252 w 119921"/>
                            <a:gd name="connsiteY1" fmla="*/ 54445 h 324456"/>
                            <a:gd name="connsiteX2" fmla="*/ 32646 w 119921"/>
                            <a:gd name="connsiteY2" fmla="*/ 318104 h 324456"/>
                            <a:gd name="connsiteX3" fmla="*/ 103296 w 119921"/>
                            <a:gd name="connsiteY3" fmla="*/ 320062 h 324456"/>
                            <a:gd name="connsiteX4" fmla="*/ 119693 w 119921"/>
                            <a:gd name="connsiteY4" fmla="*/ 165108 h 324456"/>
                            <a:gd name="connsiteX5" fmla="*/ 55290 w 119921"/>
                            <a:gd name="connsiteY5" fmla="*/ 5 h 324456"/>
                            <a:gd name="connsiteX6" fmla="*/ 20938 w 119921"/>
                            <a:gd name="connsiteY6" fmla="*/ 5866 h 32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921" h="324456">
                              <a:moveTo>
                                <a:pt x="20938" y="5853"/>
                              </a:moveTo>
                              <a:cubicBezTo>
                                <a:pt x="20938" y="5853"/>
                                <a:pt x="-2679" y="14245"/>
                                <a:pt x="252" y="54445"/>
                              </a:cubicBezTo>
                              <a:cubicBezTo>
                                <a:pt x="3057" y="93049"/>
                                <a:pt x="24454" y="272430"/>
                                <a:pt x="32646" y="318104"/>
                              </a:cubicBezTo>
                              <a:cubicBezTo>
                                <a:pt x="32646" y="318104"/>
                                <a:pt x="63096" y="330985"/>
                                <a:pt x="103296" y="320062"/>
                              </a:cubicBezTo>
                              <a:cubicBezTo>
                                <a:pt x="103296" y="320062"/>
                                <a:pt x="118908" y="240447"/>
                                <a:pt x="119693" y="165108"/>
                              </a:cubicBezTo>
                              <a:cubicBezTo>
                                <a:pt x="120479" y="89770"/>
                                <a:pt x="122811" y="-780"/>
                                <a:pt x="55290" y="5"/>
                              </a:cubicBezTo>
                              <a:cubicBezTo>
                                <a:pt x="41624" y="791"/>
                                <a:pt x="33046" y="1564"/>
                                <a:pt x="20938" y="5866"/>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70" name="Graphic 525">
                        <a:extLst>
                          <a:ext uri="{FF2B5EF4-FFF2-40B4-BE49-F238E27FC236}">
                            <a16:creationId xmlns:a16="http://schemas.microsoft.com/office/drawing/2014/main" id="{13917157-E902-EAB1-42C8-9DA27C3CB813}"/>
                          </a:ext>
                        </a:extLst>
                      </p:cNvPr>
                      <p:cNvGrpSpPr/>
                      <p:nvPr/>
                    </p:nvGrpSpPr>
                    <p:grpSpPr>
                      <a:xfrm>
                        <a:off x="6476116" y="2043450"/>
                        <a:ext cx="176437" cy="103277"/>
                        <a:chOff x="6476116" y="2043450"/>
                        <a:chExt cx="176437" cy="103277"/>
                      </a:xfrm>
                    </p:grpSpPr>
                    <p:sp>
                      <p:nvSpPr>
                        <p:cNvPr id="3471" name="Freeform: Shape 3470">
                          <a:extLst>
                            <a:ext uri="{FF2B5EF4-FFF2-40B4-BE49-F238E27FC236}">
                              <a16:creationId xmlns:a16="http://schemas.microsoft.com/office/drawing/2014/main" id="{88D3DC3B-BFED-D6C6-BDE6-88109A962D78}"/>
                            </a:ext>
                          </a:extLst>
                        </p:cNvPr>
                        <p:cNvSpPr/>
                        <p:nvPr/>
                      </p:nvSpPr>
                      <p:spPr>
                        <a:xfrm>
                          <a:off x="6483483" y="2043450"/>
                          <a:ext cx="167493" cy="90576"/>
                        </a:xfrm>
                        <a:custGeom>
                          <a:avLst/>
                          <a:gdLst>
                            <a:gd name="connsiteX0" fmla="*/ 118898 w 167493"/>
                            <a:gd name="connsiteY0" fmla="*/ 6555 h 90576"/>
                            <a:gd name="connsiteX1" fmla="*/ 158301 w 167493"/>
                            <a:gd name="connsiteY1" fmla="*/ 14523 h 90576"/>
                            <a:gd name="connsiteX2" fmla="*/ 166281 w 167493"/>
                            <a:gd name="connsiteY2" fmla="*/ 52678 h 90576"/>
                            <a:gd name="connsiteX3" fmla="*/ 143101 w 167493"/>
                            <a:gd name="connsiteY3" fmla="*/ 85908 h 90576"/>
                            <a:gd name="connsiteX4" fmla="*/ 51702 w 167493"/>
                            <a:gd name="connsiteY4" fmla="*/ 90061 h 90576"/>
                            <a:gd name="connsiteX5" fmla="*/ 31 w 167493"/>
                            <a:gd name="connsiteY5" fmla="*/ 75148 h 90576"/>
                            <a:gd name="connsiteX6" fmla="*/ 44558 w 167493"/>
                            <a:gd name="connsiteY6" fmla="*/ 46593 h 90576"/>
                            <a:gd name="connsiteX7" fmla="*/ 104970 w 167493"/>
                            <a:gd name="connsiteY7" fmla="*/ 20969 h 90576"/>
                            <a:gd name="connsiteX8" fmla="*/ 118911 w 167493"/>
                            <a:gd name="connsiteY8" fmla="*/ 6555 h 9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493" h="90576">
                              <a:moveTo>
                                <a:pt x="118898" y="6555"/>
                              </a:moveTo>
                              <a:cubicBezTo>
                                <a:pt x="136018" y="-7373"/>
                                <a:pt x="157253" y="3587"/>
                                <a:pt x="158301" y="14523"/>
                              </a:cubicBezTo>
                              <a:cubicBezTo>
                                <a:pt x="160046" y="32703"/>
                                <a:pt x="162104" y="36269"/>
                                <a:pt x="166281" y="52678"/>
                              </a:cubicBezTo>
                              <a:cubicBezTo>
                                <a:pt x="170458" y="69088"/>
                                <a:pt x="164111" y="82716"/>
                                <a:pt x="143101" y="85908"/>
                              </a:cubicBezTo>
                              <a:cubicBezTo>
                                <a:pt x="122090" y="89088"/>
                                <a:pt x="81815" y="87754"/>
                                <a:pt x="51702" y="90061"/>
                              </a:cubicBezTo>
                              <a:cubicBezTo>
                                <a:pt x="21590" y="92367"/>
                                <a:pt x="978" y="86856"/>
                                <a:pt x="31" y="75148"/>
                              </a:cubicBezTo>
                              <a:cubicBezTo>
                                <a:pt x="-917" y="63452"/>
                                <a:pt x="20343" y="53788"/>
                                <a:pt x="44558" y="46593"/>
                              </a:cubicBezTo>
                              <a:cubicBezTo>
                                <a:pt x="68772" y="39386"/>
                                <a:pt x="94471" y="30059"/>
                                <a:pt x="104970" y="20969"/>
                              </a:cubicBezTo>
                              <a:cubicBezTo>
                                <a:pt x="114148" y="13027"/>
                                <a:pt x="111093" y="12914"/>
                                <a:pt x="118911" y="655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72" name="Graphic 525">
                          <a:extLst>
                            <a:ext uri="{FF2B5EF4-FFF2-40B4-BE49-F238E27FC236}">
                              <a16:creationId xmlns:a16="http://schemas.microsoft.com/office/drawing/2014/main" id="{9A361ADF-FEB2-E49A-DFCC-1AD98D8DA408}"/>
                            </a:ext>
                          </a:extLst>
                        </p:cNvPr>
                        <p:cNvGrpSpPr/>
                        <p:nvPr/>
                      </p:nvGrpSpPr>
                      <p:grpSpPr>
                        <a:xfrm>
                          <a:off x="6476116" y="2070558"/>
                          <a:ext cx="176437" cy="76170"/>
                          <a:chOff x="6476116" y="2070558"/>
                          <a:chExt cx="176437" cy="76170"/>
                        </a:xfrm>
                      </p:grpSpPr>
                      <p:sp>
                        <p:nvSpPr>
                          <p:cNvPr id="3473" name="Freeform: Shape 3472">
                            <a:extLst>
                              <a:ext uri="{FF2B5EF4-FFF2-40B4-BE49-F238E27FC236}">
                                <a16:creationId xmlns:a16="http://schemas.microsoft.com/office/drawing/2014/main" id="{365CF8FE-E733-A579-C2AF-71BF64F92919}"/>
                              </a:ext>
                            </a:extLst>
                          </p:cNvPr>
                          <p:cNvSpPr/>
                          <p:nvPr/>
                        </p:nvSpPr>
                        <p:spPr>
                          <a:xfrm>
                            <a:off x="6476294" y="2120431"/>
                            <a:ext cx="175390" cy="26297"/>
                          </a:xfrm>
                          <a:custGeom>
                            <a:avLst/>
                            <a:gdLst>
                              <a:gd name="connsiteX0" fmla="*/ 0 w 175390"/>
                              <a:gd name="connsiteY0" fmla="*/ 12 h 26297"/>
                              <a:gd name="connsiteX1" fmla="*/ 885 w 175390"/>
                              <a:gd name="connsiteY1" fmla="*/ 13429 h 26297"/>
                              <a:gd name="connsiteX2" fmla="*/ 39652 w 175390"/>
                              <a:gd name="connsiteY2" fmla="*/ 26297 h 26297"/>
                              <a:gd name="connsiteX3" fmla="*/ 57059 w 175390"/>
                              <a:gd name="connsiteY3" fmla="*/ 26297 h 26297"/>
                              <a:gd name="connsiteX4" fmla="*/ 133594 w 175390"/>
                              <a:gd name="connsiteY4" fmla="*/ 23317 h 26297"/>
                              <a:gd name="connsiteX5" fmla="*/ 172884 w 175390"/>
                              <a:gd name="connsiteY5" fmla="*/ 22532 h 26297"/>
                              <a:gd name="connsiteX6" fmla="*/ 174966 w 175390"/>
                              <a:gd name="connsiteY6" fmla="*/ 6920 h 26297"/>
                              <a:gd name="connsiteX7" fmla="*/ 0 w 175390"/>
                              <a:gd name="connsiteY7" fmla="*/ 0 h 2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390" h="26297">
                                <a:moveTo>
                                  <a:pt x="0" y="12"/>
                                </a:moveTo>
                                <a:cubicBezTo>
                                  <a:pt x="0" y="12"/>
                                  <a:pt x="623" y="10574"/>
                                  <a:pt x="885" y="13429"/>
                                </a:cubicBezTo>
                                <a:cubicBezTo>
                                  <a:pt x="1122" y="16060"/>
                                  <a:pt x="12569" y="25050"/>
                                  <a:pt x="39652" y="26297"/>
                                </a:cubicBezTo>
                                <a:lnTo>
                                  <a:pt x="57059" y="26297"/>
                                </a:lnTo>
                                <a:cubicBezTo>
                                  <a:pt x="86623" y="25686"/>
                                  <a:pt x="116736" y="23554"/>
                                  <a:pt x="133594" y="23317"/>
                                </a:cubicBezTo>
                                <a:cubicBezTo>
                                  <a:pt x="152335" y="23055"/>
                                  <a:pt x="169866" y="24153"/>
                                  <a:pt x="172884" y="22532"/>
                                </a:cubicBezTo>
                                <a:cubicBezTo>
                                  <a:pt x="176787" y="20449"/>
                                  <a:pt x="174966" y="6920"/>
                                  <a:pt x="174966" y="6920"/>
                                </a:cubicBezTo>
                                <a:lnTo>
                                  <a:pt x="0" y="0"/>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74" name="Freeform: Shape 3473">
                            <a:extLst>
                              <a:ext uri="{FF2B5EF4-FFF2-40B4-BE49-F238E27FC236}">
                                <a16:creationId xmlns:a16="http://schemas.microsoft.com/office/drawing/2014/main" id="{6CA6DA25-0826-490E-B523-D56EDA9BC852}"/>
                              </a:ext>
                            </a:extLst>
                          </p:cNvPr>
                          <p:cNvSpPr/>
                          <p:nvPr/>
                        </p:nvSpPr>
                        <p:spPr>
                          <a:xfrm>
                            <a:off x="6476116" y="2070558"/>
                            <a:ext cx="176437" cy="66418"/>
                          </a:xfrm>
                          <a:custGeom>
                            <a:avLst/>
                            <a:gdLst>
                              <a:gd name="connsiteX0" fmla="*/ 167725 w 176437"/>
                              <a:gd name="connsiteY0" fmla="*/ 471 h 66418"/>
                              <a:gd name="connsiteX1" fmla="*/ 167152 w 176437"/>
                              <a:gd name="connsiteY1" fmla="*/ 22 h 66418"/>
                              <a:gd name="connsiteX2" fmla="*/ 159533 w 176437"/>
                              <a:gd name="connsiteY2" fmla="*/ 2428 h 66418"/>
                              <a:gd name="connsiteX3" fmla="*/ 122837 w 176437"/>
                              <a:gd name="connsiteY3" fmla="*/ 14661 h 66418"/>
                              <a:gd name="connsiteX4" fmla="*/ 98372 w 176437"/>
                              <a:gd name="connsiteY4" fmla="*/ 84 h 66418"/>
                              <a:gd name="connsiteX5" fmla="*/ 55952 w 176437"/>
                              <a:gd name="connsiteY5" fmla="*/ 16219 h 66418"/>
                              <a:gd name="connsiteX6" fmla="*/ 4 w 176437"/>
                              <a:gd name="connsiteY6" fmla="*/ 47704 h 66418"/>
                              <a:gd name="connsiteX7" fmla="*/ 40603 w 176437"/>
                              <a:gd name="connsiteY7" fmla="*/ 66183 h 66418"/>
                              <a:gd name="connsiteX8" fmla="*/ 135056 w 176437"/>
                              <a:gd name="connsiteY8" fmla="*/ 62804 h 66418"/>
                              <a:gd name="connsiteX9" fmla="*/ 175132 w 176437"/>
                              <a:gd name="connsiteY9" fmla="*/ 56819 h 66418"/>
                              <a:gd name="connsiteX10" fmla="*/ 174608 w 176437"/>
                              <a:gd name="connsiteY10" fmla="*/ 25072 h 66418"/>
                              <a:gd name="connsiteX11" fmla="*/ 167713 w 176437"/>
                              <a:gd name="connsiteY11" fmla="*/ 483 h 66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437" h="66418">
                                <a:moveTo>
                                  <a:pt x="167725" y="471"/>
                                </a:moveTo>
                                <a:cubicBezTo>
                                  <a:pt x="167638" y="221"/>
                                  <a:pt x="167414" y="34"/>
                                  <a:pt x="167152" y="22"/>
                                </a:cubicBezTo>
                                <a:cubicBezTo>
                                  <a:pt x="166117" y="-65"/>
                                  <a:pt x="163374" y="-3"/>
                                  <a:pt x="159533" y="2428"/>
                                </a:cubicBezTo>
                                <a:cubicBezTo>
                                  <a:pt x="154583" y="5546"/>
                                  <a:pt x="142363" y="13875"/>
                                  <a:pt x="122837" y="14661"/>
                                </a:cubicBezTo>
                                <a:cubicBezTo>
                                  <a:pt x="122837" y="14661"/>
                                  <a:pt x="110081" y="84"/>
                                  <a:pt x="98372" y="84"/>
                                </a:cubicBezTo>
                                <a:cubicBezTo>
                                  <a:pt x="95255" y="870"/>
                                  <a:pt x="83285" y="8675"/>
                                  <a:pt x="55952" y="16219"/>
                                </a:cubicBezTo>
                                <a:cubicBezTo>
                                  <a:pt x="28633" y="23763"/>
                                  <a:pt x="266" y="35733"/>
                                  <a:pt x="4" y="47704"/>
                                </a:cubicBezTo>
                                <a:cubicBezTo>
                                  <a:pt x="-258" y="59674"/>
                                  <a:pt x="13271" y="65135"/>
                                  <a:pt x="40603" y="66183"/>
                                </a:cubicBezTo>
                                <a:cubicBezTo>
                                  <a:pt x="67923" y="67218"/>
                                  <a:pt x="98110" y="64624"/>
                                  <a:pt x="135056" y="62804"/>
                                </a:cubicBezTo>
                                <a:cubicBezTo>
                                  <a:pt x="172002" y="60983"/>
                                  <a:pt x="173823" y="60721"/>
                                  <a:pt x="175132" y="56819"/>
                                </a:cubicBezTo>
                                <a:cubicBezTo>
                                  <a:pt x="176429" y="52916"/>
                                  <a:pt x="177476" y="37566"/>
                                  <a:pt x="174608" y="25072"/>
                                </a:cubicBezTo>
                                <a:cubicBezTo>
                                  <a:pt x="171815" y="12877"/>
                                  <a:pt x="169484" y="5820"/>
                                  <a:pt x="167713" y="483"/>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75" name="Freeform: Shape 3474">
                            <a:extLst>
                              <a:ext uri="{FF2B5EF4-FFF2-40B4-BE49-F238E27FC236}">
                                <a16:creationId xmlns:a16="http://schemas.microsoft.com/office/drawing/2014/main" id="{738CFA4E-D59B-C07F-EA86-51F3FC24A776}"/>
                              </a:ext>
                            </a:extLst>
                          </p:cNvPr>
                          <p:cNvSpPr/>
                          <p:nvPr/>
                        </p:nvSpPr>
                        <p:spPr>
                          <a:xfrm>
                            <a:off x="6511407" y="2070642"/>
                            <a:ext cx="87558" cy="30610"/>
                          </a:xfrm>
                          <a:custGeom>
                            <a:avLst/>
                            <a:gdLst>
                              <a:gd name="connsiteX0" fmla="*/ 63094 w 87558"/>
                              <a:gd name="connsiteY0" fmla="*/ 0 h 30610"/>
                              <a:gd name="connsiteX1" fmla="*/ 20674 w 87558"/>
                              <a:gd name="connsiteY1" fmla="*/ 16135 h 30610"/>
                              <a:gd name="connsiteX2" fmla="*/ 0 w 87558"/>
                              <a:gd name="connsiteY2" fmla="*/ 22719 h 30610"/>
                              <a:gd name="connsiteX3" fmla="*/ 38891 w 87558"/>
                              <a:gd name="connsiteY3" fmla="*/ 26023 h 30610"/>
                              <a:gd name="connsiteX4" fmla="*/ 87558 w 87558"/>
                              <a:gd name="connsiteY4" fmla="*/ 14576 h 30610"/>
                              <a:gd name="connsiteX5" fmla="*/ 63094 w 87558"/>
                              <a:gd name="connsiteY5" fmla="*/ 0 h 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558" h="30610">
                                <a:moveTo>
                                  <a:pt x="63094" y="0"/>
                                </a:moveTo>
                                <a:cubicBezTo>
                                  <a:pt x="59976" y="786"/>
                                  <a:pt x="48006" y="8591"/>
                                  <a:pt x="20674" y="16135"/>
                                </a:cubicBezTo>
                                <a:cubicBezTo>
                                  <a:pt x="13691" y="18068"/>
                                  <a:pt x="6634" y="20287"/>
                                  <a:pt x="0" y="22719"/>
                                </a:cubicBezTo>
                                <a:cubicBezTo>
                                  <a:pt x="13355" y="35051"/>
                                  <a:pt x="20537" y="30300"/>
                                  <a:pt x="38891" y="26023"/>
                                </a:cubicBezTo>
                                <a:cubicBezTo>
                                  <a:pt x="57882" y="21596"/>
                                  <a:pt x="87558" y="14576"/>
                                  <a:pt x="87558" y="14576"/>
                                </a:cubicBezTo>
                                <a:cubicBezTo>
                                  <a:pt x="87558" y="14576"/>
                                  <a:pt x="74802" y="0"/>
                                  <a:pt x="63094" y="0"/>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nvGrpSpPr>
                <p:cNvPr id="3476" name="Graphic 525">
                  <a:extLst>
                    <a:ext uri="{FF2B5EF4-FFF2-40B4-BE49-F238E27FC236}">
                      <a16:creationId xmlns:a16="http://schemas.microsoft.com/office/drawing/2014/main" id="{F19934AF-6285-6418-9468-E58630E69BC2}"/>
                    </a:ext>
                  </a:extLst>
                </p:cNvPr>
                <p:cNvGrpSpPr/>
                <p:nvPr/>
              </p:nvGrpSpPr>
              <p:grpSpPr>
                <a:xfrm>
                  <a:off x="6442378" y="1275388"/>
                  <a:ext cx="448151" cy="561645"/>
                  <a:chOff x="6442378" y="1275388"/>
                  <a:chExt cx="448151" cy="561645"/>
                </a:xfrm>
              </p:grpSpPr>
              <p:grpSp>
                <p:nvGrpSpPr>
                  <p:cNvPr id="3477" name="Graphic 525">
                    <a:extLst>
                      <a:ext uri="{FF2B5EF4-FFF2-40B4-BE49-F238E27FC236}">
                        <a16:creationId xmlns:a16="http://schemas.microsoft.com/office/drawing/2014/main" id="{B52897F5-1339-6DF2-FA6B-F386633E04B9}"/>
                      </a:ext>
                    </a:extLst>
                  </p:cNvPr>
                  <p:cNvGrpSpPr/>
                  <p:nvPr/>
                </p:nvGrpSpPr>
                <p:grpSpPr>
                  <a:xfrm>
                    <a:off x="6442378" y="1275388"/>
                    <a:ext cx="448151" cy="561645"/>
                    <a:chOff x="6442378" y="1275388"/>
                    <a:chExt cx="448151" cy="561645"/>
                  </a:xfrm>
                </p:grpSpPr>
                <p:sp>
                  <p:nvSpPr>
                    <p:cNvPr id="3478" name="Freeform: Shape 3477">
                      <a:extLst>
                        <a:ext uri="{FF2B5EF4-FFF2-40B4-BE49-F238E27FC236}">
                          <a16:creationId xmlns:a16="http://schemas.microsoft.com/office/drawing/2014/main" id="{06229C97-91AC-0E5B-EED2-F710F2DF1DD1}"/>
                        </a:ext>
                      </a:extLst>
                    </p:cNvPr>
                    <p:cNvSpPr/>
                    <p:nvPr/>
                  </p:nvSpPr>
                  <p:spPr>
                    <a:xfrm>
                      <a:off x="6442378" y="1275388"/>
                      <a:ext cx="448151" cy="561645"/>
                    </a:xfrm>
                    <a:custGeom>
                      <a:avLst/>
                      <a:gdLst>
                        <a:gd name="connsiteX0" fmla="*/ 343748 w 448151"/>
                        <a:gd name="connsiteY0" fmla="*/ 0 h 561645"/>
                        <a:gd name="connsiteX1" fmla="*/ 329944 w 448151"/>
                        <a:gd name="connsiteY1" fmla="*/ 26372 h 561645"/>
                        <a:gd name="connsiteX2" fmla="*/ 259881 w 448151"/>
                        <a:gd name="connsiteY2" fmla="*/ 133320 h 561645"/>
                        <a:gd name="connsiteX3" fmla="*/ 280555 w 448151"/>
                        <a:gd name="connsiteY3" fmla="*/ 11347 h 561645"/>
                        <a:gd name="connsiteX4" fmla="*/ 239045 w 448151"/>
                        <a:gd name="connsiteY4" fmla="*/ 25474 h 561645"/>
                        <a:gd name="connsiteX5" fmla="*/ 205740 w 448151"/>
                        <a:gd name="connsiteY5" fmla="*/ 83680 h 561645"/>
                        <a:gd name="connsiteX6" fmla="*/ 204057 w 448151"/>
                        <a:gd name="connsiteY6" fmla="*/ 177622 h 561645"/>
                        <a:gd name="connsiteX7" fmla="*/ 212648 w 448151"/>
                        <a:gd name="connsiteY7" fmla="*/ 273647 h 561645"/>
                        <a:gd name="connsiteX8" fmla="*/ 213433 w 448151"/>
                        <a:gd name="connsiteY8" fmla="*/ 307999 h 561645"/>
                        <a:gd name="connsiteX9" fmla="*/ 211875 w 448151"/>
                        <a:gd name="connsiteY9" fmla="*/ 332202 h 561645"/>
                        <a:gd name="connsiteX10" fmla="*/ 137322 w 448151"/>
                        <a:gd name="connsiteY10" fmla="*/ 358349 h 561645"/>
                        <a:gd name="connsiteX11" fmla="*/ 0 w 448151"/>
                        <a:gd name="connsiteY11" fmla="*/ 425882 h 561645"/>
                        <a:gd name="connsiteX12" fmla="*/ 91960 w 448151"/>
                        <a:gd name="connsiteY12" fmla="*/ 438837 h 561645"/>
                        <a:gd name="connsiteX13" fmla="*/ 115988 w 448151"/>
                        <a:gd name="connsiteY13" fmla="*/ 429136 h 561645"/>
                        <a:gd name="connsiteX14" fmla="*/ 152933 w 448151"/>
                        <a:gd name="connsiteY14" fmla="*/ 422365 h 561645"/>
                        <a:gd name="connsiteX15" fmla="*/ 127496 w 448151"/>
                        <a:gd name="connsiteY15" fmla="*/ 442540 h 561645"/>
                        <a:gd name="connsiteX16" fmla="*/ 179156 w 448151"/>
                        <a:gd name="connsiteY16" fmla="*/ 463489 h 561645"/>
                        <a:gd name="connsiteX17" fmla="*/ 226426 w 448151"/>
                        <a:gd name="connsiteY17" fmla="*/ 561645 h 561645"/>
                        <a:gd name="connsiteX18" fmla="*/ 236464 w 448151"/>
                        <a:gd name="connsiteY18" fmla="*/ 549949 h 561645"/>
                        <a:gd name="connsiteX19" fmla="*/ 423824 w 448151"/>
                        <a:gd name="connsiteY19" fmla="*/ 500048 h 561645"/>
                        <a:gd name="connsiteX20" fmla="*/ 443725 w 448151"/>
                        <a:gd name="connsiteY20" fmla="*/ 386467 h 561645"/>
                        <a:gd name="connsiteX21" fmla="*/ 430720 w 448151"/>
                        <a:gd name="connsiteY21" fmla="*/ 184542 h 561645"/>
                        <a:gd name="connsiteX22" fmla="*/ 410545 w 448151"/>
                        <a:gd name="connsiteY22" fmla="*/ 27370 h 561645"/>
                        <a:gd name="connsiteX23" fmla="*/ 343748 w 448151"/>
                        <a:gd name="connsiteY23" fmla="*/ 25 h 56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8151" h="561645">
                          <a:moveTo>
                            <a:pt x="343748" y="0"/>
                          </a:moveTo>
                          <a:cubicBezTo>
                            <a:pt x="343748" y="0"/>
                            <a:pt x="338735" y="15050"/>
                            <a:pt x="329944" y="26372"/>
                          </a:cubicBezTo>
                          <a:cubicBezTo>
                            <a:pt x="321166" y="37694"/>
                            <a:pt x="278422" y="79652"/>
                            <a:pt x="259881" y="133320"/>
                          </a:cubicBezTo>
                          <a:cubicBezTo>
                            <a:pt x="259881" y="133320"/>
                            <a:pt x="257138" y="35549"/>
                            <a:pt x="280555" y="11347"/>
                          </a:cubicBezTo>
                          <a:cubicBezTo>
                            <a:pt x="280555" y="11347"/>
                            <a:pt x="257200" y="14926"/>
                            <a:pt x="239045" y="25474"/>
                          </a:cubicBezTo>
                          <a:cubicBezTo>
                            <a:pt x="220890" y="36011"/>
                            <a:pt x="210628" y="50899"/>
                            <a:pt x="205740" y="83680"/>
                          </a:cubicBezTo>
                          <a:cubicBezTo>
                            <a:pt x="200864" y="116474"/>
                            <a:pt x="203658" y="151661"/>
                            <a:pt x="204057" y="177622"/>
                          </a:cubicBezTo>
                          <a:cubicBezTo>
                            <a:pt x="204443" y="203583"/>
                            <a:pt x="212249" y="246314"/>
                            <a:pt x="212648" y="273647"/>
                          </a:cubicBezTo>
                          <a:cubicBezTo>
                            <a:pt x="213034" y="300966"/>
                            <a:pt x="213433" y="307999"/>
                            <a:pt x="213433" y="307999"/>
                          </a:cubicBezTo>
                          <a:cubicBezTo>
                            <a:pt x="213433" y="307999"/>
                            <a:pt x="208358" y="310730"/>
                            <a:pt x="211875" y="332202"/>
                          </a:cubicBezTo>
                          <a:cubicBezTo>
                            <a:pt x="211875" y="332202"/>
                            <a:pt x="201338" y="340007"/>
                            <a:pt x="137322" y="358349"/>
                          </a:cubicBezTo>
                          <a:cubicBezTo>
                            <a:pt x="73306" y="376691"/>
                            <a:pt x="11609" y="392028"/>
                            <a:pt x="0" y="425882"/>
                          </a:cubicBezTo>
                          <a:cubicBezTo>
                            <a:pt x="0" y="425882"/>
                            <a:pt x="28953" y="399111"/>
                            <a:pt x="91960" y="438837"/>
                          </a:cubicBezTo>
                          <a:cubicBezTo>
                            <a:pt x="91960" y="438837"/>
                            <a:pt x="97059" y="434074"/>
                            <a:pt x="115988" y="429136"/>
                          </a:cubicBezTo>
                          <a:cubicBezTo>
                            <a:pt x="134916" y="424199"/>
                            <a:pt x="152933" y="422365"/>
                            <a:pt x="152933" y="422365"/>
                          </a:cubicBezTo>
                          <a:cubicBezTo>
                            <a:pt x="152933" y="422365"/>
                            <a:pt x="137783" y="429747"/>
                            <a:pt x="127496" y="442540"/>
                          </a:cubicBezTo>
                          <a:cubicBezTo>
                            <a:pt x="127496" y="442540"/>
                            <a:pt x="137908" y="438949"/>
                            <a:pt x="179156" y="463489"/>
                          </a:cubicBezTo>
                          <a:cubicBezTo>
                            <a:pt x="224431" y="490422"/>
                            <a:pt x="226426" y="561645"/>
                            <a:pt x="226426" y="561645"/>
                          </a:cubicBezTo>
                          <a:cubicBezTo>
                            <a:pt x="226426" y="561645"/>
                            <a:pt x="234855" y="560847"/>
                            <a:pt x="236464" y="549949"/>
                          </a:cubicBezTo>
                          <a:cubicBezTo>
                            <a:pt x="236464" y="549949"/>
                            <a:pt x="379721" y="557418"/>
                            <a:pt x="423824" y="500048"/>
                          </a:cubicBezTo>
                          <a:cubicBezTo>
                            <a:pt x="432017" y="489898"/>
                            <a:pt x="458563" y="462965"/>
                            <a:pt x="443725" y="386467"/>
                          </a:cubicBezTo>
                          <a:cubicBezTo>
                            <a:pt x="428887" y="309969"/>
                            <a:pt x="427154" y="234718"/>
                            <a:pt x="430720" y="184542"/>
                          </a:cubicBezTo>
                          <a:cubicBezTo>
                            <a:pt x="434835" y="126674"/>
                            <a:pt x="446817" y="57844"/>
                            <a:pt x="410545" y="27370"/>
                          </a:cubicBezTo>
                          <a:cubicBezTo>
                            <a:pt x="376591" y="4726"/>
                            <a:pt x="343748" y="25"/>
                            <a:pt x="343748" y="2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79" name="Freeform: Shape 3478">
                      <a:extLst>
                        <a:ext uri="{FF2B5EF4-FFF2-40B4-BE49-F238E27FC236}">
                          <a16:creationId xmlns:a16="http://schemas.microsoft.com/office/drawing/2014/main" id="{B0A06D75-DC3D-F7D5-8895-853F4E933C3B}"/>
                        </a:ext>
                      </a:extLst>
                    </p:cNvPr>
                    <p:cNvSpPr/>
                    <p:nvPr/>
                  </p:nvSpPr>
                  <p:spPr>
                    <a:xfrm>
                      <a:off x="6645836" y="1332185"/>
                      <a:ext cx="218383" cy="237045"/>
                    </a:xfrm>
                    <a:custGeom>
                      <a:avLst/>
                      <a:gdLst>
                        <a:gd name="connsiteX0" fmla="*/ 147497 w 218383"/>
                        <a:gd name="connsiteY0" fmla="*/ 3654 h 237045"/>
                        <a:gd name="connsiteX1" fmla="*/ 31584 w 218383"/>
                        <a:gd name="connsiteY1" fmla="*/ 120028 h 237045"/>
                        <a:gd name="connsiteX2" fmla="*/ 0 w 218383"/>
                        <a:gd name="connsiteY2" fmla="*/ 98892 h 237045"/>
                        <a:gd name="connsiteX3" fmla="*/ 611 w 218383"/>
                        <a:gd name="connsiteY3" fmla="*/ 120813 h 237045"/>
                        <a:gd name="connsiteX4" fmla="*/ 9202 w 218383"/>
                        <a:gd name="connsiteY4" fmla="*/ 216838 h 237045"/>
                        <a:gd name="connsiteX5" fmla="*/ 9352 w 218383"/>
                        <a:gd name="connsiteY5" fmla="*/ 226177 h 237045"/>
                        <a:gd name="connsiteX6" fmla="*/ 68056 w 218383"/>
                        <a:gd name="connsiteY6" fmla="*/ 229431 h 237045"/>
                        <a:gd name="connsiteX7" fmla="*/ 188595 w 218383"/>
                        <a:gd name="connsiteY7" fmla="*/ 100202 h 237045"/>
                        <a:gd name="connsiteX8" fmla="*/ 218384 w 218383"/>
                        <a:gd name="connsiteY8" fmla="*/ 37033 h 237045"/>
                        <a:gd name="connsiteX9" fmla="*/ 147509 w 218383"/>
                        <a:gd name="connsiteY9" fmla="*/ 3654 h 2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83" h="237045">
                          <a:moveTo>
                            <a:pt x="147497" y="3654"/>
                          </a:moveTo>
                          <a:cubicBezTo>
                            <a:pt x="119641" y="10886"/>
                            <a:pt x="31584" y="120028"/>
                            <a:pt x="31584" y="120028"/>
                          </a:cubicBezTo>
                          <a:lnTo>
                            <a:pt x="0" y="98892"/>
                          </a:lnTo>
                          <a:cubicBezTo>
                            <a:pt x="249" y="106686"/>
                            <a:pt x="511" y="114067"/>
                            <a:pt x="611" y="120813"/>
                          </a:cubicBezTo>
                          <a:cubicBezTo>
                            <a:pt x="998" y="146774"/>
                            <a:pt x="8803" y="189505"/>
                            <a:pt x="9202" y="216838"/>
                          </a:cubicBezTo>
                          <a:cubicBezTo>
                            <a:pt x="9252" y="220267"/>
                            <a:pt x="9302" y="223372"/>
                            <a:pt x="9352" y="226177"/>
                          </a:cubicBezTo>
                          <a:cubicBezTo>
                            <a:pt x="9414" y="229631"/>
                            <a:pt x="48206" y="246726"/>
                            <a:pt x="68056" y="229431"/>
                          </a:cubicBezTo>
                          <a:cubicBezTo>
                            <a:pt x="92022" y="208546"/>
                            <a:pt x="155714" y="153108"/>
                            <a:pt x="188595" y="100202"/>
                          </a:cubicBezTo>
                          <a:cubicBezTo>
                            <a:pt x="216139" y="55862"/>
                            <a:pt x="218384" y="37033"/>
                            <a:pt x="218384" y="37033"/>
                          </a:cubicBezTo>
                          <a:cubicBezTo>
                            <a:pt x="218384" y="37033"/>
                            <a:pt x="214793" y="-13815"/>
                            <a:pt x="147509" y="3654"/>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80" name="Freeform: Shape 3479">
                      <a:extLst>
                        <a:ext uri="{FF2B5EF4-FFF2-40B4-BE49-F238E27FC236}">
                          <a16:creationId xmlns:a16="http://schemas.microsoft.com/office/drawing/2014/main" id="{A4429147-E883-AA30-3B52-FF16B756E5A3}"/>
                        </a:ext>
                      </a:extLst>
                    </p:cNvPr>
                    <p:cNvSpPr/>
                    <p:nvPr/>
                  </p:nvSpPr>
                  <p:spPr>
                    <a:xfrm>
                      <a:off x="6595312" y="1408695"/>
                      <a:ext cx="106947" cy="289070"/>
                    </a:xfrm>
                    <a:custGeom>
                      <a:avLst/>
                      <a:gdLst>
                        <a:gd name="connsiteX0" fmla="*/ 106947 w 106947"/>
                        <a:gd name="connsiteY0" fmla="*/ 12 h 289070"/>
                        <a:gd name="connsiteX1" fmla="*/ 105239 w 106947"/>
                        <a:gd name="connsiteY1" fmla="*/ 10923 h 289070"/>
                        <a:gd name="connsiteX2" fmla="*/ 104928 w 106947"/>
                        <a:gd name="connsiteY2" fmla="*/ 13666 h 289070"/>
                        <a:gd name="connsiteX3" fmla="*/ 104653 w 106947"/>
                        <a:gd name="connsiteY3" fmla="*/ 16409 h 289070"/>
                        <a:gd name="connsiteX4" fmla="*/ 104204 w 106947"/>
                        <a:gd name="connsiteY4" fmla="*/ 21921 h 289070"/>
                        <a:gd name="connsiteX5" fmla="*/ 103319 w 106947"/>
                        <a:gd name="connsiteY5" fmla="*/ 43991 h 289070"/>
                        <a:gd name="connsiteX6" fmla="*/ 103294 w 106947"/>
                        <a:gd name="connsiteY6" fmla="*/ 55039 h 289070"/>
                        <a:gd name="connsiteX7" fmla="*/ 103356 w 106947"/>
                        <a:gd name="connsiteY7" fmla="*/ 60562 h 289070"/>
                        <a:gd name="connsiteX8" fmla="*/ 103481 w 106947"/>
                        <a:gd name="connsiteY8" fmla="*/ 66086 h 289070"/>
                        <a:gd name="connsiteX9" fmla="*/ 104167 w 106947"/>
                        <a:gd name="connsiteY9" fmla="*/ 88181 h 289070"/>
                        <a:gd name="connsiteX10" fmla="*/ 106361 w 106947"/>
                        <a:gd name="connsiteY10" fmla="*/ 176625 h 289070"/>
                        <a:gd name="connsiteX11" fmla="*/ 106474 w 106947"/>
                        <a:gd name="connsiteY11" fmla="*/ 187685 h 289070"/>
                        <a:gd name="connsiteX12" fmla="*/ 106511 w 106947"/>
                        <a:gd name="connsiteY12" fmla="*/ 193221 h 289070"/>
                        <a:gd name="connsiteX13" fmla="*/ 106511 w 106947"/>
                        <a:gd name="connsiteY13" fmla="*/ 198757 h 289070"/>
                        <a:gd name="connsiteX14" fmla="*/ 106150 w 106947"/>
                        <a:gd name="connsiteY14" fmla="*/ 220902 h 289070"/>
                        <a:gd name="connsiteX15" fmla="*/ 105813 w 106947"/>
                        <a:gd name="connsiteY15" fmla="*/ 226464 h 289070"/>
                        <a:gd name="connsiteX16" fmla="*/ 105564 w 106947"/>
                        <a:gd name="connsiteY16" fmla="*/ 229257 h 289070"/>
                        <a:gd name="connsiteX17" fmla="*/ 105102 w 106947"/>
                        <a:gd name="connsiteY17" fmla="*/ 232062 h 289070"/>
                        <a:gd name="connsiteX18" fmla="*/ 103307 w 106947"/>
                        <a:gd name="connsiteY18" fmla="*/ 237511 h 289070"/>
                        <a:gd name="connsiteX19" fmla="*/ 100102 w 106947"/>
                        <a:gd name="connsiteY19" fmla="*/ 242299 h 289070"/>
                        <a:gd name="connsiteX20" fmla="*/ 99129 w 106947"/>
                        <a:gd name="connsiteY20" fmla="*/ 243359 h 289070"/>
                        <a:gd name="connsiteX21" fmla="*/ 98095 w 106947"/>
                        <a:gd name="connsiteY21" fmla="*/ 244344 h 289070"/>
                        <a:gd name="connsiteX22" fmla="*/ 97571 w 106947"/>
                        <a:gd name="connsiteY22" fmla="*/ 244831 h 289070"/>
                        <a:gd name="connsiteX23" fmla="*/ 97022 w 106947"/>
                        <a:gd name="connsiteY23" fmla="*/ 245279 h 289070"/>
                        <a:gd name="connsiteX24" fmla="*/ 95937 w 106947"/>
                        <a:gd name="connsiteY24" fmla="*/ 246190 h 289070"/>
                        <a:gd name="connsiteX25" fmla="*/ 91324 w 106947"/>
                        <a:gd name="connsiteY25" fmla="*/ 249394 h 289070"/>
                        <a:gd name="connsiteX26" fmla="*/ 81561 w 106947"/>
                        <a:gd name="connsiteY26" fmla="*/ 254744 h 289070"/>
                        <a:gd name="connsiteX27" fmla="*/ 61373 w 106947"/>
                        <a:gd name="connsiteY27" fmla="*/ 263858 h 289070"/>
                        <a:gd name="connsiteX28" fmla="*/ 40961 w 106947"/>
                        <a:gd name="connsiteY28" fmla="*/ 272387 h 289070"/>
                        <a:gd name="connsiteX29" fmla="*/ 0 w 106947"/>
                        <a:gd name="connsiteY29" fmla="*/ 289071 h 289070"/>
                        <a:gd name="connsiteX30" fmla="*/ 10125 w 106947"/>
                        <a:gd name="connsiteY30" fmla="*/ 284619 h 289070"/>
                        <a:gd name="connsiteX31" fmla="*/ 20275 w 106947"/>
                        <a:gd name="connsiteY31" fmla="*/ 280218 h 289070"/>
                        <a:gd name="connsiteX32" fmla="*/ 40574 w 106947"/>
                        <a:gd name="connsiteY32" fmla="*/ 271452 h 289070"/>
                        <a:gd name="connsiteX33" fmla="*/ 60862 w 106947"/>
                        <a:gd name="connsiteY33" fmla="*/ 262661 h 289070"/>
                        <a:gd name="connsiteX34" fmla="*/ 80862 w 106947"/>
                        <a:gd name="connsiteY34" fmla="*/ 253322 h 289070"/>
                        <a:gd name="connsiteX35" fmla="*/ 90413 w 106947"/>
                        <a:gd name="connsiteY35" fmla="*/ 247923 h 289070"/>
                        <a:gd name="connsiteX36" fmla="*/ 94852 w 106947"/>
                        <a:gd name="connsiteY36" fmla="*/ 244793 h 289070"/>
                        <a:gd name="connsiteX37" fmla="*/ 95887 w 106947"/>
                        <a:gd name="connsiteY37" fmla="*/ 243920 h 289070"/>
                        <a:gd name="connsiteX38" fmla="*/ 96399 w 106947"/>
                        <a:gd name="connsiteY38" fmla="*/ 243484 h 289070"/>
                        <a:gd name="connsiteX39" fmla="*/ 96885 w 106947"/>
                        <a:gd name="connsiteY39" fmla="*/ 243023 h 289070"/>
                        <a:gd name="connsiteX40" fmla="*/ 97845 w 106947"/>
                        <a:gd name="connsiteY40" fmla="*/ 242087 h 289070"/>
                        <a:gd name="connsiteX41" fmla="*/ 98743 w 106947"/>
                        <a:gd name="connsiteY41" fmla="*/ 241102 h 289070"/>
                        <a:gd name="connsiteX42" fmla="*/ 101648 w 106947"/>
                        <a:gd name="connsiteY42" fmla="*/ 236713 h 289070"/>
                        <a:gd name="connsiteX43" fmla="*/ 103269 w 106947"/>
                        <a:gd name="connsiteY43" fmla="*/ 231676 h 289070"/>
                        <a:gd name="connsiteX44" fmla="*/ 103693 w 106947"/>
                        <a:gd name="connsiteY44" fmla="*/ 229020 h 289070"/>
                        <a:gd name="connsiteX45" fmla="*/ 103918 w 106947"/>
                        <a:gd name="connsiteY45" fmla="*/ 226302 h 289070"/>
                        <a:gd name="connsiteX46" fmla="*/ 104204 w 106947"/>
                        <a:gd name="connsiteY46" fmla="*/ 220815 h 289070"/>
                        <a:gd name="connsiteX47" fmla="*/ 104504 w 106947"/>
                        <a:gd name="connsiteY47" fmla="*/ 198745 h 289070"/>
                        <a:gd name="connsiteX48" fmla="*/ 104504 w 106947"/>
                        <a:gd name="connsiteY48" fmla="*/ 193221 h 289070"/>
                        <a:gd name="connsiteX49" fmla="*/ 104441 w 106947"/>
                        <a:gd name="connsiteY49" fmla="*/ 187697 h 289070"/>
                        <a:gd name="connsiteX50" fmla="*/ 104317 w 106947"/>
                        <a:gd name="connsiteY50" fmla="*/ 176650 h 289070"/>
                        <a:gd name="connsiteX51" fmla="*/ 103531 w 106947"/>
                        <a:gd name="connsiteY51" fmla="*/ 132434 h 289070"/>
                        <a:gd name="connsiteX52" fmla="*/ 102596 w 106947"/>
                        <a:gd name="connsiteY52" fmla="*/ 88219 h 289070"/>
                        <a:gd name="connsiteX53" fmla="*/ 102184 w 106947"/>
                        <a:gd name="connsiteY53" fmla="*/ 66099 h 289070"/>
                        <a:gd name="connsiteX54" fmla="*/ 102122 w 106947"/>
                        <a:gd name="connsiteY54" fmla="*/ 60562 h 289070"/>
                        <a:gd name="connsiteX55" fmla="*/ 102122 w 106947"/>
                        <a:gd name="connsiteY55" fmla="*/ 55026 h 289070"/>
                        <a:gd name="connsiteX56" fmla="*/ 102296 w 106947"/>
                        <a:gd name="connsiteY56" fmla="*/ 43954 h 289070"/>
                        <a:gd name="connsiteX57" fmla="*/ 103643 w 106947"/>
                        <a:gd name="connsiteY57" fmla="*/ 21858 h 289070"/>
                        <a:gd name="connsiteX58" fmla="*/ 104204 w 106947"/>
                        <a:gd name="connsiteY58" fmla="*/ 16359 h 289070"/>
                        <a:gd name="connsiteX59" fmla="*/ 104541 w 106947"/>
                        <a:gd name="connsiteY59" fmla="*/ 13616 h 289070"/>
                        <a:gd name="connsiteX60" fmla="*/ 104915 w 106947"/>
                        <a:gd name="connsiteY60" fmla="*/ 10873 h 289070"/>
                        <a:gd name="connsiteX61" fmla="*/ 106935 w 106947"/>
                        <a:gd name="connsiteY61" fmla="*/ 0 h 2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6947" h="289070">
                          <a:moveTo>
                            <a:pt x="106947" y="12"/>
                          </a:moveTo>
                          <a:cubicBezTo>
                            <a:pt x="106162" y="3616"/>
                            <a:pt x="105663" y="7269"/>
                            <a:pt x="105239" y="10923"/>
                          </a:cubicBezTo>
                          <a:cubicBezTo>
                            <a:pt x="105127" y="11833"/>
                            <a:pt x="105027" y="12756"/>
                            <a:pt x="104928" y="13666"/>
                          </a:cubicBezTo>
                          <a:lnTo>
                            <a:pt x="104653" y="16409"/>
                          </a:lnTo>
                          <a:cubicBezTo>
                            <a:pt x="104504" y="18242"/>
                            <a:pt x="104317" y="20075"/>
                            <a:pt x="104204" y="21921"/>
                          </a:cubicBezTo>
                          <a:cubicBezTo>
                            <a:pt x="103668" y="29265"/>
                            <a:pt x="103419" y="36634"/>
                            <a:pt x="103319" y="43991"/>
                          </a:cubicBezTo>
                          <a:cubicBezTo>
                            <a:pt x="103319" y="47669"/>
                            <a:pt x="103244" y="51348"/>
                            <a:pt x="103294" y="55039"/>
                          </a:cubicBezTo>
                          <a:cubicBezTo>
                            <a:pt x="103319" y="56884"/>
                            <a:pt x="103307" y="58717"/>
                            <a:pt x="103356" y="60562"/>
                          </a:cubicBezTo>
                          <a:lnTo>
                            <a:pt x="103481" y="66086"/>
                          </a:lnTo>
                          <a:cubicBezTo>
                            <a:pt x="103681" y="73455"/>
                            <a:pt x="103930" y="80825"/>
                            <a:pt x="104167" y="88181"/>
                          </a:cubicBezTo>
                          <a:cubicBezTo>
                            <a:pt x="105114" y="117658"/>
                            <a:pt x="105937" y="147135"/>
                            <a:pt x="106361" y="176625"/>
                          </a:cubicBezTo>
                          <a:cubicBezTo>
                            <a:pt x="106411" y="180316"/>
                            <a:pt x="106449" y="183994"/>
                            <a:pt x="106474" y="187685"/>
                          </a:cubicBezTo>
                          <a:lnTo>
                            <a:pt x="106511" y="193221"/>
                          </a:lnTo>
                          <a:lnTo>
                            <a:pt x="106511" y="198757"/>
                          </a:lnTo>
                          <a:cubicBezTo>
                            <a:pt x="106511" y="206139"/>
                            <a:pt x="106461" y="213508"/>
                            <a:pt x="106150" y="220902"/>
                          </a:cubicBezTo>
                          <a:cubicBezTo>
                            <a:pt x="106050" y="222748"/>
                            <a:pt x="106012" y="224593"/>
                            <a:pt x="105813" y="226464"/>
                          </a:cubicBezTo>
                          <a:lnTo>
                            <a:pt x="105564" y="229257"/>
                          </a:lnTo>
                          <a:cubicBezTo>
                            <a:pt x="105426" y="230192"/>
                            <a:pt x="105301" y="231127"/>
                            <a:pt x="105102" y="232062"/>
                          </a:cubicBezTo>
                          <a:cubicBezTo>
                            <a:pt x="104715" y="233920"/>
                            <a:pt x="104154" y="235778"/>
                            <a:pt x="103307" y="237511"/>
                          </a:cubicBezTo>
                          <a:cubicBezTo>
                            <a:pt x="102459" y="239244"/>
                            <a:pt x="101361" y="240853"/>
                            <a:pt x="100102" y="242299"/>
                          </a:cubicBezTo>
                          <a:lnTo>
                            <a:pt x="99129" y="243359"/>
                          </a:lnTo>
                          <a:cubicBezTo>
                            <a:pt x="98793" y="243696"/>
                            <a:pt x="98443" y="244020"/>
                            <a:pt x="98095" y="244344"/>
                          </a:cubicBezTo>
                          <a:cubicBezTo>
                            <a:pt x="97920" y="244506"/>
                            <a:pt x="97758" y="244668"/>
                            <a:pt x="97571" y="244831"/>
                          </a:cubicBezTo>
                          <a:lnTo>
                            <a:pt x="97022" y="245279"/>
                          </a:lnTo>
                          <a:lnTo>
                            <a:pt x="95937" y="246190"/>
                          </a:lnTo>
                          <a:cubicBezTo>
                            <a:pt x="94441" y="247337"/>
                            <a:pt x="92907" y="248422"/>
                            <a:pt x="91324" y="249394"/>
                          </a:cubicBezTo>
                          <a:cubicBezTo>
                            <a:pt x="88156" y="251364"/>
                            <a:pt x="84877" y="253098"/>
                            <a:pt x="81561" y="254744"/>
                          </a:cubicBezTo>
                          <a:cubicBezTo>
                            <a:pt x="74914" y="258010"/>
                            <a:pt x="68156" y="260966"/>
                            <a:pt x="61373" y="263858"/>
                          </a:cubicBezTo>
                          <a:cubicBezTo>
                            <a:pt x="54590" y="266751"/>
                            <a:pt x="47782" y="269569"/>
                            <a:pt x="40961" y="272387"/>
                          </a:cubicBezTo>
                          <a:lnTo>
                            <a:pt x="0" y="289071"/>
                          </a:lnTo>
                          <a:lnTo>
                            <a:pt x="10125" y="284619"/>
                          </a:lnTo>
                          <a:lnTo>
                            <a:pt x="20275" y="280218"/>
                          </a:lnTo>
                          <a:lnTo>
                            <a:pt x="40574" y="271452"/>
                          </a:lnTo>
                          <a:cubicBezTo>
                            <a:pt x="47345" y="268547"/>
                            <a:pt x="54129" y="265642"/>
                            <a:pt x="60862" y="262661"/>
                          </a:cubicBezTo>
                          <a:cubicBezTo>
                            <a:pt x="67595" y="259681"/>
                            <a:pt x="74316" y="256651"/>
                            <a:pt x="80862" y="253322"/>
                          </a:cubicBezTo>
                          <a:cubicBezTo>
                            <a:pt x="84129" y="251639"/>
                            <a:pt x="87346" y="249893"/>
                            <a:pt x="90413" y="247923"/>
                          </a:cubicBezTo>
                          <a:cubicBezTo>
                            <a:pt x="91960" y="246950"/>
                            <a:pt x="93431" y="245890"/>
                            <a:pt x="94852" y="244793"/>
                          </a:cubicBezTo>
                          <a:lnTo>
                            <a:pt x="95887" y="243920"/>
                          </a:lnTo>
                          <a:lnTo>
                            <a:pt x="96399" y="243484"/>
                          </a:lnTo>
                          <a:cubicBezTo>
                            <a:pt x="96561" y="243334"/>
                            <a:pt x="96723" y="243172"/>
                            <a:pt x="96885" y="243023"/>
                          </a:cubicBezTo>
                          <a:cubicBezTo>
                            <a:pt x="97209" y="242711"/>
                            <a:pt x="97533" y="242412"/>
                            <a:pt x="97845" y="242087"/>
                          </a:cubicBezTo>
                          <a:lnTo>
                            <a:pt x="98743" y="241102"/>
                          </a:lnTo>
                          <a:cubicBezTo>
                            <a:pt x="99890" y="239756"/>
                            <a:pt x="100888" y="238297"/>
                            <a:pt x="101648" y="236713"/>
                          </a:cubicBezTo>
                          <a:cubicBezTo>
                            <a:pt x="102409" y="235130"/>
                            <a:pt x="102907" y="233421"/>
                            <a:pt x="103269" y="231676"/>
                          </a:cubicBezTo>
                          <a:cubicBezTo>
                            <a:pt x="103456" y="230803"/>
                            <a:pt x="103568" y="229918"/>
                            <a:pt x="103693" y="229020"/>
                          </a:cubicBezTo>
                          <a:lnTo>
                            <a:pt x="103918" y="226302"/>
                          </a:lnTo>
                          <a:cubicBezTo>
                            <a:pt x="104104" y="224494"/>
                            <a:pt x="104117" y="222648"/>
                            <a:pt x="104204" y="220815"/>
                          </a:cubicBezTo>
                          <a:cubicBezTo>
                            <a:pt x="104466" y="213483"/>
                            <a:pt x="104516" y="206114"/>
                            <a:pt x="104504" y="198745"/>
                          </a:cubicBezTo>
                          <a:lnTo>
                            <a:pt x="104504" y="193221"/>
                          </a:lnTo>
                          <a:cubicBezTo>
                            <a:pt x="104504" y="193221"/>
                            <a:pt x="104441" y="187697"/>
                            <a:pt x="104441" y="187697"/>
                          </a:cubicBezTo>
                          <a:cubicBezTo>
                            <a:pt x="104416" y="184019"/>
                            <a:pt x="104366" y="180328"/>
                            <a:pt x="104317" y="176650"/>
                          </a:cubicBezTo>
                          <a:cubicBezTo>
                            <a:pt x="104142" y="161911"/>
                            <a:pt x="103843" y="147173"/>
                            <a:pt x="103531" y="132434"/>
                          </a:cubicBezTo>
                          <a:lnTo>
                            <a:pt x="102596" y="88219"/>
                          </a:lnTo>
                          <a:cubicBezTo>
                            <a:pt x="102459" y="80850"/>
                            <a:pt x="102296" y="73480"/>
                            <a:pt x="102184" y="66099"/>
                          </a:cubicBezTo>
                          <a:lnTo>
                            <a:pt x="102122" y="60562"/>
                          </a:lnTo>
                          <a:cubicBezTo>
                            <a:pt x="102097" y="58717"/>
                            <a:pt x="102122" y="56872"/>
                            <a:pt x="102122" y="55026"/>
                          </a:cubicBezTo>
                          <a:cubicBezTo>
                            <a:pt x="102122" y="51335"/>
                            <a:pt x="102222" y="47644"/>
                            <a:pt x="102296" y="43954"/>
                          </a:cubicBezTo>
                          <a:cubicBezTo>
                            <a:pt x="102546" y="36572"/>
                            <a:pt x="102970" y="29203"/>
                            <a:pt x="103643" y="21858"/>
                          </a:cubicBezTo>
                          <a:cubicBezTo>
                            <a:pt x="103793" y="20025"/>
                            <a:pt x="104017" y="18192"/>
                            <a:pt x="104204" y="16359"/>
                          </a:cubicBezTo>
                          <a:lnTo>
                            <a:pt x="104541" y="13616"/>
                          </a:lnTo>
                          <a:cubicBezTo>
                            <a:pt x="104653" y="12706"/>
                            <a:pt x="104765" y="11783"/>
                            <a:pt x="104915" y="10873"/>
                          </a:cubicBezTo>
                          <a:cubicBezTo>
                            <a:pt x="105451" y="7220"/>
                            <a:pt x="106050" y="3579"/>
                            <a:pt x="106935" y="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81" name="Freeform: Shape 3480">
                    <a:extLst>
                      <a:ext uri="{FF2B5EF4-FFF2-40B4-BE49-F238E27FC236}">
                        <a16:creationId xmlns:a16="http://schemas.microsoft.com/office/drawing/2014/main" id="{BDD915B4-71D1-ED77-CACE-872F9BE2A663}"/>
                      </a:ext>
                    </a:extLst>
                  </p:cNvPr>
                  <p:cNvSpPr/>
                  <p:nvPr/>
                </p:nvSpPr>
                <p:spPr>
                  <a:xfrm>
                    <a:off x="6680875" y="1275388"/>
                    <a:ext cx="136112" cy="180876"/>
                  </a:xfrm>
                  <a:custGeom>
                    <a:avLst/>
                    <a:gdLst>
                      <a:gd name="connsiteX0" fmla="*/ 85213 w 136112"/>
                      <a:gd name="connsiteY0" fmla="*/ 83206 h 180876"/>
                      <a:gd name="connsiteX1" fmla="*/ 82283 w 136112"/>
                      <a:gd name="connsiteY1" fmla="*/ 70326 h 180876"/>
                      <a:gd name="connsiteX2" fmla="*/ 136112 w 136112"/>
                      <a:gd name="connsiteY2" fmla="*/ 8766 h 180876"/>
                      <a:gd name="connsiteX3" fmla="*/ 105239 w 136112"/>
                      <a:gd name="connsiteY3" fmla="*/ 0 h 180876"/>
                      <a:gd name="connsiteX4" fmla="*/ 91435 w 136112"/>
                      <a:gd name="connsiteY4" fmla="*/ 26372 h 180876"/>
                      <a:gd name="connsiteX5" fmla="*/ 21372 w 136112"/>
                      <a:gd name="connsiteY5" fmla="*/ 133320 h 180876"/>
                      <a:gd name="connsiteX6" fmla="*/ 42045 w 136112"/>
                      <a:gd name="connsiteY6" fmla="*/ 11347 h 180876"/>
                      <a:gd name="connsiteX7" fmla="*/ 13591 w 136112"/>
                      <a:gd name="connsiteY7" fmla="*/ 19240 h 180876"/>
                      <a:gd name="connsiteX8" fmla="*/ 12007 w 136112"/>
                      <a:gd name="connsiteY8" fmla="*/ 57445 h 180876"/>
                      <a:gd name="connsiteX9" fmla="*/ 299 w 136112"/>
                      <a:gd name="connsiteY9" fmla="*/ 74428 h 180876"/>
                      <a:gd name="connsiteX10" fmla="*/ 16945 w 136112"/>
                      <a:gd name="connsiteY10" fmla="*/ 180877 h 180876"/>
                      <a:gd name="connsiteX11" fmla="*/ 85188 w 136112"/>
                      <a:gd name="connsiteY11" fmla="*/ 83206 h 18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112" h="180876">
                        <a:moveTo>
                          <a:pt x="85213" y="83206"/>
                        </a:moveTo>
                        <a:cubicBezTo>
                          <a:pt x="85213" y="83206"/>
                          <a:pt x="85213" y="76186"/>
                          <a:pt x="82283" y="70326"/>
                        </a:cubicBezTo>
                        <a:cubicBezTo>
                          <a:pt x="82283" y="70326"/>
                          <a:pt x="132272" y="25886"/>
                          <a:pt x="136112" y="8766"/>
                        </a:cubicBezTo>
                        <a:cubicBezTo>
                          <a:pt x="118244" y="1858"/>
                          <a:pt x="105239" y="0"/>
                          <a:pt x="105239" y="0"/>
                        </a:cubicBezTo>
                        <a:cubicBezTo>
                          <a:pt x="105239" y="0"/>
                          <a:pt x="100226" y="15050"/>
                          <a:pt x="91435" y="26372"/>
                        </a:cubicBezTo>
                        <a:cubicBezTo>
                          <a:pt x="82657" y="37694"/>
                          <a:pt x="39913" y="79652"/>
                          <a:pt x="21372" y="133320"/>
                        </a:cubicBezTo>
                        <a:cubicBezTo>
                          <a:pt x="21372" y="133320"/>
                          <a:pt x="18628" y="35549"/>
                          <a:pt x="42045" y="11347"/>
                        </a:cubicBezTo>
                        <a:cubicBezTo>
                          <a:pt x="42045" y="11347"/>
                          <a:pt x="27955" y="12407"/>
                          <a:pt x="13591" y="19240"/>
                        </a:cubicBezTo>
                        <a:cubicBezTo>
                          <a:pt x="11970" y="28467"/>
                          <a:pt x="10187" y="43330"/>
                          <a:pt x="12007" y="57445"/>
                        </a:cubicBezTo>
                        <a:cubicBezTo>
                          <a:pt x="12007" y="57445"/>
                          <a:pt x="3229" y="66223"/>
                          <a:pt x="299" y="74428"/>
                        </a:cubicBezTo>
                        <a:cubicBezTo>
                          <a:pt x="-2631" y="82620"/>
                          <a:pt x="16945" y="180877"/>
                          <a:pt x="16945" y="180877"/>
                        </a:cubicBezTo>
                        <a:cubicBezTo>
                          <a:pt x="16945" y="180877"/>
                          <a:pt x="29576" y="135315"/>
                          <a:pt x="85188" y="83206"/>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483" name="Graphic 525">
              <a:extLst>
                <a:ext uri="{FF2B5EF4-FFF2-40B4-BE49-F238E27FC236}">
                  <a16:creationId xmlns:a16="http://schemas.microsoft.com/office/drawing/2014/main" id="{DEF83B17-3AC5-D64B-8036-F607448CDBFF}"/>
                </a:ext>
              </a:extLst>
            </p:cNvPr>
            <p:cNvGrpSpPr/>
            <p:nvPr/>
          </p:nvGrpSpPr>
          <p:grpSpPr>
            <a:xfrm>
              <a:off x="4390901" y="1516313"/>
              <a:ext cx="89226" cy="145225"/>
              <a:chOff x="6696003" y="1264110"/>
              <a:chExt cx="107610" cy="175147"/>
            </a:xfrm>
            <a:solidFill>
              <a:srgbClr val="1A2347"/>
            </a:solidFill>
          </p:grpSpPr>
          <p:sp>
            <p:nvSpPr>
              <p:cNvPr id="3484" name="Freeform: Shape 3483">
                <a:extLst>
                  <a:ext uri="{FF2B5EF4-FFF2-40B4-BE49-F238E27FC236}">
                    <a16:creationId xmlns:a16="http://schemas.microsoft.com/office/drawing/2014/main" id="{9C54436D-6870-F27A-544D-1124140ACE98}"/>
                  </a:ext>
                </a:extLst>
              </p:cNvPr>
              <p:cNvSpPr/>
              <p:nvPr/>
            </p:nvSpPr>
            <p:spPr>
              <a:xfrm>
                <a:off x="6707344" y="1356722"/>
                <a:ext cx="17330" cy="82534"/>
              </a:xfrm>
              <a:custGeom>
                <a:avLst/>
                <a:gdLst>
                  <a:gd name="connsiteX0" fmla="*/ 16138 w 17330"/>
                  <a:gd name="connsiteY0" fmla="*/ 82522 h 82534"/>
                  <a:gd name="connsiteX1" fmla="*/ 15315 w 17330"/>
                  <a:gd name="connsiteY1" fmla="*/ 82185 h 82534"/>
                  <a:gd name="connsiteX2" fmla="*/ 2272 w 17330"/>
                  <a:gd name="connsiteY2" fmla="*/ 57733 h 82534"/>
                  <a:gd name="connsiteX3" fmla="*/ 1100 w 17330"/>
                  <a:gd name="connsiteY3" fmla="*/ 28693 h 82534"/>
                  <a:gd name="connsiteX4" fmla="*/ 3145 w 17330"/>
                  <a:gd name="connsiteY4" fmla="*/ 1373 h 82534"/>
                  <a:gd name="connsiteX5" fmla="*/ 4155 w 17330"/>
                  <a:gd name="connsiteY5" fmla="*/ 14 h 82534"/>
                  <a:gd name="connsiteX6" fmla="*/ 5514 w 17330"/>
                  <a:gd name="connsiteY6" fmla="*/ 1024 h 82534"/>
                  <a:gd name="connsiteX7" fmla="*/ 3444 w 17330"/>
                  <a:gd name="connsiteY7" fmla="*/ 29179 h 82534"/>
                  <a:gd name="connsiteX8" fmla="*/ 16960 w 17330"/>
                  <a:gd name="connsiteY8" fmla="*/ 80464 h 82534"/>
                  <a:gd name="connsiteX9" fmla="*/ 16998 w 17330"/>
                  <a:gd name="connsiteY9" fmla="*/ 82160 h 82534"/>
                  <a:gd name="connsiteX10" fmla="*/ 16138 w 17330"/>
                  <a:gd name="connsiteY10" fmla="*/ 82534 h 8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0" h="82534">
                    <a:moveTo>
                      <a:pt x="16138" y="82522"/>
                    </a:moveTo>
                    <a:cubicBezTo>
                      <a:pt x="15838" y="82522"/>
                      <a:pt x="15539" y="82410"/>
                      <a:pt x="15315" y="82185"/>
                    </a:cubicBezTo>
                    <a:cubicBezTo>
                      <a:pt x="9529" y="76649"/>
                      <a:pt x="4903" y="67970"/>
                      <a:pt x="2272" y="57733"/>
                    </a:cubicBezTo>
                    <a:cubicBezTo>
                      <a:pt x="-284" y="47771"/>
                      <a:pt x="-696" y="37459"/>
                      <a:pt x="1100" y="28693"/>
                    </a:cubicBezTo>
                    <a:cubicBezTo>
                      <a:pt x="4604" y="11685"/>
                      <a:pt x="3157" y="1473"/>
                      <a:pt x="3145" y="1373"/>
                    </a:cubicBezTo>
                    <a:cubicBezTo>
                      <a:pt x="3045" y="725"/>
                      <a:pt x="3494" y="114"/>
                      <a:pt x="4155" y="14"/>
                    </a:cubicBezTo>
                    <a:cubicBezTo>
                      <a:pt x="4803" y="-86"/>
                      <a:pt x="5414" y="363"/>
                      <a:pt x="5514" y="1024"/>
                    </a:cubicBezTo>
                    <a:cubicBezTo>
                      <a:pt x="5576" y="1448"/>
                      <a:pt x="7048" y="11710"/>
                      <a:pt x="3444" y="29179"/>
                    </a:cubicBezTo>
                    <a:cubicBezTo>
                      <a:pt x="-197" y="46848"/>
                      <a:pt x="5875" y="69853"/>
                      <a:pt x="16960" y="80464"/>
                    </a:cubicBezTo>
                    <a:cubicBezTo>
                      <a:pt x="17434" y="80926"/>
                      <a:pt x="17459" y="81686"/>
                      <a:pt x="16998" y="82160"/>
                    </a:cubicBezTo>
                    <a:cubicBezTo>
                      <a:pt x="16761" y="82410"/>
                      <a:pt x="16449" y="82534"/>
                      <a:pt x="16138" y="82534"/>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85" name="Freeform: Shape 3484">
                <a:extLst>
                  <a:ext uri="{FF2B5EF4-FFF2-40B4-BE49-F238E27FC236}">
                    <a16:creationId xmlns:a16="http://schemas.microsoft.com/office/drawing/2014/main" id="{AFA905C1-907C-05F9-5094-EC668630CFF8}"/>
                  </a:ext>
                </a:extLst>
              </p:cNvPr>
              <p:cNvSpPr/>
              <p:nvPr/>
            </p:nvSpPr>
            <p:spPr>
              <a:xfrm>
                <a:off x="6696003" y="1264110"/>
                <a:ext cx="107610" cy="96118"/>
              </a:xfrm>
              <a:custGeom>
                <a:avLst/>
                <a:gdLst>
                  <a:gd name="connsiteX0" fmla="*/ 104712 w 107610"/>
                  <a:gd name="connsiteY0" fmla="*/ 4558 h 96118"/>
                  <a:gd name="connsiteX1" fmla="*/ 87205 w 107610"/>
                  <a:gd name="connsiteY1" fmla="*/ 6 h 96118"/>
                  <a:gd name="connsiteX2" fmla="*/ 86395 w 107610"/>
                  <a:gd name="connsiteY2" fmla="*/ 119 h 96118"/>
                  <a:gd name="connsiteX3" fmla="*/ 87430 w 107610"/>
                  <a:gd name="connsiteY3" fmla="*/ 3797 h 96118"/>
                  <a:gd name="connsiteX4" fmla="*/ 102268 w 107610"/>
                  <a:gd name="connsiteY4" fmla="*/ 7413 h 96118"/>
                  <a:gd name="connsiteX5" fmla="*/ 103203 w 107610"/>
                  <a:gd name="connsiteY5" fmla="*/ 17239 h 96118"/>
                  <a:gd name="connsiteX6" fmla="*/ 88054 w 107610"/>
                  <a:gd name="connsiteY6" fmla="*/ 47563 h 96118"/>
                  <a:gd name="connsiteX7" fmla="*/ 52616 w 107610"/>
                  <a:gd name="connsiteY7" fmla="*/ 83051 h 96118"/>
                  <a:gd name="connsiteX8" fmla="*/ 13738 w 107610"/>
                  <a:gd name="connsiteY8" fmla="*/ 90482 h 96118"/>
                  <a:gd name="connsiteX9" fmla="*/ 3900 w 107610"/>
                  <a:gd name="connsiteY9" fmla="*/ 63200 h 96118"/>
                  <a:gd name="connsiteX10" fmla="*/ 5670 w 107610"/>
                  <a:gd name="connsiteY10" fmla="*/ 33087 h 96118"/>
                  <a:gd name="connsiteX11" fmla="*/ 14174 w 107610"/>
                  <a:gd name="connsiteY11" fmla="*/ 15568 h 96118"/>
                  <a:gd name="connsiteX12" fmla="*/ 16294 w 107610"/>
                  <a:gd name="connsiteY12" fmla="*/ 14421 h 96118"/>
                  <a:gd name="connsiteX13" fmla="*/ 10895 w 107610"/>
                  <a:gd name="connsiteY13" fmla="*/ 13161 h 96118"/>
                  <a:gd name="connsiteX14" fmla="*/ 2004 w 107610"/>
                  <a:gd name="connsiteY14" fmla="*/ 32264 h 96118"/>
                  <a:gd name="connsiteX15" fmla="*/ 134 w 107610"/>
                  <a:gd name="connsiteY15" fmla="*/ 63374 h 96118"/>
                  <a:gd name="connsiteX16" fmla="*/ 12428 w 107610"/>
                  <a:gd name="connsiteY16" fmla="*/ 94023 h 96118"/>
                  <a:gd name="connsiteX17" fmla="*/ 24548 w 107610"/>
                  <a:gd name="connsiteY17" fmla="*/ 96118 h 96118"/>
                  <a:gd name="connsiteX18" fmla="*/ 91171 w 107610"/>
                  <a:gd name="connsiteY18" fmla="*/ 49633 h 96118"/>
                  <a:gd name="connsiteX19" fmla="*/ 104687 w 107610"/>
                  <a:gd name="connsiteY19" fmla="*/ 4533 h 9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610" h="96118">
                    <a:moveTo>
                      <a:pt x="104712" y="4558"/>
                    </a:moveTo>
                    <a:cubicBezTo>
                      <a:pt x="100772" y="1178"/>
                      <a:pt x="88577" y="106"/>
                      <a:pt x="87205" y="6"/>
                    </a:cubicBezTo>
                    <a:cubicBezTo>
                      <a:pt x="86919" y="-18"/>
                      <a:pt x="86644" y="31"/>
                      <a:pt x="86395" y="119"/>
                    </a:cubicBezTo>
                    <a:cubicBezTo>
                      <a:pt x="86719" y="1353"/>
                      <a:pt x="87056" y="2588"/>
                      <a:pt x="87430" y="3797"/>
                    </a:cubicBezTo>
                    <a:cubicBezTo>
                      <a:pt x="92231" y="4221"/>
                      <a:pt x="100074" y="5530"/>
                      <a:pt x="102268" y="7413"/>
                    </a:cubicBezTo>
                    <a:cubicBezTo>
                      <a:pt x="103066" y="8099"/>
                      <a:pt x="104775" y="10443"/>
                      <a:pt x="103203" y="17239"/>
                    </a:cubicBezTo>
                    <a:cubicBezTo>
                      <a:pt x="101458" y="24795"/>
                      <a:pt x="96370" y="34995"/>
                      <a:pt x="88054" y="47563"/>
                    </a:cubicBezTo>
                    <a:cubicBezTo>
                      <a:pt x="78452" y="62102"/>
                      <a:pt x="65534" y="75033"/>
                      <a:pt x="52616" y="83051"/>
                    </a:cubicBezTo>
                    <a:cubicBezTo>
                      <a:pt x="42604" y="89273"/>
                      <a:pt x="27728" y="95607"/>
                      <a:pt x="13738" y="90482"/>
                    </a:cubicBezTo>
                    <a:cubicBezTo>
                      <a:pt x="8114" y="88425"/>
                      <a:pt x="4623" y="78724"/>
                      <a:pt x="3900" y="63200"/>
                    </a:cubicBezTo>
                    <a:cubicBezTo>
                      <a:pt x="3301" y="50294"/>
                      <a:pt x="4785" y="37015"/>
                      <a:pt x="5670" y="33087"/>
                    </a:cubicBezTo>
                    <a:cubicBezTo>
                      <a:pt x="7865" y="23386"/>
                      <a:pt x="9872" y="17713"/>
                      <a:pt x="14174" y="15568"/>
                    </a:cubicBezTo>
                    <a:cubicBezTo>
                      <a:pt x="14498" y="15406"/>
                      <a:pt x="15346" y="14969"/>
                      <a:pt x="16294" y="14421"/>
                    </a:cubicBezTo>
                    <a:cubicBezTo>
                      <a:pt x="14473" y="14134"/>
                      <a:pt x="12666" y="13710"/>
                      <a:pt x="10895" y="13161"/>
                    </a:cubicBezTo>
                    <a:cubicBezTo>
                      <a:pt x="5882" y="16740"/>
                      <a:pt x="3875" y="23947"/>
                      <a:pt x="2004" y="32264"/>
                    </a:cubicBezTo>
                    <a:cubicBezTo>
                      <a:pt x="1082" y="36354"/>
                      <a:pt x="-464" y="50107"/>
                      <a:pt x="134" y="63374"/>
                    </a:cubicBezTo>
                    <a:cubicBezTo>
                      <a:pt x="944" y="81018"/>
                      <a:pt x="5084" y="91330"/>
                      <a:pt x="12428" y="94023"/>
                    </a:cubicBezTo>
                    <a:cubicBezTo>
                      <a:pt x="16331" y="95457"/>
                      <a:pt x="20396" y="96118"/>
                      <a:pt x="24548" y="96118"/>
                    </a:cubicBezTo>
                    <a:cubicBezTo>
                      <a:pt x="48177" y="96118"/>
                      <a:pt x="74699" y="74559"/>
                      <a:pt x="91171" y="49633"/>
                    </a:cubicBezTo>
                    <a:cubicBezTo>
                      <a:pt x="111982" y="18149"/>
                      <a:pt x="108578" y="7862"/>
                      <a:pt x="104687" y="4533"/>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87" name="Freeform: Shape 3486">
              <a:extLst>
                <a:ext uri="{FF2B5EF4-FFF2-40B4-BE49-F238E27FC236}">
                  <a16:creationId xmlns:a16="http://schemas.microsoft.com/office/drawing/2014/main" id="{49344A4D-4973-85EC-BDF8-B253A058BD11}"/>
                </a:ext>
              </a:extLst>
            </p:cNvPr>
            <p:cNvSpPr/>
            <p:nvPr/>
          </p:nvSpPr>
          <p:spPr>
            <a:xfrm>
              <a:off x="4377929" y="1404638"/>
              <a:ext cx="12006" cy="34624"/>
            </a:xfrm>
            <a:custGeom>
              <a:avLst/>
              <a:gdLst>
                <a:gd name="connsiteX0" fmla="*/ 1214 w 14480"/>
                <a:gd name="connsiteY0" fmla="*/ 0 h 41758"/>
                <a:gd name="connsiteX1" fmla="*/ 1214 w 14480"/>
                <a:gd name="connsiteY1" fmla="*/ 41759 h 41758"/>
                <a:gd name="connsiteX2" fmla="*/ 14481 w 14480"/>
                <a:gd name="connsiteY2" fmla="*/ 7020 h 41758"/>
                <a:gd name="connsiteX3" fmla="*/ 1214 w 14480"/>
                <a:gd name="connsiteY3" fmla="*/ 0 h 41758"/>
              </a:gdLst>
              <a:ahLst/>
              <a:cxnLst>
                <a:cxn ang="0">
                  <a:pos x="connsiteX0" y="connsiteY0"/>
                </a:cxn>
                <a:cxn ang="0">
                  <a:pos x="connsiteX1" y="connsiteY1"/>
                </a:cxn>
                <a:cxn ang="0">
                  <a:pos x="connsiteX2" y="connsiteY2"/>
                </a:cxn>
                <a:cxn ang="0">
                  <a:pos x="connsiteX3" y="connsiteY3"/>
                </a:cxn>
              </a:cxnLst>
              <a:rect l="l" t="t" r="r" b="b"/>
              <a:pathLst>
                <a:path w="14480" h="41758">
                  <a:moveTo>
                    <a:pt x="1214" y="0"/>
                  </a:moveTo>
                  <a:cubicBezTo>
                    <a:pt x="1214" y="0"/>
                    <a:pt x="-1517" y="18342"/>
                    <a:pt x="1214" y="41759"/>
                  </a:cubicBezTo>
                  <a:lnTo>
                    <a:pt x="14481" y="7020"/>
                  </a:lnTo>
                  <a:lnTo>
                    <a:pt x="1214" y="0"/>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88" name="Freeform: Shape 3487">
              <a:extLst>
                <a:ext uri="{FF2B5EF4-FFF2-40B4-BE49-F238E27FC236}">
                  <a16:creationId xmlns:a16="http://schemas.microsoft.com/office/drawing/2014/main" id="{B8DFABAB-D514-C3B5-FC15-E9D0852D3965}"/>
                </a:ext>
              </a:extLst>
            </p:cNvPr>
            <p:cNvSpPr/>
            <p:nvPr/>
          </p:nvSpPr>
          <p:spPr>
            <a:xfrm>
              <a:off x="4376277" y="1386128"/>
              <a:ext cx="106730" cy="140149"/>
            </a:xfrm>
            <a:custGeom>
              <a:avLst/>
              <a:gdLst>
                <a:gd name="connsiteX0" fmla="*/ 76426 w 128721"/>
                <a:gd name="connsiteY0" fmla="*/ 738 h 169025"/>
                <a:gd name="connsiteX1" fmla="*/ 9242 w 128721"/>
                <a:gd name="connsiteY1" fmla="*/ 36787 h 169025"/>
                <a:gd name="connsiteX2" fmla="*/ 26661 w 128721"/>
                <a:gd name="connsiteY2" fmla="*/ 167350 h 169025"/>
                <a:gd name="connsiteX3" fmla="*/ 121788 w 128721"/>
                <a:gd name="connsiteY3" fmla="*/ 102561 h 169025"/>
                <a:gd name="connsiteX4" fmla="*/ 76413 w 128721"/>
                <a:gd name="connsiteY4" fmla="*/ 738 h 16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21" h="169025">
                  <a:moveTo>
                    <a:pt x="76426" y="738"/>
                  </a:moveTo>
                  <a:cubicBezTo>
                    <a:pt x="76426" y="738"/>
                    <a:pt x="24704" y="-8289"/>
                    <a:pt x="9242" y="36787"/>
                  </a:cubicBezTo>
                  <a:cubicBezTo>
                    <a:pt x="-6219" y="81862"/>
                    <a:pt x="-3489" y="158448"/>
                    <a:pt x="26661" y="167350"/>
                  </a:cubicBezTo>
                  <a:cubicBezTo>
                    <a:pt x="56812" y="176253"/>
                    <a:pt x="103384" y="148946"/>
                    <a:pt x="121788" y="102561"/>
                  </a:cubicBezTo>
                  <a:cubicBezTo>
                    <a:pt x="140193" y="56176"/>
                    <a:pt x="120903" y="6063"/>
                    <a:pt x="76413" y="73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89" name="Freeform: Shape 3488">
              <a:extLst>
                <a:ext uri="{FF2B5EF4-FFF2-40B4-BE49-F238E27FC236}">
                  <a16:creationId xmlns:a16="http://schemas.microsoft.com/office/drawing/2014/main" id="{CF636F59-FC13-6062-B3AB-4E72EF6A731F}"/>
                </a:ext>
              </a:extLst>
            </p:cNvPr>
            <p:cNvSpPr/>
            <p:nvPr/>
          </p:nvSpPr>
          <p:spPr>
            <a:xfrm>
              <a:off x="4371706" y="1376283"/>
              <a:ext cx="122614" cy="137023"/>
            </a:xfrm>
            <a:custGeom>
              <a:avLst/>
              <a:gdLst>
                <a:gd name="connsiteX0" fmla="*/ 89645 w 147878"/>
                <a:gd name="connsiteY0" fmla="*/ 66093 h 165255"/>
                <a:gd name="connsiteX1" fmla="*/ 87936 w 147878"/>
                <a:gd name="connsiteY1" fmla="*/ 91430 h 165255"/>
                <a:gd name="connsiteX2" fmla="*/ 97712 w 147878"/>
                <a:gd name="connsiteY2" fmla="*/ 134124 h 165255"/>
                <a:gd name="connsiteX3" fmla="*/ 108872 w 147878"/>
                <a:gd name="connsiteY3" fmla="*/ 164985 h 165255"/>
                <a:gd name="connsiteX4" fmla="*/ 128336 w 147878"/>
                <a:gd name="connsiteY4" fmla="*/ 127391 h 165255"/>
                <a:gd name="connsiteX5" fmla="*/ 121129 w 147878"/>
                <a:gd name="connsiteY5" fmla="*/ 28349 h 165255"/>
                <a:gd name="connsiteX6" fmla="*/ 77313 w 147878"/>
                <a:gd name="connsiteY6" fmla="*/ 7 h 165255"/>
                <a:gd name="connsiteX7" fmla="*/ 50479 w 147878"/>
                <a:gd name="connsiteY7" fmla="*/ 4533 h 165255"/>
                <a:gd name="connsiteX8" fmla="*/ 18471 w 147878"/>
                <a:gd name="connsiteY8" fmla="*/ 4533 h 165255"/>
                <a:gd name="connsiteX9" fmla="*/ 3870 w 147878"/>
                <a:gd name="connsiteY9" fmla="*/ 32713 h 165255"/>
                <a:gd name="connsiteX10" fmla="*/ 56340 w 147878"/>
                <a:gd name="connsiteY10" fmla="*/ 54110 h 165255"/>
                <a:gd name="connsiteX11" fmla="*/ 89645 w 147878"/>
                <a:gd name="connsiteY11" fmla="*/ 66093 h 16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878" h="165255">
                  <a:moveTo>
                    <a:pt x="89645" y="66093"/>
                  </a:moveTo>
                  <a:cubicBezTo>
                    <a:pt x="89645" y="66093"/>
                    <a:pt x="87151" y="78550"/>
                    <a:pt x="87936" y="91430"/>
                  </a:cubicBezTo>
                  <a:cubicBezTo>
                    <a:pt x="88722" y="104311"/>
                    <a:pt x="96241" y="119012"/>
                    <a:pt x="97712" y="134124"/>
                  </a:cubicBezTo>
                  <a:cubicBezTo>
                    <a:pt x="99183" y="149237"/>
                    <a:pt x="105755" y="167716"/>
                    <a:pt x="108872" y="164985"/>
                  </a:cubicBezTo>
                  <a:cubicBezTo>
                    <a:pt x="111989" y="162255"/>
                    <a:pt x="116615" y="149062"/>
                    <a:pt x="128336" y="127391"/>
                  </a:cubicBezTo>
                  <a:cubicBezTo>
                    <a:pt x="145830" y="95059"/>
                    <a:pt x="164808" y="54110"/>
                    <a:pt x="121129" y="28349"/>
                  </a:cubicBezTo>
                  <a:cubicBezTo>
                    <a:pt x="121129" y="28349"/>
                    <a:pt x="115493" y="-504"/>
                    <a:pt x="77313" y="7"/>
                  </a:cubicBezTo>
                  <a:cubicBezTo>
                    <a:pt x="77313" y="7"/>
                    <a:pt x="67649" y="244"/>
                    <a:pt x="50479" y="4533"/>
                  </a:cubicBezTo>
                  <a:cubicBezTo>
                    <a:pt x="33309" y="8822"/>
                    <a:pt x="26950" y="6354"/>
                    <a:pt x="18471" y="4533"/>
                  </a:cubicBezTo>
                  <a:cubicBezTo>
                    <a:pt x="7536" y="2189"/>
                    <a:pt x="-7066" y="6952"/>
                    <a:pt x="3870" y="32713"/>
                  </a:cubicBezTo>
                  <a:cubicBezTo>
                    <a:pt x="11488" y="50669"/>
                    <a:pt x="43846" y="53724"/>
                    <a:pt x="56340" y="54110"/>
                  </a:cubicBezTo>
                  <a:cubicBezTo>
                    <a:pt x="68834" y="54497"/>
                    <a:pt x="72076" y="69996"/>
                    <a:pt x="89645" y="66093"/>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92" name="Graphic 525">
              <a:extLst>
                <a:ext uri="{FF2B5EF4-FFF2-40B4-BE49-F238E27FC236}">
                  <a16:creationId xmlns:a16="http://schemas.microsoft.com/office/drawing/2014/main" id="{8AE09440-56DB-207B-5604-D9C7971EC20A}"/>
                </a:ext>
              </a:extLst>
            </p:cNvPr>
            <p:cNvGrpSpPr/>
            <p:nvPr/>
          </p:nvGrpSpPr>
          <p:grpSpPr>
            <a:xfrm>
              <a:off x="4369393" y="1448555"/>
              <a:ext cx="83654" cy="23471"/>
              <a:chOff x="6670064" y="1182391"/>
              <a:chExt cx="100890" cy="28307"/>
            </a:xfrm>
            <a:solidFill>
              <a:srgbClr val="1A2347"/>
            </a:solidFill>
          </p:grpSpPr>
          <p:sp>
            <p:nvSpPr>
              <p:cNvPr id="3493" name="Freeform: Shape 3492">
                <a:extLst>
                  <a:ext uri="{FF2B5EF4-FFF2-40B4-BE49-F238E27FC236}">
                    <a16:creationId xmlns:a16="http://schemas.microsoft.com/office/drawing/2014/main" id="{68F109A7-6DAA-C337-F00B-78640AD21483}"/>
                  </a:ext>
                </a:extLst>
              </p:cNvPr>
              <p:cNvSpPr/>
              <p:nvPr/>
            </p:nvSpPr>
            <p:spPr>
              <a:xfrm>
                <a:off x="6670064" y="1182391"/>
                <a:ext cx="26708" cy="22958"/>
              </a:xfrm>
              <a:custGeom>
                <a:avLst/>
                <a:gdLst>
                  <a:gd name="connsiteX0" fmla="*/ 22594 w 26708"/>
                  <a:gd name="connsiteY0" fmla="*/ 22958 h 22958"/>
                  <a:gd name="connsiteX1" fmla="*/ 22108 w 26708"/>
                  <a:gd name="connsiteY1" fmla="*/ 22934 h 22958"/>
                  <a:gd name="connsiteX2" fmla="*/ 3616 w 26708"/>
                  <a:gd name="connsiteY2" fmla="*/ 20702 h 22958"/>
                  <a:gd name="connsiteX3" fmla="*/ 0 w 26708"/>
                  <a:gd name="connsiteY3" fmla="*/ 16624 h 22958"/>
                  <a:gd name="connsiteX4" fmla="*/ 0 w 26708"/>
                  <a:gd name="connsiteY4" fmla="*/ 4118 h 22958"/>
                  <a:gd name="connsiteX5" fmla="*/ 1384 w 26708"/>
                  <a:gd name="connsiteY5" fmla="*/ 1038 h 22958"/>
                  <a:gd name="connsiteX6" fmla="*/ 4601 w 26708"/>
                  <a:gd name="connsiteY6" fmla="*/ 28 h 22958"/>
                  <a:gd name="connsiteX7" fmla="*/ 23093 w 26708"/>
                  <a:gd name="connsiteY7" fmla="*/ 2260 h 22958"/>
                  <a:gd name="connsiteX8" fmla="*/ 26709 w 26708"/>
                  <a:gd name="connsiteY8" fmla="*/ 6337 h 22958"/>
                  <a:gd name="connsiteX9" fmla="*/ 26709 w 26708"/>
                  <a:gd name="connsiteY9" fmla="*/ 18844 h 22958"/>
                  <a:gd name="connsiteX10" fmla="*/ 25325 w 26708"/>
                  <a:gd name="connsiteY10" fmla="*/ 21924 h 22958"/>
                  <a:gd name="connsiteX11" fmla="*/ 22594 w 26708"/>
                  <a:gd name="connsiteY11" fmla="*/ 22958 h 22958"/>
                  <a:gd name="connsiteX12" fmla="*/ 22345 w 26708"/>
                  <a:gd name="connsiteY12" fmla="*/ 20889 h 22958"/>
                  <a:gd name="connsiteX13" fmla="*/ 23953 w 26708"/>
                  <a:gd name="connsiteY13" fmla="*/ 20390 h 22958"/>
                  <a:gd name="connsiteX14" fmla="*/ 24639 w 26708"/>
                  <a:gd name="connsiteY14" fmla="*/ 18856 h 22958"/>
                  <a:gd name="connsiteX15" fmla="*/ 24639 w 26708"/>
                  <a:gd name="connsiteY15" fmla="*/ 6350 h 22958"/>
                  <a:gd name="connsiteX16" fmla="*/ 22831 w 26708"/>
                  <a:gd name="connsiteY16" fmla="*/ 4305 h 22958"/>
                  <a:gd name="connsiteX17" fmla="*/ 4340 w 26708"/>
                  <a:gd name="connsiteY17" fmla="*/ 2073 h 22958"/>
                  <a:gd name="connsiteX18" fmla="*/ 2731 w 26708"/>
                  <a:gd name="connsiteY18" fmla="*/ 2572 h 22958"/>
                  <a:gd name="connsiteX19" fmla="*/ 2045 w 26708"/>
                  <a:gd name="connsiteY19" fmla="*/ 4105 h 22958"/>
                  <a:gd name="connsiteX20" fmla="*/ 2045 w 26708"/>
                  <a:gd name="connsiteY20" fmla="*/ 16612 h 22958"/>
                  <a:gd name="connsiteX21" fmla="*/ 3853 w 26708"/>
                  <a:gd name="connsiteY21" fmla="*/ 18657 h 22958"/>
                  <a:gd name="connsiteX22" fmla="*/ 22345 w 26708"/>
                  <a:gd name="connsiteY22" fmla="*/ 20889 h 2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708" h="22958">
                    <a:moveTo>
                      <a:pt x="22594" y="22958"/>
                    </a:moveTo>
                    <a:cubicBezTo>
                      <a:pt x="22432" y="22958"/>
                      <a:pt x="22270" y="22958"/>
                      <a:pt x="22108" y="22934"/>
                    </a:cubicBezTo>
                    <a:lnTo>
                      <a:pt x="3616" y="20702"/>
                    </a:lnTo>
                    <a:cubicBezTo>
                      <a:pt x="1559" y="20452"/>
                      <a:pt x="0" y="18694"/>
                      <a:pt x="0" y="16624"/>
                    </a:cubicBezTo>
                    <a:lnTo>
                      <a:pt x="0" y="4118"/>
                    </a:lnTo>
                    <a:cubicBezTo>
                      <a:pt x="0" y="2946"/>
                      <a:pt x="499" y="1823"/>
                      <a:pt x="1384" y="1038"/>
                    </a:cubicBezTo>
                    <a:cubicBezTo>
                      <a:pt x="2257" y="265"/>
                      <a:pt x="3429" y="-109"/>
                      <a:pt x="4601" y="28"/>
                    </a:cubicBezTo>
                    <a:lnTo>
                      <a:pt x="23093" y="2260"/>
                    </a:lnTo>
                    <a:cubicBezTo>
                      <a:pt x="25150" y="2509"/>
                      <a:pt x="26709" y="4267"/>
                      <a:pt x="26709" y="6337"/>
                    </a:cubicBezTo>
                    <a:lnTo>
                      <a:pt x="26709" y="18844"/>
                    </a:lnTo>
                    <a:cubicBezTo>
                      <a:pt x="26709" y="20016"/>
                      <a:pt x="26210" y="21138"/>
                      <a:pt x="25325" y="21924"/>
                    </a:cubicBezTo>
                    <a:cubicBezTo>
                      <a:pt x="24564" y="22597"/>
                      <a:pt x="23592" y="22958"/>
                      <a:pt x="22594" y="22958"/>
                    </a:cubicBezTo>
                    <a:close/>
                    <a:moveTo>
                      <a:pt x="22345" y="20889"/>
                    </a:moveTo>
                    <a:cubicBezTo>
                      <a:pt x="22943" y="20963"/>
                      <a:pt x="23504" y="20776"/>
                      <a:pt x="23953" y="20390"/>
                    </a:cubicBezTo>
                    <a:cubicBezTo>
                      <a:pt x="24402" y="19991"/>
                      <a:pt x="24639" y="19455"/>
                      <a:pt x="24639" y="18856"/>
                    </a:cubicBezTo>
                    <a:lnTo>
                      <a:pt x="24639" y="6350"/>
                    </a:lnTo>
                    <a:cubicBezTo>
                      <a:pt x="24639" y="5315"/>
                      <a:pt x="23866" y="4429"/>
                      <a:pt x="22831" y="4305"/>
                    </a:cubicBezTo>
                    <a:lnTo>
                      <a:pt x="4340" y="2073"/>
                    </a:lnTo>
                    <a:cubicBezTo>
                      <a:pt x="3753" y="1998"/>
                      <a:pt x="3180" y="2185"/>
                      <a:pt x="2731" y="2572"/>
                    </a:cubicBezTo>
                    <a:cubicBezTo>
                      <a:pt x="2282" y="2971"/>
                      <a:pt x="2045" y="3507"/>
                      <a:pt x="2045" y="4105"/>
                    </a:cubicBezTo>
                    <a:lnTo>
                      <a:pt x="2045" y="16612"/>
                    </a:lnTo>
                    <a:cubicBezTo>
                      <a:pt x="2045" y="17647"/>
                      <a:pt x="2818" y="18532"/>
                      <a:pt x="3853" y="18657"/>
                    </a:cubicBezTo>
                    <a:lnTo>
                      <a:pt x="22345" y="20889"/>
                    </a:ln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94" name="Freeform: Shape 3493">
                <a:extLst>
                  <a:ext uri="{FF2B5EF4-FFF2-40B4-BE49-F238E27FC236}">
                    <a16:creationId xmlns:a16="http://schemas.microsoft.com/office/drawing/2014/main" id="{42B9D1EE-CBDE-5368-DEDB-5C87EBDF4172}"/>
                  </a:ext>
                </a:extLst>
              </p:cNvPr>
              <p:cNvSpPr/>
              <p:nvPr/>
            </p:nvSpPr>
            <p:spPr>
              <a:xfrm>
                <a:off x="6708643" y="1187652"/>
                <a:ext cx="34015" cy="23045"/>
              </a:xfrm>
              <a:custGeom>
                <a:avLst/>
                <a:gdLst>
                  <a:gd name="connsiteX0" fmla="*/ 29901 w 34015"/>
                  <a:gd name="connsiteY0" fmla="*/ 23046 h 23045"/>
                  <a:gd name="connsiteX1" fmla="*/ 29539 w 34015"/>
                  <a:gd name="connsiteY1" fmla="*/ 23033 h 23045"/>
                  <a:gd name="connsiteX2" fmla="*/ 3741 w 34015"/>
                  <a:gd name="connsiteY2" fmla="*/ 20727 h 23045"/>
                  <a:gd name="connsiteX3" fmla="*/ 0 w 34015"/>
                  <a:gd name="connsiteY3" fmla="*/ 16637 h 23045"/>
                  <a:gd name="connsiteX4" fmla="*/ 0 w 34015"/>
                  <a:gd name="connsiteY4" fmla="*/ 4105 h 23045"/>
                  <a:gd name="connsiteX5" fmla="*/ 1334 w 34015"/>
                  <a:gd name="connsiteY5" fmla="*/ 1075 h 23045"/>
                  <a:gd name="connsiteX6" fmla="*/ 4476 w 34015"/>
                  <a:gd name="connsiteY6" fmla="*/ 15 h 23045"/>
                  <a:gd name="connsiteX7" fmla="*/ 30275 w 34015"/>
                  <a:gd name="connsiteY7" fmla="*/ 2322 h 23045"/>
                  <a:gd name="connsiteX8" fmla="*/ 34016 w 34015"/>
                  <a:gd name="connsiteY8" fmla="*/ 6412 h 23045"/>
                  <a:gd name="connsiteX9" fmla="*/ 34016 w 34015"/>
                  <a:gd name="connsiteY9" fmla="*/ 18944 h 23045"/>
                  <a:gd name="connsiteX10" fmla="*/ 32681 w 34015"/>
                  <a:gd name="connsiteY10" fmla="*/ 21974 h 23045"/>
                  <a:gd name="connsiteX11" fmla="*/ 29901 w 34015"/>
                  <a:gd name="connsiteY11" fmla="*/ 23046 h 23045"/>
                  <a:gd name="connsiteX12" fmla="*/ 4102 w 34015"/>
                  <a:gd name="connsiteY12" fmla="*/ 2048 h 23045"/>
                  <a:gd name="connsiteX13" fmla="*/ 2718 w 34015"/>
                  <a:gd name="connsiteY13" fmla="*/ 2584 h 23045"/>
                  <a:gd name="connsiteX14" fmla="*/ 2045 w 34015"/>
                  <a:gd name="connsiteY14" fmla="*/ 4105 h 23045"/>
                  <a:gd name="connsiteX15" fmla="*/ 2045 w 34015"/>
                  <a:gd name="connsiteY15" fmla="*/ 16637 h 23045"/>
                  <a:gd name="connsiteX16" fmla="*/ 3915 w 34015"/>
                  <a:gd name="connsiteY16" fmla="*/ 18682 h 23045"/>
                  <a:gd name="connsiteX17" fmla="*/ 29714 w 34015"/>
                  <a:gd name="connsiteY17" fmla="*/ 20988 h 23045"/>
                  <a:gd name="connsiteX18" fmla="*/ 31285 w 34015"/>
                  <a:gd name="connsiteY18" fmla="*/ 20452 h 23045"/>
                  <a:gd name="connsiteX19" fmla="*/ 31958 w 34015"/>
                  <a:gd name="connsiteY19" fmla="*/ 18931 h 23045"/>
                  <a:gd name="connsiteX20" fmla="*/ 31958 w 34015"/>
                  <a:gd name="connsiteY20" fmla="*/ 6400 h 23045"/>
                  <a:gd name="connsiteX21" fmla="*/ 30088 w 34015"/>
                  <a:gd name="connsiteY21" fmla="*/ 4355 h 23045"/>
                  <a:gd name="connsiteX22" fmla="*/ 4289 w 34015"/>
                  <a:gd name="connsiteY22" fmla="*/ 2048 h 23045"/>
                  <a:gd name="connsiteX23" fmla="*/ 4102 w 34015"/>
                  <a:gd name="connsiteY23" fmla="*/ 2048 h 2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015" h="23045">
                    <a:moveTo>
                      <a:pt x="29901" y="23046"/>
                    </a:moveTo>
                    <a:cubicBezTo>
                      <a:pt x="29776" y="23046"/>
                      <a:pt x="29664" y="23046"/>
                      <a:pt x="29539" y="23033"/>
                    </a:cubicBezTo>
                    <a:lnTo>
                      <a:pt x="3741" y="20727"/>
                    </a:lnTo>
                    <a:cubicBezTo>
                      <a:pt x="1609" y="20540"/>
                      <a:pt x="0" y="18781"/>
                      <a:pt x="0" y="16637"/>
                    </a:cubicBezTo>
                    <a:lnTo>
                      <a:pt x="0" y="4105"/>
                    </a:lnTo>
                    <a:cubicBezTo>
                      <a:pt x="0" y="2958"/>
                      <a:pt x="486" y="1848"/>
                      <a:pt x="1334" y="1075"/>
                    </a:cubicBezTo>
                    <a:cubicBezTo>
                      <a:pt x="2182" y="302"/>
                      <a:pt x="3329" y="-84"/>
                      <a:pt x="4476" y="15"/>
                    </a:cubicBezTo>
                    <a:lnTo>
                      <a:pt x="30275" y="2322"/>
                    </a:lnTo>
                    <a:cubicBezTo>
                      <a:pt x="32407" y="2509"/>
                      <a:pt x="34016" y="4267"/>
                      <a:pt x="34016" y="6412"/>
                    </a:cubicBezTo>
                    <a:lnTo>
                      <a:pt x="34016" y="18944"/>
                    </a:lnTo>
                    <a:cubicBezTo>
                      <a:pt x="34016" y="20091"/>
                      <a:pt x="33529" y="21200"/>
                      <a:pt x="32681" y="21974"/>
                    </a:cubicBezTo>
                    <a:cubicBezTo>
                      <a:pt x="31921" y="22672"/>
                      <a:pt x="30923" y="23046"/>
                      <a:pt x="29901" y="23046"/>
                    </a:cubicBezTo>
                    <a:close/>
                    <a:moveTo>
                      <a:pt x="4102" y="2048"/>
                    </a:moveTo>
                    <a:cubicBezTo>
                      <a:pt x="3591" y="2048"/>
                      <a:pt x="3105" y="2235"/>
                      <a:pt x="2718" y="2584"/>
                    </a:cubicBezTo>
                    <a:cubicBezTo>
                      <a:pt x="2282" y="2983"/>
                      <a:pt x="2045" y="3519"/>
                      <a:pt x="2045" y="4105"/>
                    </a:cubicBezTo>
                    <a:lnTo>
                      <a:pt x="2045" y="16637"/>
                    </a:lnTo>
                    <a:cubicBezTo>
                      <a:pt x="2045" y="17709"/>
                      <a:pt x="2855" y="18582"/>
                      <a:pt x="3915" y="18682"/>
                    </a:cubicBezTo>
                    <a:lnTo>
                      <a:pt x="29714" y="20988"/>
                    </a:lnTo>
                    <a:cubicBezTo>
                      <a:pt x="30300" y="21038"/>
                      <a:pt x="30849" y="20851"/>
                      <a:pt x="31285" y="20452"/>
                    </a:cubicBezTo>
                    <a:cubicBezTo>
                      <a:pt x="31721" y="20053"/>
                      <a:pt x="31958" y="19517"/>
                      <a:pt x="31958" y="18931"/>
                    </a:cubicBezTo>
                    <a:lnTo>
                      <a:pt x="31958" y="6400"/>
                    </a:lnTo>
                    <a:cubicBezTo>
                      <a:pt x="31958" y="5327"/>
                      <a:pt x="31148" y="4454"/>
                      <a:pt x="30088" y="4355"/>
                    </a:cubicBezTo>
                    <a:lnTo>
                      <a:pt x="4289" y="2048"/>
                    </a:lnTo>
                    <a:cubicBezTo>
                      <a:pt x="4227" y="2048"/>
                      <a:pt x="4164" y="2048"/>
                      <a:pt x="4102" y="2048"/>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95" name="Freeform: Shape 3494">
                <a:extLst>
                  <a:ext uri="{FF2B5EF4-FFF2-40B4-BE49-F238E27FC236}">
                    <a16:creationId xmlns:a16="http://schemas.microsoft.com/office/drawing/2014/main" id="{1F00E03A-CDF5-4A9C-50F0-520C78B164EA}"/>
                  </a:ext>
                </a:extLst>
              </p:cNvPr>
              <p:cNvSpPr/>
              <p:nvPr/>
            </p:nvSpPr>
            <p:spPr>
              <a:xfrm>
                <a:off x="6694698" y="1193846"/>
                <a:ext cx="15744" cy="4819"/>
              </a:xfrm>
              <a:custGeom>
                <a:avLst/>
                <a:gdLst>
                  <a:gd name="connsiteX0" fmla="*/ 14731 w 15744"/>
                  <a:gd name="connsiteY0" fmla="*/ 4820 h 4819"/>
                  <a:gd name="connsiteX1" fmla="*/ 14120 w 15744"/>
                  <a:gd name="connsiteY1" fmla="*/ 4621 h 4819"/>
                  <a:gd name="connsiteX2" fmla="*/ 1551 w 15744"/>
                  <a:gd name="connsiteY2" fmla="*/ 3311 h 4819"/>
                  <a:gd name="connsiteX3" fmla="*/ 142 w 15744"/>
                  <a:gd name="connsiteY3" fmla="*/ 2937 h 4819"/>
                  <a:gd name="connsiteX4" fmla="*/ 503 w 15744"/>
                  <a:gd name="connsiteY4" fmla="*/ 1541 h 4819"/>
                  <a:gd name="connsiteX5" fmla="*/ 15329 w 15744"/>
                  <a:gd name="connsiteY5" fmla="*/ 2975 h 4819"/>
                  <a:gd name="connsiteX6" fmla="*/ 15541 w 15744"/>
                  <a:gd name="connsiteY6" fmla="*/ 4408 h 4819"/>
                  <a:gd name="connsiteX7" fmla="*/ 14718 w 15744"/>
                  <a:gd name="connsiteY7" fmla="*/ 4820 h 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44" h="4819">
                    <a:moveTo>
                      <a:pt x="14731" y="4820"/>
                    </a:moveTo>
                    <a:cubicBezTo>
                      <a:pt x="14519" y="4820"/>
                      <a:pt x="14307" y="4758"/>
                      <a:pt x="14120" y="4621"/>
                    </a:cubicBezTo>
                    <a:cubicBezTo>
                      <a:pt x="7698" y="-143"/>
                      <a:pt x="1800" y="3174"/>
                      <a:pt x="1551" y="3311"/>
                    </a:cubicBezTo>
                    <a:cubicBezTo>
                      <a:pt x="1064" y="3598"/>
                      <a:pt x="429" y="3423"/>
                      <a:pt x="142" y="2937"/>
                    </a:cubicBezTo>
                    <a:cubicBezTo>
                      <a:pt x="-145" y="2451"/>
                      <a:pt x="17" y="1827"/>
                      <a:pt x="503" y="1541"/>
                    </a:cubicBezTo>
                    <a:cubicBezTo>
                      <a:pt x="803" y="1366"/>
                      <a:pt x="7798" y="-2624"/>
                      <a:pt x="15329" y="2975"/>
                    </a:cubicBezTo>
                    <a:cubicBezTo>
                      <a:pt x="15791" y="3311"/>
                      <a:pt x="15878" y="3960"/>
                      <a:pt x="15541" y="4408"/>
                    </a:cubicBezTo>
                    <a:cubicBezTo>
                      <a:pt x="15342" y="4683"/>
                      <a:pt x="15030" y="4820"/>
                      <a:pt x="14718" y="4820"/>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96" name="Freeform: Shape 3495">
                <a:extLst>
                  <a:ext uri="{FF2B5EF4-FFF2-40B4-BE49-F238E27FC236}">
                    <a16:creationId xmlns:a16="http://schemas.microsoft.com/office/drawing/2014/main" id="{8A42EFF2-A569-872C-E283-CE647C1040CE}"/>
                  </a:ext>
                </a:extLst>
              </p:cNvPr>
              <p:cNvSpPr/>
              <p:nvPr/>
            </p:nvSpPr>
            <p:spPr>
              <a:xfrm>
                <a:off x="6741060" y="1189186"/>
                <a:ext cx="29894" cy="12447"/>
              </a:xfrm>
              <a:custGeom>
                <a:avLst/>
                <a:gdLst>
                  <a:gd name="connsiteX0" fmla="*/ 1025 w 29894"/>
                  <a:gd name="connsiteY0" fmla="*/ 12447 h 12447"/>
                  <a:gd name="connsiteX1" fmla="*/ 65 w 29894"/>
                  <a:gd name="connsiteY1" fmla="*/ 11774 h 12447"/>
                  <a:gd name="connsiteX2" fmla="*/ 664 w 29894"/>
                  <a:gd name="connsiteY2" fmla="*/ 10452 h 12447"/>
                  <a:gd name="connsiteX3" fmla="*/ 28507 w 29894"/>
                  <a:gd name="connsiteY3" fmla="*/ 65 h 12447"/>
                  <a:gd name="connsiteX4" fmla="*/ 29829 w 29894"/>
                  <a:gd name="connsiteY4" fmla="*/ 664 h 12447"/>
                  <a:gd name="connsiteX5" fmla="*/ 29231 w 29894"/>
                  <a:gd name="connsiteY5" fmla="*/ 1986 h 12447"/>
                  <a:gd name="connsiteX6" fmla="*/ 1375 w 29894"/>
                  <a:gd name="connsiteY6" fmla="*/ 12372 h 12447"/>
                  <a:gd name="connsiteX7" fmla="*/ 1013 w 29894"/>
                  <a:gd name="connsiteY7" fmla="*/ 12435 h 1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4" h="12447">
                    <a:moveTo>
                      <a:pt x="1025" y="12447"/>
                    </a:moveTo>
                    <a:cubicBezTo>
                      <a:pt x="614" y="12447"/>
                      <a:pt x="215" y="12198"/>
                      <a:pt x="65" y="11774"/>
                    </a:cubicBezTo>
                    <a:cubicBezTo>
                      <a:pt x="-134" y="11238"/>
                      <a:pt x="140" y="10652"/>
                      <a:pt x="664" y="10452"/>
                    </a:cubicBezTo>
                    <a:lnTo>
                      <a:pt x="28507" y="65"/>
                    </a:lnTo>
                    <a:cubicBezTo>
                      <a:pt x="29044" y="-134"/>
                      <a:pt x="29630" y="140"/>
                      <a:pt x="29829" y="664"/>
                    </a:cubicBezTo>
                    <a:cubicBezTo>
                      <a:pt x="30028" y="1200"/>
                      <a:pt x="29754" y="1786"/>
                      <a:pt x="29231" y="1986"/>
                    </a:cubicBezTo>
                    <a:lnTo>
                      <a:pt x="1375" y="12372"/>
                    </a:lnTo>
                    <a:cubicBezTo>
                      <a:pt x="1250" y="12422"/>
                      <a:pt x="1138" y="12435"/>
                      <a:pt x="1013" y="12435"/>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97" name="Graphic 525">
              <a:extLst>
                <a:ext uri="{FF2B5EF4-FFF2-40B4-BE49-F238E27FC236}">
                  <a16:creationId xmlns:a16="http://schemas.microsoft.com/office/drawing/2014/main" id="{7448E672-066B-F967-3706-0B585E54E57C}"/>
                </a:ext>
              </a:extLst>
            </p:cNvPr>
            <p:cNvGrpSpPr/>
            <p:nvPr/>
          </p:nvGrpSpPr>
          <p:grpSpPr>
            <a:xfrm>
              <a:off x="4443176" y="1452253"/>
              <a:ext cx="22725" cy="30716"/>
              <a:chOff x="6759049" y="1186851"/>
              <a:chExt cx="27407" cy="37045"/>
            </a:xfrm>
          </p:grpSpPr>
          <p:sp>
            <p:nvSpPr>
              <p:cNvPr id="3498" name="Freeform: Shape 3497">
                <a:extLst>
                  <a:ext uri="{FF2B5EF4-FFF2-40B4-BE49-F238E27FC236}">
                    <a16:creationId xmlns:a16="http://schemas.microsoft.com/office/drawing/2014/main" id="{BF386C1B-1E19-F37E-E195-A577C14CDBAD}"/>
                  </a:ext>
                </a:extLst>
              </p:cNvPr>
              <p:cNvSpPr/>
              <p:nvPr/>
            </p:nvSpPr>
            <p:spPr>
              <a:xfrm>
                <a:off x="6759049" y="1186851"/>
                <a:ext cx="27407" cy="37045"/>
              </a:xfrm>
              <a:custGeom>
                <a:avLst/>
                <a:gdLst>
                  <a:gd name="connsiteX0" fmla="*/ 3012 w 27407"/>
                  <a:gd name="connsiteY0" fmla="*/ 11790 h 37045"/>
                  <a:gd name="connsiteX1" fmla="*/ 22314 w 27407"/>
                  <a:gd name="connsiteY1" fmla="*/ 941 h 37045"/>
                  <a:gd name="connsiteX2" fmla="*/ 6304 w 27407"/>
                  <a:gd name="connsiteY2" fmla="*/ 36715 h 37045"/>
                  <a:gd name="connsiteX3" fmla="*/ 3000 w 27407"/>
                  <a:gd name="connsiteY3" fmla="*/ 11790 h 37045"/>
                </a:gdLst>
                <a:ahLst/>
                <a:cxnLst>
                  <a:cxn ang="0">
                    <a:pos x="connsiteX0" y="connsiteY0"/>
                  </a:cxn>
                  <a:cxn ang="0">
                    <a:pos x="connsiteX1" y="connsiteY1"/>
                  </a:cxn>
                  <a:cxn ang="0">
                    <a:pos x="connsiteX2" y="connsiteY2"/>
                  </a:cxn>
                  <a:cxn ang="0">
                    <a:pos x="connsiteX3" y="connsiteY3"/>
                  </a:cxn>
                </a:cxnLst>
                <a:rect l="l" t="t" r="r" b="b"/>
                <a:pathLst>
                  <a:path w="27407" h="37045">
                    <a:moveTo>
                      <a:pt x="3012" y="11790"/>
                    </a:moveTo>
                    <a:cubicBezTo>
                      <a:pt x="3012" y="11790"/>
                      <a:pt x="8299" y="-3946"/>
                      <a:pt x="22314" y="941"/>
                    </a:cubicBezTo>
                    <a:cubicBezTo>
                      <a:pt x="36342" y="5829"/>
                      <a:pt x="18200" y="40793"/>
                      <a:pt x="6304" y="36715"/>
                    </a:cubicBezTo>
                    <a:cubicBezTo>
                      <a:pt x="-5591" y="32638"/>
                      <a:pt x="3000" y="11790"/>
                      <a:pt x="3000" y="1179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499" name="Graphic 525">
                <a:extLst>
                  <a:ext uri="{FF2B5EF4-FFF2-40B4-BE49-F238E27FC236}">
                    <a16:creationId xmlns:a16="http://schemas.microsoft.com/office/drawing/2014/main" id="{F5AD472D-CEC1-25F2-69E1-96A8555306BA}"/>
                  </a:ext>
                </a:extLst>
              </p:cNvPr>
              <p:cNvGrpSpPr/>
              <p:nvPr/>
            </p:nvGrpSpPr>
            <p:grpSpPr>
              <a:xfrm>
                <a:off x="6766585" y="1196349"/>
                <a:ext cx="11771" cy="19586"/>
                <a:chOff x="6766585" y="1196349"/>
                <a:chExt cx="11771" cy="19586"/>
              </a:xfrm>
              <a:solidFill>
                <a:srgbClr val="E57E73"/>
              </a:solidFill>
            </p:grpSpPr>
            <p:sp>
              <p:nvSpPr>
                <p:cNvPr id="3500" name="Freeform: Shape 3499">
                  <a:extLst>
                    <a:ext uri="{FF2B5EF4-FFF2-40B4-BE49-F238E27FC236}">
                      <a16:creationId xmlns:a16="http://schemas.microsoft.com/office/drawing/2014/main" id="{3501FEBE-9660-F911-AA67-60AA1EE9AA99}"/>
                    </a:ext>
                  </a:extLst>
                </p:cNvPr>
                <p:cNvSpPr/>
                <p:nvPr/>
              </p:nvSpPr>
              <p:spPr>
                <a:xfrm>
                  <a:off x="6766585" y="1196349"/>
                  <a:ext cx="10561" cy="19586"/>
                </a:xfrm>
                <a:custGeom>
                  <a:avLst/>
                  <a:gdLst>
                    <a:gd name="connsiteX0" fmla="*/ 1311 w 10561"/>
                    <a:gd name="connsiteY0" fmla="*/ 19586 h 19586"/>
                    <a:gd name="connsiteX1" fmla="*/ 2558 w 10561"/>
                    <a:gd name="connsiteY1" fmla="*/ 18277 h 19586"/>
                    <a:gd name="connsiteX2" fmla="*/ 9691 w 10561"/>
                    <a:gd name="connsiteY2" fmla="*/ 2478 h 19586"/>
                    <a:gd name="connsiteX3" fmla="*/ 10501 w 10561"/>
                    <a:gd name="connsiteY3" fmla="*/ 882 h 19586"/>
                    <a:gd name="connsiteX4" fmla="*/ 8917 w 10561"/>
                    <a:gd name="connsiteY4" fmla="*/ 59 h 19586"/>
                    <a:gd name="connsiteX5" fmla="*/ 15 w 10561"/>
                    <a:gd name="connsiteY5" fmla="*/ 18352 h 19586"/>
                    <a:gd name="connsiteX6" fmla="*/ 1299 w 10561"/>
                    <a:gd name="connsiteY6" fmla="*/ 19586 h 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1" h="19586">
                      <a:moveTo>
                        <a:pt x="1311" y="19586"/>
                      </a:moveTo>
                      <a:cubicBezTo>
                        <a:pt x="2034" y="19561"/>
                        <a:pt x="2583" y="18987"/>
                        <a:pt x="2558" y="18277"/>
                      </a:cubicBezTo>
                      <a:cubicBezTo>
                        <a:pt x="2184" y="5122"/>
                        <a:pt x="9391" y="2578"/>
                        <a:pt x="9691" y="2478"/>
                      </a:cubicBezTo>
                      <a:cubicBezTo>
                        <a:pt x="10352" y="2254"/>
                        <a:pt x="10713" y="1543"/>
                        <a:pt x="10501" y="882"/>
                      </a:cubicBezTo>
                      <a:cubicBezTo>
                        <a:pt x="10289" y="222"/>
                        <a:pt x="9578" y="-153"/>
                        <a:pt x="8917" y="59"/>
                      </a:cubicBezTo>
                      <a:cubicBezTo>
                        <a:pt x="8531" y="184"/>
                        <a:pt x="-409" y="3177"/>
                        <a:pt x="15" y="18352"/>
                      </a:cubicBezTo>
                      <a:cubicBezTo>
                        <a:pt x="40" y="19050"/>
                        <a:pt x="613" y="19598"/>
                        <a:pt x="1299" y="19586"/>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1" name="Freeform: Shape 3500">
                  <a:extLst>
                    <a:ext uri="{FF2B5EF4-FFF2-40B4-BE49-F238E27FC236}">
                      <a16:creationId xmlns:a16="http://schemas.microsoft.com/office/drawing/2014/main" id="{2E42B67A-97AE-AFFE-63DF-DA9E14E75AC2}"/>
                    </a:ext>
                  </a:extLst>
                </p:cNvPr>
                <p:cNvSpPr/>
                <p:nvPr/>
              </p:nvSpPr>
              <p:spPr>
                <a:xfrm>
                  <a:off x="6767387" y="1205497"/>
                  <a:ext cx="10970" cy="4727"/>
                </a:xfrm>
                <a:custGeom>
                  <a:avLst/>
                  <a:gdLst>
                    <a:gd name="connsiteX0" fmla="*/ 1283 w 10970"/>
                    <a:gd name="connsiteY0" fmla="*/ 4715 h 4727"/>
                    <a:gd name="connsiteX1" fmla="*/ 2106 w 10970"/>
                    <a:gd name="connsiteY1" fmla="*/ 4404 h 4727"/>
                    <a:gd name="connsiteX2" fmla="*/ 9163 w 10970"/>
                    <a:gd name="connsiteY2" fmla="*/ 2995 h 4727"/>
                    <a:gd name="connsiteX3" fmla="*/ 10847 w 10970"/>
                    <a:gd name="connsiteY3" fmla="*/ 2396 h 4727"/>
                    <a:gd name="connsiteX4" fmla="*/ 10261 w 10970"/>
                    <a:gd name="connsiteY4" fmla="*/ 713 h 4727"/>
                    <a:gd name="connsiteX5" fmla="*/ 435 w 10970"/>
                    <a:gd name="connsiteY5" fmla="*/ 2496 h 4727"/>
                    <a:gd name="connsiteX6" fmla="*/ 310 w 10970"/>
                    <a:gd name="connsiteY6" fmla="*/ 4291 h 4727"/>
                    <a:gd name="connsiteX7" fmla="*/ 1283 w 10970"/>
                    <a:gd name="connsiteY7" fmla="*/ 4728 h 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0" h="4727">
                      <a:moveTo>
                        <a:pt x="1283" y="4715"/>
                      </a:moveTo>
                      <a:cubicBezTo>
                        <a:pt x="1570" y="4715"/>
                        <a:pt x="1869" y="4603"/>
                        <a:pt x="2106" y="4404"/>
                      </a:cubicBezTo>
                      <a:cubicBezTo>
                        <a:pt x="5572" y="1374"/>
                        <a:pt x="9014" y="2932"/>
                        <a:pt x="9163" y="2995"/>
                      </a:cubicBezTo>
                      <a:cubicBezTo>
                        <a:pt x="9799" y="3294"/>
                        <a:pt x="10547" y="3020"/>
                        <a:pt x="10847" y="2396"/>
                      </a:cubicBezTo>
                      <a:cubicBezTo>
                        <a:pt x="11146" y="1760"/>
                        <a:pt x="10884" y="1012"/>
                        <a:pt x="10261" y="713"/>
                      </a:cubicBezTo>
                      <a:cubicBezTo>
                        <a:pt x="10061" y="613"/>
                        <a:pt x="5198" y="-1669"/>
                        <a:pt x="435" y="2496"/>
                      </a:cubicBezTo>
                      <a:cubicBezTo>
                        <a:pt x="-89" y="2957"/>
                        <a:pt x="-151" y="3755"/>
                        <a:pt x="310" y="4291"/>
                      </a:cubicBezTo>
                      <a:cubicBezTo>
                        <a:pt x="560" y="4578"/>
                        <a:pt x="921" y="4728"/>
                        <a:pt x="1283" y="4728"/>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503" name="Freeform: Shape 3502">
              <a:extLst>
                <a:ext uri="{FF2B5EF4-FFF2-40B4-BE49-F238E27FC236}">
                  <a16:creationId xmlns:a16="http://schemas.microsoft.com/office/drawing/2014/main" id="{0B1F3BD9-7DFB-B950-3364-3DEF29F0B7EA}"/>
                </a:ext>
              </a:extLst>
            </p:cNvPr>
            <p:cNvSpPr/>
            <p:nvPr/>
          </p:nvSpPr>
          <p:spPr>
            <a:xfrm>
              <a:off x="4145744" y="1503682"/>
              <a:ext cx="151019" cy="151305"/>
            </a:xfrm>
            <a:custGeom>
              <a:avLst/>
              <a:gdLst>
                <a:gd name="connsiteX0" fmla="*/ 85138 w 182136"/>
                <a:gd name="connsiteY0" fmla="*/ 377 h 182480"/>
                <a:gd name="connsiteX1" fmla="*/ 2642 w 182136"/>
                <a:gd name="connsiteY1" fmla="*/ 36724 h 182480"/>
                <a:gd name="connsiteX2" fmla="*/ 660 w 182136"/>
                <a:gd name="connsiteY2" fmla="*/ 43108 h 182480"/>
                <a:gd name="connsiteX3" fmla="*/ 85474 w 182136"/>
                <a:gd name="connsiteY3" fmla="*/ 180381 h 182480"/>
                <a:gd name="connsiteX4" fmla="*/ 89427 w 182136"/>
                <a:gd name="connsiteY4" fmla="*/ 182476 h 182480"/>
                <a:gd name="connsiteX5" fmla="*/ 177883 w 182136"/>
                <a:gd name="connsiteY5" fmla="*/ 178772 h 182480"/>
                <a:gd name="connsiteX6" fmla="*/ 181611 w 182136"/>
                <a:gd name="connsiteY6" fmla="*/ 172263 h 182480"/>
                <a:gd name="connsiteX7" fmla="*/ 90823 w 182136"/>
                <a:gd name="connsiteY7" fmla="*/ 2347 h 182480"/>
                <a:gd name="connsiteX8" fmla="*/ 85125 w 182136"/>
                <a:gd name="connsiteY8" fmla="*/ 377 h 18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36" h="182480">
                  <a:moveTo>
                    <a:pt x="85138" y="377"/>
                  </a:moveTo>
                  <a:lnTo>
                    <a:pt x="2642" y="36724"/>
                  </a:lnTo>
                  <a:cubicBezTo>
                    <a:pt x="186" y="37809"/>
                    <a:pt x="-750" y="40814"/>
                    <a:pt x="660" y="43108"/>
                  </a:cubicBezTo>
                  <a:lnTo>
                    <a:pt x="85474" y="180381"/>
                  </a:lnTo>
                  <a:cubicBezTo>
                    <a:pt x="86322" y="181740"/>
                    <a:pt x="87831" y="182550"/>
                    <a:pt x="89427" y="182476"/>
                  </a:cubicBezTo>
                  <a:lnTo>
                    <a:pt x="177883" y="178772"/>
                  </a:lnTo>
                  <a:cubicBezTo>
                    <a:pt x="181150" y="178635"/>
                    <a:pt x="183145" y="175131"/>
                    <a:pt x="181611" y="172263"/>
                  </a:cubicBezTo>
                  <a:lnTo>
                    <a:pt x="90823" y="2347"/>
                  </a:lnTo>
                  <a:cubicBezTo>
                    <a:pt x="89726" y="302"/>
                    <a:pt x="87245" y="-558"/>
                    <a:pt x="85125" y="377"/>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4" name="Freeform: Shape 3503">
              <a:extLst>
                <a:ext uri="{FF2B5EF4-FFF2-40B4-BE49-F238E27FC236}">
                  <a16:creationId xmlns:a16="http://schemas.microsoft.com/office/drawing/2014/main" id="{CA3C5977-FF56-CAC2-BCC2-20D623B2E77E}"/>
                </a:ext>
              </a:extLst>
            </p:cNvPr>
            <p:cNvSpPr/>
            <p:nvPr/>
          </p:nvSpPr>
          <p:spPr>
            <a:xfrm>
              <a:off x="4142343" y="1505181"/>
              <a:ext cx="151019" cy="151305"/>
            </a:xfrm>
            <a:custGeom>
              <a:avLst/>
              <a:gdLst>
                <a:gd name="connsiteX0" fmla="*/ 85138 w 182136"/>
                <a:gd name="connsiteY0" fmla="*/ 377 h 182480"/>
                <a:gd name="connsiteX1" fmla="*/ 2642 w 182136"/>
                <a:gd name="connsiteY1" fmla="*/ 36724 h 182480"/>
                <a:gd name="connsiteX2" fmla="*/ 660 w 182136"/>
                <a:gd name="connsiteY2" fmla="*/ 43108 h 182480"/>
                <a:gd name="connsiteX3" fmla="*/ 85474 w 182136"/>
                <a:gd name="connsiteY3" fmla="*/ 180381 h 182480"/>
                <a:gd name="connsiteX4" fmla="*/ 89427 w 182136"/>
                <a:gd name="connsiteY4" fmla="*/ 182475 h 182480"/>
                <a:gd name="connsiteX5" fmla="*/ 177883 w 182136"/>
                <a:gd name="connsiteY5" fmla="*/ 178772 h 182480"/>
                <a:gd name="connsiteX6" fmla="*/ 181611 w 182136"/>
                <a:gd name="connsiteY6" fmla="*/ 172263 h 182480"/>
                <a:gd name="connsiteX7" fmla="*/ 90824 w 182136"/>
                <a:gd name="connsiteY7" fmla="*/ 2347 h 182480"/>
                <a:gd name="connsiteX8" fmla="*/ 85125 w 182136"/>
                <a:gd name="connsiteY8" fmla="*/ 377 h 18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36" h="182480">
                  <a:moveTo>
                    <a:pt x="85138" y="377"/>
                  </a:moveTo>
                  <a:lnTo>
                    <a:pt x="2642" y="36724"/>
                  </a:lnTo>
                  <a:cubicBezTo>
                    <a:pt x="186" y="37809"/>
                    <a:pt x="-750" y="40814"/>
                    <a:pt x="660" y="43108"/>
                  </a:cubicBezTo>
                  <a:lnTo>
                    <a:pt x="85474" y="180381"/>
                  </a:lnTo>
                  <a:cubicBezTo>
                    <a:pt x="86322" y="181740"/>
                    <a:pt x="87831" y="182550"/>
                    <a:pt x="89427" y="182475"/>
                  </a:cubicBezTo>
                  <a:lnTo>
                    <a:pt x="177883" y="178772"/>
                  </a:lnTo>
                  <a:cubicBezTo>
                    <a:pt x="181150" y="178635"/>
                    <a:pt x="183145" y="175144"/>
                    <a:pt x="181611" y="172263"/>
                  </a:cubicBezTo>
                  <a:lnTo>
                    <a:pt x="90824" y="2347"/>
                  </a:lnTo>
                  <a:cubicBezTo>
                    <a:pt x="89726" y="302"/>
                    <a:pt x="87245" y="-558"/>
                    <a:pt x="85125" y="37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5" name="Freeform: Shape 3504">
              <a:extLst>
                <a:ext uri="{FF2B5EF4-FFF2-40B4-BE49-F238E27FC236}">
                  <a16:creationId xmlns:a16="http://schemas.microsoft.com/office/drawing/2014/main" id="{DCB19C04-4F30-6CF0-D039-920989A744F5}"/>
                </a:ext>
              </a:extLst>
            </p:cNvPr>
            <p:cNvSpPr/>
            <p:nvPr/>
          </p:nvSpPr>
          <p:spPr>
            <a:xfrm>
              <a:off x="4185410" y="1547501"/>
              <a:ext cx="106392" cy="93494"/>
            </a:xfrm>
            <a:custGeom>
              <a:avLst/>
              <a:gdLst>
                <a:gd name="connsiteX0" fmla="*/ 124308 w 128314"/>
                <a:gd name="connsiteY0" fmla="*/ 81885 h 112758"/>
                <a:gd name="connsiteX1" fmla="*/ 106851 w 128314"/>
                <a:gd name="connsiteY1" fmla="*/ 48505 h 112758"/>
                <a:gd name="connsiteX2" fmla="*/ 94519 w 128314"/>
                <a:gd name="connsiteY2" fmla="*/ 12045 h 112758"/>
                <a:gd name="connsiteX3" fmla="*/ 69968 w 128314"/>
                <a:gd name="connsiteY3" fmla="*/ 0 h 112758"/>
                <a:gd name="connsiteX4" fmla="*/ 80529 w 128314"/>
                <a:gd name="connsiteY4" fmla="*/ 19788 h 112758"/>
                <a:gd name="connsiteX5" fmla="*/ 80143 w 128314"/>
                <a:gd name="connsiteY5" fmla="*/ 34652 h 112758"/>
                <a:gd name="connsiteX6" fmla="*/ 33097 w 128314"/>
                <a:gd name="connsiteY6" fmla="*/ 15773 h 112758"/>
                <a:gd name="connsiteX7" fmla="*/ 3420 w 128314"/>
                <a:gd name="connsiteY7" fmla="*/ 7332 h 112758"/>
                <a:gd name="connsiteX8" fmla="*/ 7722 w 128314"/>
                <a:gd name="connsiteY8" fmla="*/ 17195 h 112758"/>
                <a:gd name="connsiteX9" fmla="*/ 16 w 128314"/>
                <a:gd name="connsiteY9" fmla="*/ 19764 h 112758"/>
                <a:gd name="connsiteX10" fmla="*/ 11313 w 128314"/>
                <a:gd name="connsiteY10" fmla="*/ 34652 h 112758"/>
                <a:gd name="connsiteX11" fmla="*/ 6687 w 128314"/>
                <a:gd name="connsiteY11" fmla="*/ 37220 h 112758"/>
                <a:gd name="connsiteX12" fmla="*/ 17473 w 128314"/>
                <a:gd name="connsiteY12" fmla="*/ 51086 h 112758"/>
                <a:gd name="connsiteX13" fmla="*/ 51888 w 128314"/>
                <a:gd name="connsiteY13" fmla="*/ 74715 h 112758"/>
                <a:gd name="connsiteX14" fmla="*/ 89893 w 128314"/>
                <a:gd name="connsiteY14" fmla="*/ 103481 h 112758"/>
                <a:gd name="connsiteX15" fmla="*/ 112487 w 128314"/>
                <a:gd name="connsiteY15" fmla="*/ 112721 h 112758"/>
                <a:gd name="connsiteX16" fmla="*/ 124296 w 128314"/>
                <a:gd name="connsiteY16" fmla="*/ 81910 h 11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314" h="112758">
                  <a:moveTo>
                    <a:pt x="124308" y="81885"/>
                  </a:moveTo>
                  <a:cubicBezTo>
                    <a:pt x="116602" y="70076"/>
                    <a:pt x="108896" y="63393"/>
                    <a:pt x="106851" y="48505"/>
                  </a:cubicBezTo>
                  <a:cubicBezTo>
                    <a:pt x="104794" y="33604"/>
                    <a:pt x="103771" y="21796"/>
                    <a:pt x="94519" y="12045"/>
                  </a:cubicBezTo>
                  <a:cubicBezTo>
                    <a:pt x="86140" y="3205"/>
                    <a:pt x="72262" y="474"/>
                    <a:pt x="69968" y="0"/>
                  </a:cubicBezTo>
                  <a:lnTo>
                    <a:pt x="80529" y="19788"/>
                  </a:lnTo>
                  <a:cubicBezTo>
                    <a:pt x="81577" y="21871"/>
                    <a:pt x="87574" y="31846"/>
                    <a:pt x="80143" y="34652"/>
                  </a:cubicBezTo>
                  <a:cubicBezTo>
                    <a:pt x="72998" y="37358"/>
                    <a:pt x="51588" y="25537"/>
                    <a:pt x="33097" y="15773"/>
                  </a:cubicBezTo>
                  <a:cubicBezTo>
                    <a:pt x="14605" y="6010"/>
                    <a:pt x="5428" y="3703"/>
                    <a:pt x="3420" y="7332"/>
                  </a:cubicBezTo>
                  <a:cubicBezTo>
                    <a:pt x="889" y="11908"/>
                    <a:pt x="7722" y="17195"/>
                    <a:pt x="7722" y="17195"/>
                  </a:cubicBezTo>
                  <a:cubicBezTo>
                    <a:pt x="7722" y="17195"/>
                    <a:pt x="528" y="13604"/>
                    <a:pt x="16" y="19764"/>
                  </a:cubicBezTo>
                  <a:cubicBezTo>
                    <a:pt x="-495" y="25923"/>
                    <a:pt x="11313" y="34652"/>
                    <a:pt x="11313" y="34652"/>
                  </a:cubicBezTo>
                  <a:cubicBezTo>
                    <a:pt x="11313" y="34652"/>
                    <a:pt x="7722" y="32083"/>
                    <a:pt x="6687" y="37220"/>
                  </a:cubicBezTo>
                  <a:cubicBezTo>
                    <a:pt x="5665" y="42358"/>
                    <a:pt x="17473" y="51086"/>
                    <a:pt x="17473" y="51086"/>
                  </a:cubicBezTo>
                  <a:cubicBezTo>
                    <a:pt x="13358" y="58281"/>
                    <a:pt x="27548" y="65762"/>
                    <a:pt x="51888" y="74715"/>
                  </a:cubicBezTo>
                  <a:cubicBezTo>
                    <a:pt x="67748" y="80538"/>
                    <a:pt x="79107" y="93206"/>
                    <a:pt x="89893" y="103481"/>
                  </a:cubicBezTo>
                  <a:cubicBezTo>
                    <a:pt x="100679" y="113755"/>
                    <a:pt x="112487" y="112721"/>
                    <a:pt x="112487" y="112721"/>
                  </a:cubicBezTo>
                  <a:cubicBezTo>
                    <a:pt x="128922" y="113743"/>
                    <a:pt x="132002" y="93718"/>
                    <a:pt x="124296" y="8191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6" name="Freeform: Shape 3505">
              <a:extLst>
                <a:ext uri="{FF2B5EF4-FFF2-40B4-BE49-F238E27FC236}">
                  <a16:creationId xmlns:a16="http://schemas.microsoft.com/office/drawing/2014/main" id="{9539FD88-F1D8-ECC5-FE1F-52EFE29D520A}"/>
                </a:ext>
              </a:extLst>
            </p:cNvPr>
            <p:cNvSpPr/>
            <p:nvPr/>
          </p:nvSpPr>
          <p:spPr>
            <a:xfrm>
              <a:off x="4191741" y="1561644"/>
              <a:ext cx="35492" cy="16242"/>
            </a:xfrm>
            <a:custGeom>
              <a:avLst/>
              <a:gdLst>
                <a:gd name="connsiteX0" fmla="*/ 149 w 42805"/>
                <a:gd name="connsiteY0" fmla="*/ 0 h 19588"/>
                <a:gd name="connsiteX1" fmla="*/ 21608 w 42805"/>
                <a:gd name="connsiteY1" fmla="*/ 9339 h 19588"/>
                <a:gd name="connsiteX2" fmla="*/ 24302 w 42805"/>
                <a:gd name="connsiteY2" fmla="*/ 10474 h 19588"/>
                <a:gd name="connsiteX3" fmla="*/ 27008 w 42805"/>
                <a:gd name="connsiteY3" fmla="*/ 11571 h 19588"/>
                <a:gd name="connsiteX4" fmla="*/ 32344 w 42805"/>
                <a:gd name="connsiteY4" fmla="*/ 13940 h 19588"/>
                <a:gd name="connsiteX5" fmla="*/ 37569 w 42805"/>
                <a:gd name="connsiteY5" fmla="*/ 16559 h 19588"/>
                <a:gd name="connsiteX6" fmla="*/ 40162 w 42805"/>
                <a:gd name="connsiteY6" fmla="*/ 17918 h 19588"/>
                <a:gd name="connsiteX7" fmla="*/ 42744 w 42805"/>
                <a:gd name="connsiteY7" fmla="*/ 19352 h 19588"/>
                <a:gd name="connsiteX8" fmla="*/ 42793 w 42805"/>
                <a:gd name="connsiteY8" fmla="*/ 19527 h 19588"/>
                <a:gd name="connsiteX9" fmla="*/ 42669 w 42805"/>
                <a:gd name="connsiteY9" fmla="*/ 19589 h 19588"/>
                <a:gd name="connsiteX10" fmla="*/ 39776 w 42805"/>
                <a:gd name="connsiteY10" fmla="*/ 18953 h 19588"/>
                <a:gd name="connsiteX11" fmla="*/ 36945 w 42805"/>
                <a:gd name="connsiteY11" fmla="*/ 18130 h 19588"/>
                <a:gd name="connsiteX12" fmla="*/ 31409 w 42805"/>
                <a:gd name="connsiteY12" fmla="*/ 16147 h 19588"/>
                <a:gd name="connsiteX13" fmla="*/ 26060 w 42805"/>
                <a:gd name="connsiteY13" fmla="*/ 13753 h 19588"/>
                <a:gd name="connsiteX14" fmla="*/ 20823 w 42805"/>
                <a:gd name="connsiteY14" fmla="*/ 11098 h 19588"/>
                <a:gd name="connsiteX15" fmla="*/ 15586 w 42805"/>
                <a:gd name="connsiteY15" fmla="*/ 8467 h 19588"/>
                <a:gd name="connsiteX16" fmla="*/ 10386 w 42805"/>
                <a:gd name="connsiteY16" fmla="*/ 5773 h 19588"/>
                <a:gd name="connsiteX17" fmla="*/ 62 w 42805"/>
                <a:gd name="connsiteY17" fmla="*/ 224 h 19588"/>
                <a:gd name="connsiteX18" fmla="*/ 12 w 42805"/>
                <a:gd name="connsiteY18" fmla="*/ 62 h 19588"/>
                <a:gd name="connsiteX19" fmla="*/ 162 w 42805"/>
                <a:gd name="connsiteY19" fmla="*/ 12 h 1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805" h="19588">
                  <a:moveTo>
                    <a:pt x="149" y="0"/>
                  </a:moveTo>
                  <a:lnTo>
                    <a:pt x="21608" y="9339"/>
                  </a:lnTo>
                  <a:lnTo>
                    <a:pt x="24302" y="10474"/>
                  </a:lnTo>
                  <a:lnTo>
                    <a:pt x="27008" y="11571"/>
                  </a:lnTo>
                  <a:cubicBezTo>
                    <a:pt x="28815" y="12295"/>
                    <a:pt x="30586" y="13105"/>
                    <a:pt x="32344" y="13940"/>
                  </a:cubicBezTo>
                  <a:cubicBezTo>
                    <a:pt x="34102" y="14788"/>
                    <a:pt x="35836" y="15649"/>
                    <a:pt x="37569" y="16559"/>
                  </a:cubicBezTo>
                  <a:cubicBezTo>
                    <a:pt x="38442" y="16995"/>
                    <a:pt x="39302" y="17457"/>
                    <a:pt x="40162" y="17918"/>
                  </a:cubicBezTo>
                  <a:cubicBezTo>
                    <a:pt x="41023" y="18379"/>
                    <a:pt x="41896" y="18841"/>
                    <a:pt x="42744" y="19352"/>
                  </a:cubicBezTo>
                  <a:cubicBezTo>
                    <a:pt x="42806" y="19389"/>
                    <a:pt x="42818" y="19464"/>
                    <a:pt x="42793" y="19527"/>
                  </a:cubicBezTo>
                  <a:cubicBezTo>
                    <a:pt x="42769" y="19576"/>
                    <a:pt x="42719" y="19589"/>
                    <a:pt x="42669" y="19589"/>
                  </a:cubicBezTo>
                  <a:cubicBezTo>
                    <a:pt x="41696" y="19414"/>
                    <a:pt x="40736" y="19190"/>
                    <a:pt x="39776" y="18953"/>
                  </a:cubicBezTo>
                  <a:cubicBezTo>
                    <a:pt x="38828" y="18691"/>
                    <a:pt x="37881" y="18417"/>
                    <a:pt x="36945" y="18130"/>
                  </a:cubicBezTo>
                  <a:cubicBezTo>
                    <a:pt x="35075" y="17531"/>
                    <a:pt x="33217" y="16871"/>
                    <a:pt x="31409" y="16147"/>
                  </a:cubicBezTo>
                  <a:cubicBezTo>
                    <a:pt x="29589" y="15437"/>
                    <a:pt x="27806" y="14626"/>
                    <a:pt x="26060" y="13753"/>
                  </a:cubicBezTo>
                  <a:lnTo>
                    <a:pt x="20823" y="11098"/>
                  </a:lnTo>
                  <a:lnTo>
                    <a:pt x="15586" y="8467"/>
                  </a:lnTo>
                  <a:lnTo>
                    <a:pt x="10386" y="5773"/>
                  </a:lnTo>
                  <a:cubicBezTo>
                    <a:pt x="6932" y="3940"/>
                    <a:pt x="3478" y="2120"/>
                    <a:pt x="62" y="224"/>
                  </a:cubicBezTo>
                  <a:cubicBezTo>
                    <a:pt x="0" y="187"/>
                    <a:pt x="-13" y="125"/>
                    <a:pt x="12" y="62"/>
                  </a:cubicBezTo>
                  <a:cubicBezTo>
                    <a:pt x="37" y="12"/>
                    <a:pt x="112" y="-12"/>
                    <a:pt x="162" y="12"/>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7" name="Freeform: Shape 3506">
              <a:extLst>
                <a:ext uri="{FF2B5EF4-FFF2-40B4-BE49-F238E27FC236}">
                  <a16:creationId xmlns:a16="http://schemas.microsoft.com/office/drawing/2014/main" id="{3C8A1ECA-FB87-BCAC-CABD-8F44614A539C}"/>
                </a:ext>
              </a:extLst>
            </p:cNvPr>
            <p:cNvSpPr/>
            <p:nvPr/>
          </p:nvSpPr>
          <p:spPr>
            <a:xfrm>
              <a:off x="4194718" y="1576121"/>
              <a:ext cx="29661" cy="12662"/>
            </a:xfrm>
            <a:custGeom>
              <a:avLst/>
              <a:gdLst>
                <a:gd name="connsiteX0" fmla="*/ 149 w 35772"/>
                <a:gd name="connsiteY0" fmla="*/ 10 h 15271"/>
                <a:gd name="connsiteX1" fmla="*/ 9102 w 35772"/>
                <a:gd name="connsiteY1" fmla="*/ 3651 h 15271"/>
                <a:gd name="connsiteX2" fmla="*/ 13579 w 35772"/>
                <a:gd name="connsiteY2" fmla="*/ 5446 h 15271"/>
                <a:gd name="connsiteX3" fmla="*/ 18067 w 35772"/>
                <a:gd name="connsiteY3" fmla="*/ 7229 h 15271"/>
                <a:gd name="connsiteX4" fmla="*/ 22594 w 35772"/>
                <a:gd name="connsiteY4" fmla="*/ 8900 h 15271"/>
                <a:gd name="connsiteX5" fmla="*/ 27057 w 35772"/>
                <a:gd name="connsiteY5" fmla="*/ 10708 h 15271"/>
                <a:gd name="connsiteX6" fmla="*/ 29240 w 35772"/>
                <a:gd name="connsiteY6" fmla="*/ 11718 h 15271"/>
                <a:gd name="connsiteX7" fmla="*/ 31409 w 35772"/>
                <a:gd name="connsiteY7" fmla="*/ 12766 h 15271"/>
                <a:gd name="connsiteX8" fmla="*/ 33567 w 35772"/>
                <a:gd name="connsiteY8" fmla="*/ 13863 h 15271"/>
                <a:gd name="connsiteX9" fmla="*/ 35711 w 35772"/>
                <a:gd name="connsiteY9" fmla="*/ 15035 h 15271"/>
                <a:gd name="connsiteX10" fmla="*/ 35761 w 35772"/>
                <a:gd name="connsiteY10" fmla="*/ 15210 h 15271"/>
                <a:gd name="connsiteX11" fmla="*/ 35649 w 35772"/>
                <a:gd name="connsiteY11" fmla="*/ 15272 h 15271"/>
                <a:gd name="connsiteX12" fmla="*/ 33217 w 35772"/>
                <a:gd name="connsiteY12" fmla="*/ 14910 h 15271"/>
                <a:gd name="connsiteX13" fmla="*/ 30836 w 35772"/>
                <a:gd name="connsiteY13" fmla="*/ 14362 h 15271"/>
                <a:gd name="connsiteX14" fmla="*/ 26172 w 35772"/>
                <a:gd name="connsiteY14" fmla="*/ 12953 h 15271"/>
                <a:gd name="connsiteX15" fmla="*/ 21683 w 35772"/>
                <a:gd name="connsiteY15" fmla="*/ 11107 h 15271"/>
                <a:gd name="connsiteX16" fmla="*/ 17319 w 35772"/>
                <a:gd name="connsiteY16" fmla="*/ 9000 h 15271"/>
                <a:gd name="connsiteX17" fmla="*/ 12955 w 35772"/>
                <a:gd name="connsiteY17" fmla="*/ 6905 h 15271"/>
                <a:gd name="connsiteX18" fmla="*/ 8628 w 35772"/>
                <a:gd name="connsiteY18" fmla="*/ 4735 h 15271"/>
                <a:gd name="connsiteX19" fmla="*/ 62 w 35772"/>
                <a:gd name="connsiteY19" fmla="*/ 222 h 15271"/>
                <a:gd name="connsiteX20" fmla="*/ 12 w 35772"/>
                <a:gd name="connsiteY20" fmla="*/ 60 h 15271"/>
                <a:gd name="connsiteX21" fmla="*/ 162 w 35772"/>
                <a:gd name="connsiteY21" fmla="*/ 10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2" h="15271">
                  <a:moveTo>
                    <a:pt x="149" y="10"/>
                  </a:moveTo>
                  <a:cubicBezTo>
                    <a:pt x="3142" y="1219"/>
                    <a:pt x="6110" y="2454"/>
                    <a:pt x="9102" y="3651"/>
                  </a:cubicBezTo>
                  <a:lnTo>
                    <a:pt x="13579" y="5446"/>
                  </a:lnTo>
                  <a:lnTo>
                    <a:pt x="18067" y="7229"/>
                  </a:lnTo>
                  <a:cubicBezTo>
                    <a:pt x="19564" y="7828"/>
                    <a:pt x="21085" y="8352"/>
                    <a:pt x="22594" y="8900"/>
                  </a:cubicBezTo>
                  <a:cubicBezTo>
                    <a:pt x="24102" y="9449"/>
                    <a:pt x="25586" y="10047"/>
                    <a:pt x="27057" y="10708"/>
                  </a:cubicBezTo>
                  <a:lnTo>
                    <a:pt x="29240" y="11718"/>
                  </a:lnTo>
                  <a:lnTo>
                    <a:pt x="31409" y="12766"/>
                  </a:lnTo>
                  <a:cubicBezTo>
                    <a:pt x="32132" y="13115"/>
                    <a:pt x="32856" y="13489"/>
                    <a:pt x="33567" y="13863"/>
                  </a:cubicBezTo>
                  <a:cubicBezTo>
                    <a:pt x="34290" y="14237"/>
                    <a:pt x="35000" y="14611"/>
                    <a:pt x="35711" y="15035"/>
                  </a:cubicBezTo>
                  <a:cubicBezTo>
                    <a:pt x="35773" y="15072"/>
                    <a:pt x="35786" y="15147"/>
                    <a:pt x="35761" y="15210"/>
                  </a:cubicBezTo>
                  <a:cubicBezTo>
                    <a:pt x="35736" y="15247"/>
                    <a:pt x="35686" y="15272"/>
                    <a:pt x="35649" y="15272"/>
                  </a:cubicBezTo>
                  <a:cubicBezTo>
                    <a:pt x="34826" y="15185"/>
                    <a:pt x="34028" y="15047"/>
                    <a:pt x="33217" y="14910"/>
                  </a:cubicBezTo>
                  <a:cubicBezTo>
                    <a:pt x="32419" y="14748"/>
                    <a:pt x="31621" y="14561"/>
                    <a:pt x="30836" y="14362"/>
                  </a:cubicBezTo>
                  <a:cubicBezTo>
                    <a:pt x="29264" y="13950"/>
                    <a:pt x="27706" y="13489"/>
                    <a:pt x="26172" y="12953"/>
                  </a:cubicBezTo>
                  <a:cubicBezTo>
                    <a:pt x="24639" y="12429"/>
                    <a:pt x="23142" y="11806"/>
                    <a:pt x="21683" y="11107"/>
                  </a:cubicBezTo>
                  <a:lnTo>
                    <a:pt x="17319" y="9000"/>
                  </a:lnTo>
                  <a:lnTo>
                    <a:pt x="12955" y="6905"/>
                  </a:lnTo>
                  <a:lnTo>
                    <a:pt x="8628" y="4735"/>
                  </a:lnTo>
                  <a:cubicBezTo>
                    <a:pt x="5760" y="3252"/>
                    <a:pt x="2892" y="1780"/>
                    <a:pt x="62" y="222"/>
                  </a:cubicBezTo>
                  <a:cubicBezTo>
                    <a:pt x="0" y="184"/>
                    <a:pt x="-13" y="122"/>
                    <a:pt x="12" y="60"/>
                  </a:cubicBezTo>
                  <a:cubicBezTo>
                    <a:pt x="37" y="10"/>
                    <a:pt x="112" y="-15"/>
                    <a:pt x="162" y="10"/>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08" name="Freeform: Shape 3507">
              <a:extLst>
                <a:ext uri="{FF2B5EF4-FFF2-40B4-BE49-F238E27FC236}">
                  <a16:creationId xmlns:a16="http://schemas.microsoft.com/office/drawing/2014/main" id="{6BEF243E-D1CF-089C-AFB0-82F325076A4E}"/>
                </a:ext>
              </a:extLst>
            </p:cNvPr>
            <p:cNvSpPr/>
            <p:nvPr/>
          </p:nvSpPr>
          <p:spPr>
            <a:xfrm>
              <a:off x="4199815" y="1589747"/>
              <a:ext cx="25150" cy="10098"/>
            </a:xfrm>
            <a:custGeom>
              <a:avLst/>
              <a:gdLst>
                <a:gd name="connsiteX0" fmla="*/ 162 w 30332"/>
                <a:gd name="connsiteY0" fmla="*/ 10 h 12179"/>
                <a:gd name="connsiteX1" fmla="*/ 7755 w 30332"/>
                <a:gd name="connsiteY1" fmla="*/ 2865 h 12179"/>
                <a:gd name="connsiteX2" fmla="*/ 11558 w 30332"/>
                <a:gd name="connsiteY2" fmla="*/ 4262 h 12179"/>
                <a:gd name="connsiteX3" fmla="*/ 15361 w 30332"/>
                <a:gd name="connsiteY3" fmla="*/ 5646 h 12179"/>
                <a:gd name="connsiteX4" fmla="*/ 19202 w 30332"/>
                <a:gd name="connsiteY4" fmla="*/ 6918 h 12179"/>
                <a:gd name="connsiteX5" fmla="*/ 22980 w 30332"/>
                <a:gd name="connsiteY5" fmla="*/ 8327 h 12179"/>
                <a:gd name="connsiteX6" fmla="*/ 26658 w 30332"/>
                <a:gd name="connsiteY6" fmla="*/ 9997 h 12179"/>
                <a:gd name="connsiteX7" fmla="*/ 30274 w 30332"/>
                <a:gd name="connsiteY7" fmla="*/ 11943 h 12179"/>
                <a:gd name="connsiteX8" fmla="*/ 30312 w 30332"/>
                <a:gd name="connsiteY8" fmla="*/ 12117 h 12179"/>
                <a:gd name="connsiteX9" fmla="*/ 30200 w 30332"/>
                <a:gd name="connsiteY9" fmla="*/ 12180 h 12179"/>
                <a:gd name="connsiteX10" fmla="*/ 26110 w 30332"/>
                <a:gd name="connsiteY10" fmla="*/ 11606 h 12179"/>
                <a:gd name="connsiteX11" fmla="*/ 22144 w 30332"/>
                <a:gd name="connsiteY11" fmla="*/ 10584 h 12179"/>
                <a:gd name="connsiteX12" fmla="*/ 18342 w 30332"/>
                <a:gd name="connsiteY12" fmla="*/ 9137 h 12179"/>
                <a:gd name="connsiteX13" fmla="*/ 14638 w 30332"/>
                <a:gd name="connsiteY13" fmla="*/ 7429 h 12179"/>
                <a:gd name="connsiteX14" fmla="*/ 10947 w 30332"/>
                <a:gd name="connsiteY14" fmla="*/ 5733 h 12179"/>
                <a:gd name="connsiteX15" fmla="*/ 7281 w 30332"/>
                <a:gd name="connsiteY15" fmla="*/ 3962 h 12179"/>
                <a:gd name="connsiteX16" fmla="*/ 62 w 30332"/>
                <a:gd name="connsiteY16" fmla="*/ 222 h 12179"/>
                <a:gd name="connsiteX17" fmla="*/ 12 w 30332"/>
                <a:gd name="connsiteY17" fmla="*/ 60 h 12179"/>
                <a:gd name="connsiteX18" fmla="*/ 162 w 30332"/>
                <a:gd name="connsiteY18" fmla="*/ 10 h 1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332" h="12179">
                  <a:moveTo>
                    <a:pt x="162" y="10"/>
                  </a:moveTo>
                  <a:cubicBezTo>
                    <a:pt x="2693" y="970"/>
                    <a:pt x="5212" y="1942"/>
                    <a:pt x="7755" y="2865"/>
                  </a:cubicBezTo>
                  <a:cubicBezTo>
                    <a:pt x="9015" y="3339"/>
                    <a:pt x="10287" y="3813"/>
                    <a:pt x="11558" y="4262"/>
                  </a:cubicBezTo>
                  <a:cubicBezTo>
                    <a:pt x="12818" y="4736"/>
                    <a:pt x="14090" y="5184"/>
                    <a:pt x="15361" y="5646"/>
                  </a:cubicBezTo>
                  <a:cubicBezTo>
                    <a:pt x="16633" y="6095"/>
                    <a:pt x="17918" y="6506"/>
                    <a:pt x="19202" y="6918"/>
                  </a:cubicBezTo>
                  <a:cubicBezTo>
                    <a:pt x="20486" y="7342"/>
                    <a:pt x="21746" y="7790"/>
                    <a:pt x="22980" y="8327"/>
                  </a:cubicBezTo>
                  <a:cubicBezTo>
                    <a:pt x="24215" y="8850"/>
                    <a:pt x="25449" y="9411"/>
                    <a:pt x="26658" y="9997"/>
                  </a:cubicBezTo>
                  <a:cubicBezTo>
                    <a:pt x="27868" y="10596"/>
                    <a:pt x="29090" y="11195"/>
                    <a:pt x="30274" y="11943"/>
                  </a:cubicBezTo>
                  <a:cubicBezTo>
                    <a:pt x="30337" y="11980"/>
                    <a:pt x="30349" y="12055"/>
                    <a:pt x="30312" y="12117"/>
                  </a:cubicBezTo>
                  <a:cubicBezTo>
                    <a:pt x="30287" y="12155"/>
                    <a:pt x="30237" y="12180"/>
                    <a:pt x="30200" y="12180"/>
                  </a:cubicBezTo>
                  <a:cubicBezTo>
                    <a:pt x="28816" y="12092"/>
                    <a:pt x="27444" y="11893"/>
                    <a:pt x="26110" y="11606"/>
                  </a:cubicBezTo>
                  <a:cubicBezTo>
                    <a:pt x="24763" y="11344"/>
                    <a:pt x="23454" y="10970"/>
                    <a:pt x="22144" y="10584"/>
                  </a:cubicBezTo>
                  <a:cubicBezTo>
                    <a:pt x="20848" y="10172"/>
                    <a:pt x="19576" y="9698"/>
                    <a:pt x="18342" y="9137"/>
                  </a:cubicBezTo>
                  <a:cubicBezTo>
                    <a:pt x="17107" y="8576"/>
                    <a:pt x="15885" y="7977"/>
                    <a:pt x="14638" y="7429"/>
                  </a:cubicBezTo>
                  <a:cubicBezTo>
                    <a:pt x="13404" y="6868"/>
                    <a:pt x="12169" y="6307"/>
                    <a:pt x="10947" y="5733"/>
                  </a:cubicBezTo>
                  <a:cubicBezTo>
                    <a:pt x="9725" y="5147"/>
                    <a:pt x="8503" y="4561"/>
                    <a:pt x="7281" y="3962"/>
                  </a:cubicBezTo>
                  <a:cubicBezTo>
                    <a:pt x="4863" y="2741"/>
                    <a:pt x="2444" y="1531"/>
                    <a:pt x="62" y="222"/>
                  </a:cubicBezTo>
                  <a:cubicBezTo>
                    <a:pt x="0" y="184"/>
                    <a:pt x="-13" y="122"/>
                    <a:pt x="12" y="60"/>
                  </a:cubicBezTo>
                  <a:cubicBezTo>
                    <a:pt x="37" y="10"/>
                    <a:pt x="112" y="-15"/>
                    <a:pt x="162" y="10"/>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09" name="Graphic 525">
              <a:extLst>
                <a:ext uri="{FF2B5EF4-FFF2-40B4-BE49-F238E27FC236}">
                  <a16:creationId xmlns:a16="http://schemas.microsoft.com/office/drawing/2014/main" id="{317AC89E-C00C-20E4-CC9A-5A1942344E2F}"/>
                </a:ext>
              </a:extLst>
            </p:cNvPr>
            <p:cNvGrpSpPr/>
            <p:nvPr/>
          </p:nvGrpSpPr>
          <p:grpSpPr>
            <a:xfrm>
              <a:off x="4352217" y="1564282"/>
              <a:ext cx="178501" cy="198655"/>
              <a:chOff x="6649350" y="1321962"/>
              <a:chExt cx="215280" cy="239586"/>
            </a:xfrm>
          </p:grpSpPr>
          <p:sp>
            <p:nvSpPr>
              <p:cNvPr id="3510" name="Freeform: Shape 3509">
                <a:extLst>
                  <a:ext uri="{FF2B5EF4-FFF2-40B4-BE49-F238E27FC236}">
                    <a16:creationId xmlns:a16="http://schemas.microsoft.com/office/drawing/2014/main" id="{4F5E5866-8465-6777-0B98-83968ED045E1}"/>
                  </a:ext>
                </a:extLst>
              </p:cNvPr>
              <p:cNvSpPr/>
              <p:nvPr/>
            </p:nvSpPr>
            <p:spPr>
              <a:xfrm>
                <a:off x="6652501" y="1323890"/>
                <a:ext cx="209557" cy="235941"/>
              </a:xfrm>
              <a:custGeom>
                <a:avLst/>
                <a:gdLst>
                  <a:gd name="connsiteX0" fmla="*/ 209188 w 209557"/>
                  <a:gd name="connsiteY0" fmla="*/ 47796 h 235941"/>
                  <a:gd name="connsiteX1" fmla="*/ 201383 w 209557"/>
                  <a:gd name="connsiteY1" fmla="*/ 69231 h 235941"/>
                  <a:gd name="connsiteX2" fmla="*/ 129087 w 209557"/>
                  <a:gd name="connsiteY2" fmla="*/ 152961 h 235941"/>
                  <a:gd name="connsiteX3" fmla="*/ 9558 w 209557"/>
                  <a:gd name="connsiteY3" fmla="*/ 228361 h 235941"/>
                  <a:gd name="connsiteX4" fmla="*/ 46566 w 209557"/>
                  <a:gd name="connsiteY4" fmla="*/ 117511 h 235941"/>
                  <a:gd name="connsiteX5" fmla="*/ 163040 w 209557"/>
                  <a:gd name="connsiteY5" fmla="*/ 900 h 235941"/>
                  <a:gd name="connsiteX6" fmla="*/ 209188 w 209557"/>
                  <a:gd name="connsiteY6" fmla="*/ 47784 h 2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7" h="235941">
                    <a:moveTo>
                      <a:pt x="209188" y="47796"/>
                    </a:moveTo>
                    <a:cubicBezTo>
                      <a:pt x="208278" y="55440"/>
                      <a:pt x="205535" y="62747"/>
                      <a:pt x="201383" y="69231"/>
                    </a:cubicBezTo>
                    <a:cubicBezTo>
                      <a:pt x="193577" y="81425"/>
                      <a:pt x="173539" y="109107"/>
                      <a:pt x="129087" y="152961"/>
                    </a:cubicBezTo>
                    <a:cubicBezTo>
                      <a:pt x="67003" y="214221"/>
                      <a:pt x="39983" y="253175"/>
                      <a:pt x="9558" y="228361"/>
                    </a:cubicBezTo>
                    <a:cubicBezTo>
                      <a:pt x="-19657" y="204533"/>
                      <a:pt x="25469" y="149656"/>
                      <a:pt x="46566" y="117511"/>
                    </a:cubicBezTo>
                    <a:cubicBezTo>
                      <a:pt x="67664" y="85366"/>
                      <a:pt x="128925" y="7783"/>
                      <a:pt x="163040" y="900"/>
                    </a:cubicBezTo>
                    <a:cubicBezTo>
                      <a:pt x="192542" y="-5048"/>
                      <a:pt x="212555" y="19379"/>
                      <a:pt x="209188" y="47784"/>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11" name="Freeform: Shape 3510">
                <a:extLst>
                  <a:ext uri="{FF2B5EF4-FFF2-40B4-BE49-F238E27FC236}">
                    <a16:creationId xmlns:a16="http://schemas.microsoft.com/office/drawing/2014/main" id="{230DD0AB-A027-DFA6-91EB-619FFA82A068}"/>
                  </a:ext>
                </a:extLst>
              </p:cNvPr>
              <p:cNvSpPr/>
              <p:nvPr/>
            </p:nvSpPr>
            <p:spPr>
              <a:xfrm>
                <a:off x="6649350" y="1321962"/>
                <a:ext cx="215280" cy="239586"/>
              </a:xfrm>
              <a:custGeom>
                <a:avLst/>
                <a:gdLst>
                  <a:gd name="connsiteX0" fmla="*/ 197900 w 215280"/>
                  <a:gd name="connsiteY0" fmla="*/ 7542 h 239586"/>
                  <a:gd name="connsiteX1" fmla="*/ 148322 w 215280"/>
                  <a:gd name="connsiteY1" fmla="*/ 9537 h 239586"/>
                  <a:gd name="connsiteX2" fmla="*/ 67036 w 215280"/>
                  <a:gd name="connsiteY2" fmla="*/ 92232 h 239586"/>
                  <a:gd name="connsiteX3" fmla="*/ 12035 w 215280"/>
                  <a:gd name="connsiteY3" fmla="*/ 232547 h 239586"/>
                  <a:gd name="connsiteX4" fmla="*/ 64193 w 215280"/>
                  <a:gd name="connsiteY4" fmla="*/ 224367 h 239586"/>
                  <a:gd name="connsiteX5" fmla="*/ 181752 w 215280"/>
                  <a:gd name="connsiteY5" fmla="*/ 104352 h 239586"/>
                  <a:gd name="connsiteX6" fmla="*/ 197900 w 215280"/>
                  <a:gd name="connsiteY6" fmla="*/ 7542 h 23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280" h="239586">
                    <a:moveTo>
                      <a:pt x="197900" y="7542"/>
                    </a:moveTo>
                    <a:cubicBezTo>
                      <a:pt x="197900" y="7542"/>
                      <a:pt x="176839" y="-10688"/>
                      <a:pt x="148322" y="9537"/>
                    </a:cubicBezTo>
                    <a:cubicBezTo>
                      <a:pt x="119793" y="29762"/>
                      <a:pt x="96912" y="55660"/>
                      <a:pt x="67036" y="92232"/>
                    </a:cubicBezTo>
                    <a:cubicBezTo>
                      <a:pt x="37161" y="128816"/>
                      <a:pt x="-26482" y="203369"/>
                      <a:pt x="12035" y="232547"/>
                    </a:cubicBezTo>
                    <a:cubicBezTo>
                      <a:pt x="19741" y="238083"/>
                      <a:pt x="35589" y="248470"/>
                      <a:pt x="64193" y="224367"/>
                    </a:cubicBezTo>
                    <a:cubicBezTo>
                      <a:pt x="92798" y="200252"/>
                      <a:pt x="156614" y="133692"/>
                      <a:pt x="181752" y="104352"/>
                    </a:cubicBezTo>
                    <a:cubicBezTo>
                      <a:pt x="206890" y="75012"/>
                      <a:pt x="233798" y="38453"/>
                      <a:pt x="197900" y="754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12" name="Graphic 525">
              <a:extLst>
                <a:ext uri="{FF2B5EF4-FFF2-40B4-BE49-F238E27FC236}">
                  <a16:creationId xmlns:a16="http://schemas.microsoft.com/office/drawing/2014/main" id="{9BDDF21A-DF33-7EF8-2B09-434AFBE10E1B}"/>
                </a:ext>
              </a:extLst>
            </p:cNvPr>
            <p:cNvGrpSpPr/>
            <p:nvPr/>
          </p:nvGrpSpPr>
          <p:grpSpPr>
            <a:xfrm>
              <a:off x="4249098" y="1601563"/>
              <a:ext cx="165628" cy="161408"/>
              <a:chOff x="6524983" y="1366924"/>
              <a:chExt cx="199755" cy="194665"/>
            </a:xfrm>
          </p:grpSpPr>
          <p:sp>
            <p:nvSpPr>
              <p:cNvPr id="3513" name="Freeform: Shape 3512">
                <a:extLst>
                  <a:ext uri="{FF2B5EF4-FFF2-40B4-BE49-F238E27FC236}">
                    <a16:creationId xmlns:a16="http://schemas.microsoft.com/office/drawing/2014/main" id="{C461A95C-513F-4776-FAC6-BEB033DB3E51}"/>
                  </a:ext>
                </a:extLst>
              </p:cNvPr>
              <p:cNvSpPr/>
              <p:nvPr/>
            </p:nvSpPr>
            <p:spPr>
              <a:xfrm>
                <a:off x="6524983" y="1366924"/>
                <a:ext cx="194859" cy="192669"/>
              </a:xfrm>
              <a:custGeom>
                <a:avLst/>
                <a:gdLst>
                  <a:gd name="connsiteX0" fmla="*/ 140318 w 194859"/>
                  <a:gd name="connsiteY0" fmla="*/ 188932 h 192669"/>
                  <a:gd name="connsiteX1" fmla="*/ 69631 w 194859"/>
                  <a:gd name="connsiteY1" fmla="*/ 117559 h 192669"/>
                  <a:gd name="connsiteX2" fmla="*/ 3632 w 194859"/>
                  <a:gd name="connsiteY2" fmla="*/ 25898 h 192669"/>
                  <a:gd name="connsiteX3" fmla="*/ 39269 w 194859"/>
                  <a:gd name="connsiteY3" fmla="*/ 9439 h 192669"/>
                  <a:gd name="connsiteX4" fmla="*/ 122637 w 194859"/>
                  <a:gd name="connsiteY4" fmla="*/ 74665 h 192669"/>
                  <a:gd name="connsiteX5" fmla="*/ 193761 w 194859"/>
                  <a:gd name="connsiteY5" fmla="*/ 145078 h 192669"/>
                  <a:gd name="connsiteX6" fmla="*/ 140306 w 194859"/>
                  <a:gd name="connsiteY6" fmla="*/ 188932 h 19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859" h="192669">
                    <a:moveTo>
                      <a:pt x="140318" y="188932"/>
                    </a:moveTo>
                    <a:cubicBezTo>
                      <a:pt x="140318" y="188932"/>
                      <a:pt x="110143" y="167073"/>
                      <a:pt x="69631" y="117559"/>
                    </a:cubicBezTo>
                    <a:cubicBezTo>
                      <a:pt x="29119" y="68044"/>
                      <a:pt x="20590" y="53779"/>
                      <a:pt x="3632" y="25898"/>
                    </a:cubicBezTo>
                    <a:cubicBezTo>
                      <a:pt x="-9024" y="5087"/>
                      <a:pt x="13458" y="-10985"/>
                      <a:pt x="39269" y="9439"/>
                    </a:cubicBezTo>
                    <a:cubicBezTo>
                      <a:pt x="65067" y="29863"/>
                      <a:pt x="89719" y="45637"/>
                      <a:pt x="122637" y="74665"/>
                    </a:cubicBezTo>
                    <a:cubicBezTo>
                      <a:pt x="155555" y="103693"/>
                      <a:pt x="188062" y="127110"/>
                      <a:pt x="193761" y="145078"/>
                    </a:cubicBezTo>
                    <a:cubicBezTo>
                      <a:pt x="201828" y="170502"/>
                      <a:pt x="163610" y="203957"/>
                      <a:pt x="140306" y="18893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14" name="Freeform: Shape 3513">
                <a:extLst>
                  <a:ext uri="{FF2B5EF4-FFF2-40B4-BE49-F238E27FC236}">
                    <a16:creationId xmlns:a16="http://schemas.microsoft.com/office/drawing/2014/main" id="{D8273472-07D5-EB8D-FB53-D34D0632DBA9}"/>
                  </a:ext>
                </a:extLst>
              </p:cNvPr>
              <p:cNvSpPr/>
              <p:nvPr/>
            </p:nvSpPr>
            <p:spPr>
              <a:xfrm>
                <a:off x="6531271" y="1374891"/>
                <a:ext cx="193467" cy="186697"/>
              </a:xfrm>
              <a:custGeom>
                <a:avLst/>
                <a:gdLst>
                  <a:gd name="connsiteX0" fmla="*/ 193358 w 193467"/>
                  <a:gd name="connsiteY0" fmla="*/ 143856 h 186697"/>
                  <a:gd name="connsiteX1" fmla="*/ 172560 w 193467"/>
                  <a:gd name="connsiteY1" fmla="*/ 111486 h 186697"/>
                  <a:gd name="connsiteX2" fmla="*/ 39315 w 193467"/>
                  <a:gd name="connsiteY2" fmla="*/ 0 h 186697"/>
                  <a:gd name="connsiteX3" fmla="*/ 0 w 193467"/>
                  <a:gd name="connsiteY3" fmla="*/ 36322 h 186697"/>
                  <a:gd name="connsiteX4" fmla="*/ 135290 w 193467"/>
                  <a:gd name="connsiteY4" fmla="*/ 183508 h 186697"/>
                  <a:gd name="connsiteX5" fmla="*/ 173744 w 193467"/>
                  <a:gd name="connsiteY5" fmla="*/ 178208 h 186697"/>
                  <a:gd name="connsiteX6" fmla="*/ 193370 w 193467"/>
                  <a:gd name="connsiteY6" fmla="*/ 143856 h 18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67" h="186697">
                    <a:moveTo>
                      <a:pt x="193358" y="143856"/>
                    </a:moveTo>
                    <a:cubicBezTo>
                      <a:pt x="193358" y="143856"/>
                      <a:pt x="193832" y="132497"/>
                      <a:pt x="172560" y="111486"/>
                    </a:cubicBezTo>
                    <a:cubicBezTo>
                      <a:pt x="152734" y="91910"/>
                      <a:pt x="39315" y="0"/>
                      <a:pt x="39315" y="0"/>
                    </a:cubicBezTo>
                    <a:cubicBezTo>
                      <a:pt x="39315" y="0"/>
                      <a:pt x="26522" y="8541"/>
                      <a:pt x="0" y="36322"/>
                    </a:cubicBezTo>
                    <a:cubicBezTo>
                      <a:pt x="0" y="36322"/>
                      <a:pt x="104441" y="168470"/>
                      <a:pt x="135290" y="183508"/>
                    </a:cubicBezTo>
                    <a:cubicBezTo>
                      <a:pt x="138980" y="184966"/>
                      <a:pt x="153071" y="192261"/>
                      <a:pt x="173744" y="178208"/>
                    </a:cubicBezTo>
                    <a:cubicBezTo>
                      <a:pt x="196014" y="163083"/>
                      <a:pt x="193370" y="143856"/>
                      <a:pt x="193370" y="14385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15" name="Graphic 525">
              <a:extLst>
                <a:ext uri="{FF2B5EF4-FFF2-40B4-BE49-F238E27FC236}">
                  <a16:creationId xmlns:a16="http://schemas.microsoft.com/office/drawing/2014/main" id="{278CE63B-FE12-5B2C-F0C5-802F520AFCB0}"/>
                </a:ext>
              </a:extLst>
            </p:cNvPr>
            <p:cNvGrpSpPr/>
            <p:nvPr/>
          </p:nvGrpSpPr>
          <p:grpSpPr>
            <a:xfrm>
              <a:off x="4362649" y="1824388"/>
              <a:ext cx="228288" cy="195215"/>
              <a:chOff x="6661930" y="1635662"/>
              <a:chExt cx="275326" cy="235437"/>
            </a:xfrm>
          </p:grpSpPr>
          <p:sp>
            <p:nvSpPr>
              <p:cNvPr id="3516" name="Freeform: Shape 3515">
                <a:extLst>
                  <a:ext uri="{FF2B5EF4-FFF2-40B4-BE49-F238E27FC236}">
                    <a16:creationId xmlns:a16="http://schemas.microsoft.com/office/drawing/2014/main" id="{2763E194-A276-78AF-C237-7BA7B7391551}"/>
                  </a:ext>
                </a:extLst>
              </p:cNvPr>
              <p:cNvSpPr/>
              <p:nvPr/>
            </p:nvSpPr>
            <p:spPr>
              <a:xfrm>
                <a:off x="6736587" y="1695858"/>
                <a:ext cx="95263" cy="143157"/>
              </a:xfrm>
              <a:custGeom>
                <a:avLst/>
                <a:gdLst>
                  <a:gd name="connsiteX0" fmla="*/ 0 w 95263"/>
                  <a:gd name="connsiteY0" fmla="*/ 13242 h 143157"/>
                  <a:gd name="connsiteX1" fmla="*/ 78967 w 95263"/>
                  <a:gd name="connsiteY1" fmla="*/ 138058 h 143157"/>
                  <a:gd name="connsiteX2" fmla="*/ 95264 w 95263"/>
                  <a:gd name="connsiteY2" fmla="*/ 143158 h 143157"/>
                  <a:gd name="connsiteX3" fmla="*/ 39228 w 95263"/>
                  <a:gd name="connsiteY3" fmla="*/ 0 h 143157"/>
                  <a:gd name="connsiteX4" fmla="*/ 0 w 95263"/>
                  <a:gd name="connsiteY4" fmla="*/ 13242 h 143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63" h="143157">
                    <a:moveTo>
                      <a:pt x="0" y="13242"/>
                    </a:moveTo>
                    <a:cubicBezTo>
                      <a:pt x="0" y="13242"/>
                      <a:pt x="67246" y="65201"/>
                      <a:pt x="78967" y="138058"/>
                    </a:cubicBezTo>
                    <a:lnTo>
                      <a:pt x="95264" y="143158"/>
                    </a:lnTo>
                    <a:cubicBezTo>
                      <a:pt x="95264" y="143158"/>
                      <a:pt x="90164" y="51959"/>
                      <a:pt x="39228" y="0"/>
                    </a:cubicBezTo>
                    <a:lnTo>
                      <a:pt x="0" y="13242"/>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17" name="Freeform: Shape 3516">
                <a:extLst>
                  <a:ext uri="{FF2B5EF4-FFF2-40B4-BE49-F238E27FC236}">
                    <a16:creationId xmlns:a16="http://schemas.microsoft.com/office/drawing/2014/main" id="{1D21A6C3-424B-606F-C3F1-80CDB5FBB33F}"/>
                  </a:ext>
                </a:extLst>
              </p:cNvPr>
              <p:cNvSpPr/>
              <p:nvPr/>
            </p:nvSpPr>
            <p:spPr>
              <a:xfrm>
                <a:off x="6847649" y="1665795"/>
                <a:ext cx="58080" cy="164043"/>
              </a:xfrm>
              <a:custGeom>
                <a:avLst/>
                <a:gdLst>
                  <a:gd name="connsiteX0" fmla="*/ 7643 w 58080"/>
                  <a:gd name="connsiteY0" fmla="*/ 164043 h 164043"/>
                  <a:gd name="connsiteX1" fmla="*/ 58081 w 58080"/>
                  <a:gd name="connsiteY1" fmla="*/ 7644 h 164043"/>
                  <a:gd name="connsiteX2" fmla="*/ 15287 w 58080"/>
                  <a:gd name="connsiteY2" fmla="*/ 0 h 164043"/>
                  <a:gd name="connsiteX3" fmla="*/ 0 w 58080"/>
                  <a:gd name="connsiteY3" fmla="*/ 153856 h 164043"/>
                  <a:gd name="connsiteX4" fmla="*/ 7643 w 58080"/>
                  <a:gd name="connsiteY4" fmla="*/ 164043 h 16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0" h="164043">
                    <a:moveTo>
                      <a:pt x="7643" y="164043"/>
                    </a:moveTo>
                    <a:cubicBezTo>
                      <a:pt x="7643" y="164043"/>
                      <a:pt x="26497" y="62657"/>
                      <a:pt x="58081" y="7644"/>
                    </a:cubicBezTo>
                    <a:lnTo>
                      <a:pt x="15287" y="0"/>
                    </a:lnTo>
                    <a:cubicBezTo>
                      <a:pt x="15287" y="0"/>
                      <a:pt x="0" y="106985"/>
                      <a:pt x="0" y="153856"/>
                    </a:cubicBezTo>
                    <a:lnTo>
                      <a:pt x="7643" y="164043"/>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18" name="Graphic 525">
                <a:extLst>
                  <a:ext uri="{FF2B5EF4-FFF2-40B4-BE49-F238E27FC236}">
                    <a16:creationId xmlns:a16="http://schemas.microsoft.com/office/drawing/2014/main" id="{04530D52-EEFB-FAD1-D92C-E6C02926AC1E}"/>
                  </a:ext>
                </a:extLst>
              </p:cNvPr>
              <p:cNvGrpSpPr/>
              <p:nvPr/>
            </p:nvGrpSpPr>
            <p:grpSpPr>
              <a:xfrm>
                <a:off x="6661930" y="1635662"/>
                <a:ext cx="275326" cy="112047"/>
                <a:chOff x="6661930" y="1635662"/>
                <a:chExt cx="275326" cy="112047"/>
              </a:xfrm>
            </p:grpSpPr>
            <p:sp>
              <p:nvSpPr>
                <p:cNvPr id="3519" name="Freeform: Shape 3518">
                  <a:extLst>
                    <a:ext uri="{FF2B5EF4-FFF2-40B4-BE49-F238E27FC236}">
                      <a16:creationId xmlns:a16="http://schemas.microsoft.com/office/drawing/2014/main" id="{E57CDC8E-0398-2543-707B-A4150A5AF338}"/>
                    </a:ext>
                  </a:extLst>
                </p:cNvPr>
                <p:cNvSpPr/>
                <p:nvPr/>
              </p:nvSpPr>
              <p:spPr>
                <a:xfrm>
                  <a:off x="6661930" y="1635662"/>
                  <a:ext cx="275326" cy="112047"/>
                </a:xfrm>
                <a:custGeom>
                  <a:avLst/>
                  <a:gdLst>
                    <a:gd name="connsiteX0" fmla="*/ 100417 w 275326"/>
                    <a:gd name="connsiteY0" fmla="*/ 34012 h 112047"/>
                    <a:gd name="connsiteX1" fmla="*/ 18645 w 275326"/>
                    <a:gd name="connsiteY1" fmla="*/ 74524 h 112047"/>
                    <a:gd name="connsiteX2" fmla="*/ 5652 w 275326"/>
                    <a:gd name="connsiteY2" fmla="*/ 111208 h 112047"/>
                    <a:gd name="connsiteX3" fmla="*/ 69856 w 275326"/>
                    <a:gd name="connsiteY3" fmla="*/ 91332 h 112047"/>
                    <a:gd name="connsiteX4" fmla="*/ 263214 w 275326"/>
                    <a:gd name="connsiteY4" fmla="*/ 44710 h 112047"/>
                    <a:gd name="connsiteX5" fmla="*/ 266269 w 275326"/>
                    <a:gd name="connsiteY5" fmla="*/ 15669 h 112047"/>
                    <a:gd name="connsiteX6" fmla="*/ 206654 w 275326"/>
                    <a:gd name="connsiteY6" fmla="*/ 382 h 112047"/>
                    <a:gd name="connsiteX7" fmla="*/ 100417 w 275326"/>
                    <a:gd name="connsiteY7" fmla="*/ 34012 h 11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5326" h="112047">
                      <a:moveTo>
                        <a:pt x="100417" y="34012"/>
                      </a:moveTo>
                      <a:cubicBezTo>
                        <a:pt x="100417" y="34012"/>
                        <a:pt x="44631" y="56169"/>
                        <a:pt x="18645" y="74524"/>
                      </a:cubicBezTo>
                      <a:cubicBezTo>
                        <a:pt x="-7340" y="92866"/>
                        <a:pt x="-457" y="106619"/>
                        <a:pt x="5652" y="111208"/>
                      </a:cubicBezTo>
                      <a:cubicBezTo>
                        <a:pt x="11762" y="115796"/>
                        <a:pt x="43870" y="100509"/>
                        <a:pt x="69856" y="91332"/>
                      </a:cubicBezTo>
                      <a:cubicBezTo>
                        <a:pt x="95841" y="82155"/>
                        <a:pt x="229585" y="50820"/>
                        <a:pt x="263214" y="44710"/>
                      </a:cubicBezTo>
                      <a:cubicBezTo>
                        <a:pt x="273152" y="42416"/>
                        <a:pt x="283090" y="24834"/>
                        <a:pt x="266269" y="15669"/>
                      </a:cubicBezTo>
                      <a:cubicBezTo>
                        <a:pt x="249460" y="6492"/>
                        <a:pt x="222702" y="-1912"/>
                        <a:pt x="206654" y="382"/>
                      </a:cubicBezTo>
                      <a:cubicBezTo>
                        <a:pt x="190606" y="2677"/>
                        <a:pt x="153149" y="13375"/>
                        <a:pt x="100417" y="34012"/>
                      </a:cubicBezTo>
                      <a:close/>
                    </a:path>
                  </a:pathLst>
                </a:custGeom>
                <a:solidFill>
                  <a:srgbClr val="3440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0" name="Freeform: Shape 3519">
                  <a:extLst>
                    <a:ext uri="{FF2B5EF4-FFF2-40B4-BE49-F238E27FC236}">
                      <a16:creationId xmlns:a16="http://schemas.microsoft.com/office/drawing/2014/main" id="{33386E70-9AF5-F2D2-4A57-91CEFB71950A}"/>
                    </a:ext>
                  </a:extLst>
                </p:cNvPr>
                <p:cNvSpPr/>
                <p:nvPr/>
              </p:nvSpPr>
              <p:spPr>
                <a:xfrm>
                  <a:off x="6665151" y="1663476"/>
                  <a:ext cx="272102" cy="84220"/>
                </a:xfrm>
                <a:custGeom>
                  <a:avLst/>
                  <a:gdLst>
                    <a:gd name="connsiteX0" fmla="*/ 259993 w 272102"/>
                    <a:gd name="connsiteY0" fmla="*/ 16896 h 84220"/>
                    <a:gd name="connsiteX1" fmla="*/ 272063 w 272102"/>
                    <a:gd name="connsiteY1" fmla="*/ 0 h 84220"/>
                    <a:gd name="connsiteX2" fmla="*/ 256177 w 272102"/>
                    <a:gd name="connsiteY2" fmla="*/ 4663 h 84220"/>
                    <a:gd name="connsiteX3" fmla="*/ 30724 w 272102"/>
                    <a:gd name="connsiteY3" fmla="*/ 69628 h 84220"/>
                    <a:gd name="connsiteX4" fmla="*/ 0 w 272102"/>
                    <a:gd name="connsiteY4" fmla="*/ 81012 h 84220"/>
                    <a:gd name="connsiteX5" fmla="*/ 2456 w 272102"/>
                    <a:gd name="connsiteY5" fmla="*/ 83381 h 84220"/>
                    <a:gd name="connsiteX6" fmla="*/ 66660 w 272102"/>
                    <a:gd name="connsiteY6" fmla="*/ 63505 h 84220"/>
                    <a:gd name="connsiteX7" fmla="*/ 260018 w 272102"/>
                    <a:gd name="connsiteY7" fmla="*/ 16883 h 8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102" h="84220">
                      <a:moveTo>
                        <a:pt x="259993" y="16896"/>
                      </a:moveTo>
                      <a:cubicBezTo>
                        <a:pt x="266327" y="15437"/>
                        <a:pt x="272662" y="7756"/>
                        <a:pt x="272063" y="0"/>
                      </a:cubicBezTo>
                      <a:cubicBezTo>
                        <a:pt x="268946" y="1783"/>
                        <a:pt x="263996" y="3479"/>
                        <a:pt x="256177" y="4663"/>
                      </a:cubicBezTo>
                      <a:cubicBezTo>
                        <a:pt x="230952" y="8479"/>
                        <a:pt x="65114" y="54340"/>
                        <a:pt x="30724" y="69628"/>
                      </a:cubicBezTo>
                      <a:cubicBezTo>
                        <a:pt x="16397" y="75999"/>
                        <a:pt x="6571" y="79316"/>
                        <a:pt x="0" y="81012"/>
                      </a:cubicBezTo>
                      <a:cubicBezTo>
                        <a:pt x="773" y="81959"/>
                        <a:pt x="1621" y="82757"/>
                        <a:pt x="2456" y="83381"/>
                      </a:cubicBezTo>
                      <a:cubicBezTo>
                        <a:pt x="8566" y="87970"/>
                        <a:pt x="40674" y="72682"/>
                        <a:pt x="66660" y="63505"/>
                      </a:cubicBezTo>
                      <a:cubicBezTo>
                        <a:pt x="92645" y="54328"/>
                        <a:pt x="226389" y="22993"/>
                        <a:pt x="260018" y="16883"/>
                      </a:cubicBez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21" name="Freeform: Shape 3520">
                <a:extLst>
                  <a:ext uri="{FF2B5EF4-FFF2-40B4-BE49-F238E27FC236}">
                    <a16:creationId xmlns:a16="http://schemas.microsoft.com/office/drawing/2014/main" id="{9E2CC99D-EB56-7AF4-1DC9-F89F7EEC76C7}"/>
                  </a:ext>
                </a:extLst>
              </p:cNvPr>
              <p:cNvSpPr/>
              <p:nvPr/>
            </p:nvSpPr>
            <p:spPr>
              <a:xfrm>
                <a:off x="6795690" y="1793666"/>
                <a:ext cx="77433" cy="77433"/>
              </a:xfrm>
              <a:custGeom>
                <a:avLst/>
                <a:gdLst>
                  <a:gd name="connsiteX0" fmla="*/ 77433 w 77433"/>
                  <a:gd name="connsiteY0" fmla="*/ 38717 h 77433"/>
                  <a:gd name="connsiteX1" fmla="*/ 38716 w 77433"/>
                  <a:gd name="connsiteY1" fmla="*/ 77433 h 77433"/>
                  <a:gd name="connsiteX2" fmla="*/ 0 w 77433"/>
                  <a:gd name="connsiteY2" fmla="*/ 38717 h 77433"/>
                  <a:gd name="connsiteX3" fmla="*/ 38716 w 77433"/>
                  <a:gd name="connsiteY3" fmla="*/ 0 h 77433"/>
                  <a:gd name="connsiteX4" fmla="*/ 77433 w 77433"/>
                  <a:gd name="connsiteY4" fmla="*/ 38717 h 77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33" h="77433">
                    <a:moveTo>
                      <a:pt x="77433" y="38717"/>
                    </a:moveTo>
                    <a:cubicBezTo>
                      <a:pt x="77433" y="60099"/>
                      <a:pt x="60099" y="77433"/>
                      <a:pt x="38716" y="77433"/>
                    </a:cubicBezTo>
                    <a:cubicBezTo>
                      <a:pt x="17334" y="77433"/>
                      <a:pt x="0" y="60099"/>
                      <a:pt x="0" y="38717"/>
                    </a:cubicBezTo>
                    <a:cubicBezTo>
                      <a:pt x="0" y="17334"/>
                      <a:pt x="17334" y="0"/>
                      <a:pt x="38716" y="0"/>
                    </a:cubicBezTo>
                    <a:cubicBezTo>
                      <a:pt x="60099" y="0"/>
                      <a:pt x="77433" y="17334"/>
                      <a:pt x="77433" y="38717"/>
                    </a:cubicBezTo>
                    <a:close/>
                  </a:path>
                </a:pathLst>
              </a:custGeom>
              <a:solidFill>
                <a:srgbClr val="3440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24" name="Freeform: Shape 3523">
              <a:extLst>
                <a:ext uri="{FF2B5EF4-FFF2-40B4-BE49-F238E27FC236}">
                  <a16:creationId xmlns:a16="http://schemas.microsoft.com/office/drawing/2014/main" id="{7195B5F5-C93E-64B2-CB41-5BC0ADE33451}"/>
                </a:ext>
              </a:extLst>
            </p:cNvPr>
            <p:cNvSpPr/>
            <p:nvPr/>
          </p:nvSpPr>
          <p:spPr>
            <a:xfrm>
              <a:off x="3701452" y="1962647"/>
              <a:ext cx="43412" cy="112497"/>
            </a:xfrm>
            <a:custGeom>
              <a:avLst/>
              <a:gdLst>
                <a:gd name="connsiteX0" fmla="*/ 0 w 52357"/>
                <a:gd name="connsiteY0" fmla="*/ 82221 h 135676"/>
                <a:gd name="connsiteX1" fmla="*/ 30861 w 52357"/>
                <a:gd name="connsiteY1" fmla="*/ 135676 h 135676"/>
                <a:gd name="connsiteX2" fmla="*/ 52358 w 52357"/>
                <a:gd name="connsiteY2" fmla="*/ 0 h 135676"/>
                <a:gd name="connsiteX3" fmla="*/ 7245 w 52357"/>
                <a:gd name="connsiteY3" fmla="*/ 0 h 135676"/>
                <a:gd name="connsiteX4" fmla="*/ 0 w 52357"/>
                <a:gd name="connsiteY4" fmla="*/ 82221 h 135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57" h="135676">
                  <a:moveTo>
                    <a:pt x="0" y="82221"/>
                  </a:moveTo>
                  <a:lnTo>
                    <a:pt x="30861" y="135676"/>
                  </a:lnTo>
                  <a:lnTo>
                    <a:pt x="52358" y="0"/>
                  </a:lnTo>
                  <a:lnTo>
                    <a:pt x="7245" y="0"/>
                  </a:lnTo>
                  <a:lnTo>
                    <a:pt x="0" y="82221"/>
                  </a:lnTo>
                  <a:close/>
                </a:path>
              </a:pathLst>
            </a:custGeom>
            <a:solidFill>
              <a:srgbClr val="5571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5" name="Freeform: Shape 3524">
              <a:extLst>
                <a:ext uri="{FF2B5EF4-FFF2-40B4-BE49-F238E27FC236}">
                  <a16:creationId xmlns:a16="http://schemas.microsoft.com/office/drawing/2014/main" id="{5B823D62-5B05-A142-61C0-67EF392614AA}"/>
                </a:ext>
              </a:extLst>
            </p:cNvPr>
            <p:cNvSpPr/>
            <p:nvPr/>
          </p:nvSpPr>
          <p:spPr>
            <a:xfrm>
              <a:off x="3644113" y="1926729"/>
              <a:ext cx="38274" cy="49605"/>
            </a:xfrm>
            <a:custGeom>
              <a:avLst/>
              <a:gdLst>
                <a:gd name="connsiteX0" fmla="*/ 0 w 46160"/>
                <a:gd name="connsiteY0" fmla="*/ 5773 h 59826"/>
                <a:gd name="connsiteX1" fmla="*/ 31210 w 46160"/>
                <a:gd name="connsiteY1" fmla="*/ 59827 h 59826"/>
                <a:gd name="connsiteX2" fmla="*/ 46161 w 46160"/>
                <a:gd name="connsiteY2" fmla="*/ 0 h 59826"/>
                <a:gd name="connsiteX3" fmla="*/ 1035 w 46160"/>
                <a:gd name="connsiteY3" fmla="*/ 0 h 59826"/>
                <a:gd name="connsiteX4" fmla="*/ 0 w 46160"/>
                <a:gd name="connsiteY4" fmla="*/ 5773 h 5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60" h="59826">
                  <a:moveTo>
                    <a:pt x="0" y="5773"/>
                  </a:moveTo>
                  <a:lnTo>
                    <a:pt x="31210" y="59827"/>
                  </a:lnTo>
                  <a:lnTo>
                    <a:pt x="46161" y="0"/>
                  </a:lnTo>
                  <a:lnTo>
                    <a:pt x="1035" y="0"/>
                  </a:lnTo>
                  <a:lnTo>
                    <a:pt x="0" y="5773"/>
                  </a:lnTo>
                  <a:close/>
                </a:path>
              </a:pathLst>
            </a:custGeom>
            <a:solidFill>
              <a:srgbClr val="5571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6" name="Freeform: Shape 3525">
              <a:extLst>
                <a:ext uri="{FF2B5EF4-FFF2-40B4-BE49-F238E27FC236}">
                  <a16:creationId xmlns:a16="http://schemas.microsoft.com/office/drawing/2014/main" id="{F38B573D-D854-BD6C-E2E7-BC9B6903E121}"/>
                </a:ext>
              </a:extLst>
            </p:cNvPr>
            <p:cNvSpPr/>
            <p:nvPr/>
          </p:nvSpPr>
          <p:spPr>
            <a:xfrm>
              <a:off x="3775737" y="1926729"/>
              <a:ext cx="74058" cy="213135"/>
            </a:xfrm>
            <a:custGeom>
              <a:avLst/>
              <a:gdLst>
                <a:gd name="connsiteX0" fmla="*/ 45126 w 89317"/>
                <a:gd name="connsiteY0" fmla="*/ 0 h 257050"/>
                <a:gd name="connsiteX1" fmla="*/ 89179 w 89317"/>
                <a:gd name="connsiteY1" fmla="*/ 244993 h 257050"/>
                <a:gd name="connsiteX2" fmla="*/ 78929 w 89317"/>
                <a:gd name="connsiteY2" fmla="*/ 257050 h 257050"/>
                <a:gd name="connsiteX3" fmla="*/ 72358 w 89317"/>
                <a:gd name="connsiteY3" fmla="*/ 257050 h 257050"/>
                <a:gd name="connsiteX4" fmla="*/ 62233 w 89317"/>
                <a:gd name="connsiteY4" fmla="*/ 248970 h 257050"/>
                <a:gd name="connsiteX5" fmla="*/ 0 w 89317"/>
                <a:gd name="connsiteY5" fmla="*/ 0 h 257050"/>
                <a:gd name="connsiteX6" fmla="*/ 45126 w 89317"/>
                <a:gd name="connsiteY6" fmla="*/ 0 h 25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317" h="257050">
                  <a:moveTo>
                    <a:pt x="45126" y="0"/>
                  </a:moveTo>
                  <a:lnTo>
                    <a:pt x="89179" y="244993"/>
                  </a:lnTo>
                  <a:cubicBezTo>
                    <a:pt x="90214" y="251315"/>
                    <a:pt x="85339" y="257050"/>
                    <a:pt x="78929" y="257050"/>
                  </a:cubicBezTo>
                  <a:lnTo>
                    <a:pt x="72358" y="257050"/>
                  </a:lnTo>
                  <a:cubicBezTo>
                    <a:pt x="67508" y="257050"/>
                    <a:pt x="63306" y="253696"/>
                    <a:pt x="62233" y="248970"/>
                  </a:cubicBezTo>
                  <a:lnTo>
                    <a:pt x="0" y="0"/>
                  </a:lnTo>
                  <a:lnTo>
                    <a:pt x="45126" y="0"/>
                  </a:lnTo>
                  <a:close/>
                </a:path>
              </a:pathLst>
            </a:custGeom>
            <a:solidFill>
              <a:srgbClr val="5571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7" name="Freeform: Shape 3526">
              <a:extLst>
                <a:ext uri="{FF2B5EF4-FFF2-40B4-BE49-F238E27FC236}">
                  <a16:creationId xmlns:a16="http://schemas.microsoft.com/office/drawing/2014/main" id="{5483F4A0-4CCA-C323-48C3-B0636FAC046F}"/>
                </a:ext>
              </a:extLst>
            </p:cNvPr>
            <p:cNvSpPr/>
            <p:nvPr/>
          </p:nvSpPr>
          <p:spPr>
            <a:xfrm>
              <a:off x="3881234" y="1952545"/>
              <a:ext cx="73413" cy="223236"/>
            </a:xfrm>
            <a:custGeom>
              <a:avLst/>
              <a:gdLst>
                <a:gd name="connsiteX0" fmla="*/ 45126 w 88539"/>
                <a:gd name="connsiteY0" fmla="*/ 0 h 269232"/>
                <a:gd name="connsiteX1" fmla="*/ 88418 w 88539"/>
                <a:gd name="connsiteY1" fmla="*/ 257275 h 269232"/>
                <a:gd name="connsiteX2" fmla="*/ 78156 w 88539"/>
                <a:gd name="connsiteY2" fmla="*/ 269233 h 269232"/>
                <a:gd name="connsiteX3" fmla="*/ 71560 w 88539"/>
                <a:gd name="connsiteY3" fmla="*/ 269233 h 269232"/>
                <a:gd name="connsiteX4" fmla="*/ 61410 w 88539"/>
                <a:gd name="connsiteY4" fmla="*/ 261040 h 269232"/>
                <a:gd name="connsiteX5" fmla="*/ 0 w 88539"/>
                <a:gd name="connsiteY5" fmla="*/ 0 h 269232"/>
                <a:gd name="connsiteX6" fmla="*/ 45126 w 88539"/>
                <a:gd name="connsiteY6" fmla="*/ 0 h 26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39" h="269232">
                  <a:moveTo>
                    <a:pt x="45126" y="0"/>
                  </a:moveTo>
                  <a:lnTo>
                    <a:pt x="88418" y="257275"/>
                  </a:lnTo>
                  <a:cubicBezTo>
                    <a:pt x="89378" y="263559"/>
                    <a:pt x="84516" y="269233"/>
                    <a:pt x="78156" y="269233"/>
                  </a:cubicBezTo>
                  <a:lnTo>
                    <a:pt x="71560" y="269233"/>
                  </a:lnTo>
                  <a:cubicBezTo>
                    <a:pt x="66672" y="269233"/>
                    <a:pt x="62445" y="265816"/>
                    <a:pt x="61410" y="261040"/>
                  </a:cubicBezTo>
                  <a:lnTo>
                    <a:pt x="0" y="0"/>
                  </a:lnTo>
                  <a:lnTo>
                    <a:pt x="45126" y="0"/>
                  </a:lnTo>
                  <a:close/>
                </a:path>
              </a:pathLst>
            </a:custGeom>
            <a:solidFill>
              <a:srgbClr val="5571A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8" name="Freeform: Shape 3527">
              <a:extLst>
                <a:ext uri="{FF2B5EF4-FFF2-40B4-BE49-F238E27FC236}">
                  <a16:creationId xmlns:a16="http://schemas.microsoft.com/office/drawing/2014/main" id="{40E92FD5-627F-8257-0E9A-B2F056507E76}"/>
                </a:ext>
              </a:extLst>
            </p:cNvPr>
            <p:cNvSpPr/>
            <p:nvPr/>
          </p:nvSpPr>
          <p:spPr>
            <a:xfrm>
              <a:off x="3804169" y="1643804"/>
              <a:ext cx="130647" cy="279555"/>
            </a:xfrm>
            <a:custGeom>
              <a:avLst/>
              <a:gdLst>
                <a:gd name="connsiteX0" fmla="*/ 0 w 157566"/>
                <a:gd name="connsiteY0" fmla="*/ 91 h 337155"/>
                <a:gd name="connsiteX1" fmla="*/ 40612 w 157566"/>
                <a:gd name="connsiteY1" fmla="*/ 31226 h 337155"/>
                <a:gd name="connsiteX2" fmla="*/ 40612 w 157566"/>
                <a:gd name="connsiteY2" fmla="*/ 223449 h 337155"/>
                <a:gd name="connsiteX3" fmla="*/ 98144 w 157566"/>
                <a:gd name="connsiteY3" fmla="*/ 259323 h 337155"/>
                <a:gd name="connsiteX4" fmla="*/ 156350 w 157566"/>
                <a:gd name="connsiteY4" fmla="*/ 337155 h 337155"/>
                <a:gd name="connsiteX5" fmla="*/ 29776 w 157566"/>
                <a:gd name="connsiteY5" fmla="*/ 288426 h 337155"/>
                <a:gd name="connsiteX6" fmla="*/ 29776 w 157566"/>
                <a:gd name="connsiteY6" fmla="*/ 29879 h 337155"/>
                <a:gd name="connsiteX7" fmla="*/ 0 w 157566"/>
                <a:gd name="connsiteY7" fmla="*/ 103 h 33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566" h="337155">
                  <a:moveTo>
                    <a:pt x="0" y="91"/>
                  </a:moveTo>
                  <a:cubicBezTo>
                    <a:pt x="0" y="91"/>
                    <a:pt x="40612" y="-3289"/>
                    <a:pt x="40612" y="31226"/>
                  </a:cubicBezTo>
                  <a:lnTo>
                    <a:pt x="40612" y="223449"/>
                  </a:lnTo>
                  <a:cubicBezTo>
                    <a:pt x="40612" y="223449"/>
                    <a:pt x="34515" y="247141"/>
                    <a:pt x="98144" y="259323"/>
                  </a:cubicBezTo>
                  <a:cubicBezTo>
                    <a:pt x="157348" y="270657"/>
                    <a:pt x="160415" y="295197"/>
                    <a:pt x="156350" y="337155"/>
                  </a:cubicBezTo>
                  <a:lnTo>
                    <a:pt x="29776" y="288426"/>
                  </a:lnTo>
                  <a:lnTo>
                    <a:pt x="29776" y="29879"/>
                  </a:lnTo>
                  <a:cubicBezTo>
                    <a:pt x="29776" y="29879"/>
                    <a:pt x="30450" y="4155"/>
                    <a:pt x="0" y="103"/>
                  </a:cubicBezTo>
                  <a:close/>
                </a:path>
              </a:pathLst>
            </a:custGeom>
            <a:solidFill>
              <a:srgbClr val="F4D7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29" name="Freeform: Shape 3528">
              <a:extLst>
                <a:ext uri="{FF2B5EF4-FFF2-40B4-BE49-F238E27FC236}">
                  <a16:creationId xmlns:a16="http://schemas.microsoft.com/office/drawing/2014/main" id="{4C061651-A177-1B78-CE8B-1819CF9AF14C}"/>
                </a:ext>
              </a:extLst>
            </p:cNvPr>
            <p:cNvSpPr/>
            <p:nvPr/>
          </p:nvSpPr>
          <p:spPr>
            <a:xfrm>
              <a:off x="3646677" y="1926171"/>
              <a:ext cx="287030" cy="42552"/>
            </a:xfrm>
            <a:custGeom>
              <a:avLst/>
              <a:gdLst>
                <a:gd name="connsiteX0" fmla="*/ 0 w 346170"/>
                <a:gd name="connsiteY0" fmla="*/ 11796 h 51319"/>
                <a:gd name="connsiteX1" fmla="*/ 18754 w 346170"/>
                <a:gd name="connsiteY1" fmla="*/ 44290 h 51319"/>
                <a:gd name="connsiteX2" fmla="*/ 38330 w 346170"/>
                <a:gd name="connsiteY2" fmla="*/ 48729 h 51319"/>
                <a:gd name="connsiteX3" fmla="*/ 307712 w 346170"/>
                <a:gd name="connsiteY3" fmla="*/ 41285 h 51319"/>
                <a:gd name="connsiteX4" fmla="*/ 345618 w 346170"/>
                <a:gd name="connsiteY4" fmla="*/ 0 h 51319"/>
                <a:gd name="connsiteX5" fmla="*/ 0 w 346170"/>
                <a:gd name="connsiteY5" fmla="*/ 11808 h 5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170" h="51319">
                  <a:moveTo>
                    <a:pt x="0" y="11796"/>
                  </a:moveTo>
                  <a:lnTo>
                    <a:pt x="18754" y="44290"/>
                  </a:lnTo>
                  <a:cubicBezTo>
                    <a:pt x="24228" y="46348"/>
                    <a:pt x="30686" y="47931"/>
                    <a:pt x="38330" y="48729"/>
                  </a:cubicBezTo>
                  <a:cubicBezTo>
                    <a:pt x="83680" y="53467"/>
                    <a:pt x="261689" y="52108"/>
                    <a:pt x="307712" y="41285"/>
                  </a:cubicBezTo>
                  <a:cubicBezTo>
                    <a:pt x="353736" y="30450"/>
                    <a:pt x="345618" y="0"/>
                    <a:pt x="345618" y="0"/>
                  </a:cubicBezTo>
                  <a:lnTo>
                    <a:pt x="0" y="11808"/>
                  </a:lnTo>
                  <a:close/>
                </a:path>
              </a:pathLst>
            </a:custGeom>
            <a:solidFill>
              <a:srgbClr val="46699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30" name="Freeform: Shape 3529">
              <a:extLst>
                <a:ext uri="{FF2B5EF4-FFF2-40B4-BE49-F238E27FC236}">
                  <a16:creationId xmlns:a16="http://schemas.microsoft.com/office/drawing/2014/main" id="{126D69D2-1F87-3827-653D-6E964570034D}"/>
                </a:ext>
              </a:extLst>
            </p:cNvPr>
            <p:cNvSpPr/>
            <p:nvPr/>
          </p:nvSpPr>
          <p:spPr>
            <a:xfrm>
              <a:off x="3631314" y="1643879"/>
              <a:ext cx="197544" cy="262079"/>
            </a:xfrm>
            <a:custGeom>
              <a:avLst/>
              <a:gdLst>
                <a:gd name="connsiteX0" fmla="*/ 0 w 238246"/>
                <a:gd name="connsiteY0" fmla="*/ 29776 h 316078"/>
                <a:gd name="connsiteX1" fmla="*/ 0 w 238246"/>
                <a:gd name="connsiteY1" fmla="*/ 316079 h 316078"/>
                <a:gd name="connsiteX2" fmla="*/ 238247 w 238246"/>
                <a:gd name="connsiteY2" fmla="*/ 316079 h 316078"/>
                <a:gd name="connsiteX3" fmla="*/ 238247 w 238246"/>
                <a:gd name="connsiteY3" fmla="*/ 29776 h 316078"/>
                <a:gd name="connsiteX4" fmla="*/ 208471 w 238246"/>
                <a:gd name="connsiteY4" fmla="*/ 0 h 316078"/>
                <a:gd name="connsiteX5" fmla="*/ 29789 w 238246"/>
                <a:gd name="connsiteY5" fmla="*/ 0 h 316078"/>
                <a:gd name="connsiteX6" fmla="*/ 12 w 238246"/>
                <a:gd name="connsiteY6" fmla="*/ 29776 h 31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46" h="316078">
                  <a:moveTo>
                    <a:pt x="0" y="29776"/>
                  </a:moveTo>
                  <a:lnTo>
                    <a:pt x="0" y="316079"/>
                  </a:lnTo>
                  <a:lnTo>
                    <a:pt x="238247" y="316079"/>
                  </a:lnTo>
                  <a:lnTo>
                    <a:pt x="238247" y="29776"/>
                  </a:lnTo>
                  <a:cubicBezTo>
                    <a:pt x="238247" y="13329"/>
                    <a:pt x="224917" y="0"/>
                    <a:pt x="208471" y="0"/>
                  </a:cubicBezTo>
                  <a:lnTo>
                    <a:pt x="29789" y="0"/>
                  </a:lnTo>
                  <a:cubicBezTo>
                    <a:pt x="13342" y="0"/>
                    <a:pt x="12" y="13329"/>
                    <a:pt x="12" y="29776"/>
                  </a:cubicBezTo>
                  <a:close/>
                </a:path>
              </a:pathLst>
            </a:custGeom>
            <a:solidFill>
              <a:srgbClr val="CDCFC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31" name="Freeform: Shape 3530">
              <a:extLst>
                <a:ext uri="{FF2B5EF4-FFF2-40B4-BE49-F238E27FC236}">
                  <a16:creationId xmlns:a16="http://schemas.microsoft.com/office/drawing/2014/main" id="{6236E998-6CC1-188B-1E4E-D3339658918B}"/>
                </a:ext>
              </a:extLst>
            </p:cNvPr>
            <p:cNvSpPr/>
            <p:nvPr/>
          </p:nvSpPr>
          <p:spPr>
            <a:xfrm>
              <a:off x="3631312" y="1882944"/>
              <a:ext cx="302847" cy="72912"/>
            </a:xfrm>
            <a:custGeom>
              <a:avLst/>
              <a:gdLst>
                <a:gd name="connsiteX0" fmla="*/ 2 w 365246"/>
                <a:gd name="connsiteY0" fmla="*/ 27756 h 87935"/>
                <a:gd name="connsiteX1" fmla="*/ 61600 w 365246"/>
                <a:gd name="connsiteY1" fmla="*/ 0 h 87935"/>
                <a:gd name="connsiteX2" fmla="*/ 238249 w 365246"/>
                <a:gd name="connsiteY2" fmla="*/ 0 h 87935"/>
                <a:gd name="connsiteX3" fmla="*/ 364823 w 365246"/>
                <a:gd name="connsiteY3" fmla="*/ 48729 h 87935"/>
                <a:gd name="connsiteX4" fmla="*/ 318126 w 365246"/>
                <a:gd name="connsiteY4" fmla="*/ 75800 h 87935"/>
                <a:gd name="connsiteX5" fmla="*/ 138771 w 365246"/>
                <a:gd name="connsiteY5" fmla="*/ 87309 h 87935"/>
                <a:gd name="connsiteX6" fmla="*/ 15 w 365246"/>
                <a:gd name="connsiteY6" fmla="*/ 27744 h 87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246" h="87935">
                  <a:moveTo>
                    <a:pt x="2" y="27756"/>
                  </a:moveTo>
                  <a:cubicBezTo>
                    <a:pt x="2" y="27756"/>
                    <a:pt x="-1357" y="0"/>
                    <a:pt x="61600" y="0"/>
                  </a:cubicBezTo>
                  <a:lnTo>
                    <a:pt x="238249" y="0"/>
                  </a:lnTo>
                  <a:lnTo>
                    <a:pt x="364823" y="48729"/>
                  </a:lnTo>
                  <a:cubicBezTo>
                    <a:pt x="364823" y="48729"/>
                    <a:pt x="372940" y="66323"/>
                    <a:pt x="318126" y="75800"/>
                  </a:cubicBezTo>
                  <a:cubicBezTo>
                    <a:pt x="263300" y="85276"/>
                    <a:pt x="161140" y="89665"/>
                    <a:pt x="138771" y="87309"/>
                  </a:cubicBezTo>
                  <a:cubicBezTo>
                    <a:pt x="113047" y="84603"/>
                    <a:pt x="15" y="27744"/>
                    <a:pt x="15" y="27744"/>
                  </a:cubicBezTo>
                  <a:close/>
                </a:path>
              </a:pathLst>
            </a:custGeom>
            <a:solidFill>
              <a:srgbClr val="D6D8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34" name="Graphic 525">
              <a:extLst>
                <a:ext uri="{FF2B5EF4-FFF2-40B4-BE49-F238E27FC236}">
                  <a16:creationId xmlns:a16="http://schemas.microsoft.com/office/drawing/2014/main" id="{D675C988-2CEE-1F72-866F-A30C072ECEE4}"/>
                </a:ext>
              </a:extLst>
            </p:cNvPr>
            <p:cNvGrpSpPr/>
            <p:nvPr/>
          </p:nvGrpSpPr>
          <p:grpSpPr>
            <a:xfrm>
              <a:off x="3779538" y="1553097"/>
              <a:ext cx="314926" cy="160185"/>
              <a:chOff x="5958673" y="1308473"/>
              <a:chExt cx="379814" cy="193190"/>
            </a:xfrm>
          </p:grpSpPr>
          <p:sp>
            <p:nvSpPr>
              <p:cNvPr id="3535" name="Freeform: Shape 3534">
                <a:extLst>
                  <a:ext uri="{FF2B5EF4-FFF2-40B4-BE49-F238E27FC236}">
                    <a16:creationId xmlns:a16="http://schemas.microsoft.com/office/drawing/2014/main" id="{F3EF7AA1-496F-31BC-CEA8-F417DF9C6B35}"/>
                  </a:ext>
                </a:extLst>
              </p:cNvPr>
              <p:cNvSpPr/>
              <p:nvPr/>
            </p:nvSpPr>
            <p:spPr>
              <a:xfrm>
                <a:off x="5962967" y="1311619"/>
                <a:ext cx="208970" cy="189916"/>
              </a:xfrm>
              <a:custGeom>
                <a:avLst/>
                <a:gdLst>
                  <a:gd name="connsiteX0" fmla="*/ 27070 w 208970"/>
                  <a:gd name="connsiteY0" fmla="*/ 204 h 189916"/>
                  <a:gd name="connsiteX1" fmla="*/ 113094 w 208970"/>
                  <a:gd name="connsiteY1" fmla="*/ 67562 h 189916"/>
                  <a:gd name="connsiteX2" fmla="*/ 204742 w 208970"/>
                  <a:gd name="connsiteY2" fmla="*/ 155157 h 189916"/>
                  <a:gd name="connsiteX3" fmla="*/ 186886 w 208970"/>
                  <a:gd name="connsiteY3" fmla="*/ 189859 h 189916"/>
                  <a:gd name="connsiteX4" fmla="*/ 74353 w 208970"/>
                  <a:gd name="connsiteY4" fmla="*/ 120793 h 189916"/>
                  <a:gd name="connsiteX5" fmla="*/ 224 w 208970"/>
                  <a:gd name="connsiteY5" fmla="*/ 24431 h 189916"/>
                  <a:gd name="connsiteX6" fmla="*/ 27070 w 208970"/>
                  <a:gd name="connsiteY6" fmla="*/ 204 h 18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970" h="189916">
                    <a:moveTo>
                      <a:pt x="27070" y="204"/>
                    </a:moveTo>
                    <a:cubicBezTo>
                      <a:pt x="27070" y="204"/>
                      <a:pt x="60200" y="11289"/>
                      <a:pt x="113094" y="67562"/>
                    </a:cubicBezTo>
                    <a:cubicBezTo>
                      <a:pt x="165988" y="123822"/>
                      <a:pt x="191113" y="135481"/>
                      <a:pt x="204742" y="155157"/>
                    </a:cubicBezTo>
                    <a:cubicBezTo>
                      <a:pt x="216874" y="172676"/>
                      <a:pt x="200390" y="191081"/>
                      <a:pt x="186886" y="189859"/>
                    </a:cubicBezTo>
                    <a:cubicBezTo>
                      <a:pt x="170714" y="188400"/>
                      <a:pt x="116810" y="156504"/>
                      <a:pt x="74353" y="120793"/>
                    </a:cubicBezTo>
                    <a:cubicBezTo>
                      <a:pt x="31896" y="85081"/>
                      <a:pt x="-3143" y="52736"/>
                      <a:pt x="224" y="24431"/>
                    </a:cubicBezTo>
                    <a:cubicBezTo>
                      <a:pt x="3591" y="-3873"/>
                      <a:pt x="27070" y="204"/>
                      <a:pt x="27070" y="20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36" name="Freeform: Shape 3535">
                <a:extLst>
                  <a:ext uri="{FF2B5EF4-FFF2-40B4-BE49-F238E27FC236}">
                    <a16:creationId xmlns:a16="http://schemas.microsoft.com/office/drawing/2014/main" id="{01EF2702-C124-0783-1F8A-ADDB156872F5}"/>
                  </a:ext>
                </a:extLst>
              </p:cNvPr>
              <p:cNvSpPr/>
              <p:nvPr/>
            </p:nvSpPr>
            <p:spPr>
              <a:xfrm>
                <a:off x="6128442" y="1391364"/>
                <a:ext cx="136929" cy="110299"/>
              </a:xfrm>
              <a:custGeom>
                <a:avLst/>
                <a:gdLst>
                  <a:gd name="connsiteX0" fmla="*/ 22172 w 136929"/>
                  <a:gd name="connsiteY0" fmla="*/ 110201 h 110299"/>
                  <a:gd name="connsiteX1" fmla="*/ 57460 w 136929"/>
                  <a:gd name="connsiteY1" fmla="*/ 93941 h 110299"/>
                  <a:gd name="connsiteX2" fmla="*/ 129905 w 136929"/>
                  <a:gd name="connsiteY2" fmla="*/ 28579 h 110299"/>
                  <a:gd name="connsiteX3" fmla="*/ 127212 w 136929"/>
                  <a:gd name="connsiteY3" fmla="*/ 610 h 110299"/>
                  <a:gd name="connsiteX4" fmla="*/ 89480 w 136929"/>
                  <a:gd name="connsiteY4" fmla="*/ 15773 h 110299"/>
                  <a:gd name="connsiteX5" fmla="*/ 13332 w 136929"/>
                  <a:gd name="connsiteY5" fmla="*/ 62270 h 110299"/>
                  <a:gd name="connsiteX6" fmla="*/ 22172 w 136929"/>
                  <a:gd name="connsiteY6" fmla="*/ 110201 h 11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929" h="110299">
                    <a:moveTo>
                      <a:pt x="22172" y="110201"/>
                    </a:moveTo>
                    <a:cubicBezTo>
                      <a:pt x="22172" y="110201"/>
                      <a:pt x="35564" y="112583"/>
                      <a:pt x="57460" y="93941"/>
                    </a:cubicBezTo>
                    <a:cubicBezTo>
                      <a:pt x="80814" y="74053"/>
                      <a:pt x="116426" y="42394"/>
                      <a:pt x="129905" y="28579"/>
                    </a:cubicBezTo>
                    <a:cubicBezTo>
                      <a:pt x="143384" y="14763"/>
                      <a:pt x="134618" y="3640"/>
                      <a:pt x="127212" y="610"/>
                    </a:cubicBezTo>
                    <a:cubicBezTo>
                      <a:pt x="119805" y="-2420"/>
                      <a:pt x="110029" y="6334"/>
                      <a:pt x="89480" y="15773"/>
                    </a:cubicBezTo>
                    <a:cubicBezTo>
                      <a:pt x="68931" y="25212"/>
                      <a:pt x="35913" y="38342"/>
                      <a:pt x="13332" y="62270"/>
                    </a:cubicBezTo>
                    <a:cubicBezTo>
                      <a:pt x="-9237" y="86186"/>
                      <a:pt x="-1045" y="107645"/>
                      <a:pt x="22172" y="110201"/>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37" name="Graphic 525">
                <a:extLst>
                  <a:ext uri="{FF2B5EF4-FFF2-40B4-BE49-F238E27FC236}">
                    <a16:creationId xmlns:a16="http://schemas.microsoft.com/office/drawing/2014/main" id="{FD6BD0AB-08E4-7F21-3190-1C1AAFC6BA4B}"/>
                  </a:ext>
                </a:extLst>
              </p:cNvPr>
              <p:cNvGrpSpPr/>
              <p:nvPr/>
            </p:nvGrpSpPr>
            <p:grpSpPr>
              <a:xfrm>
                <a:off x="6211179" y="1341070"/>
                <a:ext cx="127307" cy="98455"/>
                <a:chOff x="6211179" y="1341070"/>
                <a:chExt cx="127307" cy="98455"/>
              </a:xfrm>
            </p:grpSpPr>
            <p:sp>
              <p:nvSpPr>
                <p:cNvPr id="3538" name="Freeform: Shape 3537">
                  <a:extLst>
                    <a:ext uri="{FF2B5EF4-FFF2-40B4-BE49-F238E27FC236}">
                      <a16:creationId xmlns:a16="http://schemas.microsoft.com/office/drawing/2014/main" id="{9DA6A5E7-CA49-B420-D145-C583F43EB623}"/>
                    </a:ext>
                  </a:extLst>
                </p:cNvPr>
                <p:cNvSpPr/>
                <p:nvPr/>
              </p:nvSpPr>
              <p:spPr>
                <a:xfrm>
                  <a:off x="6211179" y="1341070"/>
                  <a:ext cx="127307" cy="98455"/>
                </a:xfrm>
                <a:custGeom>
                  <a:avLst/>
                  <a:gdLst>
                    <a:gd name="connsiteX0" fmla="*/ 5047 w 127307"/>
                    <a:gd name="connsiteY0" fmla="*/ 90331 h 98455"/>
                    <a:gd name="connsiteX1" fmla="*/ 6731 w 127307"/>
                    <a:gd name="connsiteY1" fmla="*/ 66066 h 98455"/>
                    <a:gd name="connsiteX2" fmla="*/ 33016 w 127307"/>
                    <a:gd name="connsiteY2" fmla="*/ 37425 h 98455"/>
                    <a:gd name="connsiteX3" fmla="*/ 52218 w 127307"/>
                    <a:gd name="connsiteY3" fmla="*/ 16202 h 98455"/>
                    <a:gd name="connsiteX4" fmla="*/ 73777 w 127307"/>
                    <a:gd name="connsiteY4" fmla="*/ 30 h 98455"/>
                    <a:gd name="connsiteX5" fmla="*/ 70410 w 127307"/>
                    <a:gd name="connsiteY5" fmla="*/ 14182 h 98455"/>
                    <a:gd name="connsiteX6" fmla="*/ 63340 w 127307"/>
                    <a:gd name="connsiteY6" fmla="*/ 27325 h 98455"/>
                    <a:gd name="connsiteX7" fmla="*/ 84563 w 127307"/>
                    <a:gd name="connsiteY7" fmla="*/ 21602 h 98455"/>
                    <a:gd name="connsiteX8" fmla="*/ 113204 w 127307"/>
                    <a:gd name="connsiteY8" fmla="*/ 379 h 98455"/>
                    <a:gd name="connsiteX9" fmla="*/ 114888 w 127307"/>
                    <a:gd name="connsiteY9" fmla="*/ 6103 h 98455"/>
                    <a:gd name="connsiteX10" fmla="*/ 122980 w 127307"/>
                    <a:gd name="connsiteY10" fmla="*/ 10143 h 98455"/>
                    <a:gd name="connsiteX11" fmla="*/ 124327 w 127307"/>
                    <a:gd name="connsiteY11" fmla="*/ 19918 h 98455"/>
                    <a:gd name="connsiteX12" fmla="*/ 123990 w 127307"/>
                    <a:gd name="connsiteY12" fmla="*/ 29357 h 98455"/>
                    <a:gd name="connsiteX13" fmla="*/ 96022 w 127307"/>
                    <a:gd name="connsiteY13" fmla="*/ 54969 h 98455"/>
                    <a:gd name="connsiteX14" fmla="*/ 51208 w 127307"/>
                    <a:gd name="connsiteY14" fmla="*/ 74845 h 98455"/>
                    <a:gd name="connsiteX15" fmla="*/ 5047 w 127307"/>
                    <a:gd name="connsiteY15" fmla="*/ 90344 h 9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307" h="98455">
                      <a:moveTo>
                        <a:pt x="5047" y="90331"/>
                      </a:moveTo>
                      <a:cubicBezTo>
                        <a:pt x="5047" y="90331"/>
                        <a:pt x="-7359" y="74620"/>
                        <a:pt x="6731" y="66066"/>
                      </a:cubicBezTo>
                      <a:cubicBezTo>
                        <a:pt x="24312" y="55393"/>
                        <a:pt x="26270" y="50231"/>
                        <a:pt x="33016" y="37425"/>
                      </a:cubicBezTo>
                      <a:cubicBezTo>
                        <a:pt x="39749" y="24619"/>
                        <a:pt x="44138" y="22262"/>
                        <a:pt x="52218" y="16202"/>
                      </a:cubicBezTo>
                      <a:cubicBezTo>
                        <a:pt x="60310" y="10143"/>
                        <a:pt x="69400" y="-643"/>
                        <a:pt x="73777" y="30"/>
                      </a:cubicBezTo>
                      <a:cubicBezTo>
                        <a:pt x="78154" y="703"/>
                        <a:pt x="73777" y="9132"/>
                        <a:pt x="70410" y="14182"/>
                      </a:cubicBezTo>
                      <a:cubicBezTo>
                        <a:pt x="67043" y="19232"/>
                        <a:pt x="62330" y="23285"/>
                        <a:pt x="63340" y="27325"/>
                      </a:cubicBezTo>
                      <a:cubicBezTo>
                        <a:pt x="63340" y="27325"/>
                        <a:pt x="77493" y="24968"/>
                        <a:pt x="84563" y="21602"/>
                      </a:cubicBezTo>
                      <a:cubicBezTo>
                        <a:pt x="91633" y="18235"/>
                        <a:pt x="107468" y="-967"/>
                        <a:pt x="113204" y="379"/>
                      </a:cubicBezTo>
                      <a:cubicBezTo>
                        <a:pt x="118940" y="1726"/>
                        <a:pt x="114888" y="6103"/>
                        <a:pt x="114888" y="6103"/>
                      </a:cubicBezTo>
                      <a:cubicBezTo>
                        <a:pt x="114888" y="6103"/>
                        <a:pt x="124327" y="1389"/>
                        <a:pt x="122980" y="10143"/>
                      </a:cubicBezTo>
                      <a:cubicBezTo>
                        <a:pt x="122980" y="10143"/>
                        <a:pt x="131746" y="9806"/>
                        <a:pt x="124327" y="19918"/>
                      </a:cubicBezTo>
                      <a:cubicBezTo>
                        <a:pt x="124327" y="19918"/>
                        <a:pt x="131060" y="19918"/>
                        <a:pt x="123990" y="29357"/>
                      </a:cubicBezTo>
                      <a:cubicBezTo>
                        <a:pt x="116920" y="38796"/>
                        <a:pt x="106471" y="49906"/>
                        <a:pt x="96022" y="54969"/>
                      </a:cubicBezTo>
                      <a:cubicBezTo>
                        <a:pt x="85573" y="60019"/>
                        <a:pt x="63340" y="63735"/>
                        <a:pt x="51208" y="74845"/>
                      </a:cubicBezTo>
                      <a:cubicBezTo>
                        <a:pt x="39075" y="85967"/>
                        <a:pt x="22005" y="111454"/>
                        <a:pt x="5047" y="9034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39" name="Freeform: Shape 3538">
                  <a:extLst>
                    <a:ext uri="{FF2B5EF4-FFF2-40B4-BE49-F238E27FC236}">
                      <a16:creationId xmlns:a16="http://schemas.microsoft.com/office/drawing/2014/main" id="{74790D75-7078-E7E3-F3E3-21C700F1F1D6}"/>
                    </a:ext>
                  </a:extLst>
                </p:cNvPr>
                <p:cNvSpPr/>
                <p:nvPr/>
              </p:nvSpPr>
              <p:spPr>
                <a:xfrm>
                  <a:off x="6267686" y="1368268"/>
                  <a:ext cx="7076" cy="16747"/>
                </a:xfrm>
                <a:custGeom>
                  <a:avLst/>
                  <a:gdLst>
                    <a:gd name="connsiteX0" fmla="*/ 6970 w 7076"/>
                    <a:gd name="connsiteY0" fmla="*/ 127 h 16747"/>
                    <a:gd name="connsiteX1" fmla="*/ 6995 w 7076"/>
                    <a:gd name="connsiteY1" fmla="*/ 4827 h 16747"/>
                    <a:gd name="connsiteX2" fmla="*/ 6733 w 7076"/>
                    <a:gd name="connsiteY2" fmla="*/ 7184 h 16747"/>
                    <a:gd name="connsiteX3" fmla="*/ 6260 w 7076"/>
                    <a:gd name="connsiteY3" fmla="*/ 9528 h 16747"/>
                    <a:gd name="connsiteX4" fmla="*/ 5624 w 7076"/>
                    <a:gd name="connsiteY4" fmla="*/ 11897 h 16747"/>
                    <a:gd name="connsiteX5" fmla="*/ 4452 w 7076"/>
                    <a:gd name="connsiteY5" fmla="*/ 14105 h 16747"/>
                    <a:gd name="connsiteX6" fmla="*/ 2581 w 7076"/>
                    <a:gd name="connsiteY6" fmla="*/ 15863 h 16747"/>
                    <a:gd name="connsiteX7" fmla="*/ 162 w 7076"/>
                    <a:gd name="connsiteY7" fmla="*/ 16748 h 16747"/>
                    <a:gd name="connsiteX8" fmla="*/ 0 w 7076"/>
                    <a:gd name="connsiteY8" fmla="*/ 16611 h 16747"/>
                    <a:gd name="connsiteX9" fmla="*/ 25 w 7076"/>
                    <a:gd name="connsiteY9" fmla="*/ 16523 h 16747"/>
                    <a:gd name="connsiteX10" fmla="*/ 2182 w 7076"/>
                    <a:gd name="connsiteY10" fmla="*/ 12658 h 16747"/>
                    <a:gd name="connsiteX11" fmla="*/ 3192 w 7076"/>
                    <a:gd name="connsiteY11" fmla="*/ 10800 h 16747"/>
                    <a:gd name="connsiteX12" fmla="*/ 4215 w 7076"/>
                    <a:gd name="connsiteY12" fmla="*/ 8855 h 16747"/>
                    <a:gd name="connsiteX13" fmla="*/ 5000 w 7076"/>
                    <a:gd name="connsiteY13" fmla="*/ 6760 h 16747"/>
                    <a:gd name="connsiteX14" fmla="*/ 5673 w 7076"/>
                    <a:gd name="connsiteY14" fmla="*/ 4591 h 16747"/>
                    <a:gd name="connsiteX15" fmla="*/ 6709 w 7076"/>
                    <a:gd name="connsiteY15" fmla="*/ 114 h 16747"/>
                    <a:gd name="connsiteX16" fmla="*/ 6870 w 7076"/>
                    <a:gd name="connsiteY16" fmla="*/ 2 h 16747"/>
                    <a:gd name="connsiteX17" fmla="*/ 6983 w 7076"/>
                    <a:gd name="connsiteY17" fmla="*/ 127 h 1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76" h="16747">
                      <a:moveTo>
                        <a:pt x="6970" y="127"/>
                      </a:moveTo>
                      <a:cubicBezTo>
                        <a:pt x="7120" y="1685"/>
                        <a:pt x="7095" y="3256"/>
                        <a:pt x="6995" y="4827"/>
                      </a:cubicBezTo>
                      <a:cubicBezTo>
                        <a:pt x="6933" y="5613"/>
                        <a:pt x="6846" y="6399"/>
                        <a:pt x="6733" y="7184"/>
                      </a:cubicBezTo>
                      <a:cubicBezTo>
                        <a:pt x="6609" y="7970"/>
                        <a:pt x="6447" y="8755"/>
                        <a:pt x="6260" y="9528"/>
                      </a:cubicBezTo>
                      <a:cubicBezTo>
                        <a:pt x="6073" y="10314"/>
                        <a:pt x="5873" y="11099"/>
                        <a:pt x="5624" y="11897"/>
                      </a:cubicBezTo>
                      <a:cubicBezTo>
                        <a:pt x="5374" y="12683"/>
                        <a:pt x="4975" y="13431"/>
                        <a:pt x="4452" y="14105"/>
                      </a:cubicBezTo>
                      <a:cubicBezTo>
                        <a:pt x="3928" y="14778"/>
                        <a:pt x="3304" y="15389"/>
                        <a:pt x="2581" y="15863"/>
                      </a:cubicBezTo>
                      <a:cubicBezTo>
                        <a:pt x="1858" y="16337"/>
                        <a:pt x="1035" y="16686"/>
                        <a:pt x="162" y="16748"/>
                      </a:cubicBezTo>
                      <a:cubicBezTo>
                        <a:pt x="75" y="16748"/>
                        <a:pt x="12" y="16698"/>
                        <a:pt x="0" y="16611"/>
                      </a:cubicBezTo>
                      <a:cubicBezTo>
                        <a:pt x="0" y="16573"/>
                        <a:pt x="0" y="16548"/>
                        <a:pt x="25" y="16523"/>
                      </a:cubicBezTo>
                      <a:cubicBezTo>
                        <a:pt x="935" y="15102"/>
                        <a:pt x="1571" y="13942"/>
                        <a:pt x="2182" y="12658"/>
                      </a:cubicBezTo>
                      <a:cubicBezTo>
                        <a:pt x="2481" y="12035"/>
                        <a:pt x="2818" y="11424"/>
                        <a:pt x="3192" y="10800"/>
                      </a:cubicBezTo>
                      <a:cubicBezTo>
                        <a:pt x="3566" y="10189"/>
                        <a:pt x="3928" y="9541"/>
                        <a:pt x="4215" y="8855"/>
                      </a:cubicBezTo>
                      <a:cubicBezTo>
                        <a:pt x="4501" y="8169"/>
                        <a:pt x="4763" y="7471"/>
                        <a:pt x="5000" y="6760"/>
                      </a:cubicBezTo>
                      <a:cubicBezTo>
                        <a:pt x="5249" y="6050"/>
                        <a:pt x="5474" y="5326"/>
                        <a:pt x="5673" y="4591"/>
                      </a:cubicBezTo>
                      <a:cubicBezTo>
                        <a:pt x="6085" y="3132"/>
                        <a:pt x="6434" y="1623"/>
                        <a:pt x="6709" y="114"/>
                      </a:cubicBezTo>
                      <a:cubicBezTo>
                        <a:pt x="6721" y="39"/>
                        <a:pt x="6796" y="-11"/>
                        <a:pt x="6870" y="2"/>
                      </a:cubicBezTo>
                      <a:cubicBezTo>
                        <a:pt x="6933" y="2"/>
                        <a:pt x="6970" y="64"/>
                        <a:pt x="6983" y="127"/>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0" name="Freeform: Shape 3539">
                  <a:extLst>
                    <a:ext uri="{FF2B5EF4-FFF2-40B4-BE49-F238E27FC236}">
                      <a16:creationId xmlns:a16="http://schemas.microsoft.com/office/drawing/2014/main" id="{CAEA4D16-C85F-ECEA-224A-2854A6052519}"/>
                    </a:ext>
                  </a:extLst>
                </p:cNvPr>
                <p:cNvSpPr/>
                <p:nvPr/>
              </p:nvSpPr>
              <p:spPr>
                <a:xfrm>
                  <a:off x="6294620" y="1347048"/>
                  <a:ext cx="31571" cy="25860"/>
                </a:xfrm>
                <a:custGeom>
                  <a:avLst/>
                  <a:gdLst>
                    <a:gd name="connsiteX0" fmla="*/ 31547 w 31571"/>
                    <a:gd name="connsiteY0" fmla="*/ 212 h 25860"/>
                    <a:gd name="connsiteX1" fmla="*/ 24664 w 31571"/>
                    <a:gd name="connsiteY1" fmla="*/ 7743 h 25860"/>
                    <a:gd name="connsiteX2" fmla="*/ 21098 w 31571"/>
                    <a:gd name="connsiteY2" fmla="*/ 11397 h 25860"/>
                    <a:gd name="connsiteX3" fmla="*/ 17419 w 31571"/>
                    <a:gd name="connsiteY3" fmla="*/ 14950 h 25860"/>
                    <a:gd name="connsiteX4" fmla="*/ 13691 w 31571"/>
                    <a:gd name="connsiteY4" fmla="*/ 18479 h 25860"/>
                    <a:gd name="connsiteX5" fmla="*/ 9664 w 31571"/>
                    <a:gd name="connsiteY5" fmla="*/ 21696 h 25860"/>
                    <a:gd name="connsiteX6" fmla="*/ 5175 w 31571"/>
                    <a:gd name="connsiteY6" fmla="*/ 24327 h 25860"/>
                    <a:gd name="connsiteX7" fmla="*/ 149 w 31571"/>
                    <a:gd name="connsiteY7" fmla="*/ 25861 h 25860"/>
                    <a:gd name="connsiteX8" fmla="*/ 0 w 31571"/>
                    <a:gd name="connsiteY8" fmla="*/ 25736 h 25860"/>
                    <a:gd name="connsiteX9" fmla="*/ 75 w 31571"/>
                    <a:gd name="connsiteY9" fmla="*/ 25611 h 25860"/>
                    <a:gd name="connsiteX10" fmla="*/ 4177 w 31571"/>
                    <a:gd name="connsiteY10" fmla="*/ 22719 h 25860"/>
                    <a:gd name="connsiteX11" fmla="*/ 8043 w 31571"/>
                    <a:gd name="connsiteY11" fmla="*/ 19551 h 25860"/>
                    <a:gd name="connsiteX12" fmla="*/ 11983 w 31571"/>
                    <a:gd name="connsiteY12" fmla="*/ 16434 h 25860"/>
                    <a:gd name="connsiteX13" fmla="*/ 15985 w 31571"/>
                    <a:gd name="connsiteY13" fmla="*/ 13342 h 25860"/>
                    <a:gd name="connsiteX14" fmla="*/ 19876 w 31571"/>
                    <a:gd name="connsiteY14" fmla="*/ 10087 h 25860"/>
                    <a:gd name="connsiteX15" fmla="*/ 23729 w 31571"/>
                    <a:gd name="connsiteY15" fmla="*/ 6783 h 25860"/>
                    <a:gd name="connsiteX16" fmla="*/ 31347 w 31571"/>
                    <a:gd name="connsiteY16" fmla="*/ 37 h 25860"/>
                    <a:gd name="connsiteX17" fmla="*/ 31534 w 31571"/>
                    <a:gd name="connsiteY17" fmla="*/ 37 h 25860"/>
                    <a:gd name="connsiteX18" fmla="*/ 31534 w 31571"/>
                    <a:gd name="connsiteY18" fmla="*/ 212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571" h="25860">
                      <a:moveTo>
                        <a:pt x="31547" y="212"/>
                      </a:moveTo>
                      <a:cubicBezTo>
                        <a:pt x="29327" y="2793"/>
                        <a:pt x="26995" y="5274"/>
                        <a:pt x="24664" y="7743"/>
                      </a:cubicBezTo>
                      <a:cubicBezTo>
                        <a:pt x="23479" y="8965"/>
                        <a:pt x="22295" y="10187"/>
                        <a:pt x="21098" y="11397"/>
                      </a:cubicBezTo>
                      <a:cubicBezTo>
                        <a:pt x="19888" y="12594"/>
                        <a:pt x="18666" y="13778"/>
                        <a:pt x="17419" y="14950"/>
                      </a:cubicBezTo>
                      <a:cubicBezTo>
                        <a:pt x="16172" y="16122"/>
                        <a:pt x="14950" y="17319"/>
                        <a:pt x="13691" y="18479"/>
                      </a:cubicBezTo>
                      <a:cubicBezTo>
                        <a:pt x="12419" y="19639"/>
                        <a:pt x="11085" y="20711"/>
                        <a:pt x="9664" y="21696"/>
                      </a:cubicBezTo>
                      <a:cubicBezTo>
                        <a:pt x="8242" y="22669"/>
                        <a:pt x="6758" y="23566"/>
                        <a:pt x="5175" y="24327"/>
                      </a:cubicBezTo>
                      <a:cubicBezTo>
                        <a:pt x="3603" y="25075"/>
                        <a:pt x="1920" y="25736"/>
                        <a:pt x="149" y="25861"/>
                      </a:cubicBezTo>
                      <a:cubicBezTo>
                        <a:pt x="75" y="25861"/>
                        <a:pt x="12" y="25811"/>
                        <a:pt x="0" y="25736"/>
                      </a:cubicBezTo>
                      <a:cubicBezTo>
                        <a:pt x="0" y="25686"/>
                        <a:pt x="25" y="25636"/>
                        <a:pt x="75" y="25611"/>
                      </a:cubicBezTo>
                      <a:cubicBezTo>
                        <a:pt x="1571" y="24764"/>
                        <a:pt x="2868" y="23754"/>
                        <a:pt x="4177" y="22719"/>
                      </a:cubicBezTo>
                      <a:cubicBezTo>
                        <a:pt x="5474" y="21671"/>
                        <a:pt x="6758" y="20611"/>
                        <a:pt x="8043" y="19551"/>
                      </a:cubicBezTo>
                      <a:cubicBezTo>
                        <a:pt x="9327" y="18492"/>
                        <a:pt x="10636" y="17444"/>
                        <a:pt x="11983" y="16434"/>
                      </a:cubicBezTo>
                      <a:cubicBezTo>
                        <a:pt x="13342" y="15437"/>
                        <a:pt x="14676" y="14414"/>
                        <a:pt x="15985" y="13342"/>
                      </a:cubicBezTo>
                      <a:cubicBezTo>
                        <a:pt x="17294" y="12270"/>
                        <a:pt x="18579" y="11185"/>
                        <a:pt x="19876" y="10087"/>
                      </a:cubicBezTo>
                      <a:cubicBezTo>
                        <a:pt x="21172" y="9003"/>
                        <a:pt x="22457" y="7893"/>
                        <a:pt x="23729" y="6783"/>
                      </a:cubicBezTo>
                      <a:cubicBezTo>
                        <a:pt x="26297" y="4576"/>
                        <a:pt x="28816" y="2307"/>
                        <a:pt x="31347" y="37"/>
                      </a:cubicBezTo>
                      <a:cubicBezTo>
                        <a:pt x="31397" y="-12"/>
                        <a:pt x="31484" y="-12"/>
                        <a:pt x="31534" y="37"/>
                      </a:cubicBezTo>
                      <a:cubicBezTo>
                        <a:pt x="31584" y="87"/>
                        <a:pt x="31584" y="162"/>
                        <a:pt x="31534" y="212"/>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1" name="Freeform: Shape 3540">
                  <a:extLst>
                    <a:ext uri="{FF2B5EF4-FFF2-40B4-BE49-F238E27FC236}">
                      <a16:creationId xmlns:a16="http://schemas.microsoft.com/office/drawing/2014/main" id="{1FF5DB10-D0EE-ABD0-AEB0-C1042EBF2EC1}"/>
                    </a:ext>
                  </a:extLst>
                </p:cNvPr>
                <p:cNvSpPr/>
                <p:nvPr/>
              </p:nvSpPr>
              <p:spPr>
                <a:xfrm>
                  <a:off x="6298667" y="1351106"/>
                  <a:ext cx="35624" cy="28194"/>
                </a:xfrm>
                <a:custGeom>
                  <a:avLst/>
                  <a:gdLst>
                    <a:gd name="connsiteX0" fmla="*/ 35579 w 35624"/>
                    <a:gd name="connsiteY0" fmla="*/ 206 h 28194"/>
                    <a:gd name="connsiteX1" fmla="*/ 31639 w 35624"/>
                    <a:gd name="connsiteY1" fmla="*/ 4271 h 28194"/>
                    <a:gd name="connsiteX2" fmla="*/ 27611 w 35624"/>
                    <a:gd name="connsiteY2" fmla="*/ 8249 h 28194"/>
                    <a:gd name="connsiteX3" fmla="*/ 23484 w 35624"/>
                    <a:gd name="connsiteY3" fmla="*/ 12139 h 28194"/>
                    <a:gd name="connsiteX4" fmla="*/ 21377 w 35624"/>
                    <a:gd name="connsiteY4" fmla="*/ 14034 h 28194"/>
                    <a:gd name="connsiteX5" fmla="*/ 19244 w 35624"/>
                    <a:gd name="connsiteY5" fmla="*/ 15905 h 28194"/>
                    <a:gd name="connsiteX6" fmla="*/ 17112 w 35624"/>
                    <a:gd name="connsiteY6" fmla="*/ 17775 h 28194"/>
                    <a:gd name="connsiteX7" fmla="*/ 14968 w 35624"/>
                    <a:gd name="connsiteY7" fmla="*/ 19646 h 28194"/>
                    <a:gd name="connsiteX8" fmla="*/ 12748 w 35624"/>
                    <a:gd name="connsiteY8" fmla="*/ 21429 h 28194"/>
                    <a:gd name="connsiteX9" fmla="*/ 10416 w 35624"/>
                    <a:gd name="connsiteY9" fmla="*/ 23062 h 28194"/>
                    <a:gd name="connsiteX10" fmla="*/ 7985 w 35624"/>
                    <a:gd name="connsiteY10" fmla="*/ 24571 h 28194"/>
                    <a:gd name="connsiteX11" fmla="*/ 5478 w 35624"/>
                    <a:gd name="connsiteY11" fmla="*/ 25955 h 28194"/>
                    <a:gd name="connsiteX12" fmla="*/ 2885 w 35624"/>
                    <a:gd name="connsiteY12" fmla="*/ 27189 h 28194"/>
                    <a:gd name="connsiteX13" fmla="*/ 179 w 35624"/>
                    <a:gd name="connsiteY13" fmla="*/ 28187 h 28194"/>
                    <a:gd name="connsiteX14" fmla="*/ 5 w 35624"/>
                    <a:gd name="connsiteY14" fmla="*/ 28100 h 28194"/>
                    <a:gd name="connsiteX15" fmla="*/ 42 w 35624"/>
                    <a:gd name="connsiteY15" fmla="*/ 27962 h 28194"/>
                    <a:gd name="connsiteX16" fmla="*/ 2249 w 35624"/>
                    <a:gd name="connsiteY16" fmla="*/ 26142 h 28194"/>
                    <a:gd name="connsiteX17" fmla="*/ 3346 w 35624"/>
                    <a:gd name="connsiteY17" fmla="*/ 25257 h 28194"/>
                    <a:gd name="connsiteX18" fmla="*/ 4444 w 35624"/>
                    <a:gd name="connsiteY18" fmla="*/ 24384 h 28194"/>
                    <a:gd name="connsiteX19" fmla="*/ 6638 w 35624"/>
                    <a:gd name="connsiteY19" fmla="*/ 22626 h 28194"/>
                    <a:gd name="connsiteX20" fmla="*/ 8833 w 35624"/>
                    <a:gd name="connsiteY20" fmla="*/ 20892 h 28194"/>
                    <a:gd name="connsiteX21" fmla="*/ 11065 w 35624"/>
                    <a:gd name="connsiteY21" fmla="*/ 19197 h 28194"/>
                    <a:gd name="connsiteX22" fmla="*/ 13334 w 35624"/>
                    <a:gd name="connsiteY22" fmla="*/ 17551 h 28194"/>
                    <a:gd name="connsiteX23" fmla="*/ 15628 w 35624"/>
                    <a:gd name="connsiteY23" fmla="*/ 15930 h 28194"/>
                    <a:gd name="connsiteX24" fmla="*/ 17885 w 35624"/>
                    <a:gd name="connsiteY24" fmla="*/ 14259 h 28194"/>
                    <a:gd name="connsiteX25" fmla="*/ 20117 w 35624"/>
                    <a:gd name="connsiteY25" fmla="*/ 12538 h 28194"/>
                    <a:gd name="connsiteX26" fmla="*/ 22324 w 35624"/>
                    <a:gd name="connsiteY26" fmla="*/ 10793 h 28194"/>
                    <a:gd name="connsiteX27" fmla="*/ 26726 w 35624"/>
                    <a:gd name="connsiteY27" fmla="*/ 7264 h 28194"/>
                    <a:gd name="connsiteX28" fmla="*/ 35404 w 35624"/>
                    <a:gd name="connsiteY28" fmla="*/ 32 h 28194"/>
                    <a:gd name="connsiteX29" fmla="*/ 35592 w 35624"/>
                    <a:gd name="connsiteY29" fmla="*/ 44 h 28194"/>
                    <a:gd name="connsiteX30" fmla="*/ 35592 w 35624"/>
                    <a:gd name="connsiteY30" fmla="*/ 219 h 2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24" h="28194">
                      <a:moveTo>
                        <a:pt x="35579" y="206"/>
                      </a:moveTo>
                      <a:cubicBezTo>
                        <a:pt x="34295" y="1590"/>
                        <a:pt x="32973" y="2937"/>
                        <a:pt x="31639" y="4271"/>
                      </a:cubicBezTo>
                      <a:cubicBezTo>
                        <a:pt x="30305" y="5605"/>
                        <a:pt x="28970" y="6940"/>
                        <a:pt x="27611" y="8249"/>
                      </a:cubicBezTo>
                      <a:cubicBezTo>
                        <a:pt x="26252" y="9558"/>
                        <a:pt x="24868" y="10855"/>
                        <a:pt x="23484" y="12139"/>
                      </a:cubicBezTo>
                      <a:lnTo>
                        <a:pt x="21377" y="14034"/>
                      </a:lnTo>
                      <a:lnTo>
                        <a:pt x="19244" y="15905"/>
                      </a:lnTo>
                      <a:lnTo>
                        <a:pt x="17112" y="17775"/>
                      </a:lnTo>
                      <a:cubicBezTo>
                        <a:pt x="16401" y="18399"/>
                        <a:pt x="15691" y="19035"/>
                        <a:pt x="14968" y="19646"/>
                      </a:cubicBezTo>
                      <a:cubicBezTo>
                        <a:pt x="14232" y="20257"/>
                        <a:pt x="13496" y="20855"/>
                        <a:pt x="12748" y="21429"/>
                      </a:cubicBezTo>
                      <a:cubicBezTo>
                        <a:pt x="11987" y="22002"/>
                        <a:pt x="11202" y="22526"/>
                        <a:pt x="10416" y="23062"/>
                      </a:cubicBezTo>
                      <a:cubicBezTo>
                        <a:pt x="9631" y="23598"/>
                        <a:pt x="8808" y="24085"/>
                        <a:pt x="7985" y="24571"/>
                      </a:cubicBezTo>
                      <a:cubicBezTo>
                        <a:pt x="7162" y="25057"/>
                        <a:pt x="6351" y="25544"/>
                        <a:pt x="5478" y="25955"/>
                      </a:cubicBezTo>
                      <a:cubicBezTo>
                        <a:pt x="4618" y="26379"/>
                        <a:pt x="3770" y="26815"/>
                        <a:pt x="2885" y="27189"/>
                      </a:cubicBezTo>
                      <a:cubicBezTo>
                        <a:pt x="1987" y="27539"/>
                        <a:pt x="1102" y="27888"/>
                        <a:pt x="179" y="28187"/>
                      </a:cubicBezTo>
                      <a:cubicBezTo>
                        <a:pt x="105" y="28212"/>
                        <a:pt x="30" y="28174"/>
                        <a:pt x="5" y="28100"/>
                      </a:cubicBezTo>
                      <a:cubicBezTo>
                        <a:pt x="-8" y="28050"/>
                        <a:pt x="5" y="27987"/>
                        <a:pt x="42" y="27962"/>
                      </a:cubicBezTo>
                      <a:cubicBezTo>
                        <a:pt x="765" y="27314"/>
                        <a:pt x="1513" y="26728"/>
                        <a:pt x="2249" y="26142"/>
                      </a:cubicBezTo>
                      <a:cubicBezTo>
                        <a:pt x="2623" y="25868"/>
                        <a:pt x="2985" y="25544"/>
                        <a:pt x="3346" y="25257"/>
                      </a:cubicBezTo>
                      <a:cubicBezTo>
                        <a:pt x="3708" y="24957"/>
                        <a:pt x="4082" y="24671"/>
                        <a:pt x="4444" y="24384"/>
                      </a:cubicBezTo>
                      <a:lnTo>
                        <a:pt x="6638" y="22626"/>
                      </a:lnTo>
                      <a:cubicBezTo>
                        <a:pt x="7374" y="22040"/>
                        <a:pt x="8110" y="21491"/>
                        <a:pt x="8833" y="20892"/>
                      </a:cubicBezTo>
                      <a:cubicBezTo>
                        <a:pt x="9568" y="20319"/>
                        <a:pt x="10304" y="19745"/>
                        <a:pt x="11065" y="19197"/>
                      </a:cubicBezTo>
                      <a:cubicBezTo>
                        <a:pt x="11813" y="18636"/>
                        <a:pt x="12574" y="18087"/>
                        <a:pt x="13334" y="17551"/>
                      </a:cubicBezTo>
                      <a:cubicBezTo>
                        <a:pt x="14107" y="17027"/>
                        <a:pt x="14868" y="16466"/>
                        <a:pt x="15628" y="15930"/>
                      </a:cubicBezTo>
                      <a:cubicBezTo>
                        <a:pt x="16389" y="15381"/>
                        <a:pt x="17150" y="14832"/>
                        <a:pt x="17885" y="14259"/>
                      </a:cubicBezTo>
                      <a:lnTo>
                        <a:pt x="20117" y="12538"/>
                      </a:lnTo>
                      <a:lnTo>
                        <a:pt x="22324" y="10793"/>
                      </a:lnTo>
                      <a:cubicBezTo>
                        <a:pt x="23796" y="9620"/>
                        <a:pt x="25267" y="8461"/>
                        <a:pt x="26726" y="7264"/>
                      </a:cubicBezTo>
                      <a:cubicBezTo>
                        <a:pt x="29656" y="4907"/>
                        <a:pt x="32536" y="2476"/>
                        <a:pt x="35404" y="32"/>
                      </a:cubicBezTo>
                      <a:cubicBezTo>
                        <a:pt x="35467" y="-18"/>
                        <a:pt x="35542" y="-6"/>
                        <a:pt x="35592" y="44"/>
                      </a:cubicBezTo>
                      <a:cubicBezTo>
                        <a:pt x="35641" y="94"/>
                        <a:pt x="35629" y="169"/>
                        <a:pt x="35592" y="219"/>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2" name="Freeform: Shape 3541">
                  <a:extLst>
                    <a:ext uri="{FF2B5EF4-FFF2-40B4-BE49-F238E27FC236}">
                      <a16:creationId xmlns:a16="http://schemas.microsoft.com/office/drawing/2014/main" id="{A0797FD1-3DA5-3900-6B58-5A4F6CAFB25C}"/>
                    </a:ext>
                  </a:extLst>
                </p:cNvPr>
                <p:cNvSpPr/>
                <p:nvPr/>
              </p:nvSpPr>
              <p:spPr>
                <a:xfrm>
                  <a:off x="6307745" y="1360869"/>
                  <a:ext cx="27855" cy="22806"/>
                </a:xfrm>
                <a:custGeom>
                  <a:avLst/>
                  <a:gdLst>
                    <a:gd name="connsiteX0" fmla="*/ 27848 w 27855"/>
                    <a:gd name="connsiteY0" fmla="*/ 206 h 22806"/>
                    <a:gd name="connsiteX1" fmla="*/ 21651 w 27855"/>
                    <a:gd name="connsiteY1" fmla="*/ 6690 h 22806"/>
                    <a:gd name="connsiteX2" fmla="*/ 18459 w 27855"/>
                    <a:gd name="connsiteY2" fmla="*/ 9832 h 22806"/>
                    <a:gd name="connsiteX3" fmla="*/ 15179 w 27855"/>
                    <a:gd name="connsiteY3" fmla="*/ 12900 h 22806"/>
                    <a:gd name="connsiteX4" fmla="*/ 11888 w 27855"/>
                    <a:gd name="connsiteY4" fmla="*/ 15967 h 22806"/>
                    <a:gd name="connsiteX5" fmla="*/ 10167 w 27855"/>
                    <a:gd name="connsiteY5" fmla="*/ 17426 h 22806"/>
                    <a:gd name="connsiteX6" fmla="*/ 9269 w 27855"/>
                    <a:gd name="connsiteY6" fmla="*/ 18112 h 22806"/>
                    <a:gd name="connsiteX7" fmla="*/ 8346 w 27855"/>
                    <a:gd name="connsiteY7" fmla="*/ 18760 h 22806"/>
                    <a:gd name="connsiteX8" fmla="*/ 4456 w 27855"/>
                    <a:gd name="connsiteY8" fmla="*/ 21104 h 22806"/>
                    <a:gd name="connsiteX9" fmla="*/ 2374 w 27855"/>
                    <a:gd name="connsiteY9" fmla="*/ 22077 h 22806"/>
                    <a:gd name="connsiteX10" fmla="*/ 179 w 27855"/>
                    <a:gd name="connsiteY10" fmla="*/ 22800 h 22806"/>
                    <a:gd name="connsiteX11" fmla="*/ 5 w 27855"/>
                    <a:gd name="connsiteY11" fmla="*/ 22701 h 22806"/>
                    <a:gd name="connsiteX12" fmla="*/ 42 w 27855"/>
                    <a:gd name="connsiteY12" fmla="*/ 22563 h 22806"/>
                    <a:gd name="connsiteX13" fmla="*/ 1713 w 27855"/>
                    <a:gd name="connsiteY13" fmla="*/ 21030 h 22806"/>
                    <a:gd name="connsiteX14" fmla="*/ 3371 w 27855"/>
                    <a:gd name="connsiteY14" fmla="*/ 19546 h 22806"/>
                    <a:gd name="connsiteX15" fmla="*/ 6700 w 27855"/>
                    <a:gd name="connsiteY15" fmla="*/ 16628 h 22806"/>
                    <a:gd name="connsiteX16" fmla="*/ 8409 w 27855"/>
                    <a:gd name="connsiteY16" fmla="*/ 15232 h 22806"/>
                    <a:gd name="connsiteX17" fmla="*/ 10179 w 27855"/>
                    <a:gd name="connsiteY17" fmla="*/ 13910 h 22806"/>
                    <a:gd name="connsiteX18" fmla="*/ 13758 w 27855"/>
                    <a:gd name="connsiteY18" fmla="*/ 11266 h 22806"/>
                    <a:gd name="connsiteX19" fmla="*/ 17249 w 27855"/>
                    <a:gd name="connsiteY19" fmla="*/ 8498 h 22806"/>
                    <a:gd name="connsiteX20" fmla="*/ 20728 w 27855"/>
                    <a:gd name="connsiteY20" fmla="*/ 5705 h 22806"/>
                    <a:gd name="connsiteX21" fmla="*/ 27636 w 27855"/>
                    <a:gd name="connsiteY21" fmla="*/ 32 h 22806"/>
                    <a:gd name="connsiteX22" fmla="*/ 27823 w 27855"/>
                    <a:gd name="connsiteY22" fmla="*/ 44 h 22806"/>
                    <a:gd name="connsiteX23" fmla="*/ 27823 w 27855"/>
                    <a:gd name="connsiteY23" fmla="*/ 219 h 2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855" h="22806">
                      <a:moveTo>
                        <a:pt x="27848" y="206"/>
                      </a:moveTo>
                      <a:cubicBezTo>
                        <a:pt x="25841" y="2426"/>
                        <a:pt x="23746" y="4546"/>
                        <a:pt x="21651" y="6690"/>
                      </a:cubicBezTo>
                      <a:cubicBezTo>
                        <a:pt x="20591" y="7750"/>
                        <a:pt x="19531" y="8797"/>
                        <a:pt x="18459" y="9832"/>
                      </a:cubicBezTo>
                      <a:cubicBezTo>
                        <a:pt x="17374" y="10855"/>
                        <a:pt x="16289" y="11890"/>
                        <a:pt x="15179" y="12900"/>
                      </a:cubicBezTo>
                      <a:lnTo>
                        <a:pt x="11888" y="15967"/>
                      </a:lnTo>
                      <a:cubicBezTo>
                        <a:pt x="11339" y="16478"/>
                        <a:pt x="10753" y="16952"/>
                        <a:pt x="10167" y="17426"/>
                      </a:cubicBezTo>
                      <a:cubicBezTo>
                        <a:pt x="9868" y="17651"/>
                        <a:pt x="9581" y="17887"/>
                        <a:pt x="9269" y="18112"/>
                      </a:cubicBezTo>
                      <a:lnTo>
                        <a:pt x="8346" y="18760"/>
                      </a:lnTo>
                      <a:cubicBezTo>
                        <a:pt x="7112" y="19621"/>
                        <a:pt x="5803" y="20394"/>
                        <a:pt x="4456" y="21104"/>
                      </a:cubicBezTo>
                      <a:cubicBezTo>
                        <a:pt x="3770" y="21454"/>
                        <a:pt x="3072" y="21765"/>
                        <a:pt x="2374" y="22077"/>
                      </a:cubicBezTo>
                      <a:cubicBezTo>
                        <a:pt x="1650" y="22351"/>
                        <a:pt x="927" y="22601"/>
                        <a:pt x="179" y="22800"/>
                      </a:cubicBezTo>
                      <a:cubicBezTo>
                        <a:pt x="104" y="22825"/>
                        <a:pt x="30" y="22775"/>
                        <a:pt x="5" y="22701"/>
                      </a:cubicBezTo>
                      <a:cubicBezTo>
                        <a:pt x="-8" y="22651"/>
                        <a:pt x="5" y="22601"/>
                        <a:pt x="42" y="22563"/>
                      </a:cubicBezTo>
                      <a:cubicBezTo>
                        <a:pt x="591" y="22002"/>
                        <a:pt x="1164" y="21516"/>
                        <a:pt x="1713" y="21030"/>
                      </a:cubicBezTo>
                      <a:cubicBezTo>
                        <a:pt x="2261" y="20518"/>
                        <a:pt x="2810" y="20020"/>
                        <a:pt x="3371" y="19546"/>
                      </a:cubicBezTo>
                      <a:cubicBezTo>
                        <a:pt x="4468" y="18536"/>
                        <a:pt x="5591" y="17588"/>
                        <a:pt x="6700" y="16628"/>
                      </a:cubicBezTo>
                      <a:lnTo>
                        <a:pt x="8409" y="15232"/>
                      </a:lnTo>
                      <a:cubicBezTo>
                        <a:pt x="8982" y="14770"/>
                        <a:pt x="9593" y="14346"/>
                        <a:pt x="10179" y="13910"/>
                      </a:cubicBezTo>
                      <a:cubicBezTo>
                        <a:pt x="11376" y="13049"/>
                        <a:pt x="12598" y="12189"/>
                        <a:pt x="13758" y="11266"/>
                      </a:cubicBezTo>
                      <a:cubicBezTo>
                        <a:pt x="14930" y="10356"/>
                        <a:pt x="16090" y="9421"/>
                        <a:pt x="17249" y="8498"/>
                      </a:cubicBezTo>
                      <a:cubicBezTo>
                        <a:pt x="18409" y="7575"/>
                        <a:pt x="19569" y="6640"/>
                        <a:pt x="20728" y="5705"/>
                      </a:cubicBezTo>
                      <a:cubicBezTo>
                        <a:pt x="23060" y="3847"/>
                        <a:pt x="25342" y="1927"/>
                        <a:pt x="27636" y="32"/>
                      </a:cubicBezTo>
                      <a:cubicBezTo>
                        <a:pt x="27698" y="-18"/>
                        <a:pt x="27773" y="-6"/>
                        <a:pt x="27823" y="44"/>
                      </a:cubicBezTo>
                      <a:cubicBezTo>
                        <a:pt x="27873" y="94"/>
                        <a:pt x="27860" y="169"/>
                        <a:pt x="27823" y="219"/>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3" name="Freeform: Shape 3542">
                  <a:extLst>
                    <a:ext uri="{FF2B5EF4-FFF2-40B4-BE49-F238E27FC236}">
                      <a16:creationId xmlns:a16="http://schemas.microsoft.com/office/drawing/2014/main" id="{07EB6720-E7A7-1264-9E23-3243D7ACC498}"/>
                    </a:ext>
                  </a:extLst>
                </p:cNvPr>
                <p:cNvSpPr/>
                <p:nvPr/>
              </p:nvSpPr>
              <p:spPr>
                <a:xfrm>
                  <a:off x="6269470" y="1383595"/>
                  <a:ext cx="26284" cy="5685"/>
                </a:xfrm>
                <a:custGeom>
                  <a:avLst/>
                  <a:gdLst>
                    <a:gd name="connsiteX0" fmla="*/ 0 w 26284"/>
                    <a:gd name="connsiteY0" fmla="*/ 5686 h 5685"/>
                    <a:gd name="connsiteX1" fmla="*/ 5947 w 26284"/>
                    <a:gd name="connsiteY1" fmla="*/ 2157 h 5685"/>
                    <a:gd name="connsiteX2" fmla="*/ 12644 w 26284"/>
                    <a:gd name="connsiteY2" fmla="*/ 324 h 5685"/>
                    <a:gd name="connsiteX3" fmla="*/ 16110 w 26284"/>
                    <a:gd name="connsiteY3" fmla="*/ 0 h 5685"/>
                    <a:gd name="connsiteX4" fmla="*/ 17856 w 26284"/>
                    <a:gd name="connsiteY4" fmla="*/ 25 h 5685"/>
                    <a:gd name="connsiteX5" fmla="*/ 18728 w 26284"/>
                    <a:gd name="connsiteY5" fmla="*/ 62 h 5685"/>
                    <a:gd name="connsiteX6" fmla="*/ 19601 w 26284"/>
                    <a:gd name="connsiteY6" fmla="*/ 162 h 5685"/>
                    <a:gd name="connsiteX7" fmla="*/ 26285 w 26284"/>
                    <a:gd name="connsiteY7" fmla="*/ 1983 h 5685"/>
                    <a:gd name="connsiteX8" fmla="*/ 19564 w 26284"/>
                    <a:gd name="connsiteY8" fmla="*/ 2282 h 5685"/>
                    <a:gd name="connsiteX9" fmla="*/ 18741 w 26284"/>
                    <a:gd name="connsiteY9" fmla="*/ 2332 h 5685"/>
                    <a:gd name="connsiteX10" fmla="*/ 17918 w 26284"/>
                    <a:gd name="connsiteY10" fmla="*/ 2407 h 5685"/>
                    <a:gd name="connsiteX11" fmla="*/ 16284 w 26284"/>
                    <a:gd name="connsiteY11" fmla="*/ 2556 h 5685"/>
                    <a:gd name="connsiteX12" fmla="*/ 13043 w 26284"/>
                    <a:gd name="connsiteY12" fmla="*/ 2993 h 5685"/>
                    <a:gd name="connsiteX13" fmla="*/ 6571 w 26284"/>
                    <a:gd name="connsiteY13" fmla="*/ 4177 h 5685"/>
                    <a:gd name="connsiteX14" fmla="*/ 0 w 26284"/>
                    <a:gd name="connsiteY14" fmla="*/ 5686 h 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284" h="5685">
                      <a:moveTo>
                        <a:pt x="0" y="5686"/>
                      </a:moveTo>
                      <a:cubicBezTo>
                        <a:pt x="1758" y="4152"/>
                        <a:pt x="3815" y="3043"/>
                        <a:pt x="5947" y="2157"/>
                      </a:cubicBezTo>
                      <a:cubicBezTo>
                        <a:pt x="8092" y="1272"/>
                        <a:pt x="10349" y="673"/>
                        <a:pt x="12644" y="324"/>
                      </a:cubicBezTo>
                      <a:cubicBezTo>
                        <a:pt x="13791" y="125"/>
                        <a:pt x="14950" y="75"/>
                        <a:pt x="16110" y="0"/>
                      </a:cubicBezTo>
                      <a:cubicBezTo>
                        <a:pt x="16696" y="0"/>
                        <a:pt x="17270" y="0"/>
                        <a:pt x="17856" y="25"/>
                      </a:cubicBezTo>
                      <a:cubicBezTo>
                        <a:pt x="18142" y="25"/>
                        <a:pt x="18442" y="25"/>
                        <a:pt x="18728" y="62"/>
                      </a:cubicBezTo>
                      <a:lnTo>
                        <a:pt x="19601" y="162"/>
                      </a:lnTo>
                      <a:cubicBezTo>
                        <a:pt x="21908" y="374"/>
                        <a:pt x="24190" y="1022"/>
                        <a:pt x="26285" y="1983"/>
                      </a:cubicBezTo>
                      <a:cubicBezTo>
                        <a:pt x="23953" y="2120"/>
                        <a:pt x="21759" y="2082"/>
                        <a:pt x="19564" y="2282"/>
                      </a:cubicBezTo>
                      <a:lnTo>
                        <a:pt x="18741" y="2332"/>
                      </a:lnTo>
                      <a:cubicBezTo>
                        <a:pt x="18466" y="2357"/>
                        <a:pt x="18192" y="2382"/>
                        <a:pt x="17918" y="2407"/>
                      </a:cubicBezTo>
                      <a:cubicBezTo>
                        <a:pt x="17369" y="2469"/>
                        <a:pt x="16833" y="2506"/>
                        <a:pt x="16284" y="2556"/>
                      </a:cubicBezTo>
                      <a:cubicBezTo>
                        <a:pt x="15200" y="2718"/>
                        <a:pt x="14115" y="2806"/>
                        <a:pt x="13043" y="2993"/>
                      </a:cubicBezTo>
                      <a:cubicBezTo>
                        <a:pt x="10885" y="3317"/>
                        <a:pt x="8728" y="3703"/>
                        <a:pt x="6571" y="4177"/>
                      </a:cubicBezTo>
                      <a:cubicBezTo>
                        <a:pt x="4401" y="4638"/>
                        <a:pt x="2244" y="5162"/>
                        <a:pt x="0" y="5686"/>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44" name="Freeform: Shape 3543">
                <a:extLst>
                  <a:ext uri="{FF2B5EF4-FFF2-40B4-BE49-F238E27FC236}">
                    <a16:creationId xmlns:a16="http://schemas.microsoft.com/office/drawing/2014/main" id="{731A3408-1B08-EC8E-CCD7-C0C4CA910D18}"/>
                  </a:ext>
                </a:extLst>
              </p:cNvPr>
              <p:cNvSpPr/>
              <p:nvPr/>
            </p:nvSpPr>
            <p:spPr>
              <a:xfrm>
                <a:off x="5958673" y="1308473"/>
                <a:ext cx="105493" cy="119998"/>
              </a:xfrm>
              <a:custGeom>
                <a:avLst/>
                <a:gdLst>
                  <a:gd name="connsiteX0" fmla="*/ 28310 w 105493"/>
                  <a:gd name="connsiteY0" fmla="*/ 245 h 119998"/>
                  <a:gd name="connsiteX1" fmla="*/ 105493 w 105493"/>
                  <a:gd name="connsiteY1" fmla="*/ 51269 h 119998"/>
                  <a:gd name="connsiteX2" fmla="*/ 68435 w 105493"/>
                  <a:gd name="connsiteY2" fmla="*/ 119998 h 119998"/>
                  <a:gd name="connsiteX3" fmla="*/ 2623 w 105493"/>
                  <a:gd name="connsiteY3" fmla="*/ 44972 h 119998"/>
                  <a:gd name="connsiteX4" fmla="*/ 28322 w 105493"/>
                  <a:gd name="connsiteY4" fmla="*/ 233 h 119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3" h="119998">
                    <a:moveTo>
                      <a:pt x="28310" y="245"/>
                    </a:moveTo>
                    <a:cubicBezTo>
                      <a:pt x="28310" y="245"/>
                      <a:pt x="64832" y="6804"/>
                      <a:pt x="105493" y="51269"/>
                    </a:cubicBezTo>
                    <a:cubicBezTo>
                      <a:pt x="105493" y="51269"/>
                      <a:pt x="100780" y="87878"/>
                      <a:pt x="68435" y="119998"/>
                    </a:cubicBezTo>
                    <a:cubicBezTo>
                      <a:pt x="68435" y="119998"/>
                      <a:pt x="12960" y="80471"/>
                      <a:pt x="2623" y="44972"/>
                    </a:cubicBezTo>
                    <a:cubicBezTo>
                      <a:pt x="-7713" y="9485"/>
                      <a:pt x="14930" y="-1825"/>
                      <a:pt x="28322" y="233"/>
                    </a:cubicBezTo>
                    <a:close/>
                  </a:path>
                </a:pathLst>
              </a:custGeom>
              <a:solidFill>
                <a:srgbClr val="D6665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45" name="Freeform: Shape 3544">
                <a:extLst>
                  <a:ext uri="{FF2B5EF4-FFF2-40B4-BE49-F238E27FC236}">
                    <a16:creationId xmlns:a16="http://schemas.microsoft.com/office/drawing/2014/main" id="{FA8C2193-8564-5C12-262E-9F90F50E7898}"/>
                  </a:ext>
                </a:extLst>
              </p:cNvPr>
              <p:cNvSpPr/>
              <p:nvPr/>
            </p:nvSpPr>
            <p:spPr>
              <a:xfrm>
                <a:off x="6094603" y="1467857"/>
                <a:ext cx="74914" cy="33795"/>
              </a:xfrm>
              <a:custGeom>
                <a:avLst/>
                <a:gdLst>
                  <a:gd name="connsiteX0" fmla="*/ 74914 w 74914"/>
                  <a:gd name="connsiteY0" fmla="*/ 28733 h 33795"/>
                  <a:gd name="connsiteX1" fmla="*/ 68056 w 74914"/>
                  <a:gd name="connsiteY1" fmla="*/ 14419 h 33795"/>
                  <a:gd name="connsiteX2" fmla="*/ 34701 w 74914"/>
                  <a:gd name="connsiteY2" fmla="*/ 603 h 33795"/>
                  <a:gd name="connsiteX3" fmla="*/ 19876 w 74914"/>
                  <a:gd name="connsiteY3" fmla="*/ 2286 h 33795"/>
                  <a:gd name="connsiteX4" fmla="*/ 0 w 74914"/>
                  <a:gd name="connsiteY4" fmla="*/ 6326 h 33795"/>
                  <a:gd name="connsiteX5" fmla="*/ 37 w 74914"/>
                  <a:gd name="connsiteY5" fmla="*/ 6451 h 33795"/>
                  <a:gd name="connsiteX6" fmla="*/ 47657 w 74914"/>
                  <a:gd name="connsiteY6" fmla="*/ 31738 h 33795"/>
                  <a:gd name="connsiteX7" fmla="*/ 51871 w 74914"/>
                  <a:gd name="connsiteY7" fmla="*/ 33010 h 33795"/>
                  <a:gd name="connsiteX8" fmla="*/ 55250 w 74914"/>
                  <a:gd name="connsiteY8" fmla="*/ 33621 h 33795"/>
                  <a:gd name="connsiteX9" fmla="*/ 55425 w 74914"/>
                  <a:gd name="connsiteY9" fmla="*/ 33621 h 33795"/>
                  <a:gd name="connsiteX10" fmla="*/ 56011 w 74914"/>
                  <a:gd name="connsiteY10" fmla="*/ 33696 h 33795"/>
                  <a:gd name="connsiteX11" fmla="*/ 74914 w 74914"/>
                  <a:gd name="connsiteY11" fmla="*/ 28721 h 3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14" h="33795">
                    <a:moveTo>
                      <a:pt x="74914" y="28733"/>
                    </a:moveTo>
                    <a:cubicBezTo>
                      <a:pt x="73468" y="23484"/>
                      <a:pt x="70899" y="15740"/>
                      <a:pt x="68056" y="14419"/>
                    </a:cubicBezTo>
                    <a:cubicBezTo>
                      <a:pt x="63680" y="12399"/>
                      <a:pt x="41771" y="2623"/>
                      <a:pt x="34701" y="603"/>
                    </a:cubicBezTo>
                    <a:cubicBezTo>
                      <a:pt x="27632" y="-1417"/>
                      <a:pt x="19876" y="2286"/>
                      <a:pt x="19876" y="2286"/>
                    </a:cubicBezTo>
                    <a:cubicBezTo>
                      <a:pt x="11447" y="-70"/>
                      <a:pt x="0" y="6326"/>
                      <a:pt x="0" y="6326"/>
                    </a:cubicBezTo>
                    <a:cubicBezTo>
                      <a:pt x="0" y="6326"/>
                      <a:pt x="12" y="6364"/>
                      <a:pt x="37" y="6451"/>
                    </a:cubicBezTo>
                    <a:cubicBezTo>
                      <a:pt x="19302" y="18708"/>
                      <a:pt x="36634" y="27923"/>
                      <a:pt x="47657" y="31738"/>
                    </a:cubicBezTo>
                    <a:cubicBezTo>
                      <a:pt x="48979" y="32249"/>
                      <a:pt x="50388" y="32673"/>
                      <a:pt x="51871" y="33010"/>
                    </a:cubicBezTo>
                    <a:cubicBezTo>
                      <a:pt x="53131" y="33322"/>
                      <a:pt x="54266" y="33521"/>
                      <a:pt x="55250" y="33621"/>
                    </a:cubicBezTo>
                    <a:cubicBezTo>
                      <a:pt x="55313" y="33621"/>
                      <a:pt x="55363" y="33621"/>
                      <a:pt x="55425" y="33621"/>
                    </a:cubicBezTo>
                    <a:cubicBezTo>
                      <a:pt x="55625" y="33646"/>
                      <a:pt x="55812" y="33671"/>
                      <a:pt x="56011" y="33696"/>
                    </a:cubicBezTo>
                    <a:cubicBezTo>
                      <a:pt x="56011" y="33696"/>
                      <a:pt x="62919" y="34930"/>
                      <a:pt x="74914" y="28721"/>
                    </a:cubicBezTo>
                    <a:close/>
                  </a:path>
                </a:pathLst>
              </a:custGeom>
              <a:solidFill>
                <a:srgbClr val="F6A18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48" name="Graphic 525">
              <a:extLst>
                <a:ext uri="{FF2B5EF4-FFF2-40B4-BE49-F238E27FC236}">
                  <a16:creationId xmlns:a16="http://schemas.microsoft.com/office/drawing/2014/main" id="{BD15BB8B-964D-0344-60F2-53551D411456}"/>
                </a:ext>
              </a:extLst>
            </p:cNvPr>
            <p:cNvGrpSpPr/>
            <p:nvPr/>
          </p:nvGrpSpPr>
          <p:grpSpPr>
            <a:xfrm>
              <a:off x="3722894" y="1814752"/>
              <a:ext cx="354224" cy="367878"/>
              <a:chOff x="5890358" y="1624040"/>
              <a:chExt cx="427209" cy="443676"/>
            </a:xfrm>
          </p:grpSpPr>
          <p:sp>
            <p:nvSpPr>
              <p:cNvPr id="3549" name="Freeform: Shape 3548">
                <a:extLst>
                  <a:ext uri="{FF2B5EF4-FFF2-40B4-BE49-F238E27FC236}">
                    <a16:creationId xmlns:a16="http://schemas.microsoft.com/office/drawing/2014/main" id="{E066C848-59A2-79DE-901E-3E9ED0C82AA5}"/>
                  </a:ext>
                </a:extLst>
              </p:cNvPr>
              <p:cNvSpPr/>
              <p:nvPr/>
            </p:nvSpPr>
            <p:spPr>
              <a:xfrm>
                <a:off x="5892447" y="1625792"/>
                <a:ext cx="348349" cy="144514"/>
              </a:xfrm>
              <a:custGeom>
                <a:avLst/>
                <a:gdLst>
                  <a:gd name="connsiteX0" fmla="*/ 131 w 348349"/>
                  <a:gd name="connsiteY0" fmla="*/ 66537 h 144514"/>
                  <a:gd name="connsiteX1" fmla="*/ 94847 w 348349"/>
                  <a:gd name="connsiteY1" fmla="*/ 2 h 144514"/>
                  <a:gd name="connsiteX2" fmla="*/ 334739 w 348349"/>
                  <a:gd name="connsiteY2" fmla="*/ 29093 h 144514"/>
                  <a:gd name="connsiteX3" fmla="*/ 320313 w 348349"/>
                  <a:gd name="connsiteY3" fmla="*/ 99979 h 144514"/>
                  <a:gd name="connsiteX4" fmla="*/ 160958 w 348349"/>
                  <a:gd name="connsiteY4" fmla="*/ 139793 h 144514"/>
                  <a:gd name="connsiteX5" fmla="*/ 131 w 348349"/>
                  <a:gd name="connsiteY5" fmla="*/ 66550 h 1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349" h="144514">
                    <a:moveTo>
                      <a:pt x="131" y="66537"/>
                    </a:moveTo>
                    <a:cubicBezTo>
                      <a:pt x="131" y="66537"/>
                      <a:pt x="4608" y="-447"/>
                      <a:pt x="94847" y="2"/>
                    </a:cubicBezTo>
                    <a:cubicBezTo>
                      <a:pt x="179325" y="414"/>
                      <a:pt x="300200" y="1274"/>
                      <a:pt x="334739" y="29093"/>
                    </a:cubicBezTo>
                    <a:cubicBezTo>
                      <a:pt x="345176" y="36587"/>
                      <a:pt x="365264" y="82947"/>
                      <a:pt x="320313" y="99979"/>
                    </a:cubicBezTo>
                    <a:cubicBezTo>
                      <a:pt x="275362" y="117012"/>
                      <a:pt x="203053" y="133209"/>
                      <a:pt x="160958" y="139793"/>
                    </a:cubicBezTo>
                    <a:cubicBezTo>
                      <a:pt x="118862" y="146364"/>
                      <a:pt x="-4582" y="159868"/>
                      <a:pt x="131" y="66550"/>
                    </a:cubicBezTo>
                    <a:close/>
                  </a:path>
                </a:pathLst>
              </a:custGeom>
              <a:solidFill>
                <a:srgbClr val="EA9A8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50" name="Graphic 525">
                <a:extLst>
                  <a:ext uri="{FF2B5EF4-FFF2-40B4-BE49-F238E27FC236}">
                    <a16:creationId xmlns:a16="http://schemas.microsoft.com/office/drawing/2014/main" id="{8BB3C30C-0D96-D5F3-2081-46A63F93AF74}"/>
                  </a:ext>
                </a:extLst>
              </p:cNvPr>
              <p:cNvGrpSpPr/>
              <p:nvPr/>
            </p:nvGrpSpPr>
            <p:grpSpPr>
              <a:xfrm>
                <a:off x="5890358" y="1624040"/>
                <a:ext cx="351906" cy="147981"/>
                <a:chOff x="5890358" y="1624040"/>
                <a:chExt cx="351906" cy="147981"/>
              </a:xfrm>
            </p:grpSpPr>
            <p:sp>
              <p:nvSpPr>
                <p:cNvPr id="3551" name="Freeform: Shape 3550">
                  <a:extLst>
                    <a:ext uri="{FF2B5EF4-FFF2-40B4-BE49-F238E27FC236}">
                      <a16:creationId xmlns:a16="http://schemas.microsoft.com/office/drawing/2014/main" id="{9DDA9527-C8F6-97F6-8CC5-D1724D93AB60}"/>
                    </a:ext>
                  </a:extLst>
                </p:cNvPr>
                <p:cNvSpPr/>
                <p:nvPr/>
              </p:nvSpPr>
              <p:spPr>
                <a:xfrm>
                  <a:off x="5890358" y="1624040"/>
                  <a:ext cx="351906" cy="147981"/>
                </a:xfrm>
                <a:custGeom>
                  <a:avLst/>
                  <a:gdLst>
                    <a:gd name="connsiteX0" fmla="*/ 26 w 351906"/>
                    <a:gd name="connsiteY0" fmla="*/ 75197 h 147981"/>
                    <a:gd name="connsiteX1" fmla="*/ 46524 w 351906"/>
                    <a:gd name="connsiteY1" fmla="*/ 8151 h 147981"/>
                    <a:gd name="connsiteX2" fmla="*/ 135815 w 351906"/>
                    <a:gd name="connsiteY2" fmla="*/ 71 h 147981"/>
                    <a:gd name="connsiteX3" fmla="*/ 299559 w 351906"/>
                    <a:gd name="connsiteY3" fmla="*/ 14224 h 147981"/>
                    <a:gd name="connsiteX4" fmla="*/ 351779 w 351906"/>
                    <a:gd name="connsiteY4" fmla="*/ 69312 h 147981"/>
                    <a:gd name="connsiteX5" fmla="*/ 294496 w 351906"/>
                    <a:gd name="connsiteY5" fmla="*/ 113278 h 147981"/>
                    <a:gd name="connsiteX6" fmla="*/ 106487 w 351906"/>
                    <a:gd name="connsiteY6" fmla="*/ 147980 h 147981"/>
                    <a:gd name="connsiteX7" fmla="*/ 14 w 351906"/>
                    <a:gd name="connsiteY7" fmla="*/ 75197 h 14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906" h="147981">
                      <a:moveTo>
                        <a:pt x="26" y="75197"/>
                      </a:moveTo>
                      <a:cubicBezTo>
                        <a:pt x="26" y="75197"/>
                        <a:pt x="-2667" y="26680"/>
                        <a:pt x="46524" y="8151"/>
                      </a:cubicBezTo>
                      <a:cubicBezTo>
                        <a:pt x="57983" y="3774"/>
                        <a:pt x="84592" y="-615"/>
                        <a:pt x="135815" y="71"/>
                      </a:cubicBezTo>
                      <a:cubicBezTo>
                        <a:pt x="187038" y="757"/>
                        <a:pt x="260481" y="4111"/>
                        <a:pt x="299559" y="14224"/>
                      </a:cubicBezTo>
                      <a:cubicBezTo>
                        <a:pt x="338637" y="24336"/>
                        <a:pt x="353463" y="34610"/>
                        <a:pt x="351779" y="69312"/>
                      </a:cubicBezTo>
                      <a:cubicBezTo>
                        <a:pt x="350433" y="99974"/>
                        <a:pt x="308312" y="109238"/>
                        <a:pt x="294496" y="113278"/>
                      </a:cubicBezTo>
                      <a:cubicBezTo>
                        <a:pt x="294496" y="113278"/>
                        <a:pt x="188359" y="148316"/>
                        <a:pt x="106487" y="147980"/>
                      </a:cubicBezTo>
                      <a:cubicBezTo>
                        <a:pt x="24615" y="147643"/>
                        <a:pt x="14" y="118328"/>
                        <a:pt x="14" y="75197"/>
                      </a:cubicBezTo>
                      <a:close/>
                    </a:path>
                  </a:pathLst>
                </a:custGeom>
                <a:solidFill>
                  <a:srgbClr val="D465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52" name="Freeform: Shape 3551">
                  <a:extLst>
                    <a:ext uri="{FF2B5EF4-FFF2-40B4-BE49-F238E27FC236}">
                      <a16:creationId xmlns:a16="http://schemas.microsoft.com/office/drawing/2014/main" id="{93051506-41B8-7462-146F-49ECC5073C85}"/>
                    </a:ext>
                  </a:extLst>
                </p:cNvPr>
                <p:cNvSpPr/>
                <p:nvPr/>
              </p:nvSpPr>
              <p:spPr>
                <a:xfrm>
                  <a:off x="6135838" y="1694387"/>
                  <a:ext cx="33117" cy="56896"/>
                </a:xfrm>
                <a:custGeom>
                  <a:avLst/>
                  <a:gdLst>
                    <a:gd name="connsiteX0" fmla="*/ 33118 w 33117"/>
                    <a:gd name="connsiteY0" fmla="*/ 47819 h 56896"/>
                    <a:gd name="connsiteX1" fmla="*/ 25150 w 33117"/>
                    <a:gd name="connsiteY1" fmla="*/ 0 h 56896"/>
                    <a:gd name="connsiteX2" fmla="*/ 0 w 33117"/>
                    <a:gd name="connsiteY2" fmla="*/ 56896 h 56896"/>
                    <a:gd name="connsiteX3" fmla="*/ 33118 w 33117"/>
                    <a:gd name="connsiteY3" fmla="*/ 47819 h 56896"/>
                  </a:gdLst>
                  <a:ahLst/>
                  <a:cxnLst>
                    <a:cxn ang="0">
                      <a:pos x="connsiteX0" y="connsiteY0"/>
                    </a:cxn>
                    <a:cxn ang="0">
                      <a:pos x="connsiteX1" y="connsiteY1"/>
                    </a:cxn>
                    <a:cxn ang="0">
                      <a:pos x="connsiteX2" y="connsiteY2"/>
                    </a:cxn>
                    <a:cxn ang="0">
                      <a:pos x="connsiteX3" y="connsiteY3"/>
                    </a:cxn>
                  </a:cxnLst>
                  <a:rect l="l" t="t" r="r" b="b"/>
                  <a:pathLst>
                    <a:path w="33117" h="56896">
                      <a:moveTo>
                        <a:pt x="33118" y="47819"/>
                      </a:moveTo>
                      <a:lnTo>
                        <a:pt x="25150" y="0"/>
                      </a:lnTo>
                      <a:cubicBezTo>
                        <a:pt x="25150" y="0"/>
                        <a:pt x="7793" y="14626"/>
                        <a:pt x="0" y="56896"/>
                      </a:cubicBezTo>
                      <a:cubicBezTo>
                        <a:pt x="13317" y="53517"/>
                        <a:pt x="24689" y="50300"/>
                        <a:pt x="33118" y="47819"/>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53" name="Freeform: Shape 3552">
                <a:extLst>
                  <a:ext uri="{FF2B5EF4-FFF2-40B4-BE49-F238E27FC236}">
                    <a16:creationId xmlns:a16="http://schemas.microsoft.com/office/drawing/2014/main" id="{F56C95D2-F0A2-FBC8-A71F-A6DA6EB95A72}"/>
                  </a:ext>
                </a:extLst>
              </p:cNvPr>
              <p:cNvSpPr/>
              <p:nvPr/>
            </p:nvSpPr>
            <p:spPr>
              <a:xfrm>
                <a:off x="6146550" y="1648068"/>
                <a:ext cx="95282" cy="348394"/>
              </a:xfrm>
              <a:custGeom>
                <a:avLst/>
                <a:gdLst>
                  <a:gd name="connsiteX0" fmla="*/ 62868 w 95282"/>
                  <a:gd name="connsiteY0" fmla="*/ 321 h 348394"/>
                  <a:gd name="connsiteX1" fmla="*/ 95238 w 95282"/>
                  <a:gd name="connsiteY1" fmla="*/ 42416 h 348394"/>
                  <a:gd name="connsiteX2" fmla="*/ 78978 w 95282"/>
                  <a:gd name="connsiteY2" fmla="*/ 215063 h 348394"/>
                  <a:gd name="connsiteX3" fmla="*/ 39925 w 95282"/>
                  <a:gd name="connsiteY3" fmla="*/ 348171 h 348394"/>
                  <a:gd name="connsiteX4" fmla="*/ 15785 w 95282"/>
                  <a:gd name="connsiteY4" fmla="*/ 272758 h 348394"/>
                  <a:gd name="connsiteX5" fmla="*/ 224 w 95282"/>
                  <a:gd name="connsiteY5" fmla="*/ 121258 h 348394"/>
                  <a:gd name="connsiteX6" fmla="*/ 52669 w 95282"/>
                  <a:gd name="connsiteY6" fmla="*/ 134 h 348394"/>
                  <a:gd name="connsiteX7" fmla="*/ 62868 w 95282"/>
                  <a:gd name="connsiteY7" fmla="*/ 321 h 34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82" h="348394">
                    <a:moveTo>
                      <a:pt x="62868" y="321"/>
                    </a:moveTo>
                    <a:cubicBezTo>
                      <a:pt x="83654" y="2540"/>
                      <a:pt x="96123" y="21531"/>
                      <a:pt x="95238" y="42416"/>
                    </a:cubicBezTo>
                    <a:cubicBezTo>
                      <a:pt x="93929" y="73577"/>
                      <a:pt x="92707" y="113403"/>
                      <a:pt x="78978" y="215063"/>
                    </a:cubicBezTo>
                    <a:cubicBezTo>
                      <a:pt x="60537" y="351525"/>
                      <a:pt x="55537" y="345154"/>
                      <a:pt x="39925" y="348171"/>
                    </a:cubicBezTo>
                    <a:cubicBezTo>
                      <a:pt x="20735" y="351887"/>
                      <a:pt x="21284" y="308469"/>
                      <a:pt x="15785" y="272758"/>
                    </a:cubicBezTo>
                    <a:cubicBezTo>
                      <a:pt x="10860" y="240712"/>
                      <a:pt x="-1834" y="168529"/>
                      <a:pt x="224" y="121258"/>
                    </a:cubicBezTo>
                    <a:cubicBezTo>
                      <a:pt x="2580" y="67018"/>
                      <a:pt x="20373" y="2216"/>
                      <a:pt x="52669" y="134"/>
                    </a:cubicBezTo>
                    <a:cubicBezTo>
                      <a:pt x="56297" y="-103"/>
                      <a:pt x="59701" y="-16"/>
                      <a:pt x="62868" y="321"/>
                    </a:cubicBezTo>
                    <a:close/>
                  </a:path>
                </a:pathLst>
              </a:custGeom>
              <a:solidFill>
                <a:srgbClr val="EA9A8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54" name="Graphic 525">
                <a:extLst>
                  <a:ext uri="{FF2B5EF4-FFF2-40B4-BE49-F238E27FC236}">
                    <a16:creationId xmlns:a16="http://schemas.microsoft.com/office/drawing/2014/main" id="{68A0DA5D-7636-4A4E-DA68-78C77619579F}"/>
                  </a:ext>
                </a:extLst>
              </p:cNvPr>
              <p:cNvGrpSpPr/>
              <p:nvPr/>
            </p:nvGrpSpPr>
            <p:grpSpPr>
              <a:xfrm>
                <a:off x="6155535" y="1923788"/>
                <a:ext cx="162032" cy="143928"/>
                <a:chOff x="6155535" y="1923788"/>
                <a:chExt cx="162032" cy="143928"/>
              </a:xfrm>
            </p:grpSpPr>
            <p:grpSp>
              <p:nvGrpSpPr>
                <p:cNvPr id="3555" name="Graphic 525">
                  <a:extLst>
                    <a:ext uri="{FF2B5EF4-FFF2-40B4-BE49-F238E27FC236}">
                      <a16:creationId xmlns:a16="http://schemas.microsoft.com/office/drawing/2014/main" id="{A7DE4ABC-BF09-E76A-6E21-703DFE4A5E61}"/>
                    </a:ext>
                  </a:extLst>
                </p:cNvPr>
                <p:cNvGrpSpPr/>
                <p:nvPr/>
              </p:nvGrpSpPr>
              <p:grpSpPr>
                <a:xfrm>
                  <a:off x="6155535" y="2019695"/>
                  <a:ext cx="162032" cy="48021"/>
                  <a:chOff x="6155535" y="2019695"/>
                  <a:chExt cx="162032" cy="48021"/>
                </a:xfrm>
              </p:grpSpPr>
              <p:grpSp>
                <p:nvGrpSpPr>
                  <p:cNvPr id="3556" name="Graphic 525">
                    <a:extLst>
                      <a:ext uri="{FF2B5EF4-FFF2-40B4-BE49-F238E27FC236}">
                        <a16:creationId xmlns:a16="http://schemas.microsoft.com/office/drawing/2014/main" id="{3D659AAF-A681-34FC-0371-FB8C3622F2E7}"/>
                      </a:ext>
                    </a:extLst>
                  </p:cNvPr>
                  <p:cNvGrpSpPr/>
                  <p:nvPr/>
                </p:nvGrpSpPr>
                <p:grpSpPr>
                  <a:xfrm>
                    <a:off x="6157335" y="2036838"/>
                    <a:ext cx="41783" cy="30878"/>
                    <a:chOff x="6157335" y="2036838"/>
                    <a:chExt cx="41783" cy="30878"/>
                  </a:xfrm>
                </p:grpSpPr>
                <p:sp>
                  <p:nvSpPr>
                    <p:cNvPr id="3557" name="Freeform: Shape 3556">
                      <a:extLst>
                        <a:ext uri="{FF2B5EF4-FFF2-40B4-BE49-F238E27FC236}">
                          <a16:creationId xmlns:a16="http://schemas.microsoft.com/office/drawing/2014/main" id="{C6F7CD17-BE91-9F66-905D-B9598AD024A7}"/>
                        </a:ext>
                      </a:extLst>
                    </p:cNvPr>
                    <p:cNvSpPr/>
                    <p:nvPr/>
                  </p:nvSpPr>
                  <p:spPr>
                    <a:xfrm>
                      <a:off x="6157335" y="2036838"/>
                      <a:ext cx="29763" cy="30878"/>
                    </a:xfrm>
                    <a:custGeom>
                      <a:avLst/>
                      <a:gdLst>
                        <a:gd name="connsiteX0" fmla="*/ 0 w 29763"/>
                        <a:gd name="connsiteY0" fmla="*/ 0 h 30878"/>
                        <a:gd name="connsiteX1" fmla="*/ 0 w 29763"/>
                        <a:gd name="connsiteY1" fmla="*/ 27058 h 30878"/>
                        <a:gd name="connsiteX2" fmla="*/ 424 w 29763"/>
                        <a:gd name="connsiteY2" fmla="*/ 27731 h 30878"/>
                        <a:gd name="connsiteX3" fmla="*/ 29764 w 29763"/>
                        <a:gd name="connsiteY3" fmla="*/ 30549 h 30878"/>
                        <a:gd name="connsiteX4" fmla="*/ 29764 w 29763"/>
                        <a:gd name="connsiteY4" fmla="*/ 7082 h 30878"/>
                        <a:gd name="connsiteX5" fmla="*/ 0 w 29763"/>
                        <a:gd name="connsiteY5" fmla="*/ 12 h 3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63" h="30878">
                          <a:moveTo>
                            <a:pt x="0" y="0"/>
                          </a:moveTo>
                          <a:lnTo>
                            <a:pt x="0" y="27058"/>
                          </a:lnTo>
                          <a:cubicBezTo>
                            <a:pt x="0" y="27345"/>
                            <a:pt x="162" y="27607"/>
                            <a:pt x="424" y="27731"/>
                          </a:cubicBezTo>
                          <a:cubicBezTo>
                            <a:pt x="2332" y="28617"/>
                            <a:pt x="10836" y="31921"/>
                            <a:pt x="29764" y="30549"/>
                          </a:cubicBezTo>
                          <a:lnTo>
                            <a:pt x="29764" y="7082"/>
                          </a:lnTo>
                          <a:lnTo>
                            <a:pt x="0" y="12"/>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58" name="Freeform: Shape 3557">
                      <a:extLst>
                        <a:ext uri="{FF2B5EF4-FFF2-40B4-BE49-F238E27FC236}">
                          <a16:creationId xmlns:a16="http://schemas.microsoft.com/office/drawing/2014/main" id="{027B3B59-9E04-E1CA-61F6-6083E16C3C8D}"/>
                        </a:ext>
                      </a:extLst>
                    </p:cNvPr>
                    <p:cNvSpPr/>
                    <p:nvPr/>
                  </p:nvSpPr>
                  <p:spPr>
                    <a:xfrm>
                      <a:off x="6187099" y="2043908"/>
                      <a:ext cx="12020" cy="23479"/>
                    </a:xfrm>
                    <a:custGeom>
                      <a:avLst/>
                      <a:gdLst>
                        <a:gd name="connsiteX0" fmla="*/ 0 w 12020"/>
                        <a:gd name="connsiteY0" fmla="*/ 23479 h 23479"/>
                        <a:gd name="connsiteX1" fmla="*/ 11434 w 12020"/>
                        <a:gd name="connsiteY1" fmla="*/ 18454 h 23479"/>
                        <a:gd name="connsiteX2" fmla="*/ 12020 w 12020"/>
                        <a:gd name="connsiteY2" fmla="*/ 17556 h 23479"/>
                        <a:gd name="connsiteX3" fmla="*/ 12020 w 12020"/>
                        <a:gd name="connsiteY3" fmla="*/ 0 h 23479"/>
                        <a:gd name="connsiteX4" fmla="*/ 0 w 12020"/>
                        <a:gd name="connsiteY4" fmla="*/ 0 h 23479"/>
                        <a:gd name="connsiteX5" fmla="*/ 0 w 12020"/>
                        <a:gd name="connsiteY5" fmla="*/ 23467 h 2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20" h="23479">
                          <a:moveTo>
                            <a:pt x="0" y="23479"/>
                          </a:moveTo>
                          <a:lnTo>
                            <a:pt x="11434" y="18454"/>
                          </a:lnTo>
                          <a:cubicBezTo>
                            <a:pt x="11796" y="18292"/>
                            <a:pt x="12020" y="17943"/>
                            <a:pt x="12020" y="17556"/>
                          </a:cubicBezTo>
                          <a:lnTo>
                            <a:pt x="12020" y="0"/>
                          </a:lnTo>
                          <a:lnTo>
                            <a:pt x="0" y="0"/>
                          </a:lnTo>
                          <a:lnTo>
                            <a:pt x="0" y="23467"/>
                          </a:lnTo>
                          <a:close/>
                        </a:path>
                      </a:pathLst>
                    </a:custGeom>
                    <a:solidFill>
                      <a:srgbClr val="D8D8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59" name="Graphic 525">
                    <a:extLst>
                      <a:ext uri="{FF2B5EF4-FFF2-40B4-BE49-F238E27FC236}">
                        <a16:creationId xmlns:a16="http://schemas.microsoft.com/office/drawing/2014/main" id="{7EB91FC7-EA96-4156-2AAB-05F0E0B7C8ED}"/>
                      </a:ext>
                    </a:extLst>
                  </p:cNvPr>
                  <p:cNvGrpSpPr/>
                  <p:nvPr/>
                </p:nvGrpSpPr>
                <p:grpSpPr>
                  <a:xfrm>
                    <a:off x="6155535" y="2019695"/>
                    <a:ext cx="162032" cy="46805"/>
                    <a:chOff x="6155535" y="2019695"/>
                    <a:chExt cx="162032" cy="46805"/>
                  </a:xfrm>
                </p:grpSpPr>
                <p:sp>
                  <p:nvSpPr>
                    <p:cNvPr id="3560" name="Freeform: Shape 3559">
                      <a:extLst>
                        <a:ext uri="{FF2B5EF4-FFF2-40B4-BE49-F238E27FC236}">
                          <a16:creationId xmlns:a16="http://schemas.microsoft.com/office/drawing/2014/main" id="{D33EA1AB-4029-4768-C96C-EE8A2E76F799}"/>
                        </a:ext>
                      </a:extLst>
                    </p:cNvPr>
                    <p:cNvSpPr/>
                    <p:nvPr/>
                  </p:nvSpPr>
                  <p:spPr>
                    <a:xfrm>
                      <a:off x="6157653" y="2019695"/>
                      <a:ext cx="159848" cy="40279"/>
                    </a:xfrm>
                    <a:custGeom>
                      <a:avLst/>
                      <a:gdLst>
                        <a:gd name="connsiteX0" fmla="*/ 19 w 159848"/>
                        <a:gd name="connsiteY0" fmla="*/ 1420 h 40279"/>
                        <a:gd name="connsiteX1" fmla="*/ 14733 w 159848"/>
                        <a:gd name="connsiteY1" fmla="*/ 2829 h 40279"/>
                        <a:gd name="connsiteX2" fmla="*/ 91218 w 159848"/>
                        <a:gd name="connsiteY2" fmla="*/ 29051 h 40279"/>
                        <a:gd name="connsiteX3" fmla="*/ 138949 w 159848"/>
                        <a:gd name="connsiteY3" fmla="*/ 28827 h 40279"/>
                        <a:gd name="connsiteX4" fmla="*/ 159835 w 159848"/>
                        <a:gd name="connsiteY4" fmla="*/ 29051 h 40279"/>
                        <a:gd name="connsiteX5" fmla="*/ 138052 w 159848"/>
                        <a:gd name="connsiteY5" fmla="*/ 38041 h 40279"/>
                        <a:gd name="connsiteX6" fmla="*/ 68761 w 159848"/>
                        <a:gd name="connsiteY6" fmla="*/ 30859 h 40279"/>
                        <a:gd name="connsiteX7" fmla="*/ 31 w 159848"/>
                        <a:gd name="connsiteY7" fmla="*/ 1432 h 4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48" h="40279">
                          <a:moveTo>
                            <a:pt x="19" y="1420"/>
                          </a:moveTo>
                          <a:cubicBezTo>
                            <a:pt x="19" y="1420"/>
                            <a:pt x="1702" y="-2571"/>
                            <a:pt x="14733" y="2829"/>
                          </a:cubicBezTo>
                          <a:cubicBezTo>
                            <a:pt x="27763" y="8215"/>
                            <a:pt x="76841" y="24338"/>
                            <a:pt x="91218" y="29051"/>
                          </a:cubicBezTo>
                          <a:cubicBezTo>
                            <a:pt x="105595" y="33764"/>
                            <a:pt x="128388" y="30398"/>
                            <a:pt x="138949" y="28827"/>
                          </a:cubicBezTo>
                          <a:cubicBezTo>
                            <a:pt x="149511" y="27255"/>
                            <a:pt x="160284" y="26133"/>
                            <a:pt x="159835" y="29051"/>
                          </a:cubicBezTo>
                          <a:cubicBezTo>
                            <a:pt x="159835" y="29051"/>
                            <a:pt x="156020" y="35560"/>
                            <a:pt x="138052" y="38041"/>
                          </a:cubicBezTo>
                          <a:cubicBezTo>
                            <a:pt x="120084" y="40510"/>
                            <a:pt x="96604" y="43652"/>
                            <a:pt x="68761" y="30859"/>
                          </a:cubicBezTo>
                          <a:cubicBezTo>
                            <a:pt x="40905" y="18053"/>
                            <a:pt x="-1315" y="16931"/>
                            <a:pt x="31" y="1432"/>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61" name="Freeform: Shape 3560">
                      <a:extLst>
                        <a:ext uri="{FF2B5EF4-FFF2-40B4-BE49-F238E27FC236}">
                          <a16:creationId xmlns:a16="http://schemas.microsoft.com/office/drawing/2014/main" id="{46D8C1B4-FBF7-997D-6859-A0FEBABD46FE}"/>
                        </a:ext>
                      </a:extLst>
                    </p:cNvPr>
                    <p:cNvSpPr/>
                    <p:nvPr/>
                  </p:nvSpPr>
                  <p:spPr>
                    <a:xfrm>
                      <a:off x="6155535" y="2021114"/>
                      <a:ext cx="162032" cy="45385"/>
                    </a:xfrm>
                    <a:custGeom>
                      <a:avLst/>
                      <a:gdLst>
                        <a:gd name="connsiteX0" fmla="*/ 2136 w 162032"/>
                        <a:gd name="connsiteY0" fmla="*/ 0 h 45385"/>
                        <a:gd name="connsiteX1" fmla="*/ 91 w 162032"/>
                        <a:gd name="connsiteY1" fmla="*/ 12980 h 45385"/>
                        <a:gd name="connsiteX2" fmla="*/ 2660 w 162032"/>
                        <a:gd name="connsiteY2" fmla="*/ 16247 h 45385"/>
                        <a:gd name="connsiteX3" fmla="*/ 43683 w 162032"/>
                        <a:gd name="connsiteY3" fmla="*/ 28068 h 45385"/>
                        <a:gd name="connsiteX4" fmla="*/ 82574 w 162032"/>
                        <a:gd name="connsiteY4" fmla="*/ 42071 h 45385"/>
                        <a:gd name="connsiteX5" fmla="*/ 90555 w 162032"/>
                        <a:gd name="connsiteY5" fmla="*/ 44278 h 45385"/>
                        <a:gd name="connsiteX6" fmla="*/ 158162 w 162032"/>
                        <a:gd name="connsiteY6" fmla="*/ 39664 h 45385"/>
                        <a:gd name="connsiteX7" fmla="*/ 161803 w 162032"/>
                        <a:gd name="connsiteY7" fmla="*/ 35412 h 45385"/>
                        <a:gd name="connsiteX8" fmla="*/ 161940 w 162032"/>
                        <a:gd name="connsiteY8" fmla="*/ 27619 h 45385"/>
                        <a:gd name="connsiteX9" fmla="*/ 108597 w 162032"/>
                        <a:gd name="connsiteY9" fmla="*/ 35711 h 45385"/>
                        <a:gd name="connsiteX10" fmla="*/ 38409 w 162032"/>
                        <a:gd name="connsiteY10" fmla="*/ 16733 h 45385"/>
                        <a:gd name="connsiteX11" fmla="*/ 2136 w 162032"/>
                        <a:gd name="connsiteY11" fmla="*/ 0 h 4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032" h="45385">
                          <a:moveTo>
                            <a:pt x="2136" y="0"/>
                          </a:moveTo>
                          <a:cubicBezTo>
                            <a:pt x="2136" y="0"/>
                            <a:pt x="-520" y="3978"/>
                            <a:pt x="91" y="12980"/>
                          </a:cubicBezTo>
                          <a:cubicBezTo>
                            <a:pt x="191" y="14489"/>
                            <a:pt x="1226" y="15786"/>
                            <a:pt x="2660" y="16247"/>
                          </a:cubicBezTo>
                          <a:cubicBezTo>
                            <a:pt x="8645" y="18167"/>
                            <a:pt x="25154" y="24389"/>
                            <a:pt x="43683" y="28068"/>
                          </a:cubicBezTo>
                          <a:cubicBezTo>
                            <a:pt x="62886" y="31883"/>
                            <a:pt x="75978" y="38766"/>
                            <a:pt x="82574" y="42071"/>
                          </a:cubicBezTo>
                          <a:cubicBezTo>
                            <a:pt x="85068" y="43318"/>
                            <a:pt x="87774" y="44066"/>
                            <a:pt x="90555" y="44278"/>
                          </a:cubicBezTo>
                          <a:cubicBezTo>
                            <a:pt x="103236" y="45238"/>
                            <a:pt x="128411" y="47669"/>
                            <a:pt x="158162" y="39664"/>
                          </a:cubicBezTo>
                          <a:cubicBezTo>
                            <a:pt x="160132" y="39128"/>
                            <a:pt x="161566" y="37445"/>
                            <a:pt x="161803" y="35412"/>
                          </a:cubicBezTo>
                          <a:cubicBezTo>
                            <a:pt x="162002" y="33654"/>
                            <a:pt x="162127" y="31135"/>
                            <a:pt x="161940" y="27619"/>
                          </a:cubicBezTo>
                          <a:cubicBezTo>
                            <a:pt x="161940" y="27619"/>
                            <a:pt x="138698" y="38629"/>
                            <a:pt x="108597" y="35711"/>
                          </a:cubicBezTo>
                          <a:cubicBezTo>
                            <a:pt x="78497" y="32794"/>
                            <a:pt x="73896" y="25038"/>
                            <a:pt x="38409" y="16733"/>
                          </a:cubicBezTo>
                          <a:cubicBezTo>
                            <a:pt x="2947" y="9576"/>
                            <a:pt x="2448" y="3678"/>
                            <a:pt x="2136" y="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562" name="Freeform: Shape 3561">
                  <a:extLst>
                    <a:ext uri="{FF2B5EF4-FFF2-40B4-BE49-F238E27FC236}">
                      <a16:creationId xmlns:a16="http://schemas.microsoft.com/office/drawing/2014/main" id="{D79A74B2-5F40-45EC-21DF-497D0F1B1A9F}"/>
                    </a:ext>
                  </a:extLst>
                </p:cNvPr>
                <p:cNvSpPr/>
                <p:nvPr/>
              </p:nvSpPr>
              <p:spPr>
                <a:xfrm>
                  <a:off x="6159799" y="1923788"/>
                  <a:ext cx="152212" cy="133683"/>
                </a:xfrm>
                <a:custGeom>
                  <a:avLst/>
                  <a:gdLst>
                    <a:gd name="connsiteX0" fmla="*/ 6301 w 152212"/>
                    <a:gd name="connsiteY0" fmla="*/ 27138 h 133683"/>
                    <a:gd name="connsiteX1" fmla="*/ 7087 w 152212"/>
                    <a:gd name="connsiteY1" fmla="*/ 54433 h 133683"/>
                    <a:gd name="connsiteX2" fmla="*/ 4842 w 152212"/>
                    <a:gd name="connsiteY2" fmla="*/ 101429 h 133683"/>
                    <a:gd name="connsiteX3" fmla="*/ 57961 w 152212"/>
                    <a:gd name="connsiteY3" fmla="*/ 118112 h 133683"/>
                    <a:gd name="connsiteX4" fmla="*/ 125793 w 152212"/>
                    <a:gd name="connsiteY4" fmla="*/ 133499 h 133683"/>
                    <a:gd name="connsiteX5" fmla="*/ 152190 w 152212"/>
                    <a:gd name="connsiteY5" fmla="*/ 118898 h 133683"/>
                    <a:gd name="connsiteX6" fmla="*/ 129396 w 152212"/>
                    <a:gd name="connsiteY6" fmla="*/ 102501 h 133683"/>
                    <a:gd name="connsiteX7" fmla="*/ 84695 w 152212"/>
                    <a:gd name="connsiteY7" fmla="*/ 78810 h 133683"/>
                    <a:gd name="connsiteX8" fmla="*/ 52350 w 152212"/>
                    <a:gd name="connsiteY8" fmla="*/ 43996 h 133683"/>
                    <a:gd name="connsiteX9" fmla="*/ 53584 w 152212"/>
                    <a:gd name="connsiteY9" fmla="*/ 19856 h 133683"/>
                    <a:gd name="connsiteX10" fmla="*/ 29095 w 152212"/>
                    <a:gd name="connsiteY10" fmla="*/ 30 h 133683"/>
                    <a:gd name="connsiteX11" fmla="*/ 6301 w 152212"/>
                    <a:gd name="connsiteY11" fmla="*/ 27151 h 13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212" h="133683">
                      <a:moveTo>
                        <a:pt x="6301" y="27138"/>
                      </a:moveTo>
                      <a:cubicBezTo>
                        <a:pt x="6301" y="27138"/>
                        <a:pt x="9107" y="40617"/>
                        <a:pt x="7087" y="54433"/>
                      </a:cubicBezTo>
                      <a:cubicBezTo>
                        <a:pt x="4581" y="71578"/>
                        <a:pt x="-6105" y="90319"/>
                        <a:pt x="4842" y="101429"/>
                      </a:cubicBezTo>
                      <a:cubicBezTo>
                        <a:pt x="15055" y="111791"/>
                        <a:pt x="33708" y="108673"/>
                        <a:pt x="57961" y="118112"/>
                      </a:cubicBezTo>
                      <a:cubicBezTo>
                        <a:pt x="82226" y="127552"/>
                        <a:pt x="86266" y="134958"/>
                        <a:pt x="125793" y="133499"/>
                      </a:cubicBezTo>
                      <a:cubicBezTo>
                        <a:pt x="142638" y="131479"/>
                        <a:pt x="152763" y="131355"/>
                        <a:pt x="152190" y="118898"/>
                      </a:cubicBezTo>
                      <a:cubicBezTo>
                        <a:pt x="151741" y="109234"/>
                        <a:pt x="140394" y="104072"/>
                        <a:pt x="129396" y="102501"/>
                      </a:cubicBezTo>
                      <a:cubicBezTo>
                        <a:pt x="119521" y="101092"/>
                        <a:pt x="106715" y="94982"/>
                        <a:pt x="84695" y="78810"/>
                      </a:cubicBezTo>
                      <a:cubicBezTo>
                        <a:pt x="60068" y="60717"/>
                        <a:pt x="51901" y="55006"/>
                        <a:pt x="52350" y="43996"/>
                      </a:cubicBezTo>
                      <a:cubicBezTo>
                        <a:pt x="52686" y="35854"/>
                        <a:pt x="53248" y="27487"/>
                        <a:pt x="53584" y="19856"/>
                      </a:cubicBezTo>
                      <a:cubicBezTo>
                        <a:pt x="54020" y="9918"/>
                        <a:pt x="45616" y="704"/>
                        <a:pt x="29095" y="30"/>
                      </a:cubicBezTo>
                      <a:cubicBezTo>
                        <a:pt x="13496" y="-606"/>
                        <a:pt x="3932" y="8796"/>
                        <a:pt x="6301" y="27151"/>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63" name="Graphic 525">
                  <a:extLst>
                    <a:ext uri="{FF2B5EF4-FFF2-40B4-BE49-F238E27FC236}">
                      <a16:creationId xmlns:a16="http://schemas.microsoft.com/office/drawing/2014/main" id="{E646468A-C23B-7EF7-F18C-150F13D7A009}"/>
                    </a:ext>
                  </a:extLst>
                </p:cNvPr>
                <p:cNvGrpSpPr/>
                <p:nvPr/>
              </p:nvGrpSpPr>
              <p:grpSpPr>
                <a:xfrm>
                  <a:off x="6163427" y="1982668"/>
                  <a:ext cx="154060" cy="77748"/>
                  <a:chOff x="6163427" y="1982668"/>
                  <a:chExt cx="154060" cy="77748"/>
                </a:xfrm>
                <a:solidFill>
                  <a:srgbClr val="E8E8E8"/>
                </a:solidFill>
              </p:grpSpPr>
              <p:sp>
                <p:nvSpPr>
                  <p:cNvPr id="3564" name="Freeform: Shape 3563">
                    <a:extLst>
                      <a:ext uri="{FF2B5EF4-FFF2-40B4-BE49-F238E27FC236}">
                        <a16:creationId xmlns:a16="http://schemas.microsoft.com/office/drawing/2014/main" id="{6E68CD84-6503-3A10-4E25-C99A3A0CEEC3}"/>
                      </a:ext>
                    </a:extLst>
                  </p:cNvPr>
                  <p:cNvSpPr/>
                  <p:nvPr/>
                </p:nvSpPr>
                <p:spPr>
                  <a:xfrm>
                    <a:off x="6237075" y="2016458"/>
                    <a:ext cx="80413" cy="43958"/>
                  </a:xfrm>
                  <a:custGeom>
                    <a:avLst/>
                    <a:gdLst>
                      <a:gd name="connsiteX0" fmla="*/ 0 w 80413"/>
                      <a:gd name="connsiteY0" fmla="*/ 36552 h 43958"/>
                      <a:gd name="connsiteX1" fmla="*/ 14315 w 80413"/>
                      <a:gd name="connsiteY1" fmla="*/ 23248 h 43958"/>
                      <a:gd name="connsiteX2" fmla="*/ 28941 w 80413"/>
                      <a:gd name="connsiteY2" fmla="*/ 442 h 43958"/>
                      <a:gd name="connsiteX3" fmla="*/ 30612 w 80413"/>
                      <a:gd name="connsiteY3" fmla="*/ 93 h 43958"/>
                      <a:gd name="connsiteX4" fmla="*/ 55762 w 80413"/>
                      <a:gd name="connsiteY4" fmla="*/ 9769 h 43958"/>
                      <a:gd name="connsiteX5" fmla="*/ 80413 w 80413"/>
                      <a:gd name="connsiteY5" fmla="*/ 32288 h 43958"/>
                      <a:gd name="connsiteX6" fmla="*/ 0 w 80413"/>
                      <a:gd name="connsiteY6" fmla="*/ 36552 h 4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13" h="43958">
                        <a:moveTo>
                          <a:pt x="0" y="36552"/>
                        </a:moveTo>
                        <a:cubicBezTo>
                          <a:pt x="0" y="36552"/>
                          <a:pt x="10424" y="29807"/>
                          <a:pt x="14315" y="23248"/>
                        </a:cubicBezTo>
                        <a:cubicBezTo>
                          <a:pt x="20325" y="13123"/>
                          <a:pt x="25200" y="3933"/>
                          <a:pt x="28941" y="442"/>
                        </a:cubicBezTo>
                        <a:cubicBezTo>
                          <a:pt x="29390" y="18"/>
                          <a:pt x="30038" y="-107"/>
                          <a:pt x="30612" y="93"/>
                        </a:cubicBezTo>
                        <a:cubicBezTo>
                          <a:pt x="34290" y="1390"/>
                          <a:pt x="39402" y="6277"/>
                          <a:pt x="55762" y="9769"/>
                        </a:cubicBezTo>
                        <a:cubicBezTo>
                          <a:pt x="73119" y="13472"/>
                          <a:pt x="80189" y="18111"/>
                          <a:pt x="80413" y="32288"/>
                        </a:cubicBezTo>
                        <a:cubicBezTo>
                          <a:pt x="80413" y="32288"/>
                          <a:pt x="46497" y="55418"/>
                          <a:pt x="0" y="36552"/>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65" name="Freeform: Shape 3564">
                    <a:extLst>
                      <a:ext uri="{FF2B5EF4-FFF2-40B4-BE49-F238E27FC236}">
                        <a16:creationId xmlns:a16="http://schemas.microsoft.com/office/drawing/2014/main" id="{8848DBB2-E9C9-4758-E016-1BF8CEF5A769}"/>
                      </a:ext>
                    </a:extLst>
                  </p:cNvPr>
                  <p:cNvSpPr/>
                  <p:nvPr/>
                </p:nvSpPr>
                <p:spPr>
                  <a:xfrm>
                    <a:off x="6163427" y="1982668"/>
                    <a:ext cx="84258" cy="73547"/>
                  </a:xfrm>
                  <a:custGeom>
                    <a:avLst/>
                    <a:gdLst>
                      <a:gd name="connsiteX0" fmla="*/ 2125 w 84258"/>
                      <a:gd name="connsiteY0" fmla="*/ 179 h 73547"/>
                      <a:gd name="connsiteX1" fmla="*/ 180 w 84258"/>
                      <a:gd name="connsiteY1" fmla="*/ 8197 h 73547"/>
                      <a:gd name="connsiteX2" fmla="*/ 492 w 84258"/>
                      <a:gd name="connsiteY2" fmla="*/ 8770 h 73547"/>
                      <a:gd name="connsiteX3" fmla="*/ 24682 w 84258"/>
                      <a:gd name="connsiteY3" fmla="*/ 33958 h 73547"/>
                      <a:gd name="connsiteX4" fmla="*/ 43547 w 84258"/>
                      <a:gd name="connsiteY4" fmla="*/ 61589 h 73547"/>
                      <a:gd name="connsiteX5" fmla="*/ 64433 w 84258"/>
                      <a:gd name="connsiteY5" fmla="*/ 68834 h 73547"/>
                      <a:gd name="connsiteX6" fmla="*/ 79932 w 84258"/>
                      <a:gd name="connsiteY6" fmla="*/ 73547 h 73547"/>
                      <a:gd name="connsiteX7" fmla="*/ 84259 w 84258"/>
                      <a:gd name="connsiteY7" fmla="*/ 64781 h 73547"/>
                      <a:gd name="connsiteX8" fmla="*/ 41864 w 84258"/>
                      <a:gd name="connsiteY8" fmla="*/ 38335 h 73547"/>
                      <a:gd name="connsiteX9" fmla="*/ 2798 w 84258"/>
                      <a:gd name="connsiteY9" fmla="*/ 117 h 73547"/>
                      <a:gd name="connsiteX10" fmla="*/ 2113 w 84258"/>
                      <a:gd name="connsiteY10" fmla="*/ 167 h 7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258" h="73547">
                        <a:moveTo>
                          <a:pt x="2125" y="179"/>
                        </a:moveTo>
                        <a:cubicBezTo>
                          <a:pt x="1327" y="1077"/>
                          <a:pt x="-593" y="3758"/>
                          <a:pt x="180" y="8197"/>
                        </a:cubicBezTo>
                        <a:cubicBezTo>
                          <a:pt x="217" y="8421"/>
                          <a:pt x="330" y="8621"/>
                          <a:pt x="492" y="8770"/>
                        </a:cubicBezTo>
                        <a:cubicBezTo>
                          <a:pt x="2212" y="10416"/>
                          <a:pt x="12674" y="20566"/>
                          <a:pt x="24682" y="33958"/>
                        </a:cubicBezTo>
                        <a:cubicBezTo>
                          <a:pt x="33398" y="43671"/>
                          <a:pt x="44058" y="51140"/>
                          <a:pt x="43547" y="61589"/>
                        </a:cubicBezTo>
                        <a:cubicBezTo>
                          <a:pt x="43547" y="61589"/>
                          <a:pt x="59720" y="66639"/>
                          <a:pt x="64433" y="68834"/>
                        </a:cubicBezTo>
                        <a:cubicBezTo>
                          <a:pt x="64433" y="68834"/>
                          <a:pt x="77576" y="73211"/>
                          <a:pt x="79932" y="73547"/>
                        </a:cubicBezTo>
                        <a:lnTo>
                          <a:pt x="84259" y="64781"/>
                        </a:lnTo>
                        <a:cubicBezTo>
                          <a:pt x="84259" y="64781"/>
                          <a:pt x="63535" y="61913"/>
                          <a:pt x="41864" y="38335"/>
                        </a:cubicBezTo>
                        <a:cubicBezTo>
                          <a:pt x="20355" y="14930"/>
                          <a:pt x="5242" y="2149"/>
                          <a:pt x="2798" y="117"/>
                        </a:cubicBezTo>
                        <a:cubicBezTo>
                          <a:pt x="2599" y="-58"/>
                          <a:pt x="2300" y="-33"/>
                          <a:pt x="2113" y="167"/>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566" name="Freeform: Shape 3565">
                <a:extLst>
                  <a:ext uri="{FF2B5EF4-FFF2-40B4-BE49-F238E27FC236}">
                    <a16:creationId xmlns:a16="http://schemas.microsoft.com/office/drawing/2014/main" id="{E324C81C-49D7-E7CB-6332-1CA9B6EAC3DC}"/>
                  </a:ext>
                </a:extLst>
              </p:cNvPr>
              <p:cNvSpPr/>
              <p:nvPr/>
            </p:nvSpPr>
            <p:spPr>
              <a:xfrm>
                <a:off x="6141596" y="1645113"/>
                <a:ext cx="108093" cy="374569"/>
              </a:xfrm>
              <a:custGeom>
                <a:avLst/>
                <a:gdLst>
                  <a:gd name="connsiteX0" fmla="*/ 59768 w 108093"/>
                  <a:gd name="connsiteY0" fmla="*/ 220 h 374569"/>
                  <a:gd name="connsiteX1" fmla="*/ 18657 w 108093"/>
                  <a:gd name="connsiteY1" fmla="*/ 42677 h 374569"/>
                  <a:gd name="connsiteX2" fmla="*/ 801 w 108093"/>
                  <a:gd name="connsiteY2" fmla="*/ 177107 h 374569"/>
                  <a:gd name="connsiteX3" fmla="*/ 7647 w 108093"/>
                  <a:gd name="connsiteY3" fmla="*/ 371624 h 374569"/>
                  <a:gd name="connsiteX4" fmla="*/ 57062 w 108093"/>
                  <a:gd name="connsiteY4" fmla="*/ 369156 h 374569"/>
                  <a:gd name="connsiteX5" fmla="*/ 104756 w 108093"/>
                  <a:gd name="connsiteY5" fmla="*/ 366549 h 374569"/>
                  <a:gd name="connsiteX6" fmla="*/ 105292 w 108093"/>
                  <a:gd name="connsiteY6" fmla="*/ 318631 h 374569"/>
                  <a:gd name="connsiteX7" fmla="*/ 103771 w 108093"/>
                  <a:gd name="connsiteY7" fmla="*/ 166009 h 374569"/>
                  <a:gd name="connsiteX8" fmla="*/ 74581 w 108093"/>
                  <a:gd name="connsiteY8" fmla="*/ 1230 h 374569"/>
                  <a:gd name="connsiteX9" fmla="*/ 59755 w 108093"/>
                  <a:gd name="connsiteY9" fmla="*/ 220 h 37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93" h="374569">
                    <a:moveTo>
                      <a:pt x="59768" y="220"/>
                    </a:moveTo>
                    <a:cubicBezTo>
                      <a:pt x="59768" y="220"/>
                      <a:pt x="31463" y="893"/>
                      <a:pt x="18657" y="42677"/>
                    </a:cubicBezTo>
                    <a:cubicBezTo>
                      <a:pt x="5851" y="84461"/>
                      <a:pt x="3831" y="103327"/>
                      <a:pt x="801" y="177107"/>
                    </a:cubicBezTo>
                    <a:cubicBezTo>
                      <a:pt x="-2229" y="250899"/>
                      <a:pt x="4056" y="363545"/>
                      <a:pt x="7647" y="371624"/>
                    </a:cubicBezTo>
                    <a:cubicBezTo>
                      <a:pt x="9879" y="376637"/>
                      <a:pt x="33982" y="374879"/>
                      <a:pt x="57062" y="369156"/>
                    </a:cubicBezTo>
                    <a:cubicBezTo>
                      <a:pt x="76788" y="364255"/>
                      <a:pt x="93808" y="371774"/>
                      <a:pt x="104756" y="366549"/>
                    </a:cubicBezTo>
                    <a:cubicBezTo>
                      <a:pt x="107961" y="364018"/>
                      <a:pt x="106365" y="342210"/>
                      <a:pt x="105292" y="318631"/>
                    </a:cubicBezTo>
                    <a:cubicBezTo>
                      <a:pt x="102225" y="250811"/>
                      <a:pt x="102188" y="212519"/>
                      <a:pt x="103771" y="166009"/>
                    </a:cubicBezTo>
                    <a:cubicBezTo>
                      <a:pt x="105292" y="121532"/>
                      <a:pt x="122762" y="13861"/>
                      <a:pt x="74581" y="1230"/>
                    </a:cubicBezTo>
                    <a:cubicBezTo>
                      <a:pt x="67087" y="-703"/>
                      <a:pt x="59755" y="220"/>
                      <a:pt x="59755" y="220"/>
                    </a:cubicBezTo>
                    <a:close/>
                  </a:path>
                </a:pathLst>
              </a:custGeom>
              <a:solidFill>
                <a:srgbClr val="D465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67" name="Graphic 525">
              <a:extLst>
                <a:ext uri="{FF2B5EF4-FFF2-40B4-BE49-F238E27FC236}">
                  <a16:creationId xmlns:a16="http://schemas.microsoft.com/office/drawing/2014/main" id="{10D187EE-E056-41DB-0EE0-4F13CF47A09B}"/>
                </a:ext>
              </a:extLst>
            </p:cNvPr>
            <p:cNvGrpSpPr/>
            <p:nvPr/>
          </p:nvGrpSpPr>
          <p:grpSpPr>
            <a:xfrm>
              <a:off x="3672287" y="1487680"/>
              <a:ext cx="194254" cy="452376"/>
              <a:chOff x="5829324" y="1229577"/>
              <a:chExt cx="234278" cy="545585"/>
            </a:xfrm>
          </p:grpSpPr>
          <p:grpSp>
            <p:nvGrpSpPr>
              <p:cNvPr id="3568" name="Graphic 525">
                <a:extLst>
                  <a:ext uri="{FF2B5EF4-FFF2-40B4-BE49-F238E27FC236}">
                    <a16:creationId xmlns:a16="http://schemas.microsoft.com/office/drawing/2014/main" id="{CD2EA50A-7354-F42E-E5FD-E95D27E206DF}"/>
                  </a:ext>
                </a:extLst>
              </p:cNvPr>
              <p:cNvGrpSpPr/>
              <p:nvPr/>
            </p:nvGrpSpPr>
            <p:grpSpPr>
              <a:xfrm>
                <a:off x="5832555" y="1229577"/>
                <a:ext cx="228406" cy="540501"/>
                <a:chOff x="5832555" y="1229577"/>
                <a:chExt cx="228406" cy="540501"/>
              </a:xfrm>
            </p:grpSpPr>
            <p:sp>
              <p:nvSpPr>
                <p:cNvPr id="3569" name="Freeform: Shape 3568">
                  <a:extLst>
                    <a:ext uri="{FF2B5EF4-FFF2-40B4-BE49-F238E27FC236}">
                      <a16:creationId xmlns:a16="http://schemas.microsoft.com/office/drawing/2014/main" id="{E77C89AA-B333-6227-8BCA-5F128F12BCDA}"/>
                    </a:ext>
                  </a:extLst>
                </p:cNvPr>
                <p:cNvSpPr/>
                <p:nvPr/>
              </p:nvSpPr>
              <p:spPr>
                <a:xfrm>
                  <a:off x="5867011" y="1300625"/>
                  <a:ext cx="193950" cy="338303"/>
                </a:xfrm>
                <a:custGeom>
                  <a:avLst/>
                  <a:gdLst>
                    <a:gd name="connsiteX0" fmla="*/ 76629 w 193950"/>
                    <a:gd name="connsiteY0" fmla="*/ 275 h 338303"/>
                    <a:gd name="connsiteX1" fmla="*/ 140184 w 193950"/>
                    <a:gd name="connsiteY1" fmla="*/ 23904 h 338303"/>
                    <a:gd name="connsiteX2" fmla="*/ 186108 w 193950"/>
                    <a:gd name="connsiteY2" fmla="*/ 105826 h 338303"/>
                    <a:gd name="connsiteX3" fmla="*/ 178140 w 193950"/>
                    <a:gd name="connsiteY3" fmla="*/ 187024 h 338303"/>
                    <a:gd name="connsiteX4" fmla="*/ 172417 w 193950"/>
                    <a:gd name="connsiteY4" fmla="*/ 195790 h 338303"/>
                    <a:gd name="connsiteX5" fmla="*/ 168825 w 193950"/>
                    <a:gd name="connsiteY5" fmla="*/ 258123 h 338303"/>
                    <a:gd name="connsiteX6" fmla="*/ 103076 w 193950"/>
                    <a:gd name="connsiteY6" fmla="*/ 337689 h 338303"/>
                    <a:gd name="connsiteX7" fmla="*/ 11378 w 193950"/>
                    <a:gd name="connsiteY7" fmla="*/ 202636 h 338303"/>
                    <a:gd name="connsiteX8" fmla="*/ 206 w 193950"/>
                    <a:gd name="connsiteY8" fmla="*/ 64129 h 338303"/>
                    <a:gd name="connsiteX9" fmla="*/ 76666 w 193950"/>
                    <a:gd name="connsiteY9" fmla="*/ 275 h 3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950" h="338303">
                      <a:moveTo>
                        <a:pt x="76629" y="275"/>
                      </a:moveTo>
                      <a:cubicBezTo>
                        <a:pt x="104260" y="-1408"/>
                        <a:pt x="120520" y="4415"/>
                        <a:pt x="140184" y="23904"/>
                      </a:cubicBezTo>
                      <a:cubicBezTo>
                        <a:pt x="156942" y="40513"/>
                        <a:pt x="172491" y="78693"/>
                        <a:pt x="186108" y="105826"/>
                      </a:cubicBezTo>
                      <a:cubicBezTo>
                        <a:pt x="199375" y="132260"/>
                        <a:pt x="195210" y="155802"/>
                        <a:pt x="178140" y="187024"/>
                      </a:cubicBezTo>
                      <a:cubicBezTo>
                        <a:pt x="177030" y="189044"/>
                        <a:pt x="172417" y="195790"/>
                        <a:pt x="172417" y="195790"/>
                      </a:cubicBezTo>
                      <a:cubicBezTo>
                        <a:pt x="172417" y="195790"/>
                        <a:pt x="172042" y="231340"/>
                        <a:pt x="168825" y="258123"/>
                      </a:cubicBezTo>
                      <a:cubicBezTo>
                        <a:pt x="166145" y="280418"/>
                        <a:pt x="162366" y="329771"/>
                        <a:pt x="103076" y="337689"/>
                      </a:cubicBezTo>
                      <a:cubicBezTo>
                        <a:pt x="43760" y="345606"/>
                        <a:pt x="22276" y="275730"/>
                        <a:pt x="11378" y="202636"/>
                      </a:cubicBezTo>
                      <a:cubicBezTo>
                        <a:pt x="3261" y="148196"/>
                        <a:pt x="-1016" y="92185"/>
                        <a:pt x="206" y="64129"/>
                      </a:cubicBezTo>
                      <a:cubicBezTo>
                        <a:pt x="1827" y="26809"/>
                        <a:pt x="28249" y="3218"/>
                        <a:pt x="76666" y="27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70" name="Graphic 525">
                  <a:extLst>
                    <a:ext uri="{FF2B5EF4-FFF2-40B4-BE49-F238E27FC236}">
                      <a16:creationId xmlns:a16="http://schemas.microsoft.com/office/drawing/2014/main" id="{3C154DD7-9395-98EF-4AB8-D04CC371654D}"/>
                    </a:ext>
                  </a:extLst>
                </p:cNvPr>
                <p:cNvGrpSpPr/>
                <p:nvPr/>
              </p:nvGrpSpPr>
              <p:grpSpPr>
                <a:xfrm>
                  <a:off x="5917138" y="1229577"/>
                  <a:ext cx="72985" cy="111332"/>
                  <a:chOff x="5917138" y="1229577"/>
                  <a:chExt cx="72985" cy="111332"/>
                </a:xfrm>
              </p:grpSpPr>
              <p:sp>
                <p:nvSpPr>
                  <p:cNvPr id="3571" name="Freeform: Shape 3570">
                    <a:extLst>
                      <a:ext uri="{FF2B5EF4-FFF2-40B4-BE49-F238E27FC236}">
                        <a16:creationId xmlns:a16="http://schemas.microsoft.com/office/drawing/2014/main" id="{57443439-4DF2-0109-A146-BF3C8EF4CA64}"/>
                      </a:ext>
                    </a:extLst>
                  </p:cNvPr>
                  <p:cNvSpPr/>
                  <p:nvPr/>
                </p:nvSpPr>
                <p:spPr>
                  <a:xfrm>
                    <a:off x="5917138" y="1229577"/>
                    <a:ext cx="72985" cy="111332"/>
                  </a:xfrm>
                  <a:custGeom>
                    <a:avLst/>
                    <a:gdLst>
                      <a:gd name="connsiteX0" fmla="*/ 69395 w 72985"/>
                      <a:gd name="connsiteY0" fmla="*/ 53891 h 111332"/>
                      <a:gd name="connsiteX1" fmla="*/ 70193 w 72985"/>
                      <a:gd name="connsiteY1" fmla="*/ 80699 h 111332"/>
                      <a:gd name="connsiteX2" fmla="*/ 56677 w 72985"/>
                      <a:gd name="connsiteY2" fmla="*/ 110376 h 111332"/>
                      <a:gd name="connsiteX3" fmla="*/ 4506 w 72985"/>
                      <a:gd name="connsiteY3" fmla="*/ 94315 h 111332"/>
                      <a:gd name="connsiteX4" fmla="*/ 2473 w 72985"/>
                      <a:gd name="connsiteY4" fmla="*/ 74951 h 111332"/>
                      <a:gd name="connsiteX5" fmla="*/ 9518 w 72985"/>
                      <a:gd name="connsiteY5" fmla="*/ 18167 h 111332"/>
                      <a:gd name="connsiteX6" fmla="*/ 38359 w 72985"/>
                      <a:gd name="connsiteY6" fmla="*/ 2219 h 111332"/>
                      <a:gd name="connsiteX7" fmla="*/ 69395 w 72985"/>
                      <a:gd name="connsiteY7" fmla="*/ 53878 h 11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985" h="111332">
                        <a:moveTo>
                          <a:pt x="69395" y="53891"/>
                        </a:moveTo>
                        <a:cubicBezTo>
                          <a:pt x="69395" y="53891"/>
                          <a:pt x="67363" y="69040"/>
                          <a:pt x="70193" y="80699"/>
                        </a:cubicBezTo>
                        <a:cubicBezTo>
                          <a:pt x="73024" y="92370"/>
                          <a:pt x="78635" y="104715"/>
                          <a:pt x="56677" y="110376"/>
                        </a:cubicBezTo>
                        <a:cubicBezTo>
                          <a:pt x="39544" y="114802"/>
                          <a:pt x="10304" y="102919"/>
                          <a:pt x="4506" y="94315"/>
                        </a:cubicBezTo>
                        <a:cubicBezTo>
                          <a:pt x="-1292" y="85712"/>
                          <a:pt x="-956" y="84240"/>
                          <a:pt x="2473" y="74951"/>
                        </a:cubicBezTo>
                        <a:cubicBezTo>
                          <a:pt x="4381" y="69789"/>
                          <a:pt x="12037" y="58180"/>
                          <a:pt x="9518" y="18167"/>
                        </a:cubicBezTo>
                        <a:cubicBezTo>
                          <a:pt x="8571" y="5710"/>
                          <a:pt x="23135" y="-4714"/>
                          <a:pt x="38359" y="2219"/>
                        </a:cubicBezTo>
                        <a:cubicBezTo>
                          <a:pt x="48971" y="7057"/>
                          <a:pt x="72924" y="13765"/>
                          <a:pt x="69395" y="5387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72" name="Freeform: Shape 3571">
                    <a:extLst>
                      <a:ext uri="{FF2B5EF4-FFF2-40B4-BE49-F238E27FC236}">
                        <a16:creationId xmlns:a16="http://schemas.microsoft.com/office/drawing/2014/main" id="{34449513-7F4C-184B-5354-26C7B2AF156B}"/>
                      </a:ext>
                    </a:extLst>
                  </p:cNvPr>
                  <p:cNvSpPr/>
                  <p:nvPr/>
                </p:nvSpPr>
                <p:spPr>
                  <a:xfrm>
                    <a:off x="5932076" y="1229927"/>
                    <a:ext cx="55080" cy="79563"/>
                  </a:xfrm>
                  <a:custGeom>
                    <a:avLst/>
                    <a:gdLst>
                      <a:gd name="connsiteX0" fmla="*/ 23422 w 55080"/>
                      <a:gd name="connsiteY0" fmla="*/ 1894 h 79563"/>
                      <a:gd name="connsiteX1" fmla="*/ 217 w 55080"/>
                      <a:gd name="connsiteY1" fmla="*/ 20797 h 79563"/>
                      <a:gd name="connsiteX2" fmla="*/ 55081 w 55080"/>
                      <a:gd name="connsiteY2" fmla="*/ 79563 h 79563"/>
                      <a:gd name="connsiteX3" fmla="*/ 54457 w 55080"/>
                      <a:gd name="connsiteY3" fmla="*/ 53540 h 79563"/>
                      <a:gd name="connsiteX4" fmla="*/ 23422 w 55080"/>
                      <a:gd name="connsiteY4" fmla="*/ 1881 h 79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80" h="79563">
                        <a:moveTo>
                          <a:pt x="23422" y="1894"/>
                        </a:moveTo>
                        <a:cubicBezTo>
                          <a:pt x="8197" y="-5052"/>
                          <a:pt x="-1603" y="8440"/>
                          <a:pt x="217" y="20797"/>
                        </a:cubicBezTo>
                        <a:cubicBezTo>
                          <a:pt x="2038" y="33203"/>
                          <a:pt x="19245" y="70810"/>
                          <a:pt x="55081" y="79563"/>
                        </a:cubicBezTo>
                        <a:cubicBezTo>
                          <a:pt x="52525" y="68017"/>
                          <a:pt x="54457" y="53540"/>
                          <a:pt x="54457" y="53540"/>
                        </a:cubicBezTo>
                        <a:cubicBezTo>
                          <a:pt x="57986" y="13440"/>
                          <a:pt x="34033" y="6719"/>
                          <a:pt x="23422" y="1881"/>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73" name="Freeform: Shape 3572">
                  <a:extLst>
                    <a:ext uri="{FF2B5EF4-FFF2-40B4-BE49-F238E27FC236}">
                      <a16:creationId xmlns:a16="http://schemas.microsoft.com/office/drawing/2014/main" id="{149237D4-DF1C-0F06-AB2C-66809B836D76}"/>
                    </a:ext>
                  </a:extLst>
                </p:cNvPr>
                <p:cNvSpPr/>
                <p:nvPr/>
              </p:nvSpPr>
              <p:spPr>
                <a:xfrm>
                  <a:off x="5832555" y="1439002"/>
                  <a:ext cx="202150" cy="331076"/>
                </a:xfrm>
                <a:custGeom>
                  <a:avLst/>
                  <a:gdLst>
                    <a:gd name="connsiteX0" fmla="*/ 46482 w 202150"/>
                    <a:gd name="connsiteY0" fmla="*/ 75044 h 331076"/>
                    <a:gd name="connsiteX1" fmla="*/ 22654 w 202150"/>
                    <a:gd name="connsiteY1" fmla="*/ 176380 h 331076"/>
                    <a:gd name="connsiteX2" fmla="*/ 70635 w 202150"/>
                    <a:gd name="connsiteY2" fmla="*/ 328291 h 331076"/>
                    <a:gd name="connsiteX3" fmla="*/ 200239 w 202150"/>
                    <a:gd name="connsiteY3" fmla="*/ 222379 h 331076"/>
                    <a:gd name="connsiteX4" fmla="*/ 201922 w 202150"/>
                    <a:gd name="connsiteY4" fmla="*/ 128935 h 331076"/>
                    <a:gd name="connsiteX5" fmla="*/ 167258 w 202150"/>
                    <a:gd name="connsiteY5" fmla="*/ 23908 h 331076"/>
                    <a:gd name="connsiteX6" fmla="*/ 46495 w 202150"/>
                    <a:gd name="connsiteY6" fmla="*/ 75019 h 33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50" h="331076">
                      <a:moveTo>
                        <a:pt x="46482" y="75044"/>
                      </a:moveTo>
                      <a:cubicBezTo>
                        <a:pt x="46482" y="75044"/>
                        <a:pt x="56507" y="126529"/>
                        <a:pt x="22654" y="176380"/>
                      </a:cubicBezTo>
                      <a:cubicBezTo>
                        <a:pt x="-6861" y="219847"/>
                        <a:pt x="-21936" y="307293"/>
                        <a:pt x="70635" y="328291"/>
                      </a:cubicBezTo>
                      <a:cubicBezTo>
                        <a:pt x="140985" y="344264"/>
                        <a:pt x="191884" y="289226"/>
                        <a:pt x="200239" y="222379"/>
                      </a:cubicBezTo>
                      <a:cubicBezTo>
                        <a:pt x="203580" y="198987"/>
                        <a:pt x="200413" y="159709"/>
                        <a:pt x="201922" y="128935"/>
                      </a:cubicBezTo>
                      <a:cubicBezTo>
                        <a:pt x="203817" y="90381"/>
                        <a:pt x="194091" y="45754"/>
                        <a:pt x="167258" y="23908"/>
                      </a:cubicBezTo>
                      <a:cubicBezTo>
                        <a:pt x="116434" y="-17439"/>
                        <a:pt x="37143" y="-8075"/>
                        <a:pt x="46495" y="75019"/>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74" name="Graphic 525">
                <a:extLst>
                  <a:ext uri="{FF2B5EF4-FFF2-40B4-BE49-F238E27FC236}">
                    <a16:creationId xmlns:a16="http://schemas.microsoft.com/office/drawing/2014/main" id="{BD06D236-766C-AC05-C7BF-AFCB7D34C530}"/>
                  </a:ext>
                </a:extLst>
              </p:cNvPr>
              <p:cNvGrpSpPr/>
              <p:nvPr/>
            </p:nvGrpSpPr>
            <p:grpSpPr>
              <a:xfrm>
                <a:off x="5829324" y="1300114"/>
                <a:ext cx="234278" cy="475048"/>
                <a:chOff x="5829324" y="1300114"/>
                <a:chExt cx="234278" cy="475048"/>
              </a:xfrm>
            </p:grpSpPr>
            <p:sp>
              <p:nvSpPr>
                <p:cNvPr id="3575" name="Freeform: Shape 3574">
                  <a:extLst>
                    <a:ext uri="{FF2B5EF4-FFF2-40B4-BE49-F238E27FC236}">
                      <a16:creationId xmlns:a16="http://schemas.microsoft.com/office/drawing/2014/main" id="{EFD909FF-5E61-7DC2-9440-A612A8F068E8}"/>
                    </a:ext>
                  </a:extLst>
                </p:cNvPr>
                <p:cNvSpPr/>
                <p:nvPr/>
              </p:nvSpPr>
              <p:spPr>
                <a:xfrm>
                  <a:off x="5829324" y="1300114"/>
                  <a:ext cx="234278" cy="475048"/>
                </a:xfrm>
                <a:custGeom>
                  <a:avLst/>
                  <a:gdLst>
                    <a:gd name="connsiteX0" fmla="*/ 92133 w 234278"/>
                    <a:gd name="connsiteY0" fmla="*/ 12 h 475048"/>
                    <a:gd name="connsiteX1" fmla="*/ 65773 w 234278"/>
                    <a:gd name="connsiteY1" fmla="*/ 14015 h 475048"/>
                    <a:gd name="connsiteX2" fmla="*/ 36122 w 234278"/>
                    <a:gd name="connsiteY2" fmla="*/ 69939 h 475048"/>
                    <a:gd name="connsiteX3" fmla="*/ 41845 w 234278"/>
                    <a:gd name="connsiteY3" fmla="*/ 178433 h 475048"/>
                    <a:gd name="connsiteX4" fmla="*/ 49252 w 234278"/>
                    <a:gd name="connsiteY4" fmla="*/ 209094 h 475048"/>
                    <a:gd name="connsiteX5" fmla="*/ 49925 w 234278"/>
                    <a:gd name="connsiteY5" fmla="*/ 230653 h 475048"/>
                    <a:gd name="connsiteX6" fmla="*/ 32743 w 234278"/>
                    <a:gd name="connsiteY6" fmla="*/ 294670 h 475048"/>
                    <a:gd name="connsiteX7" fmla="*/ 3765 w 234278"/>
                    <a:gd name="connsiteY7" fmla="*/ 416979 h 475048"/>
                    <a:gd name="connsiteX8" fmla="*/ 147970 w 234278"/>
                    <a:gd name="connsiteY8" fmla="*/ 464149 h 475048"/>
                    <a:gd name="connsiteX9" fmla="*/ 206936 w 234278"/>
                    <a:gd name="connsiteY9" fmla="*/ 325331 h 475048"/>
                    <a:gd name="connsiteX10" fmla="*/ 208956 w 234278"/>
                    <a:gd name="connsiteY10" fmla="*/ 239756 h 475048"/>
                    <a:gd name="connsiteX11" fmla="*/ 214006 w 234278"/>
                    <a:gd name="connsiteY11" fmla="*/ 189717 h 475048"/>
                    <a:gd name="connsiteX12" fmla="*/ 234218 w 234278"/>
                    <a:gd name="connsiteY12" fmla="*/ 135639 h 475048"/>
                    <a:gd name="connsiteX13" fmla="*/ 192098 w 234278"/>
                    <a:gd name="connsiteY13" fmla="*/ 40624 h 475048"/>
                    <a:gd name="connsiteX14" fmla="*/ 157633 w 234278"/>
                    <a:gd name="connsiteY14" fmla="*/ 8591 h 475048"/>
                    <a:gd name="connsiteX15" fmla="*/ 203208 w 234278"/>
                    <a:gd name="connsiteY15" fmla="*/ 114416 h 475048"/>
                    <a:gd name="connsiteX16" fmla="*/ 132795 w 234278"/>
                    <a:gd name="connsiteY16" fmla="*/ 38268 h 475048"/>
                    <a:gd name="connsiteX17" fmla="*/ 92108 w 234278"/>
                    <a:gd name="connsiteY17" fmla="*/ 0 h 47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278" h="475048">
                      <a:moveTo>
                        <a:pt x="92133" y="12"/>
                      </a:moveTo>
                      <a:cubicBezTo>
                        <a:pt x="92133" y="12"/>
                        <a:pt x="78230" y="6945"/>
                        <a:pt x="65773" y="14015"/>
                      </a:cubicBezTo>
                      <a:cubicBezTo>
                        <a:pt x="53304" y="21085"/>
                        <a:pt x="38478" y="31871"/>
                        <a:pt x="36122" y="69939"/>
                      </a:cubicBezTo>
                      <a:cubicBezTo>
                        <a:pt x="33765" y="108007"/>
                        <a:pt x="38142" y="158208"/>
                        <a:pt x="41845" y="178433"/>
                      </a:cubicBezTo>
                      <a:cubicBezTo>
                        <a:pt x="44613" y="193520"/>
                        <a:pt x="48242" y="200665"/>
                        <a:pt x="49252" y="209094"/>
                      </a:cubicBezTo>
                      <a:cubicBezTo>
                        <a:pt x="49252" y="209094"/>
                        <a:pt x="50598" y="226613"/>
                        <a:pt x="49925" y="230653"/>
                      </a:cubicBezTo>
                      <a:cubicBezTo>
                        <a:pt x="49252" y="234693"/>
                        <a:pt x="43528" y="270405"/>
                        <a:pt x="32743" y="294670"/>
                      </a:cubicBezTo>
                      <a:cubicBezTo>
                        <a:pt x="21957" y="318934"/>
                        <a:pt x="-11061" y="367788"/>
                        <a:pt x="3765" y="416979"/>
                      </a:cubicBezTo>
                      <a:cubicBezTo>
                        <a:pt x="18590" y="466169"/>
                        <a:pt x="99116" y="490771"/>
                        <a:pt x="147970" y="464149"/>
                      </a:cubicBezTo>
                      <a:cubicBezTo>
                        <a:pt x="196823" y="437528"/>
                        <a:pt x="208619" y="362738"/>
                        <a:pt x="206936" y="325331"/>
                      </a:cubicBezTo>
                      <a:cubicBezTo>
                        <a:pt x="205253" y="287936"/>
                        <a:pt x="207272" y="257275"/>
                        <a:pt x="208956" y="239756"/>
                      </a:cubicBezTo>
                      <a:cubicBezTo>
                        <a:pt x="210639" y="222237"/>
                        <a:pt x="212996" y="195116"/>
                        <a:pt x="214006" y="189717"/>
                      </a:cubicBezTo>
                      <a:cubicBezTo>
                        <a:pt x="214006" y="189717"/>
                        <a:pt x="235565" y="165290"/>
                        <a:pt x="234218" y="135639"/>
                      </a:cubicBezTo>
                      <a:cubicBezTo>
                        <a:pt x="232872" y="105987"/>
                        <a:pt x="199903" y="55088"/>
                        <a:pt x="192098" y="40624"/>
                      </a:cubicBezTo>
                      <a:cubicBezTo>
                        <a:pt x="184005" y="25636"/>
                        <a:pt x="167484" y="10349"/>
                        <a:pt x="157633" y="8591"/>
                      </a:cubicBezTo>
                      <a:cubicBezTo>
                        <a:pt x="157633" y="8591"/>
                        <a:pt x="190065" y="43654"/>
                        <a:pt x="203208" y="114416"/>
                      </a:cubicBezTo>
                      <a:cubicBezTo>
                        <a:pt x="203208" y="114416"/>
                        <a:pt x="174566" y="66572"/>
                        <a:pt x="132795" y="38268"/>
                      </a:cubicBezTo>
                      <a:cubicBezTo>
                        <a:pt x="132795" y="38268"/>
                        <a:pt x="97507" y="11122"/>
                        <a:pt x="92108" y="0"/>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576" name="Graphic 525">
                  <a:extLst>
                    <a:ext uri="{FF2B5EF4-FFF2-40B4-BE49-F238E27FC236}">
                      <a16:creationId xmlns:a16="http://schemas.microsoft.com/office/drawing/2014/main" id="{C048B1C7-83D8-9354-4FD0-453BD8DDFD51}"/>
                    </a:ext>
                  </a:extLst>
                </p:cNvPr>
                <p:cNvGrpSpPr/>
                <p:nvPr/>
              </p:nvGrpSpPr>
              <p:grpSpPr>
                <a:xfrm>
                  <a:off x="5864784" y="1334213"/>
                  <a:ext cx="175952" cy="367430"/>
                  <a:chOff x="5864784" y="1334213"/>
                  <a:chExt cx="175952" cy="367430"/>
                </a:xfrm>
              </p:grpSpPr>
              <p:sp>
                <p:nvSpPr>
                  <p:cNvPr id="3577" name="Freeform: Shape 3576">
                    <a:extLst>
                      <a:ext uri="{FF2B5EF4-FFF2-40B4-BE49-F238E27FC236}">
                        <a16:creationId xmlns:a16="http://schemas.microsoft.com/office/drawing/2014/main" id="{DD94EAB6-FEF0-D599-7B31-EBAA43E30290}"/>
                      </a:ext>
                    </a:extLst>
                  </p:cNvPr>
                  <p:cNvSpPr/>
                  <p:nvPr/>
                </p:nvSpPr>
                <p:spPr>
                  <a:xfrm>
                    <a:off x="5864784" y="1334213"/>
                    <a:ext cx="175952" cy="281371"/>
                  </a:xfrm>
                  <a:custGeom>
                    <a:avLst/>
                    <a:gdLst>
                      <a:gd name="connsiteX0" fmla="*/ 175952 w 175952"/>
                      <a:gd name="connsiteY0" fmla="*/ 174646 h 281371"/>
                      <a:gd name="connsiteX1" fmla="*/ 108706 w 175952"/>
                      <a:gd name="connsiteY1" fmla="*/ 188849 h 281371"/>
                      <a:gd name="connsiteX2" fmla="*/ 98095 w 175952"/>
                      <a:gd name="connsiteY2" fmla="*/ 89295 h 281371"/>
                      <a:gd name="connsiteX3" fmla="*/ 103656 w 175952"/>
                      <a:gd name="connsiteY3" fmla="*/ 86764 h 281371"/>
                      <a:gd name="connsiteX4" fmla="*/ 92035 w 175952"/>
                      <a:gd name="connsiteY4" fmla="*/ 33197 h 281371"/>
                      <a:gd name="connsiteX5" fmla="*/ 36448 w 175952"/>
                      <a:gd name="connsiteY5" fmla="*/ 3383 h 281371"/>
                      <a:gd name="connsiteX6" fmla="*/ 26 w 175952"/>
                      <a:gd name="connsiteY6" fmla="*/ 54332 h 281371"/>
                      <a:gd name="connsiteX7" fmla="*/ 674 w 175952"/>
                      <a:gd name="connsiteY7" fmla="*/ 86465 h 281371"/>
                      <a:gd name="connsiteX8" fmla="*/ 8642 w 175952"/>
                      <a:gd name="connsiteY8" fmla="*/ 88273 h 281371"/>
                      <a:gd name="connsiteX9" fmla="*/ 36947 w 175952"/>
                      <a:gd name="connsiteY9" fmla="*/ 235333 h 281371"/>
                      <a:gd name="connsiteX10" fmla="*/ 76873 w 175952"/>
                      <a:gd name="connsiteY10" fmla="*/ 280309 h 281371"/>
                      <a:gd name="connsiteX11" fmla="*/ 171364 w 175952"/>
                      <a:gd name="connsiteY11" fmla="*/ 237640 h 281371"/>
                      <a:gd name="connsiteX12" fmla="*/ 173508 w 175952"/>
                      <a:gd name="connsiteY12" fmla="*/ 205644 h 281371"/>
                      <a:gd name="connsiteX13" fmla="*/ 175952 w 175952"/>
                      <a:gd name="connsiteY13" fmla="*/ 174634 h 28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952" h="281371">
                        <a:moveTo>
                          <a:pt x="175952" y="174646"/>
                        </a:moveTo>
                        <a:lnTo>
                          <a:pt x="108706" y="188849"/>
                        </a:lnTo>
                        <a:lnTo>
                          <a:pt x="98095" y="89295"/>
                        </a:lnTo>
                        <a:lnTo>
                          <a:pt x="103656" y="86764"/>
                        </a:lnTo>
                        <a:cubicBezTo>
                          <a:pt x="103656" y="86764"/>
                          <a:pt x="98606" y="61502"/>
                          <a:pt x="92035" y="33197"/>
                        </a:cubicBezTo>
                        <a:cubicBezTo>
                          <a:pt x="85464" y="4892"/>
                          <a:pt x="72321" y="-6218"/>
                          <a:pt x="36448" y="3383"/>
                        </a:cubicBezTo>
                        <a:cubicBezTo>
                          <a:pt x="13318" y="9568"/>
                          <a:pt x="2470" y="23496"/>
                          <a:pt x="26" y="54332"/>
                        </a:cubicBezTo>
                        <a:cubicBezTo>
                          <a:pt x="-86" y="64918"/>
                          <a:pt x="175" y="75866"/>
                          <a:pt x="674" y="86465"/>
                        </a:cubicBezTo>
                        <a:lnTo>
                          <a:pt x="8642" y="88273"/>
                        </a:lnTo>
                        <a:cubicBezTo>
                          <a:pt x="8642" y="88273"/>
                          <a:pt x="31386" y="213101"/>
                          <a:pt x="36947" y="235333"/>
                        </a:cubicBezTo>
                        <a:cubicBezTo>
                          <a:pt x="42508" y="257566"/>
                          <a:pt x="52109" y="287392"/>
                          <a:pt x="76873" y="280309"/>
                        </a:cubicBezTo>
                        <a:cubicBezTo>
                          <a:pt x="94791" y="275197"/>
                          <a:pt x="144966" y="250758"/>
                          <a:pt x="171364" y="237640"/>
                        </a:cubicBezTo>
                        <a:cubicBezTo>
                          <a:pt x="171887" y="224597"/>
                          <a:pt x="172735" y="213724"/>
                          <a:pt x="173508" y="205644"/>
                        </a:cubicBezTo>
                        <a:cubicBezTo>
                          <a:pt x="174518" y="195170"/>
                          <a:pt x="175279" y="183474"/>
                          <a:pt x="175952" y="174634"/>
                        </a:cubicBezTo>
                        <a:close/>
                      </a:path>
                    </a:pathLst>
                  </a:custGeom>
                  <a:solidFill>
                    <a:srgbClr val="D6665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78" name="Freeform: Shape 3577">
                    <a:extLst>
                      <a:ext uri="{FF2B5EF4-FFF2-40B4-BE49-F238E27FC236}">
                        <a16:creationId xmlns:a16="http://schemas.microsoft.com/office/drawing/2014/main" id="{096C66C2-1E53-C1B3-F731-79C185DFA7F2}"/>
                      </a:ext>
                    </a:extLst>
                  </p:cNvPr>
                  <p:cNvSpPr/>
                  <p:nvPr/>
                </p:nvSpPr>
                <p:spPr>
                  <a:xfrm>
                    <a:off x="5947150" y="1633460"/>
                    <a:ext cx="88848" cy="68183"/>
                  </a:xfrm>
                  <a:custGeom>
                    <a:avLst/>
                    <a:gdLst>
                      <a:gd name="connsiteX0" fmla="*/ 88836 w 88848"/>
                      <a:gd name="connsiteY0" fmla="*/ 11848 h 68183"/>
                      <a:gd name="connsiteX1" fmla="*/ 68 w 88848"/>
                      <a:gd name="connsiteY1" fmla="*/ 277 h 68183"/>
                      <a:gd name="connsiteX2" fmla="*/ 77663 w 88848"/>
                      <a:gd name="connsiteY2" fmla="*/ 68183 h 68183"/>
                      <a:gd name="connsiteX3" fmla="*/ 88848 w 88848"/>
                      <a:gd name="connsiteY3" fmla="*/ 11848 h 68183"/>
                    </a:gdLst>
                    <a:ahLst/>
                    <a:cxnLst>
                      <a:cxn ang="0">
                        <a:pos x="connsiteX0" y="connsiteY0"/>
                      </a:cxn>
                      <a:cxn ang="0">
                        <a:pos x="connsiteX1" y="connsiteY1"/>
                      </a:cxn>
                      <a:cxn ang="0">
                        <a:pos x="connsiteX2" y="connsiteY2"/>
                      </a:cxn>
                      <a:cxn ang="0">
                        <a:pos x="connsiteX3" y="connsiteY3"/>
                      </a:cxn>
                    </a:cxnLst>
                    <a:rect l="l" t="t" r="r" b="b"/>
                    <a:pathLst>
                      <a:path w="88848" h="68183">
                        <a:moveTo>
                          <a:pt x="88836" y="11848"/>
                        </a:moveTo>
                        <a:cubicBezTo>
                          <a:pt x="32513" y="-2840"/>
                          <a:pt x="68" y="277"/>
                          <a:pt x="68" y="277"/>
                        </a:cubicBezTo>
                        <a:cubicBezTo>
                          <a:pt x="-2126" y="41973"/>
                          <a:pt x="49159" y="60901"/>
                          <a:pt x="77663" y="68183"/>
                        </a:cubicBezTo>
                        <a:cubicBezTo>
                          <a:pt x="84372" y="48956"/>
                          <a:pt x="87726" y="28819"/>
                          <a:pt x="88848" y="11848"/>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79" name="Graphic 525">
                  <a:extLst>
                    <a:ext uri="{FF2B5EF4-FFF2-40B4-BE49-F238E27FC236}">
                      <a16:creationId xmlns:a16="http://schemas.microsoft.com/office/drawing/2014/main" id="{5F821578-49A6-3210-0C42-6028E53CD273}"/>
                    </a:ext>
                  </a:extLst>
                </p:cNvPr>
                <p:cNvGrpSpPr/>
                <p:nvPr/>
              </p:nvGrpSpPr>
              <p:grpSpPr>
                <a:xfrm>
                  <a:off x="5921457" y="1300127"/>
                  <a:ext cx="111099" cy="114416"/>
                  <a:chOff x="5921457" y="1300127"/>
                  <a:chExt cx="111099" cy="114416"/>
                </a:xfrm>
                <a:solidFill>
                  <a:srgbClr val="ED7E6F"/>
                </a:solidFill>
              </p:grpSpPr>
              <p:sp>
                <p:nvSpPr>
                  <p:cNvPr id="3580" name="Freeform: Shape 3579">
                    <a:extLst>
                      <a:ext uri="{FF2B5EF4-FFF2-40B4-BE49-F238E27FC236}">
                        <a16:creationId xmlns:a16="http://schemas.microsoft.com/office/drawing/2014/main" id="{35022944-60A1-38A4-A396-C54F358570E1}"/>
                      </a:ext>
                    </a:extLst>
                  </p:cNvPr>
                  <p:cNvSpPr/>
                  <p:nvPr/>
                </p:nvSpPr>
                <p:spPr>
                  <a:xfrm>
                    <a:off x="5986982" y="1308718"/>
                    <a:ext cx="45574" cy="105825"/>
                  </a:xfrm>
                  <a:custGeom>
                    <a:avLst/>
                    <a:gdLst>
                      <a:gd name="connsiteX0" fmla="*/ 0 w 45574"/>
                      <a:gd name="connsiteY0" fmla="*/ 0 h 105825"/>
                      <a:gd name="connsiteX1" fmla="*/ 45575 w 45574"/>
                      <a:gd name="connsiteY1" fmla="*/ 105825 h 105825"/>
                      <a:gd name="connsiteX2" fmla="*/ 34627 w 45574"/>
                      <a:gd name="connsiteY2" fmla="*/ 38866 h 105825"/>
                      <a:gd name="connsiteX3" fmla="*/ 3055 w 45574"/>
                      <a:gd name="connsiteY3" fmla="*/ 3105 h 105825"/>
                      <a:gd name="connsiteX4" fmla="*/ 0 w 45574"/>
                      <a:gd name="connsiteY4" fmla="*/ 0 h 10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74" h="105825">
                        <a:moveTo>
                          <a:pt x="0" y="0"/>
                        </a:moveTo>
                        <a:cubicBezTo>
                          <a:pt x="4252" y="4813"/>
                          <a:pt x="33430" y="40425"/>
                          <a:pt x="45575" y="105825"/>
                        </a:cubicBezTo>
                        <a:cubicBezTo>
                          <a:pt x="45575" y="105825"/>
                          <a:pt x="42707" y="47283"/>
                          <a:pt x="34627" y="38866"/>
                        </a:cubicBezTo>
                        <a:cubicBezTo>
                          <a:pt x="28355" y="32332"/>
                          <a:pt x="10948" y="11983"/>
                          <a:pt x="3055" y="3105"/>
                        </a:cubicBezTo>
                        <a:cubicBezTo>
                          <a:pt x="1621" y="1484"/>
                          <a:pt x="599" y="661"/>
                          <a:pt x="0" y="0"/>
                        </a:cubicBezTo>
                        <a:close/>
                      </a:path>
                    </a:pathLst>
                  </a:custGeom>
                  <a:solidFill>
                    <a:srgbClr val="ED7E6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1" name="Freeform: Shape 3580">
                    <a:extLst>
                      <a:ext uri="{FF2B5EF4-FFF2-40B4-BE49-F238E27FC236}">
                        <a16:creationId xmlns:a16="http://schemas.microsoft.com/office/drawing/2014/main" id="{735F7DFF-2CC7-5531-61CA-76F814296905}"/>
                      </a:ext>
                    </a:extLst>
                  </p:cNvPr>
                  <p:cNvSpPr/>
                  <p:nvPr/>
                </p:nvSpPr>
                <p:spPr>
                  <a:xfrm>
                    <a:off x="5921457" y="1300127"/>
                    <a:ext cx="111099" cy="114416"/>
                  </a:xfrm>
                  <a:custGeom>
                    <a:avLst/>
                    <a:gdLst>
                      <a:gd name="connsiteX0" fmla="*/ 46073 w 111099"/>
                      <a:gd name="connsiteY0" fmla="*/ 69602 h 114416"/>
                      <a:gd name="connsiteX1" fmla="*/ 111100 w 111099"/>
                      <a:gd name="connsiteY1" fmla="*/ 114416 h 114416"/>
                      <a:gd name="connsiteX2" fmla="*/ 40687 w 111099"/>
                      <a:gd name="connsiteY2" fmla="*/ 38268 h 114416"/>
                      <a:gd name="connsiteX3" fmla="*/ 0 w 111099"/>
                      <a:gd name="connsiteY3" fmla="*/ 0 h 114416"/>
                      <a:gd name="connsiteX4" fmla="*/ 22494 w 111099"/>
                      <a:gd name="connsiteY4" fmla="*/ 50400 h 114416"/>
                      <a:gd name="connsiteX5" fmla="*/ 46073 w 111099"/>
                      <a:gd name="connsiteY5" fmla="*/ 69602 h 11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099" h="114416">
                        <a:moveTo>
                          <a:pt x="46073" y="69602"/>
                        </a:moveTo>
                        <a:cubicBezTo>
                          <a:pt x="76398" y="83418"/>
                          <a:pt x="111100" y="114416"/>
                          <a:pt x="111100" y="114416"/>
                        </a:cubicBezTo>
                        <a:cubicBezTo>
                          <a:pt x="111100" y="114416"/>
                          <a:pt x="82458" y="66572"/>
                          <a:pt x="40687" y="38268"/>
                        </a:cubicBezTo>
                        <a:cubicBezTo>
                          <a:pt x="40687" y="38268"/>
                          <a:pt x="5399" y="11122"/>
                          <a:pt x="0" y="0"/>
                        </a:cubicBezTo>
                        <a:cubicBezTo>
                          <a:pt x="2020" y="11796"/>
                          <a:pt x="12045" y="24452"/>
                          <a:pt x="22494" y="50400"/>
                        </a:cubicBezTo>
                        <a:cubicBezTo>
                          <a:pt x="26497" y="60338"/>
                          <a:pt x="36310" y="64889"/>
                          <a:pt x="46073" y="69602"/>
                        </a:cubicBezTo>
                        <a:close/>
                      </a:path>
                    </a:pathLst>
                  </a:custGeom>
                  <a:solidFill>
                    <a:srgbClr val="ED7E6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582" name="Graphic 525">
                  <a:extLst>
                    <a:ext uri="{FF2B5EF4-FFF2-40B4-BE49-F238E27FC236}">
                      <a16:creationId xmlns:a16="http://schemas.microsoft.com/office/drawing/2014/main" id="{68E1B111-99E5-CC75-D031-93252BB0CEA0}"/>
                    </a:ext>
                  </a:extLst>
                </p:cNvPr>
                <p:cNvGrpSpPr/>
                <p:nvPr/>
              </p:nvGrpSpPr>
              <p:grpSpPr>
                <a:xfrm>
                  <a:off x="5863775" y="1414531"/>
                  <a:ext cx="175975" cy="202173"/>
                  <a:chOff x="5863775" y="1414531"/>
                  <a:chExt cx="175975" cy="202173"/>
                </a:xfrm>
                <a:solidFill>
                  <a:srgbClr val="CC6154"/>
                </a:solidFill>
              </p:grpSpPr>
              <p:grpSp>
                <p:nvGrpSpPr>
                  <p:cNvPr id="3583" name="Graphic 525">
                    <a:extLst>
                      <a:ext uri="{FF2B5EF4-FFF2-40B4-BE49-F238E27FC236}">
                        <a16:creationId xmlns:a16="http://schemas.microsoft.com/office/drawing/2014/main" id="{8B04DE81-D526-4A95-3C6D-218CE6D51ECA}"/>
                      </a:ext>
                    </a:extLst>
                  </p:cNvPr>
                  <p:cNvGrpSpPr/>
                  <p:nvPr/>
                </p:nvGrpSpPr>
                <p:grpSpPr>
                  <a:xfrm>
                    <a:off x="5863775" y="1452050"/>
                    <a:ext cx="113867" cy="164654"/>
                    <a:chOff x="5863775" y="1452050"/>
                    <a:chExt cx="113867" cy="164654"/>
                  </a:xfrm>
                  <a:solidFill>
                    <a:srgbClr val="CC6154"/>
                  </a:solidFill>
                </p:grpSpPr>
                <p:sp>
                  <p:nvSpPr>
                    <p:cNvPr id="3584" name="Freeform: Shape 3583">
                      <a:extLst>
                        <a:ext uri="{FF2B5EF4-FFF2-40B4-BE49-F238E27FC236}">
                          <a16:creationId xmlns:a16="http://schemas.microsoft.com/office/drawing/2014/main" id="{4373A2AB-F735-EB2B-9066-CF978D287F20}"/>
                        </a:ext>
                      </a:extLst>
                    </p:cNvPr>
                    <p:cNvSpPr/>
                    <p:nvPr/>
                  </p:nvSpPr>
                  <p:spPr>
                    <a:xfrm>
                      <a:off x="5898103" y="1540638"/>
                      <a:ext cx="18097" cy="75056"/>
                    </a:xfrm>
                    <a:custGeom>
                      <a:avLst/>
                      <a:gdLst>
                        <a:gd name="connsiteX0" fmla="*/ 17943 w 18097"/>
                        <a:gd name="connsiteY0" fmla="*/ 1589 h 75056"/>
                        <a:gd name="connsiteX1" fmla="*/ 17407 w 18097"/>
                        <a:gd name="connsiteY1" fmla="*/ 2536 h 75056"/>
                        <a:gd name="connsiteX2" fmla="*/ 16896 w 18097"/>
                        <a:gd name="connsiteY2" fmla="*/ 3571 h 75056"/>
                        <a:gd name="connsiteX3" fmla="*/ 15998 w 18097"/>
                        <a:gd name="connsiteY3" fmla="*/ 5704 h 75056"/>
                        <a:gd name="connsiteX4" fmla="*/ 14526 w 18097"/>
                        <a:gd name="connsiteY4" fmla="*/ 10142 h 75056"/>
                        <a:gd name="connsiteX5" fmla="*/ 12606 w 18097"/>
                        <a:gd name="connsiteY5" fmla="*/ 19370 h 75056"/>
                        <a:gd name="connsiteX6" fmla="*/ 11247 w 18097"/>
                        <a:gd name="connsiteY6" fmla="*/ 28796 h 75056"/>
                        <a:gd name="connsiteX7" fmla="*/ 9713 w 18097"/>
                        <a:gd name="connsiteY7" fmla="*/ 38235 h 75056"/>
                        <a:gd name="connsiteX8" fmla="*/ 5175 w 18097"/>
                        <a:gd name="connsiteY8" fmla="*/ 56802 h 75056"/>
                        <a:gd name="connsiteX9" fmla="*/ 1895 w 18097"/>
                        <a:gd name="connsiteY9" fmla="*/ 65767 h 75056"/>
                        <a:gd name="connsiteX10" fmla="*/ 574 w 18097"/>
                        <a:gd name="connsiteY10" fmla="*/ 70331 h 75056"/>
                        <a:gd name="connsiteX11" fmla="*/ 0 w 18097"/>
                        <a:gd name="connsiteY11" fmla="*/ 75057 h 75056"/>
                        <a:gd name="connsiteX12" fmla="*/ 411 w 18097"/>
                        <a:gd name="connsiteY12" fmla="*/ 70306 h 75056"/>
                        <a:gd name="connsiteX13" fmla="*/ 1584 w 18097"/>
                        <a:gd name="connsiteY13" fmla="*/ 65667 h 75056"/>
                        <a:gd name="connsiteX14" fmla="*/ 4551 w 18097"/>
                        <a:gd name="connsiteY14" fmla="*/ 56615 h 75056"/>
                        <a:gd name="connsiteX15" fmla="*/ 6821 w 18097"/>
                        <a:gd name="connsiteY15" fmla="*/ 47388 h 75056"/>
                        <a:gd name="connsiteX16" fmla="*/ 8566 w 18097"/>
                        <a:gd name="connsiteY16" fmla="*/ 38048 h 75056"/>
                        <a:gd name="connsiteX17" fmla="*/ 9875 w 18097"/>
                        <a:gd name="connsiteY17" fmla="*/ 28622 h 75056"/>
                        <a:gd name="connsiteX18" fmla="*/ 11023 w 18097"/>
                        <a:gd name="connsiteY18" fmla="*/ 19145 h 75056"/>
                        <a:gd name="connsiteX19" fmla="*/ 12768 w 18097"/>
                        <a:gd name="connsiteY19" fmla="*/ 9669 h 75056"/>
                        <a:gd name="connsiteX20" fmla="*/ 14190 w 18097"/>
                        <a:gd name="connsiteY20" fmla="*/ 5030 h 75056"/>
                        <a:gd name="connsiteX21" fmla="*/ 15088 w 18097"/>
                        <a:gd name="connsiteY21" fmla="*/ 2761 h 75056"/>
                        <a:gd name="connsiteX22" fmla="*/ 15611 w 18097"/>
                        <a:gd name="connsiteY22" fmla="*/ 1639 h 75056"/>
                        <a:gd name="connsiteX23" fmla="*/ 16222 w 18097"/>
                        <a:gd name="connsiteY23" fmla="*/ 491 h 75056"/>
                        <a:gd name="connsiteX24" fmla="*/ 17606 w 18097"/>
                        <a:gd name="connsiteY24" fmla="*/ 142 h 75056"/>
                        <a:gd name="connsiteX25" fmla="*/ 17955 w 18097"/>
                        <a:gd name="connsiteY25" fmla="*/ 1526 h 75056"/>
                        <a:gd name="connsiteX26" fmla="*/ 17918 w 18097"/>
                        <a:gd name="connsiteY26" fmla="*/ 1576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97" h="75056">
                          <a:moveTo>
                            <a:pt x="17943" y="1589"/>
                          </a:moveTo>
                          <a:cubicBezTo>
                            <a:pt x="17781" y="1851"/>
                            <a:pt x="17581" y="2200"/>
                            <a:pt x="17407" y="2536"/>
                          </a:cubicBezTo>
                          <a:cubicBezTo>
                            <a:pt x="17232" y="2873"/>
                            <a:pt x="17058" y="3222"/>
                            <a:pt x="16896" y="3571"/>
                          </a:cubicBezTo>
                          <a:cubicBezTo>
                            <a:pt x="16571" y="4270"/>
                            <a:pt x="16272" y="4980"/>
                            <a:pt x="15998" y="5704"/>
                          </a:cubicBezTo>
                          <a:cubicBezTo>
                            <a:pt x="15437" y="7150"/>
                            <a:pt x="14950" y="8634"/>
                            <a:pt x="14526" y="10142"/>
                          </a:cubicBezTo>
                          <a:cubicBezTo>
                            <a:pt x="13666" y="13160"/>
                            <a:pt x="13080" y="16240"/>
                            <a:pt x="12606" y="19370"/>
                          </a:cubicBezTo>
                          <a:cubicBezTo>
                            <a:pt x="12120" y="22499"/>
                            <a:pt x="11708" y="25654"/>
                            <a:pt x="11247" y="28796"/>
                          </a:cubicBezTo>
                          <a:cubicBezTo>
                            <a:pt x="10786" y="31951"/>
                            <a:pt x="10287" y="35093"/>
                            <a:pt x="9713" y="38235"/>
                          </a:cubicBezTo>
                          <a:cubicBezTo>
                            <a:pt x="8554" y="44507"/>
                            <a:pt x="7132" y="50729"/>
                            <a:pt x="5175" y="56802"/>
                          </a:cubicBezTo>
                          <a:cubicBezTo>
                            <a:pt x="4227" y="59844"/>
                            <a:pt x="3030" y="62812"/>
                            <a:pt x="1895" y="65767"/>
                          </a:cubicBezTo>
                          <a:cubicBezTo>
                            <a:pt x="1347" y="67251"/>
                            <a:pt x="873" y="68772"/>
                            <a:pt x="574" y="70331"/>
                          </a:cubicBezTo>
                          <a:cubicBezTo>
                            <a:pt x="274" y="71889"/>
                            <a:pt x="112" y="73473"/>
                            <a:pt x="0" y="75057"/>
                          </a:cubicBezTo>
                          <a:cubicBezTo>
                            <a:pt x="62" y="73473"/>
                            <a:pt x="162" y="71877"/>
                            <a:pt x="411" y="70306"/>
                          </a:cubicBezTo>
                          <a:cubicBezTo>
                            <a:pt x="661" y="68735"/>
                            <a:pt x="1072" y="67176"/>
                            <a:pt x="1584" y="65667"/>
                          </a:cubicBezTo>
                          <a:cubicBezTo>
                            <a:pt x="2618" y="62650"/>
                            <a:pt x="3703" y="59682"/>
                            <a:pt x="4551" y="56615"/>
                          </a:cubicBezTo>
                          <a:cubicBezTo>
                            <a:pt x="5412" y="53572"/>
                            <a:pt x="6147" y="50480"/>
                            <a:pt x="6821" y="47388"/>
                          </a:cubicBezTo>
                          <a:cubicBezTo>
                            <a:pt x="7481" y="44283"/>
                            <a:pt x="8067" y="41178"/>
                            <a:pt x="8566" y="38048"/>
                          </a:cubicBezTo>
                          <a:cubicBezTo>
                            <a:pt x="9065" y="34919"/>
                            <a:pt x="9489" y="31776"/>
                            <a:pt x="9875" y="28622"/>
                          </a:cubicBezTo>
                          <a:cubicBezTo>
                            <a:pt x="10262" y="25467"/>
                            <a:pt x="10611" y="22312"/>
                            <a:pt x="11023" y="19145"/>
                          </a:cubicBezTo>
                          <a:cubicBezTo>
                            <a:pt x="11434" y="15978"/>
                            <a:pt x="11958" y="12798"/>
                            <a:pt x="12768" y="9669"/>
                          </a:cubicBezTo>
                          <a:cubicBezTo>
                            <a:pt x="13167" y="8110"/>
                            <a:pt x="13629" y="6551"/>
                            <a:pt x="14190" y="5030"/>
                          </a:cubicBezTo>
                          <a:cubicBezTo>
                            <a:pt x="14464" y="4270"/>
                            <a:pt x="14763" y="3509"/>
                            <a:pt x="15088" y="2761"/>
                          </a:cubicBezTo>
                          <a:cubicBezTo>
                            <a:pt x="15250" y="2387"/>
                            <a:pt x="15424" y="2013"/>
                            <a:pt x="15611" y="1639"/>
                          </a:cubicBezTo>
                          <a:cubicBezTo>
                            <a:pt x="15798" y="1252"/>
                            <a:pt x="15973" y="915"/>
                            <a:pt x="16222" y="491"/>
                          </a:cubicBezTo>
                          <a:cubicBezTo>
                            <a:pt x="16509" y="18"/>
                            <a:pt x="17133" y="-145"/>
                            <a:pt x="17606" y="142"/>
                          </a:cubicBezTo>
                          <a:cubicBezTo>
                            <a:pt x="18080" y="429"/>
                            <a:pt x="18242" y="1053"/>
                            <a:pt x="17955" y="1526"/>
                          </a:cubicBezTo>
                          <a:cubicBezTo>
                            <a:pt x="17955" y="1539"/>
                            <a:pt x="17918" y="1576"/>
                            <a:pt x="17918" y="1576"/>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5" name="Freeform: Shape 3584">
                      <a:extLst>
                        <a:ext uri="{FF2B5EF4-FFF2-40B4-BE49-F238E27FC236}">
                          <a16:creationId xmlns:a16="http://schemas.microsoft.com/office/drawing/2014/main" id="{9489BB9A-1F78-513E-5109-A2BFE076EAF7}"/>
                        </a:ext>
                      </a:extLst>
                    </p:cNvPr>
                    <p:cNvSpPr/>
                    <p:nvPr/>
                  </p:nvSpPr>
                  <p:spPr>
                    <a:xfrm>
                      <a:off x="5913689" y="1541524"/>
                      <a:ext cx="7012" cy="65391"/>
                    </a:xfrm>
                    <a:custGeom>
                      <a:avLst/>
                      <a:gdLst>
                        <a:gd name="connsiteX0" fmla="*/ 7008 w 7012"/>
                        <a:gd name="connsiteY0" fmla="*/ 1139 h 65391"/>
                        <a:gd name="connsiteX1" fmla="*/ 4514 w 7012"/>
                        <a:gd name="connsiteY1" fmla="*/ 17224 h 65391"/>
                        <a:gd name="connsiteX2" fmla="*/ 2906 w 7012"/>
                        <a:gd name="connsiteY2" fmla="*/ 25167 h 65391"/>
                        <a:gd name="connsiteX3" fmla="*/ 1571 w 7012"/>
                        <a:gd name="connsiteY3" fmla="*/ 33109 h 65391"/>
                        <a:gd name="connsiteX4" fmla="*/ 848 w 7012"/>
                        <a:gd name="connsiteY4" fmla="*/ 41140 h 65391"/>
                        <a:gd name="connsiteX5" fmla="*/ 661 w 7012"/>
                        <a:gd name="connsiteY5" fmla="*/ 49220 h 65391"/>
                        <a:gd name="connsiteX6" fmla="*/ 1284 w 7012"/>
                        <a:gd name="connsiteY6" fmla="*/ 65392 h 65391"/>
                        <a:gd name="connsiteX7" fmla="*/ 112 w 7012"/>
                        <a:gd name="connsiteY7" fmla="*/ 49220 h 65391"/>
                        <a:gd name="connsiteX8" fmla="*/ 25 w 7012"/>
                        <a:gd name="connsiteY8" fmla="*/ 41102 h 65391"/>
                        <a:gd name="connsiteX9" fmla="*/ 487 w 7012"/>
                        <a:gd name="connsiteY9" fmla="*/ 32985 h 65391"/>
                        <a:gd name="connsiteX10" fmla="*/ 2931 w 7012"/>
                        <a:gd name="connsiteY10" fmla="*/ 16937 h 65391"/>
                        <a:gd name="connsiteX11" fmla="*/ 4988 w 7012"/>
                        <a:gd name="connsiteY11" fmla="*/ 952 h 65391"/>
                        <a:gd name="connsiteX12" fmla="*/ 6085 w 7012"/>
                        <a:gd name="connsiteY12" fmla="*/ 4 h 65391"/>
                        <a:gd name="connsiteX13" fmla="*/ 7008 w 7012"/>
                        <a:gd name="connsiteY13" fmla="*/ 1101 h 65391"/>
                        <a:gd name="connsiteX14" fmla="*/ 7008 w 7012"/>
                        <a:gd name="connsiteY14" fmla="*/ 1126 h 6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12" h="65391">
                          <a:moveTo>
                            <a:pt x="7008" y="1139"/>
                          </a:moveTo>
                          <a:cubicBezTo>
                            <a:pt x="6409" y="6575"/>
                            <a:pt x="5524" y="11900"/>
                            <a:pt x="4514" y="17224"/>
                          </a:cubicBezTo>
                          <a:cubicBezTo>
                            <a:pt x="4015" y="19892"/>
                            <a:pt x="3429" y="22523"/>
                            <a:pt x="2906" y="25167"/>
                          </a:cubicBezTo>
                          <a:cubicBezTo>
                            <a:pt x="2382" y="27810"/>
                            <a:pt x="1908" y="30454"/>
                            <a:pt x="1571" y="33109"/>
                          </a:cubicBezTo>
                          <a:cubicBezTo>
                            <a:pt x="1222" y="35778"/>
                            <a:pt x="985" y="38446"/>
                            <a:pt x="848" y="41140"/>
                          </a:cubicBezTo>
                          <a:cubicBezTo>
                            <a:pt x="698" y="43833"/>
                            <a:pt x="661" y="46526"/>
                            <a:pt x="661" y="49220"/>
                          </a:cubicBezTo>
                          <a:cubicBezTo>
                            <a:pt x="686" y="54619"/>
                            <a:pt x="935" y="60005"/>
                            <a:pt x="1284" y="65392"/>
                          </a:cubicBezTo>
                          <a:cubicBezTo>
                            <a:pt x="761" y="60018"/>
                            <a:pt x="325" y="54631"/>
                            <a:pt x="112" y="49220"/>
                          </a:cubicBezTo>
                          <a:cubicBezTo>
                            <a:pt x="25" y="46514"/>
                            <a:pt x="-37" y="43808"/>
                            <a:pt x="25" y="41102"/>
                          </a:cubicBezTo>
                          <a:cubicBezTo>
                            <a:pt x="88" y="38396"/>
                            <a:pt x="225" y="35678"/>
                            <a:pt x="487" y="32985"/>
                          </a:cubicBezTo>
                          <a:cubicBezTo>
                            <a:pt x="998" y="27573"/>
                            <a:pt x="2045" y="22236"/>
                            <a:pt x="2931" y="16937"/>
                          </a:cubicBezTo>
                          <a:cubicBezTo>
                            <a:pt x="3803" y="11638"/>
                            <a:pt x="4539" y="6276"/>
                            <a:pt x="4988" y="952"/>
                          </a:cubicBezTo>
                          <a:cubicBezTo>
                            <a:pt x="5038" y="366"/>
                            <a:pt x="5524" y="-46"/>
                            <a:pt x="6085" y="4"/>
                          </a:cubicBezTo>
                          <a:cubicBezTo>
                            <a:pt x="6646" y="54"/>
                            <a:pt x="7058" y="540"/>
                            <a:pt x="7008" y="1101"/>
                          </a:cubicBezTo>
                          <a:cubicBezTo>
                            <a:pt x="7008" y="1101"/>
                            <a:pt x="7008" y="1126"/>
                            <a:pt x="7008" y="1126"/>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6" name="Freeform: Shape 3585">
                      <a:extLst>
                        <a:ext uri="{FF2B5EF4-FFF2-40B4-BE49-F238E27FC236}">
                          <a16:creationId xmlns:a16="http://schemas.microsoft.com/office/drawing/2014/main" id="{0FC56946-CD59-698E-4832-DD2286FEA903}"/>
                        </a:ext>
                      </a:extLst>
                    </p:cNvPr>
                    <p:cNvSpPr/>
                    <p:nvPr/>
                  </p:nvSpPr>
                  <p:spPr>
                    <a:xfrm>
                      <a:off x="5863775" y="1533809"/>
                      <a:ext cx="27645" cy="73020"/>
                    </a:xfrm>
                    <a:custGeom>
                      <a:avLst/>
                      <a:gdLst>
                        <a:gd name="connsiteX0" fmla="*/ 27420 w 27645"/>
                        <a:gd name="connsiteY0" fmla="*/ 1610 h 73020"/>
                        <a:gd name="connsiteX1" fmla="*/ 26809 w 27645"/>
                        <a:gd name="connsiteY1" fmla="*/ 2545 h 73020"/>
                        <a:gd name="connsiteX2" fmla="*/ 26223 w 27645"/>
                        <a:gd name="connsiteY2" fmla="*/ 3555 h 73020"/>
                        <a:gd name="connsiteX3" fmla="*/ 25138 w 27645"/>
                        <a:gd name="connsiteY3" fmla="*/ 5637 h 73020"/>
                        <a:gd name="connsiteX4" fmla="*/ 23305 w 27645"/>
                        <a:gd name="connsiteY4" fmla="*/ 10001 h 73020"/>
                        <a:gd name="connsiteX5" fmla="*/ 21871 w 27645"/>
                        <a:gd name="connsiteY5" fmla="*/ 14528 h 73020"/>
                        <a:gd name="connsiteX6" fmla="*/ 20661 w 27645"/>
                        <a:gd name="connsiteY6" fmla="*/ 19191 h 73020"/>
                        <a:gd name="connsiteX7" fmla="*/ 15487 w 27645"/>
                        <a:gd name="connsiteY7" fmla="*/ 37808 h 73020"/>
                        <a:gd name="connsiteX8" fmla="*/ 9090 w 27645"/>
                        <a:gd name="connsiteY8" fmla="*/ 56037 h 73020"/>
                        <a:gd name="connsiteX9" fmla="*/ 5087 w 27645"/>
                        <a:gd name="connsiteY9" fmla="*/ 64828 h 73020"/>
                        <a:gd name="connsiteX10" fmla="*/ 0 w 27645"/>
                        <a:gd name="connsiteY10" fmla="*/ 73020 h 73020"/>
                        <a:gd name="connsiteX11" fmla="*/ 4863 w 27645"/>
                        <a:gd name="connsiteY11" fmla="*/ 64716 h 73020"/>
                        <a:gd name="connsiteX12" fmla="*/ 8629 w 27645"/>
                        <a:gd name="connsiteY12" fmla="*/ 55850 h 73020"/>
                        <a:gd name="connsiteX13" fmla="*/ 14527 w 27645"/>
                        <a:gd name="connsiteY13" fmla="*/ 37521 h 73020"/>
                        <a:gd name="connsiteX14" fmla="*/ 19202 w 27645"/>
                        <a:gd name="connsiteY14" fmla="*/ 18830 h 73020"/>
                        <a:gd name="connsiteX15" fmla="*/ 20287 w 27645"/>
                        <a:gd name="connsiteY15" fmla="*/ 14116 h 73020"/>
                        <a:gd name="connsiteX16" fmla="*/ 21646 w 27645"/>
                        <a:gd name="connsiteY16" fmla="*/ 9415 h 73020"/>
                        <a:gd name="connsiteX17" fmla="*/ 23429 w 27645"/>
                        <a:gd name="connsiteY17" fmla="*/ 4839 h 73020"/>
                        <a:gd name="connsiteX18" fmla="*/ 24514 w 27645"/>
                        <a:gd name="connsiteY18" fmla="*/ 2620 h 73020"/>
                        <a:gd name="connsiteX19" fmla="*/ 25113 w 27645"/>
                        <a:gd name="connsiteY19" fmla="*/ 1535 h 73020"/>
                        <a:gd name="connsiteX20" fmla="*/ 25798 w 27645"/>
                        <a:gd name="connsiteY20" fmla="*/ 438 h 73020"/>
                        <a:gd name="connsiteX21" fmla="*/ 27207 w 27645"/>
                        <a:gd name="connsiteY21" fmla="*/ 176 h 73020"/>
                        <a:gd name="connsiteX22" fmla="*/ 27469 w 27645"/>
                        <a:gd name="connsiteY22" fmla="*/ 1585 h 73020"/>
                        <a:gd name="connsiteX23" fmla="*/ 27444 w 27645"/>
                        <a:gd name="connsiteY23" fmla="*/ 1622 h 7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45" h="73020">
                          <a:moveTo>
                            <a:pt x="27420" y="1610"/>
                          </a:moveTo>
                          <a:cubicBezTo>
                            <a:pt x="27220" y="1884"/>
                            <a:pt x="27008" y="2221"/>
                            <a:pt x="26809" y="2545"/>
                          </a:cubicBezTo>
                          <a:cubicBezTo>
                            <a:pt x="26609" y="2869"/>
                            <a:pt x="26409" y="3206"/>
                            <a:pt x="26223" y="3555"/>
                          </a:cubicBezTo>
                          <a:cubicBezTo>
                            <a:pt x="25848" y="4241"/>
                            <a:pt x="25474" y="4927"/>
                            <a:pt x="25138" y="5637"/>
                          </a:cubicBezTo>
                          <a:cubicBezTo>
                            <a:pt x="24452" y="7059"/>
                            <a:pt x="23841" y="8518"/>
                            <a:pt x="23305" y="10001"/>
                          </a:cubicBezTo>
                          <a:cubicBezTo>
                            <a:pt x="22769" y="11485"/>
                            <a:pt x="22282" y="12994"/>
                            <a:pt x="21871" y="14528"/>
                          </a:cubicBezTo>
                          <a:cubicBezTo>
                            <a:pt x="21447" y="16061"/>
                            <a:pt x="21073" y="17633"/>
                            <a:pt x="20661" y="19191"/>
                          </a:cubicBezTo>
                          <a:cubicBezTo>
                            <a:pt x="19065" y="25426"/>
                            <a:pt x="17369" y="31648"/>
                            <a:pt x="15487" y="37808"/>
                          </a:cubicBezTo>
                          <a:cubicBezTo>
                            <a:pt x="13591" y="43967"/>
                            <a:pt x="11521" y="50077"/>
                            <a:pt x="9090" y="56037"/>
                          </a:cubicBezTo>
                          <a:cubicBezTo>
                            <a:pt x="7868" y="59018"/>
                            <a:pt x="6559" y="61960"/>
                            <a:pt x="5087" y="64828"/>
                          </a:cubicBezTo>
                          <a:cubicBezTo>
                            <a:pt x="3616" y="67696"/>
                            <a:pt x="1958" y="70464"/>
                            <a:pt x="0" y="73020"/>
                          </a:cubicBezTo>
                          <a:cubicBezTo>
                            <a:pt x="1895" y="70414"/>
                            <a:pt x="3466" y="67609"/>
                            <a:pt x="4863" y="64716"/>
                          </a:cubicBezTo>
                          <a:cubicBezTo>
                            <a:pt x="6260" y="61823"/>
                            <a:pt x="7494" y="58855"/>
                            <a:pt x="8629" y="55850"/>
                          </a:cubicBezTo>
                          <a:cubicBezTo>
                            <a:pt x="10898" y="49840"/>
                            <a:pt x="12806" y="43705"/>
                            <a:pt x="14527" y="37521"/>
                          </a:cubicBezTo>
                          <a:cubicBezTo>
                            <a:pt x="16247" y="31336"/>
                            <a:pt x="17781" y="25102"/>
                            <a:pt x="19202" y="18830"/>
                          </a:cubicBezTo>
                          <a:cubicBezTo>
                            <a:pt x="19564" y="17259"/>
                            <a:pt x="19901" y="15700"/>
                            <a:pt x="20287" y="14116"/>
                          </a:cubicBezTo>
                          <a:cubicBezTo>
                            <a:pt x="20661" y="12533"/>
                            <a:pt x="21123" y="10962"/>
                            <a:pt x="21646" y="9415"/>
                          </a:cubicBezTo>
                          <a:cubicBezTo>
                            <a:pt x="22170" y="7869"/>
                            <a:pt x="22756" y="6336"/>
                            <a:pt x="23429" y="4839"/>
                          </a:cubicBezTo>
                          <a:cubicBezTo>
                            <a:pt x="23766" y="4091"/>
                            <a:pt x="24128" y="3356"/>
                            <a:pt x="24514" y="2620"/>
                          </a:cubicBezTo>
                          <a:cubicBezTo>
                            <a:pt x="24714" y="2258"/>
                            <a:pt x="24913" y="1897"/>
                            <a:pt x="25113" y="1535"/>
                          </a:cubicBezTo>
                          <a:cubicBezTo>
                            <a:pt x="25325" y="1173"/>
                            <a:pt x="25524" y="824"/>
                            <a:pt x="25798" y="438"/>
                          </a:cubicBezTo>
                          <a:cubicBezTo>
                            <a:pt x="26110" y="-24"/>
                            <a:pt x="26746" y="-136"/>
                            <a:pt x="27207" y="176"/>
                          </a:cubicBezTo>
                          <a:cubicBezTo>
                            <a:pt x="27669" y="488"/>
                            <a:pt x="27781" y="1123"/>
                            <a:pt x="27469" y="1585"/>
                          </a:cubicBezTo>
                          <a:cubicBezTo>
                            <a:pt x="27457" y="1610"/>
                            <a:pt x="27444" y="1622"/>
                            <a:pt x="27444" y="162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7" name="Freeform: Shape 3586">
                      <a:extLst>
                        <a:ext uri="{FF2B5EF4-FFF2-40B4-BE49-F238E27FC236}">
                          <a16:creationId xmlns:a16="http://schemas.microsoft.com/office/drawing/2014/main" id="{1A87E131-25B4-0767-F79C-B7D97EE0FF8E}"/>
                        </a:ext>
                      </a:extLst>
                    </p:cNvPr>
                    <p:cNvSpPr/>
                    <p:nvPr/>
                  </p:nvSpPr>
                  <p:spPr>
                    <a:xfrm>
                      <a:off x="5876556" y="1535043"/>
                      <a:ext cx="19224" cy="69541"/>
                    </a:xfrm>
                    <a:custGeom>
                      <a:avLst/>
                      <a:gdLst>
                        <a:gd name="connsiteX0" fmla="*/ 19215 w 19224"/>
                        <a:gd name="connsiteY0" fmla="*/ 949 h 69541"/>
                        <a:gd name="connsiteX1" fmla="*/ 19165 w 19224"/>
                        <a:gd name="connsiteY1" fmla="*/ 3280 h 69541"/>
                        <a:gd name="connsiteX2" fmla="*/ 18965 w 19224"/>
                        <a:gd name="connsiteY2" fmla="*/ 5550 h 69541"/>
                        <a:gd name="connsiteX3" fmla="*/ 18242 w 19224"/>
                        <a:gd name="connsiteY3" fmla="*/ 10026 h 69541"/>
                        <a:gd name="connsiteX4" fmla="*/ 15649 w 19224"/>
                        <a:gd name="connsiteY4" fmla="*/ 18667 h 69541"/>
                        <a:gd name="connsiteX5" fmla="*/ 9551 w 19224"/>
                        <a:gd name="connsiteY5" fmla="*/ 35351 h 69541"/>
                        <a:gd name="connsiteX6" fmla="*/ 4115 w 19224"/>
                        <a:gd name="connsiteY6" fmla="*/ 52259 h 69541"/>
                        <a:gd name="connsiteX7" fmla="*/ 0 w 19224"/>
                        <a:gd name="connsiteY7" fmla="*/ 69541 h 69541"/>
                        <a:gd name="connsiteX8" fmla="*/ 3629 w 19224"/>
                        <a:gd name="connsiteY8" fmla="*/ 52134 h 69541"/>
                        <a:gd name="connsiteX9" fmla="*/ 8591 w 19224"/>
                        <a:gd name="connsiteY9" fmla="*/ 35039 h 69541"/>
                        <a:gd name="connsiteX10" fmla="*/ 14227 w 19224"/>
                        <a:gd name="connsiteY10" fmla="*/ 18156 h 69541"/>
                        <a:gd name="connsiteX11" fmla="*/ 16509 w 19224"/>
                        <a:gd name="connsiteY11" fmla="*/ 9715 h 69541"/>
                        <a:gd name="connsiteX12" fmla="*/ 17083 w 19224"/>
                        <a:gd name="connsiteY12" fmla="*/ 5388 h 69541"/>
                        <a:gd name="connsiteX13" fmla="*/ 17207 w 19224"/>
                        <a:gd name="connsiteY13" fmla="*/ 3218 h 69541"/>
                        <a:gd name="connsiteX14" fmla="*/ 17195 w 19224"/>
                        <a:gd name="connsiteY14" fmla="*/ 1098 h 69541"/>
                        <a:gd name="connsiteX15" fmla="*/ 18143 w 19224"/>
                        <a:gd name="connsiteY15" fmla="*/ 1 h 69541"/>
                        <a:gd name="connsiteX16" fmla="*/ 19215 w 19224"/>
                        <a:gd name="connsiteY16" fmla="*/ 949 h 69541"/>
                        <a:gd name="connsiteX17" fmla="*/ 19215 w 19224"/>
                        <a:gd name="connsiteY17" fmla="*/ 974 h 6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224" h="69541">
                          <a:moveTo>
                            <a:pt x="19215" y="949"/>
                          </a:moveTo>
                          <a:cubicBezTo>
                            <a:pt x="19240" y="1772"/>
                            <a:pt x="19215" y="2507"/>
                            <a:pt x="19165" y="3280"/>
                          </a:cubicBezTo>
                          <a:cubicBezTo>
                            <a:pt x="19115" y="4041"/>
                            <a:pt x="19053" y="4802"/>
                            <a:pt x="18965" y="5550"/>
                          </a:cubicBezTo>
                          <a:cubicBezTo>
                            <a:pt x="18791" y="7059"/>
                            <a:pt x="18542" y="8542"/>
                            <a:pt x="18242" y="10026"/>
                          </a:cubicBezTo>
                          <a:cubicBezTo>
                            <a:pt x="17606" y="12969"/>
                            <a:pt x="16758" y="15874"/>
                            <a:pt x="15649" y="18667"/>
                          </a:cubicBezTo>
                          <a:cubicBezTo>
                            <a:pt x="13516" y="24191"/>
                            <a:pt x="11484" y="29752"/>
                            <a:pt x="9551" y="35351"/>
                          </a:cubicBezTo>
                          <a:cubicBezTo>
                            <a:pt x="7619" y="40950"/>
                            <a:pt x="5786" y="46586"/>
                            <a:pt x="4115" y="52259"/>
                          </a:cubicBezTo>
                          <a:cubicBezTo>
                            <a:pt x="2469" y="57945"/>
                            <a:pt x="973" y="63693"/>
                            <a:pt x="0" y="69541"/>
                          </a:cubicBezTo>
                          <a:cubicBezTo>
                            <a:pt x="811" y="63668"/>
                            <a:pt x="2132" y="57870"/>
                            <a:pt x="3629" y="52134"/>
                          </a:cubicBezTo>
                          <a:cubicBezTo>
                            <a:pt x="5137" y="46399"/>
                            <a:pt x="6808" y="40700"/>
                            <a:pt x="8591" y="35039"/>
                          </a:cubicBezTo>
                          <a:cubicBezTo>
                            <a:pt x="10374" y="29378"/>
                            <a:pt x="12245" y="23755"/>
                            <a:pt x="14227" y="18156"/>
                          </a:cubicBezTo>
                          <a:cubicBezTo>
                            <a:pt x="15225" y="15400"/>
                            <a:pt x="15973" y="12570"/>
                            <a:pt x="16509" y="9715"/>
                          </a:cubicBezTo>
                          <a:cubicBezTo>
                            <a:pt x="16758" y="8281"/>
                            <a:pt x="16958" y="6834"/>
                            <a:pt x="17083" y="5388"/>
                          </a:cubicBezTo>
                          <a:cubicBezTo>
                            <a:pt x="17145" y="4664"/>
                            <a:pt x="17182" y="3941"/>
                            <a:pt x="17207" y="3218"/>
                          </a:cubicBezTo>
                          <a:cubicBezTo>
                            <a:pt x="17232" y="2507"/>
                            <a:pt x="17232" y="1759"/>
                            <a:pt x="17195" y="1098"/>
                          </a:cubicBezTo>
                          <a:cubicBezTo>
                            <a:pt x="17157" y="512"/>
                            <a:pt x="17581" y="26"/>
                            <a:pt x="18143" y="1"/>
                          </a:cubicBezTo>
                          <a:cubicBezTo>
                            <a:pt x="18704" y="-24"/>
                            <a:pt x="19177" y="400"/>
                            <a:pt x="19215" y="949"/>
                          </a:cubicBezTo>
                          <a:cubicBezTo>
                            <a:pt x="19215" y="949"/>
                            <a:pt x="19215" y="974"/>
                            <a:pt x="19215" y="974"/>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8" name="Freeform: Shape 3587">
                      <a:extLst>
                        <a:ext uri="{FF2B5EF4-FFF2-40B4-BE49-F238E27FC236}">
                          <a16:creationId xmlns:a16="http://schemas.microsoft.com/office/drawing/2014/main" id="{E531F8E0-A825-3A00-EE0D-D148F20D7597}"/>
                        </a:ext>
                      </a:extLst>
                    </p:cNvPr>
                    <p:cNvSpPr/>
                    <p:nvPr/>
                  </p:nvSpPr>
                  <p:spPr>
                    <a:xfrm>
                      <a:off x="5958774" y="1549122"/>
                      <a:ext cx="13806" cy="67582"/>
                    </a:xfrm>
                    <a:custGeom>
                      <a:avLst/>
                      <a:gdLst>
                        <a:gd name="connsiteX0" fmla="*/ 13794 w 13806"/>
                        <a:gd name="connsiteY0" fmla="*/ 1197 h 67582"/>
                        <a:gd name="connsiteX1" fmla="*/ 12634 w 13806"/>
                        <a:gd name="connsiteY1" fmla="*/ 9564 h 67582"/>
                        <a:gd name="connsiteX2" fmla="*/ 12223 w 13806"/>
                        <a:gd name="connsiteY2" fmla="*/ 13791 h 67582"/>
                        <a:gd name="connsiteX3" fmla="*/ 11749 w 13806"/>
                        <a:gd name="connsiteY3" fmla="*/ 18055 h 67582"/>
                        <a:gd name="connsiteX4" fmla="*/ 8819 w 13806"/>
                        <a:gd name="connsiteY4" fmla="*/ 34888 h 67582"/>
                        <a:gd name="connsiteX5" fmla="*/ 6562 w 13806"/>
                        <a:gd name="connsiteY5" fmla="*/ 43143 h 67582"/>
                        <a:gd name="connsiteX6" fmla="*/ 3532 w 13806"/>
                        <a:gd name="connsiteY6" fmla="*/ 51123 h 67582"/>
                        <a:gd name="connsiteX7" fmla="*/ 789 w 13806"/>
                        <a:gd name="connsiteY7" fmla="*/ 59153 h 67582"/>
                        <a:gd name="connsiteX8" fmla="*/ 153 w 13806"/>
                        <a:gd name="connsiteY8" fmla="*/ 63343 h 67582"/>
                        <a:gd name="connsiteX9" fmla="*/ 340 w 13806"/>
                        <a:gd name="connsiteY9" fmla="*/ 67582 h 67582"/>
                        <a:gd name="connsiteX10" fmla="*/ 3 w 13806"/>
                        <a:gd name="connsiteY10" fmla="*/ 63330 h 67582"/>
                        <a:gd name="connsiteX11" fmla="*/ 502 w 13806"/>
                        <a:gd name="connsiteY11" fmla="*/ 59091 h 67582"/>
                        <a:gd name="connsiteX12" fmla="*/ 2996 w 13806"/>
                        <a:gd name="connsiteY12" fmla="*/ 50924 h 67582"/>
                        <a:gd name="connsiteX13" fmla="*/ 5764 w 13806"/>
                        <a:gd name="connsiteY13" fmla="*/ 42894 h 67582"/>
                        <a:gd name="connsiteX14" fmla="*/ 7771 w 13806"/>
                        <a:gd name="connsiteY14" fmla="*/ 34664 h 67582"/>
                        <a:gd name="connsiteX15" fmla="*/ 10215 w 13806"/>
                        <a:gd name="connsiteY15" fmla="*/ 17880 h 67582"/>
                        <a:gd name="connsiteX16" fmla="*/ 10565 w 13806"/>
                        <a:gd name="connsiteY16" fmla="*/ 13666 h 67582"/>
                        <a:gd name="connsiteX17" fmla="*/ 10851 w 13806"/>
                        <a:gd name="connsiteY17" fmla="*/ 9402 h 67582"/>
                        <a:gd name="connsiteX18" fmla="*/ 11799 w 13806"/>
                        <a:gd name="connsiteY18" fmla="*/ 860 h 67582"/>
                        <a:gd name="connsiteX19" fmla="*/ 12946 w 13806"/>
                        <a:gd name="connsiteY19" fmla="*/ 12 h 67582"/>
                        <a:gd name="connsiteX20" fmla="*/ 13794 w 13806"/>
                        <a:gd name="connsiteY20" fmla="*/ 1160 h 67582"/>
                        <a:gd name="connsiteX21" fmla="*/ 13794 w 13806"/>
                        <a:gd name="connsiteY21" fmla="*/ 1209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6" h="67582">
                          <a:moveTo>
                            <a:pt x="13794" y="1197"/>
                          </a:moveTo>
                          <a:cubicBezTo>
                            <a:pt x="13308" y="3940"/>
                            <a:pt x="12934" y="6758"/>
                            <a:pt x="12634" y="9564"/>
                          </a:cubicBezTo>
                          <a:cubicBezTo>
                            <a:pt x="12472" y="10973"/>
                            <a:pt x="12360" y="12357"/>
                            <a:pt x="12223" y="13791"/>
                          </a:cubicBezTo>
                          <a:cubicBezTo>
                            <a:pt x="12098" y="15212"/>
                            <a:pt x="11924" y="16634"/>
                            <a:pt x="11749" y="18055"/>
                          </a:cubicBezTo>
                          <a:cubicBezTo>
                            <a:pt x="11026" y="23716"/>
                            <a:pt x="10078" y="29340"/>
                            <a:pt x="8819" y="34888"/>
                          </a:cubicBezTo>
                          <a:cubicBezTo>
                            <a:pt x="8183" y="37669"/>
                            <a:pt x="7447" y="40425"/>
                            <a:pt x="6562" y="43143"/>
                          </a:cubicBezTo>
                          <a:cubicBezTo>
                            <a:pt x="5664" y="45861"/>
                            <a:pt x="4567" y="48480"/>
                            <a:pt x="3532" y="51123"/>
                          </a:cubicBezTo>
                          <a:cubicBezTo>
                            <a:pt x="2497" y="53767"/>
                            <a:pt x="1450" y="56397"/>
                            <a:pt x="789" y="59153"/>
                          </a:cubicBezTo>
                          <a:cubicBezTo>
                            <a:pt x="452" y="60525"/>
                            <a:pt x="215" y="61921"/>
                            <a:pt x="153" y="63343"/>
                          </a:cubicBezTo>
                          <a:cubicBezTo>
                            <a:pt x="78" y="64752"/>
                            <a:pt x="153" y="66173"/>
                            <a:pt x="340" y="67582"/>
                          </a:cubicBezTo>
                          <a:cubicBezTo>
                            <a:pt x="103" y="66186"/>
                            <a:pt x="-22" y="64764"/>
                            <a:pt x="3" y="63330"/>
                          </a:cubicBezTo>
                          <a:cubicBezTo>
                            <a:pt x="16" y="61909"/>
                            <a:pt x="215" y="60487"/>
                            <a:pt x="502" y="59091"/>
                          </a:cubicBezTo>
                          <a:cubicBezTo>
                            <a:pt x="1088" y="56298"/>
                            <a:pt x="2048" y="53604"/>
                            <a:pt x="2996" y="50924"/>
                          </a:cubicBezTo>
                          <a:cubicBezTo>
                            <a:pt x="3943" y="48243"/>
                            <a:pt x="4953" y="45587"/>
                            <a:pt x="5764" y="42894"/>
                          </a:cubicBezTo>
                          <a:cubicBezTo>
                            <a:pt x="6562" y="40188"/>
                            <a:pt x="7210" y="37432"/>
                            <a:pt x="7771" y="34664"/>
                          </a:cubicBezTo>
                          <a:cubicBezTo>
                            <a:pt x="8881" y="29115"/>
                            <a:pt x="9654" y="23504"/>
                            <a:pt x="10215" y="17880"/>
                          </a:cubicBezTo>
                          <a:cubicBezTo>
                            <a:pt x="10353" y="16471"/>
                            <a:pt x="10477" y="15062"/>
                            <a:pt x="10565" y="13666"/>
                          </a:cubicBezTo>
                          <a:cubicBezTo>
                            <a:pt x="10652" y="12257"/>
                            <a:pt x="10739" y="10823"/>
                            <a:pt x="10851" y="9402"/>
                          </a:cubicBezTo>
                          <a:cubicBezTo>
                            <a:pt x="11088" y="6546"/>
                            <a:pt x="11375" y="3728"/>
                            <a:pt x="11799" y="860"/>
                          </a:cubicBezTo>
                          <a:cubicBezTo>
                            <a:pt x="11886" y="312"/>
                            <a:pt x="12397" y="-75"/>
                            <a:pt x="12946" y="12"/>
                          </a:cubicBezTo>
                          <a:cubicBezTo>
                            <a:pt x="13495" y="100"/>
                            <a:pt x="13881" y="611"/>
                            <a:pt x="13794" y="1160"/>
                          </a:cubicBezTo>
                          <a:cubicBezTo>
                            <a:pt x="13794" y="1184"/>
                            <a:pt x="13794" y="1209"/>
                            <a:pt x="13794" y="1209"/>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9" name="Freeform: Shape 3588">
                      <a:extLst>
                        <a:ext uri="{FF2B5EF4-FFF2-40B4-BE49-F238E27FC236}">
                          <a16:creationId xmlns:a16="http://schemas.microsoft.com/office/drawing/2014/main" id="{7ADAAA45-A2DD-C5B3-DA8D-A70D84DE1764}"/>
                        </a:ext>
                      </a:extLst>
                    </p:cNvPr>
                    <p:cNvSpPr/>
                    <p:nvPr/>
                  </p:nvSpPr>
                  <p:spPr>
                    <a:xfrm>
                      <a:off x="5974953" y="1549452"/>
                      <a:ext cx="2689" cy="54110"/>
                    </a:xfrm>
                    <a:custGeom>
                      <a:avLst/>
                      <a:gdLst>
                        <a:gd name="connsiteX0" fmla="*/ 2004 w 2689"/>
                        <a:gd name="connsiteY0" fmla="*/ 929 h 54110"/>
                        <a:gd name="connsiteX1" fmla="*/ 2640 w 2689"/>
                        <a:gd name="connsiteY1" fmla="*/ 14259 h 54110"/>
                        <a:gd name="connsiteX2" fmla="*/ 2490 w 2689"/>
                        <a:gd name="connsiteY2" fmla="*/ 27576 h 54110"/>
                        <a:gd name="connsiteX3" fmla="*/ 2228 w 2689"/>
                        <a:gd name="connsiteY3" fmla="*/ 40843 h 54110"/>
                        <a:gd name="connsiteX4" fmla="*/ 2690 w 2689"/>
                        <a:gd name="connsiteY4" fmla="*/ 54110 h 54110"/>
                        <a:gd name="connsiteX5" fmla="*/ 1717 w 2689"/>
                        <a:gd name="connsiteY5" fmla="*/ 40855 h 54110"/>
                        <a:gd name="connsiteX6" fmla="*/ 1480 w 2689"/>
                        <a:gd name="connsiteY6" fmla="*/ 27563 h 54110"/>
                        <a:gd name="connsiteX7" fmla="*/ 1131 w 2689"/>
                        <a:gd name="connsiteY7" fmla="*/ 14321 h 54110"/>
                        <a:gd name="connsiteX8" fmla="*/ 9 w 2689"/>
                        <a:gd name="connsiteY8" fmla="*/ 1154 h 54110"/>
                        <a:gd name="connsiteX9" fmla="*/ 894 w 2689"/>
                        <a:gd name="connsiteY9" fmla="*/ 7 h 54110"/>
                        <a:gd name="connsiteX10" fmla="*/ 2017 w 2689"/>
                        <a:gd name="connsiteY10" fmla="*/ 892 h 54110"/>
                        <a:gd name="connsiteX11" fmla="*/ 2017 w 2689"/>
                        <a:gd name="connsiteY11" fmla="*/ 929 h 5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9" h="54110">
                          <a:moveTo>
                            <a:pt x="2004" y="929"/>
                          </a:moveTo>
                          <a:cubicBezTo>
                            <a:pt x="2378" y="5393"/>
                            <a:pt x="2553" y="9820"/>
                            <a:pt x="2640" y="14259"/>
                          </a:cubicBezTo>
                          <a:cubicBezTo>
                            <a:pt x="2727" y="18698"/>
                            <a:pt x="2640" y="23149"/>
                            <a:pt x="2490" y="27576"/>
                          </a:cubicBezTo>
                          <a:cubicBezTo>
                            <a:pt x="2353" y="32002"/>
                            <a:pt x="2228" y="36429"/>
                            <a:pt x="2228" y="40843"/>
                          </a:cubicBezTo>
                          <a:cubicBezTo>
                            <a:pt x="2228" y="45269"/>
                            <a:pt x="2353" y="49696"/>
                            <a:pt x="2690" y="54110"/>
                          </a:cubicBezTo>
                          <a:cubicBezTo>
                            <a:pt x="2179" y="49708"/>
                            <a:pt x="1879" y="45282"/>
                            <a:pt x="1717" y="40855"/>
                          </a:cubicBezTo>
                          <a:cubicBezTo>
                            <a:pt x="1555" y="36429"/>
                            <a:pt x="1518" y="31990"/>
                            <a:pt x="1480" y="27563"/>
                          </a:cubicBezTo>
                          <a:cubicBezTo>
                            <a:pt x="1468" y="23137"/>
                            <a:pt x="1393" y="18723"/>
                            <a:pt x="1131" y="14321"/>
                          </a:cubicBezTo>
                          <a:cubicBezTo>
                            <a:pt x="882" y="9919"/>
                            <a:pt x="533" y="5506"/>
                            <a:pt x="9" y="1154"/>
                          </a:cubicBezTo>
                          <a:cubicBezTo>
                            <a:pt x="-66" y="580"/>
                            <a:pt x="333" y="81"/>
                            <a:pt x="894" y="7"/>
                          </a:cubicBezTo>
                          <a:cubicBezTo>
                            <a:pt x="1443" y="-56"/>
                            <a:pt x="1954" y="331"/>
                            <a:pt x="2017" y="892"/>
                          </a:cubicBezTo>
                          <a:cubicBezTo>
                            <a:pt x="2017" y="892"/>
                            <a:pt x="2017" y="917"/>
                            <a:pt x="2017" y="929"/>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0" name="Freeform: Shape 3589">
                      <a:extLst>
                        <a:ext uri="{FF2B5EF4-FFF2-40B4-BE49-F238E27FC236}">
                          <a16:creationId xmlns:a16="http://schemas.microsoft.com/office/drawing/2014/main" id="{A88F86BD-5702-0B15-3200-AB98BC8E90DC}"/>
                        </a:ext>
                      </a:extLst>
                    </p:cNvPr>
                    <p:cNvSpPr/>
                    <p:nvPr/>
                  </p:nvSpPr>
                  <p:spPr>
                    <a:xfrm>
                      <a:off x="5884937" y="1452050"/>
                      <a:ext cx="8105" cy="63258"/>
                    </a:xfrm>
                    <a:custGeom>
                      <a:avLst/>
                      <a:gdLst>
                        <a:gd name="connsiteX0" fmla="*/ 6058 w 8105"/>
                        <a:gd name="connsiteY0" fmla="*/ 62283 h 63258"/>
                        <a:gd name="connsiteX1" fmla="*/ 5734 w 8105"/>
                        <a:gd name="connsiteY1" fmla="*/ 46510 h 63258"/>
                        <a:gd name="connsiteX2" fmla="*/ 5759 w 8105"/>
                        <a:gd name="connsiteY2" fmla="*/ 42569 h 63258"/>
                        <a:gd name="connsiteX3" fmla="*/ 5746 w 8105"/>
                        <a:gd name="connsiteY3" fmla="*/ 40624 h 63258"/>
                        <a:gd name="connsiteX4" fmla="*/ 5671 w 8105"/>
                        <a:gd name="connsiteY4" fmla="*/ 38692 h 63258"/>
                        <a:gd name="connsiteX5" fmla="*/ 4512 w 8105"/>
                        <a:gd name="connsiteY5" fmla="*/ 31011 h 63258"/>
                        <a:gd name="connsiteX6" fmla="*/ 871 w 8105"/>
                        <a:gd name="connsiteY6" fmla="*/ 15699 h 63258"/>
                        <a:gd name="connsiteX7" fmla="*/ 696 w 8105"/>
                        <a:gd name="connsiteY7" fmla="*/ 14726 h 63258"/>
                        <a:gd name="connsiteX8" fmla="*/ 559 w 8105"/>
                        <a:gd name="connsiteY8" fmla="*/ 13753 h 63258"/>
                        <a:gd name="connsiteX9" fmla="*/ 297 w 8105"/>
                        <a:gd name="connsiteY9" fmla="*/ 11796 h 63258"/>
                        <a:gd name="connsiteX10" fmla="*/ 35 w 8105"/>
                        <a:gd name="connsiteY10" fmla="*/ 7855 h 63258"/>
                        <a:gd name="connsiteX11" fmla="*/ 409 w 8105"/>
                        <a:gd name="connsiteY11" fmla="*/ 0 h 63258"/>
                        <a:gd name="connsiteX12" fmla="*/ 285 w 8105"/>
                        <a:gd name="connsiteY12" fmla="*/ 7843 h 63258"/>
                        <a:gd name="connsiteX13" fmla="*/ 671 w 8105"/>
                        <a:gd name="connsiteY13" fmla="*/ 11746 h 63258"/>
                        <a:gd name="connsiteX14" fmla="*/ 995 w 8105"/>
                        <a:gd name="connsiteY14" fmla="*/ 13679 h 63258"/>
                        <a:gd name="connsiteX15" fmla="*/ 1170 w 8105"/>
                        <a:gd name="connsiteY15" fmla="*/ 14639 h 63258"/>
                        <a:gd name="connsiteX16" fmla="*/ 1382 w 8105"/>
                        <a:gd name="connsiteY16" fmla="*/ 15599 h 63258"/>
                        <a:gd name="connsiteX17" fmla="*/ 5509 w 8105"/>
                        <a:gd name="connsiteY17" fmla="*/ 30774 h 63258"/>
                        <a:gd name="connsiteX18" fmla="*/ 6943 w 8105"/>
                        <a:gd name="connsiteY18" fmla="*/ 38592 h 63258"/>
                        <a:gd name="connsiteX19" fmla="*/ 7093 w 8105"/>
                        <a:gd name="connsiteY19" fmla="*/ 40587 h 63258"/>
                        <a:gd name="connsiteX20" fmla="*/ 7180 w 8105"/>
                        <a:gd name="connsiteY20" fmla="*/ 42569 h 63258"/>
                        <a:gd name="connsiteX21" fmla="*/ 7280 w 8105"/>
                        <a:gd name="connsiteY21" fmla="*/ 46497 h 63258"/>
                        <a:gd name="connsiteX22" fmla="*/ 8103 w 8105"/>
                        <a:gd name="connsiteY22" fmla="*/ 62171 h 63258"/>
                        <a:gd name="connsiteX23" fmla="*/ 7168 w 8105"/>
                        <a:gd name="connsiteY23" fmla="*/ 63256 h 63258"/>
                        <a:gd name="connsiteX24" fmla="*/ 6083 w 8105"/>
                        <a:gd name="connsiteY24" fmla="*/ 62320 h 63258"/>
                        <a:gd name="connsiteX25" fmla="*/ 6083 w 8105"/>
                        <a:gd name="connsiteY25" fmla="*/ 62283 h 6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05" h="63258">
                          <a:moveTo>
                            <a:pt x="6058" y="62283"/>
                          </a:moveTo>
                          <a:cubicBezTo>
                            <a:pt x="5846" y="57021"/>
                            <a:pt x="5734" y="51772"/>
                            <a:pt x="5734" y="46510"/>
                          </a:cubicBezTo>
                          <a:cubicBezTo>
                            <a:pt x="5734" y="45200"/>
                            <a:pt x="5734" y="43879"/>
                            <a:pt x="5759" y="42569"/>
                          </a:cubicBezTo>
                          <a:cubicBezTo>
                            <a:pt x="5771" y="41909"/>
                            <a:pt x="5759" y="41273"/>
                            <a:pt x="5746" y="40624"/>
                          </a:cubicBezTo>
                          <a:cubicBezTo>
                            <a:pt x="5746" y="39976"/>
                            <a:pt x="5746" y="39340"/>
                            <a:pt x="5671" y="38692"/>
                          </a:cubicBezTo>
                          <a:cubicBezTo>
                            <a:pt x="5522" y="36110"/>
                            <a:pt x="5048" y="33554"/>
                            <a:pt x="4512" y="31011"/>
                          </a:cubicBezTo>
                          <a:cubicBezTo>
                            <a:pt x="3402" y="25923"/>
                            <a:pt x="1781" y="20898"/>
                            <a:pt x="871" y="15699"/>
                          </a:cubicBezTo>
                          <a:lnTo>
                            <a:pt x="696" y="14726"/>
                          </a:lnTo>
                          <a:lnTo>
                            <a:pt x="559" y="13753"/>
                          </a:lnTo>
                          <a:cubicBezTo>
                            <a:pt x="472" y="13105"/>
                            <a:pt x="372" y="12457"/>
                            <a:pt x="297" y="11796"/>
                          </a:cubicBezTo>
                          <a:cubicBezTo>
                            <a:pt x="197" y="10487"/>
                            <a:pt x="35" y="9177"/>
                            <a:pt x="35" y="7855"/>
                          </a:cubicBezTo>
                          <a:cubicBezTo>
                            <a:pt x="-89" y="5224"/>
                            <a:pt x="135" y="2606"/>
                            <a:pt x="409" y="0"/>
                          </a:cubicBezTo>
                          <a:cubicBezTo>
                            <a:pt x="210" y="2618"/>
                            <a:pt x="73" y="5237"/>
                            <a:pt x="285" y="7843"/>
                          </a:cubicBezTo>
                          <a:cubicBezTo>
                            <a:pt x="335" y="9152"/>
                            <a:pt x="534" y="10449"/>
                            <a:pt x="671" y="11746"/>
                          </a:cubicBezTo>
                          <a:cubicBezTo>
                            <a:pt x="771" y="12394"/>
                            <a:pt x="883" y="13030"/>
                            <a:pt x="995" y="13679"/>
                          </a:cubicBezTo>
                          <a:lnTo>
                            <a:pt x="1170" y="14639"/>
                          </a:lnTo>
                          <a:lnTo>
                            <a:pt x="1382" y="15599"/>
                          </a:lnTo>
                          <a:cubicBezTo>
                            <a:pt x="2442" y="20724"/>
                            <a:pt x="4225" y="25649"/>
                            <a:pt x="5509" y="30774"/>
                          </a:cubicBezTo>
                          <a:cubicBezTo>
                            <a:pt x="6145" y="33330"/>
                            <a:pt x="6706" y="35936"/>
                            <a:pt x="6943" y="38592"/>
                          </a:cubicBezTo>
                          <a:cubicBezTo>
                            <a:pt x="7030" y="39253"/>
                            <a:pt x="7055" y="39914"/>
                            <a:pt x="7093" y="40587"/>
                          </a:cubicBezTo>
                          <a:cubicBezTo>
                            <a:pt x="7118" y="41248"/>
                            <a:pt x="7168" y="41921"/>
                            <a:pt x="7180" y="42569"/>
                          </a:cubicBezTo>
                          <a:cubicBezTo>
                            <a:pt x="7205" y="43879"/>
                            <a:pt x="7242" y="45188"/>
                            <a:pt x="7280" y="46497"/>
                          </a:cubicBezTo>
                          <a:cubicBezTo>
                            <a:pt x="7454" y="51722"/>
                            <a:pt x="7729" y="56959"/>
                            <a:pt x="8103" y="62171"/>
                          </a:cubicBezTo>
                          <a:cubicBezTo>
                            <a:pt x="8140" y="62732"/>
                            <a:pt x="7729" y="63218"/>
                            <a:pt x="7168" y="63256"/>
                          </a:cubicBezTo>
                          <a:cubicBezTo>
                            <a:pt x="6607" y="63293"/>
                            <a:pt x="6133" y="62882"/>
                            <a:pt x="6083" y="62320"/>
                          </a:cubicBezTo>
                          <a:cubicBezTo>
                            <a:pt x="6083" y="62320"/>
                            <a:pt x="6083" y="62296"/>
                            <a:pt x="6083" y="62283"/>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1" name="Freeform: Shape 3590">
                      <a:extLst>
                        <a:ext uri="{FF2B5EF4-FFF2-40B4-BE49-F238E27FC236}">
                          <a16:creationId xmlns:a16="http://schemas.microsoft.com/office/drawing/2014/main" id="{9FF92896-608C-E0E2-8CC8-8227830816D7}"/>
                        </a:ext>
                      </a:extLst>
                    </p:cNvPr>
                    <p:cNvSpPr/>
                    <p:nvPr/>
                  </p:nvSpPr>
                  <p:spPr>
                    <a:xfrm>
                      <a:off x="5895028" y="1479021"/>
                      <a:ext cx="3491" cy="37450"/>
                    </a:xfrm>
                    <a:custGeom>
                      <a:avLst/>
                      <a:gdLst>
                        <a:gd name="connsiteX0" fmla="*/ 70 w 3491"/>
                        <a:gd name="connsiteY0" fmla="*/ 36472 h 37450"/>
                        <a:gd name="connsiteX1" fmla="*/ 282 w 3491"/>
                        <a:gd name="connsiteY1" fmla="*/ 27207 h 37450"/>
                        <a:gd name="connsiteX2" fmla="*/ 818 w 3491"/>
                        <a:gd name="connsiteY2" fmla="*/ 22631 h 37450"/>
                        <a:gd name="connsiteX3" fmla="*/ 1192 w 3491"/>
                        <a:gd name="connsiteY3" fmla="*/ 20362 h 37450"/>
                        <a:gd name="connsiteX4" fmla="*/ 1591 w 3491"/>
                        <a:gd name="connsiteY4" fmla="*/ 18118 h 37450"/>
                        <a:gd name="connsiteX5" fmla="*/ 2863 w 3491"/>
                        <a:gd name="connsiteY5" fmla="*/ 9102 h 37450"/>
                        <a:gd name="connsiteX6" fmla="*/ 3337 w 3491"/>
                        <a:gd name="connsiteY6" fmla="*/ 0 h 37450"/>
                        <a:gd name="connsiteX7" fmla="*/ 3374 w 3491"/>
                        <a:gd name="connsiteY7" fmla="*/ 9140 h 37450"/>
                        <a:gd name="connsiteX8" fmla="*/ 2601 w 3491"/>
                        <a:gd name="connsiteY8" fmla="*/ 18267 h 37450"/>
                        <a:gd name="connsiteX9" fmla="*/ 2327 w 3491"/>
                        <a:gd name="connsiteY9" fmla="*/ 20537 h 37450"/>
                        <a:gd name="connsiteX10" fmla="*/ 2090 w 3491"/>
                        <a:gd name="connsiteY10" fmla="*/ 22794 h 37450"/>
                        <a:gd name="connsiteX11" fmla="*/ 1816 w 3491"/>
                        <a:gd name="connsiteY11" fmla="*/ 27307 h 37450"/>
                        <a:gd name="connsiteX12" fmla="*/ 2102 w 3491"/>
                        <a:gd name="connsiteY12" fmla="*/ 36298 h 37450"/>
                        <a:gd name="connsiteX13" fmla="*/ 1205 w 3491"/>
                        <a:gd name="connsiteY13" fmla="*/ 37445 h 37450"/>
                        <a:gd name="connsiteX14" fmla="*/ 95 w 3491"/>
                        <a:gd name="connsiteY14" fmla="*/ 36547 h 37450"/>
                        <a:gd name="connsiteX15" fmla="*/ 95 w 3491"/>
                        <a:gd name="connsiteY15" fmla="*/ 36497 h 3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91" h="37450">
                          <a:moveTo>
                            <a:pt x="70" y="36472"/>
                          </a:moveTo>
                          <a:cubicBezTo>
                            <a:pt x="-80" y="33330"/>
                            <a:pt x="20" y="30287"/>
                            <a:pt x="282" y="27207"/>
                          </a:cubicBezTo>
                          <a:cubicBezTo>
                            <a:pt x="419" y="25674"/>
                            <a:pt x="581" y="24153"/>
                            <a:pt x="818" y="22631"/>
                          </a:cubicBezTo>
                          <a:cubicBezTo>
                            <a:pt x="918" y="21871"/>
                            <a:pt x="1067" y="21110"/>
                            <a:pt x="1192" y="20362"/>
                          </a:cubicBezTo>
                          <a:lnTo>
                            <a:pt x="1591" y="18118"/>
                          </a:lnTo>
                          <a:cubicBezTo>
                            <a:pt x="2102" y="15125"/>
                            <a:pt x="2551" y="12120"/>
                            <a:pt x="2863" y="9102"/>
                          </a:cubicBezTo>
                          <a:cubicBezTo>
                            <a:pt x="3175" y="6085"/>
                            <a:pt x="3374" y="3042"/>
                            <a:pt x="3337" y="0"/>
                          </a:cubicBezTo>
                          <a:cubicBezTo>
                            <a:pt x="3549" y="3042"/>
                            <a:pt x="3524" y="6097"/>
                            <a:pt x="3374" y="9140"/>
                          </a:cubicBezTo>
                          <a:cubicBezTo>
                            <a:pt x="3225" y="12182"/>
                            <a:pt x="2950" y="15225"/>
                            <a:pt x="2601" y="18267"/>
                          </a:cubicBezTo>
                          <a:lnTo>
                            <a:pt x="2327" y="20537"/>
                          </a:lnTo>
                          <a:cubicBezTo>
                            <a:pt x="2252" y="21285"/>
                            <a:pt x="2152" y="22033"/>
                            <a:pt x="2090" y="22794"/>
                          </a:cubicBezTo>
                          <a:cubicBezTo>
                            <a:pt x="1940" y="24290"/>
                            <a:pt x="1865" y="25798"/>
                            <a:pt x="1816" y="27307"/>
                          </a:cubicBezTo>
                          <a:cubicBezTo>
                            <a:pt x="1728" y="30312"/>
                            <a:pt x="1803" y="33367"/>
                            <a:pt x="2102" y="36298"/>
                          </a:cubicBezTo>
                          <a:cubicBezTo>
                            <a:pt x="2165" y="36884"/>
                            <a:pt x="1766" y="37382"/>
                            <a:pt x="1205" y="37445"/>
                          </a:cubicBezTo>
                          <a:cubicBezTo>
                            <a:pt x="643" y="37507"/>
                            <a:pt x="157" y="37096"/>
                            <a:pt x="95" y="36547"/>
                          </a:cubicBezTo>
                          <a:cubicBezTo>
                            <a:pt x="95" y="36534"/>
                            <a:pt x="95" y="36510"/>
                            <a:pt x="95" y="36497"/>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2" name="Freeform: Shape 3591">
                      <a:extLst>
                        <a:ext uri="{FF2B5EF4-FFF2-40B4-BE49-F238E27FC236}">
                          <a16:creationId xmlns:a16="http://schemas.microsoft.com/office/drawing/2014/main" id="{F1B0BC65-368C-7321-CC5F-74D3E1F72760}"/>
                        </a:ext>
                      </a:extLst>
                    </p:cNvPr>
                    <p:cNvSpPr/>
                    <p:nvPr/>
                  </p:nvSpPr>
                  <p:spPr>
                    <a:xfrm>
                      <a:off x="5913263" y="1458684"/>
                      <a:ext cx="5301" cy="64569"/>
                    </a:xfrm>
                    <a:custGeom>
                      <a:avLst/>
                      <a:gdLst>
                        <a:gd name="connsiteX0" fmla="*/ 3231 w 5301"/>
                        <a:gd name="connsiteY0" fmla="*/ 63380 h 64569"/>
                        <a:gd name="connsiteX1" fmla="*/ 3356 w 5301"/>
                        <a:gd name="connsiteY1" fmla="*/ 61498 h 64569"/>
                        <a:gd name="connsiteX2" fmla="*/ 3356 w 5301"/>
                        <a:gd name="connsiteY2" fmla="*/ 59565 h 64569"/>
                        <a:gd name="connsiteX3" fmla="*/ 3019 w 5301"/>
                        <a:gd name="connsiteY3" fmla="*/ 55687 h 64569"/>
                        <a:gd name="connsiteX4" fmla="*/ 2321 w 5301"/>
                        <a:gd name="connsiteY4" fmla="*/ 51809 h 64569"/>
                        <a:gd name="connsiteX5" fmla="*/ 1959 w 5301"/>
                        <a:gd name="connsiteY5" fmla="*/ 49827 h 64569"/>
                        <a:gd name="connsiteX6" fmla="*/ 1635 w 5301"/>
                        <a:gd name="connsiteY6" fmla="*/ 47844 h 64569"/>
                        <a:gd name="connsiteX7" fmla="*/ 164 w 5301"/>
                        <a:gd name="connsiteY7" fmla="*/ 31884 h 64569"/>
                        <a:gd name="connsiteX8" fmla="*/ 201 w 5301"/>
                        <a:gd name="connsiteY8" fmla="*/ 15886 h 64569"/>
                        <a:gd name="connsiteX9" fmla="*/ 1872 w 5301"/>
                        <a:gd name="connsiteY9" fmla="*/ 0 h 64569"/>
                        <a:gd name="connsiteX10" fmla="*/ 700 w 5301"/>
                        <a:gd name="connsiteY10" fmla="*/ 15898 h 64569"/>
                        <a:gd name="connsiteX11" fmla="*/ 1174 w 5301"/>
                        <a:gd name="connsiteY11" fmla="*/ 31821 h 64569"/>
                        <a:gd name="connsiteX12" fmla="*/ 3132 w 5301"/>
                        <a:gd name="connsiteY12" fmla="*/ 47595 h 64569"/>
                        <a:gd name="connsiteX13" fmla="*/ 3506 w 5301"/>
                        <a:gd name="connsiteY13" fmla="*/ 49540 h 64569"/>
                        <a:gd name="connsiteX14" fmla="*/ 3917 w 5301"/>
                        <a:gd name="connsiteY14" fmla="*/ 51472 h 64569"/>
                        <a:gd name="connsiteX15" fmla="*/ 4753 w 5301"/>
                        <a:gd name="connsiteY15" fmla="*/ 55425 h 64569"/>
                        <a:gd name="connsiteX16" fmla="*/ 5226 w 5301"/>
                        <a:gd name="connsiteY16" fmla="*/ 59490 h 64569"/>
                        <a:gd name="connsiteX17" fmla="*/ 5301 w 5301"/>
                        <a:gd name="connsiteY17" fmla="*/ 61547 h 64569"/>
                        <a:gd name="connsiteX18" fmla="*/ 5226 w 5301"/>
                        <a:gd name="connsiteY18" fmla="*/ 63642 h 64569"/>
                        <a:gd name="connsiteX19" fmla="*/ 4129 w 5301"/>
                        <a:gd name="connsiteY19" fmla="*/ 64565 h 64569"/>
                        <a:gd name="connsiteX20" fmla="*/ 3206 w 5301"/>
                        <a:gd name="connsiteY20" fmla="*/ 63468 h 64569"/>
                        <a:gd name="connsiteX21" fmla="*/ 3206 w 5301"/>
                        <a:gd name="connsiteY21" fmla="*/ 63405 h 6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01" h="64569">
                          <a:moveTo>
                            <a:pt x="3231" y="63380"/>
                          </a:moveTo>
                          <a:cubicBezTo>
                            <a:pt x="3306" y="62807"/>
                            <a:pt x="3344" y="62134"/>
                            <a:pt x="3356" y="61498"/>
                          </a:cubicBezTo>
                          <a:cubicBezTo>
                            <a:pt x="3381" y="60849"/>
                            <a:pt x="3369" y="60201"/>
                            <a:pt x="3356" y="59565"/>
                          </a:cubicBezTo>
                          <a:cubicBezTo>
                            <a:pt x="3319" y="58268"/>
                            <a:pt x="3206" y="56971"/>
                            <a:pt x="3019" y="55687"/>
                          </a:cubicBezTo>
                          <a:cubicBezTo>
                            <a:pt x="2845" y="54390"/>
                            <a:pt x="2583" y="53143"/>
                            <a:pt x="2321" y="51809"/>
                          </a:cubicBezTo>
                          <a:cubicBezTo>
                            <a:pt x="2184" y="51148"/>
                            <a:pt x="2072" y="50487"/>
                            <a:pt x="1959" y="49827"/>
                          </a:cubicBezTo>
                          <a:cubicBezTo>
                            <a:pt x="1847" y="49166"/>
                            <a:pt x="1722" y="48505"/>
                            <a:pt x="1635" y="47844"/>
                          </a:cubicBezTo>
                          <a:cubicBezTo>
                            <a:pt x="850" y="42545"/>
                            <a:pt x="388" y="37220"/>
                            <a:pt x="164" y="31884"/>
                          </a:cubicBezTo>
                          <a:cubicBezTo>
                            <a:pt x="-60" y="26547"/>
                            <a:pt x="-60" y="21210"/>
                            <a:pt x="201" y="15886"/>
                          </a:cubicBezTo>
                          <a:cubicBezTo>
                            <a:pt x="463" y="10561"/>
                            <a:pt x="987" y="5250"/>
                            <a:pt x="1872" y="0"/>
                          </a:cubicBezTo>
                          <a:cubicBezTo>
                            <a:pt x="1149" y="5274"/>
                            <a:pt x="800" y="10586"/>
                            <a:pt x="700" y="15898"/>
                          </a:cubicBezTo>
                          <a:cubicBezTo>
                            <a:pt x="613" y="21210"/>
                            <a:pt x="775" y="26522"/>
                            <a:pt x="1174" y="31821"/>
                          </a:cubicBezTo>
                          <a:cubicBezTo>
                            <a:pt x="1573" y="37108"/>
                            <a:pt x="2196" y="42382"/>
                            <a:pt x="3132" y="47595"/>
                          </a:cubicBezTo>
                          <a:cubicBezTo>
                            <a:pt x="3244" y="48243"/>
                            <a:pt x="3381" y="48891"/>
                            <a:pt x="3506" y="49540"/>
                          </a:cubicBezTo>
                          <a:cubicBezTo>
                            <a:pt x="3630" y="50188"/>
                            <a:pt x="3767" y="50837"/>
                            <a:pt x="3917" y="51472"/>
                          </a:cubicBezTo>
                          <a:cubicBezTo>
                            <a:pt x="4204" y="52732"/>
                            <a:pt x="4541" y="54078"/>
                            <a:pt x="4753" y="55425"/>
                          </a:cubicBezTo>
                          <a:cubicBezTo>
                            <a:pt x="4977" y="56772"/>
                            <a:pt x="5139" y="58118"/>
                            <a:pt x="5226" y="59490"/>
                          </a:cubicBezTo>
                          <a:cubicBezTo>
                            <a:pt x="5264" y="60176"/>
                            <a:pt x="5301" y="60849"/>
                            <a:pt x="5301" y="61547"/>
                          </a:cubicBezTo>
                          <a:cubicBezTo>
                            <a:pt x="5301" y="62246"/>
                            <a:pt x="5301" y="62907"/>
                            <a:pt x="5226" y="63642"/>
                          </a:cubicBezTo>
                          <a:cubicBezTo>
                            <a:pt x="5176" y="64203"/>
                            <a:pt x="4690" y="64615"/>
                            <a:pt x="4129" y="64565"/>
                          </a:cubicBezTo>
                          <a:cubicBezTo>
                            <a:pt x="3568" y="64515"/>
                            <a:pt x="3156" y="64029"/>
                            <a:pt x="3206" y="63468"/>
                          </a:cubicBezTo>
                          <a:cubicBezTo>
                            <a:pt x="3206" y="63443"/>
                            <a:pt x="3206" y="63405"/>
                            <a:pt x="3206" y="63405"/>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3" name="Freeform: Shape 3592">
                      <a:extLst>
                        <a:ext uri="{FF2B5EF4-FFF2-40B4-BE49-F238E27FC236}">
                          <a16:creationId xmlns:a16="http://schemas.microsoft.com/office/drawing/2014/main" id="{04F1E2F6-5675-9AE1-59F5-7F1421645036}"/>
                        </a:ext>
                      </a:extLst>
                    </p:cNvPr>
                    <p:cNvSpPr/>
                    <p:nvPr/>
                  </p:nvSpPr>
                  <p:spPr>
                    <a:xfrm>
                      <a:off x="5919349" y="1467262"/>
                      <a:ext cx="7407" cy="56786"/>
                    </a:xfrm>
                    <a:custGeom>
                      <a:avLst/>
                      <a:gdLst>
                        <a:gd name="connsiteX0" fmla="*/ 1 w 7407"/>
                        <a:gd name="connsiteY0" fmla="*/ 55712 h 56786"/>
                        <a:gd name="connsiteX1" fmla="*/ 113 w 7407"/>
                        <a:gd name="connsiteY1" fmla="*/ 54764 h 56786"/>
                        <a:gd name="connsiteX2" fmla="*/ 263 w 7407"/>
                        <a:gd name="connsiteY2" fmla="*/ 53867 h 56786"/>
                        <a:gd name="connsiteX3" fmla="*/ 600 w 7407"/>
                        <a:gd name="connsiteY3" fmla="*/ 52108 h 56786"/>
                        <a:gd name="connsiteX4" fmla="*/ 1410 w 7407"/>
                        <a:gd name="connsiteY4" fmla="*/ 48642 h 56786"/>
                        <a:gd name="connsiteX5" fmla="*/ 3243 w 7407"/>
                        <a:gd name="connsiteY5" fmla="*/ 41846 h 56786"/>
                        <a:gd name="connsiteX6" fmla="*/ 5512 w 7407"/>
                        <a:gd name="connsiteY6" fmla="*/ 28055 h 56786"/>
                        <a:gd name="connsiteX7" fmla="*/ 6011 w 7407"/>
                        <a:gd name="connsiteY7" fmla="*/ 21060 h 56786"/>
                        <a:gd name="connsiteX8" fmla="*/ 6136 w 7407"/>
                        <a:gd name="connsiteY8" fmla="*/ 14028 h 56786"/>
                        <a:gd name="connsiteX9" fmla="*/ 6547 w 7407"/>
                        <a:gd name="connsiteY9" fmla="*/ 6995 h 56786"/>
                        <a:gd name="connsiteX10" fmla="*/ 7408 w 7407"/>
                        <a:gd name="connsiteY10" fmla="*/ 0 h 56786"/>
                        <a:gd name="connsiteX11" fmla="*/ 6797 w 7407"/>
                        <a:gd name="connsiteY11" fmla="*/ 7008 h 56786"/>
                        <a:gd name="connsiteX12" fmla="*/ 6635 w 7407"/>
                        <a:gd name="connsiteY12" fmla="*/ 14028 h 56786"/>
                        <a:gd name="connsiteX13" fmla="*/ 6759 w 7407"/>
                        <a:gd name="connsiteY13" fmla="*/ 21073 h 56786"/>
                        <a:gd name="connsiteX14" fmla="*/ 6510 w 7407"/>
                        <a:gd name="connsiteY14" fmla="*/ 28130 h 56786"/>
                        <a:gd name="connsiteX15" fmla="*/ 4702 w 7407"/>
                        <a:gd name="connsiteY15" fmla="*/ 42171 h 56786"/>
                        <a:gd name="connsiteX16" fmla="*/ 3118 w 7407"/>
                        <a:gd name="connsiteY16" fmla="*/ 49029 h 56786"/>
                        <a:gd name="connsiteX17" fmla="*/ 2458 w 7407"/>
                        <a:gd name="connsiteY17" fmla="*/ 52445 h 56786"/>
                        <a:gd name="connsiteX18" fmla="*/ 2196 w 7407"/>
                        <a:gd name="connsiteY18" fmla="*/ 54153 h 56786"/>
                        <a:gd name="connsiteX19" fmla="*/ 2096 w 7407"/>
                        <a:gd name="connsiteY19" fmla="*/ 55001 h 56786"/>
                        <a:gd name="connsiteX20" fmla="*/ 2021 w 7407"/>
                        <a:gd name="connsiteY20" fmla="*/ 55799 h 56786"/>
                        <a:gd name="connsiteX21" fmla="*/ 961 w 7407"/>
                        <a:gd name="connsiteY21" fmla="*/ 56784 h 56786"/>
                        <a:gd name="connsiteX22" fmla="*/ 1 w 7407"/>
                        <a:gd name="connsiteY22" fmla="*/ 55724 h 56786"/>
                        <a:gd name="connsiteX23" fmla="*/ 1 w 7407"/>
                        <a:gd name="connsiteY23" fmla="*/ 55687 h 5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07" h="56786">
                          <a:moveTo>
                            <a:pt x="1" y="55712"/>
                          </a:moveTo>
                          <a:cubicBezTo>
                            <a:pt x="26" y="55350"/>
                            <a:pt x="76" y="55076"/>
                            <a:pt x="113" y="54764"/>
                          </a:cubicBezTo>
                          <a:cubicBezTo>
                            <a:pt x="163" y="54465"/>
                            <a:pt x="201" y="54166"/>
                            <a:pt x="263" y="53867"/>
                          </a:cubicBezTo>
                          <a:cubicBezTo>
                            <a:pt x="363" y="53268"/>
                            <a:pt x="475" y="52694"/>
                            <a:pt x="600" y="52108"/>
                          </a:cubicBezTo>
                          <a:cubicBezTo>
                            <a:pt x="849" y="50949"/>
                            <a:pt x="1111" y="49789"/>
                            <a:pt x="1410" y="48642"/>
                          </a:cubicBezTo>
                          <a:cubicBezTo>
                            <a:pt x="1971" y="46348"/>
                            <a:pt x="2694" y="44078"/>
                            <a:pt x="3243" y="41846"/>
                          </a:cubicBezTo>
                          <a:cubicBezTo>
                            <a:pt x="4340" y="37333"/>
                            <a:pt x="5051" y="32706"/>
                            <a:pt x="5512" y="28055"/>
                          </a:cubicBezTo>
                          <a:cubicBezTo>
                            <a:pt x="5749" y="25736"/>
                            <a:pt x="5911" y="23392"/>
                            <a:pt x="6011" y="21060"/>
                          </a:cubicBezTo>
                          <a:cubicBezTo>
                            <a:pt x="6123" y="18729"/>
                            <a:pt x="6086" y="16384"/>
                            <a:pt x="6136" y="14028"/>
                          </a:cubicBezTo>
                          <a:cubicBezTo>
                            <a:pt x="6198" y="11671"/>
                            <a:pt x="6335" y="9327"/>
                            <a:pt x="6547" y="6995"/>
                          </a:cubicBezTo>
                          <a:cubicBezTo>
                            <a:pt x="6759" y="4651"/>
                            <a:pt x="7034" y="2319"/>
                            <a:pt x="7408" y="0"/>
                          </a:cubicBezTo>
                          <a:cubicBezTo>
                            <a:pt x="7121" y="2332"/>
                            <a:pt x="6934" y="4663"/>
                            <a:pt x="6797" y="7008"/>
                          </a:cubicBezTo>
                          <a:cubicBezTo>
                            <a:pt x="6672" y="9352"/>
                            <a:pt x="6610" y="11696"/>
                            <a:pt x="6635" y="14028"/>
                          </a:cubicBezTo>
                          <a:cubicBezTo>
                            <a:pt x="6660" y="16359"/>
                            <a:pt x="6784" y="18716"/>
                            <a:pt x="6759" y="21073"/>
                          </a:cubicBezTo>
                          <a:cubicBezTo>
                            <a:pt x="6747" y="23429"/>
                            <a:pt x="6660" y="25786"/>
                            <a:pt x="6510" y="28130"/>
                          </a:cubicBezTo>
                          <a:cubicBezTo>
                            <a:pt x="6198" y="32831"/>
                            <a:pt x="5662" y="37532"/>
                            <a:pt x="4702" y="42171"/>
                          </a:cubicBezTo>
                          <a:cubicBezTo>
                            <a:pt x="4216" y="44515"/>
                            <a:pt x="3580" y="46747"/>
                            <a:pt x="3118" y="49029"/>
                          </a:cubicBezTo>
                          <a:cubicBezTo>
                            <a:pt x="2869" y="50163"/>
                            <a:pt x="2644" y="51310"/>
                            <a:pt x="2458" y="52445"/>
                          </a:cubicBezTo>
                          <a:cubicBezTo>
                            <a:pt x="2358" y="53019"/>
                            <a:pt x="2270" y="53580"/>
                            <a:pt x="2196" y="54153"/>
                          </a:cubicBezTo>
                          <a:lnTo>
                            <a:pt x="2096" y="55001"/>
                          </a:lnTo>
                          <a:cubicBezTo>
                            <a:pt x="2071" y="55276"/>
                            <a:pt x="2034" y="55575"/>
                            <a:pt x="2021" y="55799"/>
                          </a:cubicBezTo>
                          <a:cubicBezTo>
                            <a:pt x="1996" y="56385"/>
                            <a:pt x="1522" y="56822"/>
                            <a:pt x="961" y="56784"/>
                          </a:cubicBezTo>
                          <a:cubicBezTo>
                            <a:pt x="400" y="56759"/>
                            <a:pt x="-24" y="56285"/>
                            <a:pt x="1" y="55724"/>
                          </a:cubicBezTo>
                          <a:cubicBezTo>
                            <a:pt x="1" y="55724"/>
                            <a:pt x="1" y="55699"/>
                            <a:pt x="1" y="55687"/>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4" name="Freeform: Shape 3593">
                      <a:extLst>
                        <a:ext uri="{FF2B5EF4-FFF2-40B4-BE49-F238E27FC236}">
                          <a16:creationId xmlns:a16="http://schemas.microsoft.com/office/drawing/2014/main" id="{68CB883A-A099-4ECD-ACA3-BBA25A80B465}"/>
                        </a:ext>
                      </a:extLst>
                    </p:cNvPr>
                    <p:cNvSpPr/>
                    <p:nvPr/>
                  </p:nvSpPr>
                  <p:spPr>
                    <a:xfrm>
                      <a:off x="5965247" y="1481265"/>
                      <a:ext cx="7167" cy="50915"/>
                    </a:xfrm>
                    <a:custGeom>
                      <a:avLst/>
                      <a:gdLst>
                        <a:gd name="connsiteX0" fmla="*/ 5164 w 7167"/>
                        <a:gd name="connsiteY0" fmla="*/ 50038 h 50915"/>
                        <a:gd name="connsiteX1" fmla="*/ 4827 w 7167"/>
                        <a:gd name="connsiteY1" fmla="*/ 46809 h 50915"/>
                        <a:gd name="connsiteX2" fmla="*/ 4678 w 7167"/>
                        <a:gd name="connsiteY2" fmla="*/ 43617 h 50915"/>
                        <a:gd name="connsiteX3" fmla="*/ 4678 w 7167"/>
                        <a:gd name="connsiteY3" fmla="*/ 40425 h 50915"/>
                        <a:gd name="connsiteX4" fmla="*/ 4478 w 7167"/>
                        <a:gd name="connsiteY4" fmla="*/ 37395 h 50915"/>
                        <a:gd name="connsiteX5" fmla="*/ 3194 w 7167"/>
                        <a:gd name="connsiteY5" fmla="*/ 31298 h 50915"/>
                        <a:gd name="connsiteX6" fmla="*/ 1660 w 7167"/>
                        <a:gd name="connsiteY6" fmla="*/ 25163 h 50915"/>
                        <a:gd name="connsiteX7" fmla="*/ 27 w 7167"/>
                        <a:gd name="connsiteY7" fmla="*/ 12594 h 50915"/>
                        <a:gd name="connsiteX8" fmla="*/ 937 w 7167"/>
                        <a:gd name="connsiteY8" fmla="*/ 0 h 50915"/>
                        <a:gd name="connsiteX9" fmla="*/ 526 w 7167"/>
                        <a:gd name="connsiteY9" fmla="*/ 12569 h 50915"/>
                        <a:gd name="connsiteX10" fmla="*/ 2633 w 7167"/>
                        <a:gd name="connsiteY10" fmla="*/ 24926 h 50915"/>
                        <a:gd name="connsiteX11" fmla="*/ 4403 w 7167"/>
                        <a:gd name="connsiteY11" fmla="*/ 30973 h 50915"/>
                        <a:gd name="connsiteX12" fmla="*/ 5962 w 7167"/>
                        <a:gd name="connsiteY12" fmla="*/ 37170 h 50915"/>
                        <a:gd name="connsiteX13" fmla="*/ 6299 w 7167"/>
                        <a:gd name="connsiteY13" fmla="*/ 40425 h 50915"/>
                        <a:gd name="connsiteX14" fmla="*/ 6436 w 7167"/>
                        <a:gd name="connsiteY14" fmla="*/ 43542 h 50915"/>
                        <a:gd name="connsiteX15" fmla="*/ 6710 w 7167"/>
                        <a:gd name="connsiteY15" fmla="*/ 46647 h 50915"/>
                        <a:gd name="connsiteX16" fmla="*/ 7147 w 7167"/>
                        <a:gd name="connsiteY16" fmla="*/ 49689 h 50915"/>
                        <a:gd name="connsiteX17" fmla="*/ 6349 w 7167"/>
                        <a:gd name="connsiteY17" fmla="*/ 50899 h 50915"/>
                        <a:gd name="connsiteX18" fmla="*/ 5164 w 7167"/>
                        <a:gd name="connsiteY18" fmla="*/ 50088 h 50915"/>
                        <a:gd name="connsiteX19" fmla="*/ 5164 w 7167"/>
                        <a:gd name="connsiteY19" fmla="*/ 50051 h 5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 h="50915">
                          <a:moveTo>
                            <a:pt x="5164" y="50038"/>
                          </a:moveTo>
                          <a:cubicBezTo>
                            <a:pt x="5002" y="48929"/>
                            <a:pt x="4902" y="47881"/>
                            <a:pt x="4827" y="46809"/>
                          </a:cubicBezTo>
                          <a:cubicBezTo>
                            <a:pt x="4752" y="45737"/>
                            <a:pt x="4703" y="44677"/>
                            <a:pt x="4678" y="43617"/>
                          </a:cubicBezTo>
                          <a:cubicBezTo>
                            <a:pt x="4653" y="42557"/>
                            <a:pt x="4653" y="41485"/>
                            <a:pt x="4678" y="40425"/>
                          </a:cubicBezTo>
                          <a:cubicBezTo>
                            <a:pt x="4678" y="39427"/>
                            <a:pt x="4628" y="38417"/>
                            <a:pt x="4478" y="37395"/>
                          </a:cubicBezTo>
                          <a:cubicBezTo>
                            <a:pt x="4204" y="35362"/>
                            <a:pt x="3705" y="33330"/>
                            <a:pt x="3194" y="31298"/>
                          </a:cubicBezTo>
                          <a:cubicBezTo>
                            <a:pt x="2670" y="29265"/>
                            <a:pt x="2122" y="27220"/>
                            <a:pt x="1660" y="25163"/>
                          </a:cubicBezTo>
                          <a:cubicBezTo>
                            <a:pt x="688" y="21035"/>
                            <a:pt x="151" y="16808"/>
                            <a:pt x="27" y="12594"/>
                          </a:cubicBezTo>
                          <a:cubicBezTo>
                            <a:pt x="-98" y="8367"/>
                            <a:pt x="214" y="4140"/>
                            <a:pt x="937" y="0"/>
                          </a:cubicBezTo>
                          <a:cubicBezTo>
                            <a:pt x="376" y="4177"/>
                            <a:pt x="239" y="8392"/>
                            <a:pt x="526" y="12569"/>
                          </a:cubicBezTo>
                          <a:cubicBezTo>
                            <a:pt x="812" y="16759"/>
                            <a:pt x="1511" y="20898"/>
                            <a:pt x="2633" y="24926"/>
                          </a:cubicBezTo>
                          <a:cubicBezTo>
                            <a:pt x="3181" y="26946"/>
                            <a:pt x="3805" y="28953"/>
                            <a:pt x="4403" y="30973"/>
                          </a:cubicBezTo>
                          <a:cubicBezTo>
                            <a:pt x="5002" y="32993"/>
                            <a:pt x="5588" y="35038"/>
                            <a:pt x="5962" y="37170"/>
                          </a:cubicBezTo>
                          <a:cubicBezTo>
                            <a:pt x="6149" y="38230"/>
                            <a:pt x="6261" y="39328"/>
                            <a:pt x="6299" y="40425"/>
                          </a:cubicBezTo>
                          <a:cubicBezTo>
                            <a:pt x="6324" y="41460"/>
                            <a:pt x="6361" y="42507"/>
                            <a:pt x="6436" y="43542"/>
                          </a:cubicBezTo>
                          <a:cubicBezTo>
                            <a:pt x="6498" y="44577"/>
                            <a:pt x="6586" y="45612"/>
                            <a:pt x="6710" y="46647"/>
                          </a:cubicBezTo>
                          <a:cubicBezTo>
                            <a:pt x="6822" y="47669"/>
                            <a:pt x="6972" y="48717"/>
                            <a:pt x="7147" y="49689"/>
                          </a:cubicBezTo>
                          <a:cubicBezTo>
                            <a:pt x="7259" y="50263"/>
                            <a:pt x="6897" y="50787"/>
                            <a:pt x="6349" y="50899"/>
                          </a:cubicBezTo>
                          <a:cubicBezTo>
                            <a:pt x="5800" y="50999"/>
                            <a:pt x="5276" y="50637"/>
                            <a:pt x="5164" y="50088"/>
                          </a:cubicBezTo>
                          <a:cubicBezTo>
                            <a:pt x="5164" y="50088"/>
                            <a:pt x="5164" y="50063"/>
                            <a:pt x="5164" y="50051"/>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5" name="Freeform: Shape 3594">
                      <a:extLst>
                        <a:ext uri="{FF2B5EF4-FFF2-40B4-BE49-F238E27FC236}">
                          <a16:creationId xmlns:a16="http://schemas.microsoft.com/office/drawing/2014/main" id="{A67DD1B8-D41A-5D57-B383-4B2165EBFEF7}"/>
                        </a:ext>
                      </a:extLst>
                    </p:cNvPr>
                    <p:cNvSpPr/>
                    <p:nvPr/>
                  </p:nvSpPr>
                  <p:spPr>
                    <a:xfrm>
                      <a:off x="5973251" y="1493385"/>
                      <a:ext cx="3768" cy="38943"/>
                    </a:xfrm>
                    <a:custGeom>
                      <a:avLst/>
                      <a:gdLst>
                        <a:gd name="connsiteX0" fmla="*/ 90 w 3768"/>
                        <a:gd name="connsiteY0" fmla="*/ 37519 h 38943"/>
                        <a:gd name="connsiteX1" fmla="*/ 838 w 3768"/>
                        <a:gd name="connsiteY1" fmla="*/ 35375 h 38943"/>
                        <a:gd name="connsiteX2" fmla="*/ 1437 w 3768"/>
                        <a:gd name="connsiteY2" fmla="*/ 33130 h 38943"/>
                        <a:gd name="connsiteX3" fmla="*/ 2222 w 3768"/>
                        <a:gd name="connsiteY3" fmla="*/ 28517 h 38943"/>
                        <a:gd name="connsiteX4" fmla="*/ 2334 w 3768"/>
                        <a:gd name="connsiteY4" fmla="*/ 27345 h 38943"/>
                        <a:gd name="connsiteX5" fmla="*/ 2397 w 3768"/>
                        <a:gd name="connsiteY5" fmla="*/ 26185 h 38943"/>
                        <a:gd name="connsiteX6" fmla="*/ 2409 w 3768"/>
                        <a:gd name="connsiteY6" fmla="*/ 23828 h 38943"/>
                        <a:gd name="connsiteX7" fmla="*/ 2260 w 3768"/>
                        <a:gd name="connsiteY7" fmla="*/ 19078 h 38943"/>
                        <a:gd name="connsiteX8" fmla="*/ 1848 w 3768"/>
                        <a:gd name="connsiteY8" fmla="*/ 9539 h 38943"/>
                        <a:gd name="connsiteX9" fmla="*/ 2210 w 3768"/>
                        <a:gd name="connsiteY9" fmla="*/ 0 h 38943"/>
                        <a:gd name="connsiteX10" fmla="*/ 2347 w 3768"/>
                        <a:gd name="connsiteY10" fmla="*/ 9514 h 38943"/>
                        <a:gd name="connsiteX11" fmla="*/ 3257 w 3768"/>
                        <a:gd name="connsiteY11" fmla="*/ 19015 h 38943"/>
                        <a:gd name="connsiteX12" fmla="*/ 3656 w 3768"/>
                        <a:gd name="connsiteY12" fmla="*/ 23791 h 38943"/>
                        <a:gd name="connsiteX13" fmla="*/ 3768 w 3768"/>
                        <a:gd name="connsiteY13" fmla="*/ 26210 h 38943"/>
                        <a:gd name="connsiteX14" fmla="*/ 3768 w 3768"/>
                        <a:gd name="connsiteY14" fmla="*/ 27432 h 38943"/>
                        <a:gd name="connsiteX15" fmla="*/ 3718 w 3768"/>
                        <a:gd name="connsiteY15" fmla="*/ 28641 h 38943"/>
                        <a:gd name="connsiteX16" fmla="*/ 3157 w 3768"/>
                        <a:gd name="connsiteY16" fmla="*/ 33479 h 38943"/>
                        <a:gd name="connsiteX17" fmla="*/ 2658 w 3768"/>
                        <a:gd name="connsiteY17" fmla="*/ 35873 h 38943"/>
                        <a:gd name="connsiteX18" fmla="*/ 1960 w 3768"/>
                        <a:gd name="connsiteY18" fmla="*/ 38268 h 38943"/>
                        <a:gd name="connsiteX19" fmla="*/ 676 w 3768"/>
                        <a:gd name="connsiteY19" fmla="*/ 38891 h 38943"/>
                        <a:gd name="connsiteX20" fmla="*/ 52 w 3768"/>
                        <a:gd name="connsiteY20" fmla="*/ 37607 h 38943"/>
                        <a:gd name="connsiteX21" fmla="*/ 90 w 3768"/>
                        <a:gd name="connsiteY21" fmla="*/ 37532 h 3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68" h="38943">
                          <a:moveTo>
                            <a:pt x="90" y="37519"/>
                          </a:moveTo>
                          <a:cubicBezTo>
                            <a:pt x="364" y="36859"/>
                            <a:pt x="614" y="36098"/>
                            <a:pt x="838" y="35375"/>
                          </a:cubicBezTo>
                          <a:cubicBezTo>
                            <a:pt x="1063" y="34639"/>
                            <a:pt x="1262" y="33878"/>
                            <a:pt x="1437" y="33130"/>
                          </a:cubicBezTo>
                          <a:cubicBezTo>
                            <a:pt x="1786" y="31609"/>
                            <a:pt x="2048" y="30075"/>
                            <a:pt x="2222" y="28517"/>
                          </a:cubicBezTo>
                          <a:lnTo>
                            <a:pt x="2334" y="27345"/>
                          </a:lnTo>
                          <a:lnTo>
                            <a:pt x="2397" y="26185"/>
                          </a:lnTo>
                          <a:cubicBezTo>
                            <a:pt x="2409" y="25400"/>
                            <a:pt x="2422" y="24614"/>
                            <a:pt x="2409" y="23828"/>
                          </a:cubicBezTo>
                          <a:cubicBezTo>
                            <a:pt x="2397" y="22245"/>
                            <a:pt x="2334" y="20661"/>
                            <a:pt x="2260" y="19078"/>
                          </a:cubicBezTo>
                          <a:cubicBezTo>
                            <a:pt x="2122" y="15898"/>
                            <a:pt x="1935" y="12718"/>
                            <a:pt x="1848" y="9539"/>
                          </a:cubicBezTo>
                          <a:cubicBezTo>
                            <a:pt x="1786" y="6359"/>
                            <a:pt x="1711" y="3142"/>
                            <a:pt x="2210" y="0"/>
                          </a:cubicBezTo>
                          <a:cubicBezTo>
                            <a:pt x="1873" y="3167"/>
                            <a:pt x="2122" y="6347"/>
                            <a:pt x="2347" y="9514"/>
                          </a:cubicBezTo>
                          <a:cubicBezTo>
                            <a:pt x="2596" y="12681"/>
                            <a:pt x="2945" y="15848"/>
                            <a:pt x="3257" y="19015"/>
                          </a:cubicBezTo>
                          <a:cubicBezTo>
                            <a:pt x="3407" y="20599"/>
                            <a:pt x="3556" y="22195"/>
                            <a:pt x="3656" y="23791"/>
                          </a:cubicBezTo>
                          <a:cubicBezTo>
                            <a:pt x="3718" y="24589"/>
                            <a:pt x="3743" y="25400"/>
                            <a:pt x="3768" y="26210"/>
                          </a:cubicBezTo>
                          <a:lnTo>
                            <a:pt x="3768" y="27432"/>
                          </a:lnTo>
                          <a:cubicBezTo>
                            <a:pt x="3768" y="27432"/>
                            <a:pt x="3718" y="28641"/>
                            <a:pt x="3718" y="28641"/>
                          </a:cubicBezTo>
                          <a:cubicBezTo>
                            <a:pt x="3631" y="30262"/>
                            <a:pt x="3432" y="31871"/>
                            <a:pt x="3157" y="33479"/>
                          </a:cubicBezTo>
                          <a:cubicBezTo>
                            <a:pt x="3008" y="34278"/>
                            <a:pt x="2858" y="35076"/>
                            <a:pt x="2658" y="35873"/>
                          </a:cubicBezTo>
                          <a:cubicBezTo>
                            <a:pt x="2459" y="36671"/>
                            <a:pt x="2247" y="37445"/>
                            <a:pt x="1960" y="38268"/>
                          </a:cubicBezTo>
                          <a:cubicBezTo>
                            <a:pt x="1773" y="38791"/>
                            <a:pt x="1200" y="39066"/>
                            <a:pt x="676" y="38891"/>
                          </a:cubicBezTo>
                          <a:cubicBezTo>
                            <a:pt x="152" y="38704"/>
                            <a:pt x="-122" y="38130"/>
                            <a:pt x="52" y="37607"/>
                          </a:cubicBezTo>
                          <a:cubicBezTo>
                            <a:pt x="65" y="37557"/>
                            <a:pt x="90" y="37532"/>
                            <a:pt x="90" y="3753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596" name="Freeform: Shape 3595">
                    <a:extLst>
                      <a:ext uri="{FF2B5EF4-FFF2-40B4-BE49-F238E27FC236}">
                        <a16:creationId xmlns:a16="http://schemas.microsoft.com/office/drawing/2014/main" id="{F5CF56CB-C497-CB26-379A-ED25D4A70C27}"/>
                      </a:ext>
                    </a:extLst>
                  </p:cNvPr>
                  <p:cNvSpPr/>
                  <p:nvPr/>
                </p:nvSpPr>
                <p:spPr>
                  <a:xfrm>
                    <a:off x="6023105" y="1414531"/>
                    <a:ext cx="16645" cy="111523"/>
                  </a:xfrm>
                  <a:custGeom>
                    <a:avLst/>
                    <a:gdLst>
                      <a:gd name="connsiteX0" fmla="*/ 9452 w 16645"/>
                      <a:gd name="connsiteY0" fmla="*/ 12 h 111523"/>
                      <a:gd name="connsiteX1" fmla="*/ 13429 w 16645"/>
                      <a:gd name="connsiteY1" fmla="*/ 13741 h 111523"/>
                      <a:gd name="connsiteX2" fmla="*/ 15973 w 16645"/>
                      <a:gd name="connsiteY2" fmla="*/ 27843 h 111523"/>
                      <a:gd name="connsiteX3" fmla="*/ 16534 w 16645"/>
                      <a:gd name="connsiteY3" fmla="*/ 42233 h 111523"/>
                      <a:gd name="connsiteX4" fmla="*/ 15798 w 16645"/>
                      <a:gd name="connsiteY4" fmla="*/ 49403 h 111523"/>
                      <a:gd name="connsiteX5" fmla="*/ 15250 w 16645"/>
                      <a:gd name="connsiteY5" fmla="*/ 52956 h 111523"/>
                      <a:gd name="connsiteX6" fmla="*/ 14576 w 16645"/>
                      <a:gd name="connsiteY6" fmla="*/ 56497 h 111523"/>
                      <a:gd name="connsiteX7" fmla="*/ 10823 w 16645"/>
                      <a:gd name="connsiteY7" fmla="*/ 70363 h 111523"/>
                      <a:gd name="connsiteX8" fmla="*/ 8504 w 16645"/>
                      <a:gd name="connsiteY8" fmla="*/ 77121 h 111523"/>
                      <a:gd name="connsiteX9" fmla="*/ 7357 w 16645"/>
                      <a:gd name="connsiteY9" fmla="*/ 80475 h 111523"/>
                      <a:gd name="connsiteX10" fmla="*/ 6821 w 16645"/>
                      <a:gd name="connsiteY10" fmla="*/ 82146 h 111523"/>
                      <a:gd name="connsiteX11" fmla="*/ 6297 w 16645"/>
                      <a:gd name="connsiteY11" fmla="*/ 83867 h 111523"/>
                      <a:gd name="connsiteX12" fmla="*/ 2145 w 16645"/>
                      <a:gd name="connsiteY12" fmla="*/ 97471 h 111523"/>
                      <a:gd name="connsiteX13" fmla="*/ 798 w 16645"/>
                      <a:gd name="connsiteY13" fmla="*/ 104441 h 111523"/>
                      <a:gd name="connsiteX14" fmla="*/ 549 w 16645"/>
                      <a:gd name="connsiteY14" fmla="*/ 106199 h 111523"/>
                      <a:gd name="connsiteX15" fmla="*/ 349 w 16645"/>
                      <a:gd name="connsiteY15" fmla="*/ 107970 h 111523"/>
                      <a:gd name="connsiteX16" fmla="*/ 0 w 16645"/>
                      <a:gd name="connsiteY16" fmla="*/ 111523 h 111523"/>
                      <a:gd name="connsiteX17" fmla="*/ 237 w 16645"/>
                      <a:gd name="connsiteY17" fmla="*/ 104379 h 111523"/>
                      <a:gd name="connsiteX18" fmla="*/ 1160 w 16645"/>
                      <a:gd name="connsiteY18" fmla="*/ 97271 h 111523"/>
                      <a:gd name="connsiteX19" fmla="*/ 2793 w 16645"/>
                      <a:gd name="connsiteY19" fmla="*/ 90276 h 111523"/>
                      <a:gd name="connsiteX20" fmla="*/ 4763 w 16645"/>
                      <a:gd name="connsiteY20" fmla="*/ 83431 h 111523"/>
                      <a:gd name="connsiteX21" fmla="*/ 5224 w 16645"/>
                      <a:gd name="connsiteY21" fmla="*/ 81710 h 111523"/>
                      <a:gd name="connsiteX22" fmla="*/ 5711 w 16645"/>
                      <a:gd name="connsiteY22" fmla="*/ 79964 h 111523"/>
                      <a:gd name="connsiteX23" fmla="*/ 6796 w 16645"/>
                      <a:gd name="connsiteY23" fmla="*/ 76548 h 111523"/>
                      <a:gd name="connsiteX24" fmla="*/ 8978 w 16645"/>
                      <a:gd name="connsiteY24" fmla="*/ 69765 h 111523"/>
                      <a:gd name="connsiteX25" fmla="*/ 12581 w 16645"/>
                      <a:gd name="connsiteY25" fmla="*/ 56073 h 111523"/>
                      <a:gd name="connsiteX26" fmla="*/ 14601 w 16645"/>
                      <a:gd name="connsiteY26" fmla="*/ 42096 h 111523"/>
                      <a:gd name="connsiteX27" fmla="*/ 14389 w 16645"/>
                      <a:gd name="connsiteY27" fmla="*/ 27993 h 111523"/>
                      <a:gd name="connsiteX28" fmla="*/ 12444 w 16645"/>
                      <a:gd name="connsiteY28" fmla="*/ 13928 h 111523"/>
                      <a:gd name="connsiteX29" fmla="*/ 9439 w 16645"/>
                      <a:gd name="connsiteY29" fmla="*/ 0 h 11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645" h="111523">
                        <a:moveTo>
                          <a:pt x="9452" y="12"/>
                        </a:moveTo>
                        <a:cubicBezTo>
                          <a:pt x="11048" y="4501"/>
                          <a:pt x="12307" y="9102"/>
                          <a:pt x="13429" y="13741"/>
                        </a:cubicBezTo>
                        <a:cubicBezTo>
                          <a:pt x="14514" y="18392"/>
                          <a:pt x="15412" y="23093"/>
                          <a:pt x="15973" y="27843"/>
                        </a:cubicBezTo>
                        <a:cubicBezTo>
                          <a:pt x="16559" y="32594"/>
                          <a:pt x="16808" y="37407"/>
                          <a:pt x="16534" y="42233"/>
                        </a:cubicBezTo>
                        <a:cubicBezTo>
                          <a:pt x="16397" y="44639"/>
                          <a:pt x="16110" y="47021"/>
                          <a:pt x="15798" y="49403"/>
                        </a:cubicBezTo>
                        <a:cubicBezTo>
                          <a:pt x="15636" y="50587"/>
                          <a:pt x="15437" y="51772"/>
                          <a:pt x="15250" y="52956"/>
                        </a:cubicBezTo>
                        <a:cubicBezTo>
                          <a:pt x="15025" y="54128"/>
                          <a:pt x="14826" y="55313"/>
                          <a:pt x="14576" y="56497"/>
                        </a:cubicBezTo>
                        <a:cubicBezTo>
                          <a:pt x="13579" y="61186"/>
                          <a:pt x="12307" y="65824"/>
                          <a:pt x="10823" y="70363"/>
                        </a:cubicBezTo>
                        <a:cubicBezTo>
                          <a:pt x="10075" y="72632"/>
                          <a:pt x="9277" y="74889"/>
                          <a:pt x="8504" y="77121"/>
                        </a:cubicBezTo>
                        <a:cubicBezTo>
                          <a:pt x="8117" y="78244"/>
                          <a:pt x="7731" y="79366"/>
                          <a:pt x="7357" y="80475"/>
                        </a:cubicBezTo>
                        <a:cubicBezTo>
                          <a:pt x="7157" y="81037"/>
                          <a:pt x="6995" y="81598"/>
                          <a:pt x="6821" y="82146"/>
                        </a:cubicBezTo>
                        <a:lnTo>
                          <a:pt x="6297" y="83867"/>
                        </a:lnTo>
                        <a:cubicBezTo>
                          <a:pt x="4850" y="88443"/>
                          <a:pt x="3204" y="92857"/>
                          <a:pt x="2145" y="97471"/>
                        </a:cubicBezTo>
                        <a:cubicBezTo>
                          <a:pt x="1584" y="99765"/>
                          <a:pt x="1160" y="102097"/>
                          <a:pt x="798" y="104441"/>
                        </a:cubicBezTo>
                        <a:lnTo>
                          <a:pt x="549" y="106199"/>
                        </a:lnTo>
                        <a:lnTo>
                          <a:pt x="349" y="107970"/>
                        </a:lnTo>
                        <a:cubicBezTo>
                          <a:pt x="187" y="109154"/>
                          <a:pt x="125" y="110339"/>
                          <a:pt x="0" y="111523"/>
                        </a:cubicBezTo>
                        <a:cubicBezTo>
                          <a:pt x="0" y="109142"/>
                          <a:pt x="37" y="106760"/>
                          <a:pt x="237" y="104379"/>
                        </a:cubicBezTo>
                        <a:cubicBezTo>
                          <a:pt x="424" y="101997"/>
                          <a:pt x="736" y="99628"/>
                          <a:pt x="1160" y="97271"/>
                        </a:cubicBezTo>
                        <a:cubicBezTo>
                          <a:pt x="1596" y="94915"/>
                          <a:pt x="2157" y="92583"/>
                          <a:pt x="2793" y="90276"/>
                        </a:cubicBezTo>
                        <a:cubicBezTo>
                          <a:pt x="3417" y="87969"/>
                          <a:pt x="4140" y="85700"/>
                          <a:pt x="4763" y="83431"/>
                        </a:cubicBezTo>
                        <a:lnTo>
                          <a:pt x="5224" y="81710"/>
                        </a:lnTo>
                        <a:cubicBezTo>
                          <a:pt x="5387" y="81124"/>
                          <a:pt x="5536" y="80538"/>
                          <a:pt x="5711" y="79964"/>
                        </a:cubicBezTo>
                        <a:cubicBezTo>
                          <a:pt x="6047" y="78817"/>
                          <a:pt x="6421" y="77682"/>
                          <a:pt x="6796" y="76548"/>
                        </a:cubicBezTo>
                        <a:cubicBezTo>
                          <a:pt x="7531" y="74278"/>
                          <a:pt x="8279" y="72034"/>
                          <a:pt x="8978" y="69765"/>
                        </a:cubicBezTo>
                        <a:cubicBezTo>
                          <a:pt x="10399" y="65251"/>
                          <a:pt x="11634" y="60687"/>
                          <a:pt x="12581" y="56073"/>
                        </a:cubicBezTo>
                        <a:cubicBezTo>
                          <a:pt x="13566" y="51460"/>
                          <a:pt x="14240" y="46784"/>
                          <a:pt x="14601" y="42096"/>
                        </a:cubicBezTo>
                        <a:cubicBezTo>
                          <a:pt x="14975" y="37432"/>
                          <a:pt x="14776" y="32706"/>
                          <a:pt x="14389" y="27993"/>
                        </a:cubicBezTo>
                        <a:cubicBezTo>
                          <a:pt x="13965" y="23292"/>
                          <a:pt x="13292" y="18591"/>
                          <a:pt x="12444" y="13928"/>
                        </a:cubicBezTo>
                        <a:cubicBezTo>
                          <a:pt x="11609" y="9264"/>
                          <a:pt x="10599" y="4614"/>
                          <a:pt x="9439" y="0"/>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97" name="Freeform: Shape 3596">
                    <a:extLst>
                      <a:ext uri="{FF2B5EF4-FFF2-40B4-BE49-F238E27FC236}">
                        <a16:creationId xmlns:a16="http://schemas.microsoft.com/office/drawing/2014/main" id="{4A819F4F-E8E8-F246-F5A9-CA306046DD77}"/>
                      </a:ext>
                    </a:extLst>
                  </p:cNvPr>
                  <p:cNvSpPr/>
                  <p:nvPr/>
                </p:nvSpPr>
                <p:spPr>
                  <a:xfrm>
                    <a:off x="5972917" y="1485505"/>
                    <a:ext cx="47182" cy="5828"/>
                  </a:xfrm>
                  <a:custGeom>
                    <a:avLst/>
                    <a:gdLst>
                      <a:gd name="connsiteX0" fmla="*/ 47183 w 47182"/>
                      <a:gd name="connsiteY0" fmla="*/ 2369 h 5828"/>
                      <a:gd name="connsiteX1" fmla="*/ 35475 w 47182"/>
                      <a:gd name="connsiteY1" fmla="*/ 5237 h 5828"/>
                      <a:gd name="connsiteX2" fmla="*/ 32469 w 47182"/>
                      <a:gd name="connsiteY2" fmla="*/ 5574 h 5828"/>
                      <a:gd name="connsiteX3" fmla="*/ 29440 w 47182"/>
                      <a:gd name="connsiteY3" fmla="*/ 5773 h 5828"/>
                      <a:gd name="connsiteX4" fmla="*/ 26409 w 47182"/>
                      <a:gd name="connsiteY4" fmla="*/ 5823 h 5828"/>
                      <a:gd name="connsiteX5" fmla="*/ 24888 w 47182"/>
                      <a:gd name="connsiteY5" fmla="*/ 5798 h 5828"/>
                      <a:gd name="connsiteX6" fmla="*/ 23367 w 47182"/>
                      <a:gd name="connsiteY6" fmla="*/ 5736 h 5828"/>
                      <a:gd name="connsiteX7" fmla="*/ 21846 w 47182"/>
                      <a:gd name="connsiteY7" fmla="*/ 5661 h 5828"/>
                      <a:gd name="connsiteX8" fmla="*/ 20337 w 47182"/>
                      <a:gd name="connsiteY8" fmla="*/ 5511 h 5828"/>
                      <a:gd name="connsiteX9" fmla="*/ 17320 w 47182"/>
                      <a:gd name="connsiteY9" fmla="*/ 5175 h 5828"/>
                      <a:gd name="connsiteX10" fmla="*/ 11372 w 47182"/>
                      <a:gd name="connsiteY10" fmla="*/ 4015 h 5828"/>
                      <a:gd name="connsiteX11" fmla="*/ 0 w 47182"/>
                      <a:gd name="connsiteY11" fmla="*/ 0 h 5828"/>
                      <a:gd name="connsiteX12" fmla="*/ 2930 w 47182"/>
                      <a:gd name="connsiteY12" fmla="*/ 686 h 5828"/>
                      <a:gd name="connsiteX13" fmla="*/ 4377 w 47182"/>
                      <a:gd name="connsiteY13" fmla="*/ 1060 h 5828"/>
                      <a:gd name="connsiteX14" fmla="*/ 5835 w 47182"/>
                      <a:gd name="connsiteY14" fmla="*/ 1372 h 5828"/>
                      <a:gd name="connsiteX15" fmla="*/ 8753 w 47182"/>
                      <a:gd name="connsiteY15" fmla="*/ 1983 h 5828"/>
                      <a:gd name="connsiteX16" fmla="*/ 10212 w 47182"/>
                      <a:gd name="connsiteY16" fmla="*/ 2244 h 5828"/>
                      <a:gd name="connsiteX17" fmla="*/ 11684 w 47182"/>
                      <a:gd name="connsiteY17" fmla="*/ 2481 h 5828"/>
                      <a:gd name="connsiteX18" fmla="*/ 17556 w 47182"/>
                      <a:gd name="connsiteY18" fmla="*/ 3279 h 5828"/>
                      <a:gd name="connsiteX19" fmla="*/ 20512 w 47182"/>
                      <a:gd name="connsiteY19" fmla="*/ 3529 h 5828"/>
                      <a:gd name="connsiteX20" fmla="*/ 21983 w 47182"/>
                      <a:gd name="connsiteY20" fmla="*/ 3654 h 5828"/>
                      <a:gd name="connsiteX21" fmla="*/ 23467 w 47182"/>
                      <a:gd name="connsiteY21" fmla="*/ 3716 h 5828"/>
                      <a:gd name="connsiteX22" fmla="*/ 26422 w 47182"/>
                      <a:gd name="connsiteY22" fmla="*/ 3828 h 5828"/>
                      <a:gd name="connsiteX23" fmla="*/ 29390 w 47182"/>
                      <a:gd name="connsiteY23" fmla="*/ 3865 h 5828"/>
                      <a:gd name="connsiteX24" fmla="*/ 32357 w 47182"/>
                      <a:gd name="connsiteY24" fmla="*/ 3803 h 5828"/>
                      <a:gd name="connsiteX25" fmla="*/ 33841 w 47182"/>
                      <a:gd name="connsiteY25" fmla="*/ 3741 h 5828"/>
                      <a:gd name="connsiteX26" fmla="*/ 35325 w 47182"/>
                      <a:gd name="connsiteY26" fmla="*/ 3678 h 5828"/>
                      <a:gd name="connsiteX27" fmla="*/ 47183 w 47182"/>
                      <a:gd name="connsiteY27" fmla="*/ 2382 h 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182" h="5828">
                        <a:moveTo>
                          <a:pt x="47183" y="2369"/>
                        </a:moveTo>
                        <a:cubicBezTo>
                          <a:pt x="43442" y="3841"/>
                          <a:pt x="39465" y="4701"/>
                          <a:pt x="35475" y="5237"/>
                        </a:cubicBezTo>
                        <a:cubicBezTo>
                          <a:pt x="34477" y="5349"/>
                          <a:pt x="33467" y="5499"/>
                          <a:pt x="32469" y="5574"/>
                        </a:cubicBezTo>
                        <a:cubicBezTo>
                          <a:pt x="31459" y="5649"/>
                          <a:pt x="30449" y="5711"/>
                          <a:pt x="29440" y="5773"/>
                        </a:cubicBezTo>
                        <a:lnTo>
                          <a:pt x="26409" y="5823"/>
                        </a:lnTo>
                        <a:cubicBezTo>
                          <a:pt x="25898" y="5836"/>
                          <a:pt x="25400" y="5823"/>
                          <a:pt x="24888" y="5798"/>
                        </a:cubicBezTo>
                        <a:lnTo>
                          <a:pt x="23367" y="5736"/>
                        </a:lnTo>
                        <a:lnTo>
                          <a:pt x="21846" y="5661"/>
                        </a:lnTo>
                        <a:lnTo>
                          <a:pt x="20337" y="5511"/>
                        </a:lnTo>
                        <a:cubicBezTo>
                          <a:pt x="19327" y="5399"/>
                          <a:pt x="18317" y="5324"/>
                          <a:pt x="17320" y="5175"/>
                        </a:cubicBezTo>
                        <a:cubicBezTo>
                          <a:pt x="15324" y="4838"/>
                          <a:pt x="13317" y="4564"/>
                          <a:pt x="11372" y="4015"/>
                        </a:cubicBezTo>
                        <a:cubicBezTo>
                          <a:pt x="7432" y="3142"/>
                          <a:pt x="3628" y="1696"/>
                          <a:pt x="0" y="0"/>
                        </a:cubicBezTo>
                        <a:cubicBezTo>
                          <a:pt x="985" y="212"/>
                          <a:pt x="1958" y="449"/>
                          <a:pt x="2930" y="686"/>
                        </a:cubicBezTo>
                        <a:cubicBezTo>
                          <a:pt x="3417" y="798"/>
                          <a:pt x="3890" y="935"/>
                          <a:pt x="4377" y="1060"/>
                        </a:cubicBezTo>
                        <a:cubicBezTo>
                          <a:pt x="4850" y="1197"/>
                          <a:pt x="5349" y="1259"/>
                          <a:pt x="5835" y="1372"/>
                        </a:cubicBezTo>
                        <a:lnTo>
                          <a:pt x="8753" y="1983"/>
                        </a:lnTo>
                        <a:cubicBezTo>
                          <a:pt x="9239" y="2095"/>
                          <a:pt x="9726" y="2170"/>
                          <a:pt x="10212" y="2244"/>
                        </a:cubicBezTo>
                        <a:lnTo>
                          <a:pt x="11684" y="2481"/>
                        </a:lnTo>
                        <a:cubicBezTo>
                          <a:pt x="13629" y="2843"/>
                          <a:pt x="15599" y="3030"/>
                          <a:pt x="17556" y="3279"/>
                        </a:cubicBezTo>
                        <a:cubicBezTo>
                          <a:pt x="18542" y="3392"/>
                          <a:pt x="19526" y="3441"/>
                          <a:pt x="20512" y="3529"/>
                        </a:cubicBezTo>
                        <a:lnTo>
                          <a:pt x="21983" y="3654"/>
                        </a:lnTo>
                        <a:lnTo>
                          <a:pt x="23467" y="3716"/>
                        </a:lnTo>
                        <a:cubicBezTo>
                          <a:pt x="24452" y="3753"/>
                          <a:pt x="25437" y="3828"/>
                          <a:pt x="26422" y="3828"/>
                        </a:cubicBezTo>
                        <a:lnTo>
                          <a:pt x="29390" y="3865"/>
                        </a:lnTo>
                        <a:lnTo>
                          <a:pt x="32357" y="3803"/>
                        </a:lnTo>
                        <a:cubicBezTo>
                          <a:pt x="32856" y="3803"/>
                          <a:pt x="33342" y="3766"/>
                          <a:pt x="33841" y="3741"/>
                        </a:cubicBezTo>
                        <a:lnTo>
                          <a:pt x="35325" y="3678"/>
                        </a:lnTo>
                        <a:cubicBezTo>
                          <a:pt x="39278" y="3441"/>
                          <a:pt x="43230" y="3043"/>
                          <a:pt x="47183" y="238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598" name="Graphic 525">
              <a:extLst>
                <a:ext uri="{FF2B5EF4-FFF2-40B4-BE49-F238E27FC236}">
                  <a16:creationId xmlns:a16="http://schemas.microsoft.com/office/drawing/2014/main" id="{051BD04E-2321-7484-F5E5-802146B2644A}"/>
                </a:ext>
              </a:extLst>
            </p:cNvPr>
            <p:cNvGrpSpPr/>
            <p:nvPr/>
          </p:nvGrpSpPr>
          <p:grpSpPr>
            <a:xfrm>
              <a:off x="3674801" y="1819843"/>
              <a:ext cx="301779" cy="399827"/>
              <a:chOff x="5832356" y="1630180"/>
              <a:chExt cx="363958" cy="482208"/>
            </a:xfrm>
          </p:grpSpPr>
          <p:sp>
            <p:nvSpPr>
              <p:cNvPr id="3599" name="Freeform: Shape 3598">
                <a:extLst>
                  <a:ext uri="{FF2B5EF4-FFF2-40B4-BE49-F238E27FC236}">
                    <a16:creationId xmlns:a16="http://schemas.microsoft.com/office/drawing/2014/main" id="{9E70247E-A245-5BB4-EA10-510CC80A5D7E}"/>
                  </a:ext>
                </a:extLst>
              </p:cNvPr>
              <p:cNvSpPr/>
              <p:nvPr/>
            </p:nvSpPr>
            <p:spPr>
              <a:xfrm>
                <a:off x="5835308" y="1632962"/>
                <a:ext cx="358398" cy="163508"/>
              </a:xfrm>
              <a:custGeom>
                <a:avLst/>
                <a:gdLst>
                  <a:gd name="connsiteX0" fmla="*/ 23579 w 358398"/>
                  <a:gd name="connsiteY0" fmla="*/ 118832 h 163508"/>
                  <a:gd name="connsiteX1" fmla="*/ 19327 w 358398"/>
                  <a:gd name="connsiteY1" fmla="*/ 24603 h 163508"/>
                  <a:gd name="connsiteX2" fmla="*/ 94790 w 358398"/>
                  <a:gd name="connsiteY2" fmla="*/ 600 h 163508"/>
                  <a:gd name="connsiteX3" fmla="*/ 252312 w 358398"/>
                  <a:gd name="connsiteY3" fmla="*/ 38781 h 163508"/>
                  <a:gd name="connsiteX4" fmla="*/ 330206 w 358398"/>
                  <a:gd name="connsiteY4" fmla="*/ 70515 h 163508"/>
                  <a:gd name="connsiteX5" fmla="*/ 355980 w 358398"/>
                  <a:gd name="connsiteY5" fmla="*/ 127623 h 163508"/>
                  <a:gd name="connsiteX6" fmla="*/ 285230 w 358398"/>
                  <a:gd name="connsiteY6" fmla="*/ 163509 h 163508"/>
                  <a:gd name="connsiteX7" fmla="*/ 161637 w 358398"/>
                  <a:gd name="connsiteY7" fmla="*/ 157998 h 163508"/>
                  <a:gd name="connsiteX8" fmla="*/ 23591 w 358398"/>
                  <a:gd name="connsiteY8" fmla="*/ 118832 h 16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398" h="163508">
                    <a:moveTo>
                      <a:pt x="23579" y="118832"/>
                    </a:moveTo>
                    <a:cubicBezTo>
                      <a:pt x="-6160" y="95228"/>
                      <a:pt x="-7980" y="50988"/>
                      <a:pt x="19327" y="24603"/>
                    </a:cubicBezTo>
                    <a:cubicBezTo>
                      <a:pt x="34240" y="10202"/>
                      <a:pt x="58193" y="-3003"/>
                      <a:pt x="94790" y="600"/>
                    </a:cubicBezTo>
                    <a:cubicBezTo>
                      <a:pt x="169542" y="7957"/>
                      <a:pt x="194854" y="17932"/>
                      <a:pt x="252312" y="38781"/>
                    </a:cubicBezTo>
                    <a:cubicBezTo>
                      <a:pt x="293821" y="53843"/>
                      <a:pt x="302226" y="55938"/>
                      <a:pt x="330206" y="70515"/>
                    </a:cubicBezTo>
                    <a:cubicBezTo>
                      <a:pt x="358187" y="85091"/>
                      <a:pt x="361928" y="112598"/>
                      <a:pt x="355980" y="127623"/>
                    </a:cubicBezTo>
                    <a:cubicBezTo>
                      <a:pt x="350032" y="142636"/>
                      <a:pt x="334246" y="163509"/>
                      <a:pt x="285230" y="163509"/>
                    </a:cubicBezTo>
                    <a:cubicBezTo>
                      <a:pt x="240142" y="163509"/>
                      <a:pt x="206737" y="163534"/>
                      <a:pt x="161637" y="157998"/>
                    </a:cubicBezTo>
                    <a:cubicBezTo>
                      <a:pt x="131100" y="154245"/>
                      <a:pt x="61684" y="149057"/>
                      <a:pt x="23591" y="11883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00" name="Graphic 525">
                <a:extLst>
                  <a:ext uri="{FF2B5EF4-FFF2-40B4-BE49-F238E27FC236}">
                    <a16:creationId xmlns:a16="http://schemas.microsoft.com/office/drawing/2014/main" id="{A7C680BE-6265-CFF6-A427-58CF042668A4}"/>
                  </a:ext>
                </a:extLst>
              </p:cNvPr>
              <p:cNvGrpSpPr/>
              <p:nvPr/>
            </p:nvGrpSpPr>
            <p:grpSpPr>
              <a:xfrm>
                <a:off x="5832356" y="1630180"/>
                <a:ext cx="363958" cy="171167"/>
                <a:chOff x="5832356" y="1630180"/>
                <a:chExt cx="363958" cy="171167"/>
              </a:xfrm>
            </p:grpSpPr>
            <p:sp>
              <p:nvSpPr>
                <p:cNvPr id="3601" name="Freeform: Shape 3600">
                  <a:extLst>
                    <a:ext uri="{FF2B5EF4-FFF2-40B4-BE49-F238E27FC236}">
                      <a16:creationId xmlns:a16="http://schemas.microsoft.com/office/drawing/2014/main" id="{4D2B1764-711B-FD65-620E-6689FE929106}"/>
                    </a:ext>
                  </a:extLst>
                </p:cNvPr>
                <p:cNvSpPr/>
                <p:nvPr/>
              </p:nvSpPr>
              <p:spPr>
                <a:xfrm>
                  <a:off x="5832356" y="1630180"/>
                  <a:ext cx="363958" cy="171153"/>
                </a:xfrm>
                <a:custGeom>
                  <a:avLst/>
                  <a:gdLst>
                    <a:gd name="connsiteX0" fmla="*/ 1631 w 363958"/>
                    <a:gd name="connsiteY0" fmla="*/ 58135 h 171153"/>
                    <a:gd name="connsiteX1" fmla="*/ 79463 w 363958"/>
                    <a:gd name="connsiteY1" fmla="*/ 16 h 171153"/>
                    <a:gd name="connsiteX2" fmla="*/ 214391 w 363958"/>
                    <a:gd name="connsiteY2" fmla="*/ 24780 h 171153"/>
                    <a:gd name="connsiteX3" fmla="*/ 359930 w 363958"/>
                    <a:gd name="connsiteY3" fmla="*/ 99071 h 171153"/>
                    <a:gd name="connsiteX4" fmla="*/ 291712 w 363958"/>
                    <a:gd name="connsiteY4" fmla="*/ 169322 h 171153"/>
                    <a:gd name="connsiteX5" fmla="*/ 57729 w 363958"/>
                    <a:gd name="connsiteY5" fmla="*/ 141528 h 171153"/>
                    <a:gd name="connsiteX6" fmla="*/ 1631 w 363958"/>
                    <a:gd name="connsiteY6" fmla="*/ 58147 h 171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958" h="171153">
                      <a:moveTo>
                        <a:pt x="1631" y="58135"/>
                      </a:moveTo>
                      <a:cubicBezTo>
                        <a:pt x="1631" y="58135"/>
                        <a:pt x="17292" y="1538"/>
                        <a:pt x="79463" y="16"/>
                      </a:cubicBezTo>
                      <a:cubicBezTo>
                        <a:pt x="79463" y="16"/>
                        <a:pt x="132531" y="-1505"/>
                        <a:pt x="214391" y="24780"/>
                      </a:cubicBezTo>
                      <a:cubicBezTo>
                        <a:pt x="214391" y="24780"/>
                        <a:pt x="346800" y="59656"/>
                        <a:pt x="359930" y="99071"/>
                      </a:cubicBezTo>
                      <a:cubicBezTo>
                        <a:pt x="371626" y="134146"/>
                        <a:pt x="360441" y="161229"/>
                        <a:pt x="291712" y="169322"/>
                      </a:cubicBezTo>
                      <a:cubicBezTo>
                        <a:pt x="220925" y="177651"/>
                        <a:pt x="92593" y="155680"/>
                        <a:pt x="57729" y="141528"/>
                      </a:cubicBezTo>
                      <a:cubicBezTo>
                        <a:pt x="22853" y="127376"/>
                        <a:pt x="-7459" y="99582"/>
                        <a:pt x="1631" y="58147"/>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02" name="Freeform: Shape 3601">
                  <a:extLst>
                    <a:ext uri="{FF2B5EF4-FFF2-40B4-BE49-F238E27FC236}">
                      <a16:creationId xmlns:a16="http://schemas.microsoft.com/office/drawing/2014/main" id="{F75AFB62-FF4F-10FD-E81C-CDFFAC053D31}"/>
                    </a:ext>
                  </a:extLst>
                </p:cNvPr>
                <p:cNvSpPr/>
                <p:nvPr/>
              </p:nvSpPr>
              <p:spPr>
                <a:xfrm>
                  <a:off x="6051734" y="1729911"/>
                  <a:ext cx="56634" cy="71435"/>
                </a:xfrm>
                <a:custGeom>
                  <a:avLst/>
                  <a:gdLst>
                    <a:gd name="connsiteX0" fmla="*/ 35936 w 56634"/>
                    <a:gd name="connsiteY0" fmla="*/ 71423 h 71435"/>
                    <a:gd name="connsiteX1" fmla="*/ 56635 w 56634"/>
                    <a:gd name="connsiteY1" fmla="*/ 0 h 71435"/>
                    <a:gd name="connsiteX2" fmla="*/ 0 w 56634"/>
                    <a:gd name="connsiteY2" fmla="*/ 70139 h 71435"/>
                    <a:gd name="connsiteX3" fmla="*/ 35924 w 56634"/>
                    <a:gd name="connsiteY3" fmla="*/ 71435 h 71435"/>
                  </a:gdLst>
                  <a:ahLst/>
                  <a:cxnLst>
                    <a:cxn ang="0">
                      <a:pos x="connsiteX0" y="connsiteY0"/>
                    </a:cxn>
                    <a:cxn ang="0">
                      <a:pos x="connsiteX1" y="connsiteY1"/>
                    </a:cxn>
                    <a:cxn ang="0">
                      <a:pos x="connsiteX2" y="connsiteY2"/>
                    </a:cxn>
                    <a:cxn ang="0">
                      <a:pos x="connsiteX3" y="connsiteY3"/>
                    </a:cxn>
                  </a:cxnLst>
                  <a:rect l="l" t="t" r="r" b="b"/>
                  <a:pathLst>
                    <a:path w="56634" h="71435">
                      <a:moveTo>
                        <a:pt x="35936" y="71423"/>
                      </a:moveTo>
                      <a:lnTo>
                        <a:pt x="56635" y="0"/>
                      </a:lnTo>
                      <a:cubicBezTo>
                        <a:pt x="29839" y="15861"/>
                        <a:pt x="7481" y="55687"/>
                        <a:pt x="0" y="70139"/>
                      </a:cubicBezTo>
                      <a:cubicBezTo>
                        <a:pt x="12357" y="70949"/>
                        <a:pt x="24452" y="71411"/>
                        <a:pt x="35924" y="71435"/>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03" name="Graphic 525">
                <a:extLst>
                  <a:ext uri="{FF2B5EF4-FFF2-40B4-BE49-F238E27FC236}">
                    <a16:creationId xmlns:a16="http://schemas.microsoft.com/office/drawing/2014/main" id="{5CB4EAF3-21FC-90B5-B5F8-E6D62953F722}"/>
                  </a:ext>
                </a:extLst>
              </p:cNvPr>
              <p:cNvGrpSpPr/>
              <p:nvPr/>
            </p:nvGrpSpPr>
            <p:grpSpPr>
              <a:xfrm>
                <a:off x="5987190" y="1974728"/>
                <a:ext cx="168692" cy="137659"/>
                <a:chOff x="5987190" y="1974728"/>
                <a:chExt cx="168692" cy="137659"/>
              </a:xfrm>
            </p:grpSpPr>
            <p:grpSp>
              <p:nvGrpSpPr>
                <p:cNvPr id="3604" name="Graphic 525">
                  <a:extLst>
                    <a:ext uri="{FF2B5EF4-FFF2-40B4-BE49-F238E27FC236}">
                      <a16:creationId xmlns:a16="http://schemas.microsoft.com/office/drawing/2014/main" id="{DD8FD211-9454-8B24-CCB4-CA5697948F2A}"/>
                    </a:ext>
                  </a:extLst>
                </p:cNvPr>
                <p:cNvGrpSpPr/>
                <p:nvPr/>
              </p:nvGrpSpPr>
              <p:grpSpPr>
                <a:xfrm>
                  <a:off x="5987190" y="2065255"/>
                  <a:ext cx="168653" cy="47133"/>
                  <a:chOff x="5987190" y="2065255"/>
                  <a:chExt cx="168653" cy="47133"/>
                </a:xfrm>
              </p:grpSpPr>
              <p:grpSp>
                <p:nvGrpSpPr>
                  <p:cNvPr id="3605" name="Graphic 525">
                    <a:extLst>
                      <a:ext uri="{FF2B5EF4-FFF2-40B4-BE49-F238E27FC236}">
                        <a16:creationId xmlns:a16="http://schemas.microsoft.com/office/drawing/2014/main" id="{745DA8FD-7E37-7193-7C27-713A348BA3F8}"/>
                      </a:ext>
                    </a:extLst>
                  </p:cNvPr>
                  <p:cNvGrpSpPr/>
                  <p:nvPr/>
                </p:nvGrpSpPr>
                <p:grpSpPr>
                  <a:xfrm>
                    <a:off x="5988990" y="2081664"/>
                    <a:ext cx="41783" cy="30723"/>
                    <a:chOff x="5988990" y="2081664"/>
                    <a:chExt cx="41783" cy="30723"/>
                  </a:xfrm>
                </p:grpSpPr>
                <p:sp>
                  <p:nvSpPr>
                    <p:cNvPr id="3606" name="Freeform: Shape 3605">
                      <a:extLst>
                        <a:ext uri="{FF2B5EF4-FFF2-40B4-BE49-F238E27FC236}">
                          <a16:creationId xmlns:a16="http://schemas.microsoft.com/office/drawing/2014/main" id="{09236739-625E-D760-3EF6-F78375BCC416}"/>
                        </a:ext>
                      </a:extLst>
                    </p:cNvPr>
                    <p:cNvSpPr/>
                    <p:nvPr/>
                  </p:nvSpPr>
                  <p:spPr>
                    <a:xfrm>
                      <a:off x="5988990" y="2081664"/>
                      <a:ext cx="29763" cy="30723"/>
                    </a:xfrm>
                    <a:custGeom>
                      <a:avLst/>
                      <a:gdLst>
                        <a:gd name="connsiteX0" fmla="*/ 0 w 29763"/>
                        <a:gd name="connsiteY0" fmla="*/ 7793 h 30723"/>
                        <a:gd name="connsiteX1" fmla="*/ 26584 w 29763"/>
                        <a:gd name="connsiteY1" fmla="*/ 30724 h 30723"/>
                        <a:gd name="connsiteX2" fmla="*/ 29764 w 29763"/>
                        <a:gd name="connsiteY2" fmla="*/ 30537 h 30723"/>
                        <a:gd name="connsiteX3" fmla="*/ 29764 w 29763"/>
                        <a:gd name="connsiteY3" fmla="*/ 7070 h 30723"/>
                        <a:gd name="connsiteX4" fmla="*/ 0 w 29763"/>
                        <a:gd name="connsiteY4" fmla="*/ 0 h 30723"/>
                        <a:gd name="connsiteX5" fmla="*/ 0 w 29763"/>
                        <a:gd name="connsiteY5" fmla="*/ 7806 h 3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63" h="30723">
                          <a:moveTo>
                            <a:pt x="0" y="7793"/>
                          </a:moveTo>
                          <a:cubicBezTo>
                            <a:pt x="8155" y="16297"/>
                            <a:pt x="17058" y="23966"/>
                            <a:pt x="26584" y="30724"/>
                          </a:cubicBezTo>
                          <a:cubicBezTo>
                            <a:pt x="27606" y="30674"/>
                            <a:pt x="28666" y="30612"/>
                            <a:pt x="29764" y="30537"/>
                          </a:cubicBezTo>
                          <a:lnTo>
                            <a:pt x="29764" y="7070"/>
                          </a:lnTo>
                          <a:lnTo>
                            <a:pt x="0" y="0"/>
                          </a:lnTo>
                          <a:lnTo>
                            <a:pt x="0" y="7806"/>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07" name="Freeform: Shape 3606">
                      <a:extLst>
                        <a:ext uri="{FF2B5EF4-FFF2-40B4-BE49-F238E27FC236}">
                          <a16:creationId xmlns:a16="http://schemas.microsoft.com/office/drawing/2014/main" id="{6B678C10-F84B-2D1E-1BF2-080026DA4EC6}"/>
                        </a:ext>
                      </a:extLst>
                    </p:cNvPr>
                    <p:cNvSpPr/>
                    <p:nvPr/>
                  </p:nvSpPr>
                  <p:spPr>
                    <a:xfrm>
                      <a:off x="6018754" y="2088722"/>
                      <a:ext cx="12020" cy="23479"/>
                    </a:xfrm>
                    <a:custGeom>
                      <a:avLst/>
                      <a:gdLst>
                        <a:gd name="connsiteX0" fmla="*/ 0 w 12020"/>
                        <a:gd name="connsiteY0" fmla="*/ 23479 h 23479"/>
                        <a:gd name="connsiteX1" fmla="*/ 11297 w 12020"/>
                        <a:gd name="connsiteY1" fmla="*/ 18517 h 23479"/>
                        <a:gd name="connsiteX2" fmla="*/ 12020 w 12020"/>
                        <a:gd name="connsiteY2" fmla="*/ 17407 h 23479"/>
                        <a:gd name="connsiteX3" fmla="*/ 12020 w 12020"/>
                        <a:gd name="connsiteY3" fmla="*/ 0 h 23479"/>
                        <a:gd name="connsiteX4" fmla="*/ 0 w 12020"/>
                        <a:gd name="connsiteY4" fmla="*/ 0 h 23479"/>
                        <a:gd name="connsiteX5" fmla="*/ 0 w 12020"/>
                        <a:gd name="connsiteY5" fmla="*/ 23467 h 2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20" h="23479">
                          <a:moveTo>
                            <a:pt x="0" y="23479"/>
                          </a:moveTo>
                          <a:lnTo>
                            <a:pt x="11297" y="18517"/>
                          </a:lnTo>
                          <a:cubicBezTo>
                            <a:pt x="11733" y="18317"/>
                            <a:pt x="12020" y="17881"/>
                            <a:pt x="12020" y="17407"/>
                          </a:cubicBezTo>
                          <a:lnTo>
                            <a:pt x="12020" y="0"/>
                          </a:lnTo>
                          <a:lnTo>
                            <a:pt x="0" y="0"/>
                          </a:lnTo>
                          <a:lnTo>
                            <a:pt x="0" y="23467"/>
                          </a:lnTo>
                          <a:close/>
                        </a:path>
                      </a:pathLst>
                    </a:custGeom>
                    <a:solidFill>
                      <a:srgbClr val="D8D8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08" name="Graphic 525">
                    <a:extLst>
                      <a:ext uri="{FF2B5EF4-FFF2-40B4-BE49-F238E27FC236}">
                        <a16:creationId xmlns:a16="http://schemas.microsoft.com/office/drawing/2014/main" id="{18E0C59C-7FB7-D77E-2E2A-B7E4B471C56A}"/>
                      </a:ext>
                    </a:extLst>
                  </p:cNvPr>
                  <p:cNvGrpSpPr/>
                  <p:nvPr/>
                </p:nvGrpSpPr>
                <p:grpSpPr>
                  <a:xfrm>
                    <a:off x="5987190" y="2065255"/>
                    <a:ext cx="168653" cy="46059"/>
                    <a:chOff x="5987190" y="2065255"/>
                    <a:chExt cx="168653" cy="46059"/>
                  </a:xfrm>
                </p:grpSpPr>
                <p:sp>
                  <p:nvSpPr>
                    <p:cNvPr id="3609" name="Freeform: Shape 3608">
                      <a:extLst>
                        <a:ext uri="{FF2B5EF4-FFF2-40B4-BE49-F238E27FC236}">
                          <a16:creationId xmlns:a16="http://schemas.microsoft.com/office/drawing/2014/main" id="{866B62D9-1091-D7B1-7AB4-CB3126DC10B6}"/>
                        </a:ext>
                      </a:extLst>
                    </p:cNvPr>
                    <p:cNvSpPr/>
                    <p:nvPr/>
                  </p:nvSpPr>
                  <p:spPr>
                    <a:xfrm>
                      <a:off x="5989295" y="2065255"/>
                      <a:ext cx="166482" cy="39532"/>
                    </a:xfrm>
                    <a:custGeom>
                      <a:avLst/>
                      <a:gdLst>
                        <a:gd name="connsiteX0" fmla="*/ 31 w 166482"/>
                        <a:gd name="connsiteY0" fmla="*/ 673 h 39532"/>
                        <a:gd name="connsiteX1" fmla="*/ 15531 w 166482"/>
                        <a:gd name="connsiteY1" fmla="*/ 3367 h 39532"/>
                        <a:gd name="connsiteX2" fmla="*/ 91230 w 166482"/>
                        <a:gd name="connsiteY2" fmla="*/ 28305 h 39532"/>
                        <a:gd name="connsiteX3" fmla="*/ 145583 w 166482"/>
                        <a:gd name="connsiteY3" fmla="*/ 28080 h 39532"/>
                        <a:gd name="connsiteX4" fmla="*/ 166469 w 166482"/>
                        <a:gd name="connsiteY4" fmla="*/ 28305 h 39532"/>
                        <a:gd name="connsiteX5" fmla="*/ 144685 w 166482"/>
                        <a:gd name="connsiteY5" fmla="*/ 37295 h 39532"/>
                        <a:gd name="connsiteX6" fmla="*/ 68761 w 166482"/>
                        <a:gd name="connsiteY6" fmla="*/ 30113 h 39532"/>
                        <a:gd name="connsiteX7" fmla="*/ 31 w 166482"/>
                        <a:gd name="connsiteY7" fmla="*/ 686 h 3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482" h="39532">
                          <a:moveTo>
                            <a:pt x="31" y="673"/>
                          </a:moveTo>
                          <a:cubicBezTo>
                            <a:pt x="31" y="673"/>
                            <a:pt x="2500" y="-2020"/>
                            <a:pt x="15531" y="3367"/>
                          </a:cubicBezTo>
                          <a:cubicBezTo>
                            <a:pt x="28561" y="8753"/>
                            <a:pt x="76854" y="23579"/>
                            <a:pt x="91230" y="28305"/>
                          </a:cubicBezTo>
                          <a:cubicBezTo>
                            <a:pt x="105607" y="33018"/>
                            <a:pt x="135034" y="29651"/>
                            <a:pt x="145583" y="28080"/>
                          </a:cubicBezTo>
                          <a:cubicBezTo>
                            <a:pt x="156145" y="26509"/>
                            <a:pt x="166918" y="25387"/>
                            <a:pt x="166469" y="28305"/>
                          </a:cubicBezTo>
                          <a:cubicBezTo>
                            <a:pt x="166469" y="28305"/>
                            <a:pt x="162653" y="34814"/>
                            <a:pt x="144685" y="37295"/>
                          </a:cubicBezTo>
                          <a:cubicBezTo>
                            <a:pt x="126718" y="39764"/>
                            <a:pt x="96617" y="42906"/>
                            <a:pt x="68761" y="30113"/>
                          </a:cubicBezTo>
                          <a:cubicBezTo>
                            <a:pt x="40905" y="17307"/>
                            <a:pt x="-1315" y="16185"/>
                            <a:pt x="31" y="686"/>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10" name="Freeform: Shape 3609">
                      <a:extLst>
                        <a:ext uri="{FF2B5EF4-FFF2-40B4-BE49-F238E27FC236}">
                          <a16:creationId xmlns:a16="http://schemas.microsoft.com/office/drawing/2014/main" id="{D8F093CE-C8CC-7974-B1B3-DFDD6A5EFF92}"/>
                        </a:ext>
                      </a:extLst>
                    </p:cNvPr>
                    <p:cNvSpPr/>
                    <p:nvPr/>
                  </p:nvSpPr>
                  <p:spPr>
                    <a:xfrm>
                      <a:off x="5987190" y="2065928"/>
                      <a:ext cx="168653" cy="45385"/>
                    </a:xfrm>
                    <a:custGeom>
                      <a:avLst/>
                      <a:gdLst>
                        <a:gd name="connsiteX0" fmla="*/ 2136 w 168653"/>
                        <a:gd name="connsiteY0" fmla="*/ 0 h 45385"/>
                        <a:gd name="connsiteX1" fmla="*/ 91 w 168653"/>
                        <a:gd name="connsiteY1" fmla="*/ 12980 h 45385"/>
                        <a:gd name="connsiteX2" fmla="*/ 2660 w 168653"/>
                        <a:gd name="connsiteY2" fmla="*/ 16247 h 45385"/>
                        <a:gd name="connsiteX3" fmla="*/ 43683 w 168653"/>
                        <a:gd name="connsiteY3" fmla="*/ 28068 h 45385"/>
                        <a:gd name="connsiteX4" fmla="*/ 82574 w 168653"/>
                        <a:gd name="connsiteY4" fmla="*/ 42071 h 45385"/>
                        <a:gd name="connsiteX5" fmla="*/ 90554 w 168653"/>
                        <a:gd name="connsiteY5" fmla="*/ 44278 h 45385"/>
                        <a:gd name="connsiteX6" fmla="*/ 164783 w 168653"/>
                        <a:gd name="connsiteY6" fmla="*/ 39664 h 45385"/>
                        <a:gd name="connsiteX7" fmla="*/ 168424 w 168653"/>
                        <a:gd name="connsiteY7" fmla="*/ 35412 h 45385"/>
                        <a:gd name="connsiteX8" fmla="*/ 168561 w 168653"/>
                        <a:gd name="connsiteY8" fmla="*/ 27619 h 45385"/>
                        <a:gd name="connsiteX9" fmla="*/ 108585 w 168653"/>
                        <a:gd name="connsiteY9" fmla="*/ 35711 h 45385"/>
                        <a:gd name="connsiteX10" fmla="*/ 33558 w 168653"/>
                        <a:gd name="connsiteY10" fmla="*/ 15549 h 45385"/>
                        <a:gd name="connsiteX11" fmla="*/ 2111 w 168653"/>
                        <a:gd name="connsiteY11" fmla="*/ 0 h 4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53" h="45385">
                          <a:moveTo>
                            <a:pt x="2136" y="0"/>
                          </a:moveTo>
                          <a:cubicBezTo>
                            <a:pt x="2136" y="0"/>
                            <a:pt x="-520" y="3978"/>
                            <a:pt x="91" y="12980"/>
                          </a:cubicBezTo>
                          <a:cubicBezTo>
                            <a:pt x="191" y="14489"/>
                            <a:pt x="1226" y="15786"/>
                            <a:pt x="2660" y="16247"/>
                          </a:cubicBezTo>
                          <a:cubicBezTo>
                            <a:pt x="8645" y="18168"/>
                            <a:pt x="25379" y="23405"/>
                            <a:pt x="43683" y="28068"/>
                          </a:cubicBezTo>
                          <a:cubicBezTo>
                            <a:pt x="61888" y="32706"/>
                            <a:pt x="75978" y="38767"/>
                            <a:pt x="82574" y="42071"/>
                          </a:cubicBezTo>
                          <a:cubicBezTo>
                            <a:pt x="85068" y="43318"/>
                            <a:pt x="87774" y="44066"/>
                            <a:pt x="90554" y="44278"/>
                          </a:cubicBezTo>
                          <a:cubicBezTo>
                            <a:pt x="103236" y="45238"/>
                            <a:pt x="135044" y="47669"/>
                            <a:pt x="164783" y="39664"/>
                          </a:cubicBezTo>
                          <a:cubicBezTo>
                            <a:pt x="166753" y="39128"/>
                            <a:pt x="168187" y="37445"/>
                            <a:pt x="168424" y="35412"/>
                          </a:cubicBezTo>
                          <a:cubicBezTo>
                            <a:pt x="168623" y="33654"/>
                            <a:pt x="168748" y="31135"/>
                            <a:pt x="168561" y="27619"/>
                          </a:cubicBezTo>
                          <a:cubicBezTo>
                            <a:pt x="168561" y="27619"/>
                            <a:pt x="138685" y="38629"/>
                            <a:pt x="108585" y="35711"/>
                          </a:cubicBezTo>
                          <a:cubicBezTo>
                            <a:pt x="78484" y="32794"/>
                            <a:pt x="69058" y="23866"/>
                            <a:pt x="33558" y="15549"/>
                          </a:cubicBezTo>
                          <a:cubicBezTo>
                            <a:pt x="13508" y="11335"/>
                            <a:pt x="4580" y="6284"/>
                            <a:pt x="2111" y="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611" name="Freeform: Shape 3610">
                  <a:extLst>
                    <a:ext uri="{FF2B5EF4-FFF2-40B4-BE49-F238E27FC236}">
                      <a16:creationId xmlns:a16="http://schemas.microsoft.com/office/drawing/2014/main" id="{A79EB5A4-FC3F-4449-2FD8-329B5261379F}"/>
                    </a:ext>
                  </a:extLst>
                </p:cNvPr>
                <p:cNvSpPr/>
                <p:nvPr/>
              </p:nvSpPr>
              <p:spPr>
                <a:xfrm>
                  <a:off x="5995189" y="1974728"/>
                  <a:ext cx="155640" cy="127687"/>
                </a:xfrm>
                <a:custGeom>
                  <a:avLst/>
                  <a:gdLst>
                    <a:gd name="connsiteX0" fmla="*/ 19513 w 155640"/>
                    <a:gd name="connsiteY0" fmla="*/ 23705 h 127687"/>
                    <a:gd name="connsiteX1" fmla="*/ 11769 w 155640"/>
                    <a:gd name="connsiteY1" fmla="*/ 45937 h 127687"/>
                    <a:gd name="connsiteX2" fmla="*/ 4699 w 155640"/>
                    <a:gd name="connsiteY2" fmla="*/ 97148 h 127687"/>
                    <a:gd name="connsiteX3" fmla="*/ 52767 w 155640"/>
                    <a:gd name="connsiteY3" fmla="*/ 112310 h 127687"/>
                    <a:gd name="connsiteX4" fmla="*/ 123966 w 155640"/>
                    <a:gd name="connsiteY4" fmla="*/ 127360 h 127687"/>
                    <a:gd name="connsiteX5" fmla="*/ 155637 w 155640"/>
                    <a:gd name="connsiteY5" fmla="*/ 112759 h 127687"/>
                    <a:gd name="connsiteX6" fmla="*/ 132732 w 155640"/>
                    <a:gd name="connsiteY6" fmla="*/ 97260 h 127687"/>
                    <a:gd name="connsiteX7" fmla="*/ 84214 w 155640"/>
                    <a:gd name="connsiteY7" fmla="*/ 73905 h 127687"/>
                    <a:gd name="connsiteX8" fmla="*/ 58266 w 155640"/>
                    <a:gd name="connsiteY8" fmla="*/ 41561 h 127687"/>
                    <a:gd name="connsiteX9" fmla="*/ 65336 w 155640"/>
                    <a:gd name="connsiteY9" fmla="*/ 23705 h 127687"/>
                    <a:gd name="connsiteX10" fmla="*/ 47144 w 155640"/>
                    <a:gd name="connsiteY10" fmla="*/ 799 h 127687"/>
                    <a:gd name="connsiteX11" fmla="*/ 19513 w 155640"/>
                    <a:gd name="connsiteY11" fmla="*/ 23705 h 1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640" h="127687">
                      <a:moveTo>
                        <a:pt x="19513" y="23705"/>
                      </a:moveTo>
                      <a:cubicBezTo>
                        <a:pt x="19513" y="23705"/>
                        <a:pt x="19513" y="30438"/>
                        <a:pt x="11769" y="45937"/>
                      </a:cubicBezTo>
                      <a:cubicBezTo>
                        <a:pt x="4026" y="61436"/>
                        <a:pt x="-6087" y="87385"/>
                        <a:pt x="4699" y="97148"/>
                      </a:cubicBezTo>
                      <a:cubicBezTo>
                        <a:pt x="15485" y="106924"/>
                        <a:pt x="28503" y="102871"/>
                        <a:pt x="52767" y="112310"/>
                      </a:cubicBezTo>
                      <a:cubicBezTo>
                        <a:pt x="77032" y="121749"/>
                        <a:pt x="89938" y="129380"/>
                        <a:pt x="123966" y="127360"/>
                      </a:cubicBezTo>
                      <a:cubicBezTo>
                        <a:pt x="140812" y="125340"/>
                        <a:pt x="155363" y="125228"/>
                        <a:pt x="155637" y="112759"/>
                      </a:cubicBezTo>
                      <a:cubicBezTo>
                        <a:pt x="155862" y="102422"/>
                        <a:pt x="143730" y="98831"/>
                        <a:pt x="132732" y="97260"/>
                      </a:cubicBezTo>
                      <a:cubicBezTo>
                        <a:pt x="122856" y="95851"/>
                        <a:pt x="104764" y="93781"/>
                        <a:pt x="84214" y="73905"/>
                      </a:cubicBezTo>
                      <a:cubicBezTo>
                        <a:pt x="63665" y="54030"/>
                        <a:pt x="57256" y="49641"/>
                        <a:pt x="58266" y="41561"/>
                      </a:cubicBezTo>
                      <a:cubicBezTo>
                        <a:pt x="59276" y="33468"/>
                        <a:pt x="63316" y="30438"/>
                        <a:pt x="65336" y="23705"/>
                      </a:cubicBezTo>
                      <a:cubicBezTo>
                        <a:pt x="67356" y="16972"/>
                        <a:pt x="62306" y="4503"/>
                        <a:pt x="47144" y="799"/>
                      </a:cubicBezTo>
                      <a:cubicBezTo>
                        <a:pt x="31982" y="-2904"/>
                        <a:pt x="25585" y="6523"/>
                        <a:pt x="19513" y="2370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12" name="Graphic 525">
                  <a:extLst>
                    <a:ext uri="{FF2B5EF4-FFF2-40B4-BE49-F238E27FC236}">
                      <a16:creationId xmlns:a16="http://schemas.microsoft.com/office/drawing/2014/main" id="{9876DF2C-AC03-9BF5-F4A8-6F3856871AF6}"/>
                    </a:ext>
                  </a:extLst>
                </p:cNvPr>
                <p:cNvGrpSpPr/>
                <p:nvPr/>
              </p:nvGrpSpPr>
              <p:grpSpPr>
                <a:xfrm>
                  <a:off x="5999609" y="2027311"/>
                  <a:ext cx="156273" cy="78445"/>
                  <a:chOff x="5999609" y="2027311"/>
                  <a:chExt cx="156273" cy="78445"/>
                </a:xfrm>
                <a:solidFill>
                  <a:srgbClr val="E8E8E8"/>
                </a:solidFill>
              </p:grpSpPr>
              <p:sp>
                <p:nvSpPr>
                  <p:cNvPr id="3613" name="Freeform: Shape 3612">
                    <a:extLst>
                      <a:ext uri="{FF2B5EF4-FFF2-40B4-BE49-F238E27FC236}">
                        <a16:creationId xmlns:a16="http://schemas.microsoft.com/office/drawing/2014/main" id="{3CE6A691-FD98-2039-4478-1E00C2E69DF4}"/>
                      </a:ext>
                    </a:extLst>
                  </p:cNvPr>
                  <p:cNvSpPr/>
                  <p:nvPr/>
                </p:nvSpPr>
                <p:spPr>
                  <a:xfrm>
                    <a:off x="6071311" y="2062026"/>
                    <a:ext cx="84571" cy="43731"/>
                  </a:xfrm>
                  <a:custGeom>
                    <a:avLst/>
                    <a:gdLst>
                      <a:gd name="connsiteX0" fmla="*/ 0 w 84571"/>
                      <a:gd name="connsiteY0" fmla="*/ 36472 h 43731"/>
                      <a:gd name="connsiteX1" fmla="*/ 12357 w 84571"/>
                      <a:gd name="connsiteY1" fmla="*/ 22993 h 43731"/>
                      <a:gd name="connsiteX2" fmla="*/ 26484 w 84571"/>
                      <a:gd name="connsiteY2" fmla="*/ 461 h 43731"/>
                      <a:gd name="connsiteX3" fmla="*/ 28055 w 84571"/>
                      <a:gd name="connsiteY3" fmla="*/ 62 h 43731"/>
                      <a:gd name="connsiteX4" fmla="*/ 57059 w 84571"/>
                      <a:gd name="connsiteY4" fmla="*/ 8728 h 43731"/>
                      <a:gd name="connsiteX5" fmla="*/ 84466 w 84571"/>
                      <a:gd name="connsiteY5" fmla="*/ 31522 h 43731"/>
                      <a:gd name="connsiteX6" fmla="*/ 12 w 84571"/>
                      <a:gd name="connsiteY6" fmla="*/ 36459 h 4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71" h="43731">
                        <a:moveTo>
                          <a:pt x="0" y="36472"/>
                        </a:moveTo>
                        <a:cubicBezTo>
                          <a:pt x="0" y="36472"/>
                          <a:pt x="8766" y="29739"/>
                          <a:pt x="12357" y="22993"/>
                        </a:cubicBezTo>
                        <a:cubicBezTo>
                          <a:pt x="15748" y="16646"/>
                          <a:pt x="22519" y="4302"/>
                          <a:pt x="26484" y="461"/>
                        </a:cubicBezTo>
                        <a:cubicBezTo>
                          <a:pt x="26896" y="62"/>
                          <a:pt x="27494" y="-100"/>
                          <a:pt x="28055" y="62"/>
                        </a:cubicBezTo>
                        <a:cubicBezTo>
                          <a:pt x="32357" y="1309"/>
                          <a:pt x="41684" y="6421"/>
                          <a:pt x="57059" y="8728"/>
                        </a:cubicBezTo>
                        <a:cubicBezTo>
                          <a:pt x="69839" y="10636"/>
                          <a:pt x="86037" y="15125"/>
                          <a:pt x="84466" y="31522"/>
                        </a:cubicBezTo>
                        <a:cubicBezTo>
                          <a:pt x="84466" y="31522"/>
                          <a:pt x="46510" y="55325"/>
                          <a:pt x="12" y="36459"/>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14" name="Freeform: Shape 3613">
                    <a:extLst>
                      <a:ext uri="{FF2B5EF4-FFF2-40B4-BE49-F238E27FC236}">
                        <a16:creationId xmlns:a16="http://schemas.microsoft.com/office/drawing/2014/main" id="{7A066D41-0CCD-E5A9-832E-4A056C65C604}"/>
                      </a:ext>
                    </a:extLst>
                  </p:cNvPr>
                  <p:cNvSpPr/>
                  <p:nvPr/>
                </p:nvSpPr>
                <p:spPr>
                  <a:xfrm>
                    <a:off x="5999609" y="2027311"/>
                    <a:ext cx="82126" cy="73717"/>
                  </a:xfrm>
                  <a:custGeom>
                    <a:avLst/>
                    <a:gdLst>
                      <a:gd name="connsiteX0" fmla="*/ 3546 w 82126"/>
                      <a:gd name="connsiteY0" fmla="*/ 112 h 73717"/>
                      <a:gd name="connsiteX1" fmla="*/ 92 w 82126"/>
                      <a:gd name="connsiteY1" fmla="*/ 9015 h 73717"/>
                      <a:gd name="connsiteX2" fmla="*/ 329 w 82126"/>
                      <a:gd name="connsiteY2" fmla="*/ 9651 h 73717"/>
                      <a:gd name="connsiteX3" fmla="*/ 20142 w 82126"/>
                      <a:gd name="connsiteY3" fmla="*/ 34128 h 73717"/>
                      <a:gd name="connsiteX4" fmla="*/ 39008 w 82126"/>
                      <a:gd name="connsiteY4" fmla="*/ 61760 h 73717"/>
                      <a:gd name="connsiteX5" fmla="*/ 59894 w 82126"/>
                      <a:gd name="connsiteY5" fmla="*/ 69004 h 73717"/>
                      <a:gd name="connsiteX6" fmla="*/ 75393 w 82126"/>
                      <a:gd name="connsiteY6" fmla="*/ 73717 h 73717"/>
                      <a:gd name="connsiteX7" fmla="*/ 82126 w 82126"/>
                      <a:gd name="connsiteY7" fmla="*/ 62595 h 73717"/>
                      <a:gd name="connsiteX8" fmla="*/ 37312 w 82126"/>
                      <a:gd name="connsiteY8" fmla="*/ 38505 h 73717"/>
                      <a:gd name="connsiteX9" fmla="*/ 4294 w 82126"/>
                      <a:gd name="connsiteY9" fmla="*/ 237 h 73717"/>
                      <a:gd name="connsiteX10" fmla="*/ 3521 w 82126"/>
                      <a:gd name="connsiteY10" fmla="*/ 112 h 7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126" h="73717">
                        <a:moveTo>
                          <a:pt x="3546" y="112"/>
                        </a:moveTo>
                        <a:cubicBezTo>
                          <a:pt x="2386" y="998"/>
                          <a:pt x="-556" y="3454"/>
                          <a:pt x="92" y="9015"/>
                        </a:cubicBezTo>
                        <a:cubicBezTo>
                          <a:pt x="117" y="9240"/>
                          <a:pt x="204" y="9464"/>
                          <a:pt x="329" y="9651"/>
                        </a:cubicBezTo>
                        <a:cubicBezTo>
                          <a:pt x="1539" y="11397"/>
                          <a:pt x="8297" y="20911"/>
                          <a:pt x="20142" y="34128"/>
                        </a:cubicBezTo>
                        <a:cubicBezTo>
                          <a:pt x="28858" y="43841"/>
                          <a:pt x="39519" y="51310"/>
                          <a:pt x="39008" y="61760"/>
                        </a:cubicBezTo>
                        <a:cubicBezTo>
                          <a:pt x="39008" y="61760"/>
                          <a:pt x="55181" y="66809"/>
                          <a:pt x="59894" y="69004"/>
                        </a:cubicBezTo>
                        <a:cubicBezTo>
                          <a:pt x="59894" y="69004"/>
                          <a:pt x="73036" y="73381"/>
                          <a:pt x="75393" y="73717"/>
                        </a:cubicBezTo>
                        <a:lnTo>
                          <a:pt x="82126" y="62595"/>
                        </a:lnTo>
                        <a:cubicBezTo>
                          <a:pt x="82126" y="62595"/>
                          <a:pt x="58709" y="59902"/>
                          <a:pt x="37312" y="38505"/>
                        </a:cubicBezTo>
                        <a:cubicBezTo>
                          <a:pt x="15279" y="16472"/>
                          <a:pt x="5990" y="2831"/>
                          <a:pt x="4294" y="237"/>
                        </a:cubicBezTo>
                        <a:cubicBezTo>
                          <a:pt x="4120" y="-25"/>
                          <a:pt x="3771" y="-75"/>
                          <a:pt x="3521" y="112"/>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615" name="Graphic 525">
                <a:extLst>
                  <a:ext uri="{FF2B5EF4-FFF2-40B4-BE49-F238E27FC236}">
                    <a16:creationId xmlns:a16="http://schemas.microsoft.com/office/drawing/2014/main" id="{635F2764-1E0D-7040-2FAA-4FEC92E96EF4}"/>
                  </a:ext>
                </a:extLst>
              </p:cNvPr>
              <p:cNvGrpSpPr/>
              <p:nvPr/>
            </p:nvGrpSpPr>
            <p:grpSpPr>
              <a:xfrm>
                <a:off x="5984670" y="1702715"/>
                <a:ext cx="211587" cy="355121"/>
                <a:chOff x="5984670" y="1702715"/>
                <a:chExt cx="211587" cy="355121"/>
              </a:xfrm>
            </p:grpSpPr>
            <p:sp>
              <p:nvSpPr>
                <p:cNvPr id="3616" name="Freeform: Shape 3615">
                  <a:extLst>
                    <a:ext uri="{FF2B5EF4-FFF2-40B4-BE49-F238E27FC236}">
                      <a16:creationId xmlns:a16="http://schemas.microsoft.com/office/drawing/2014/main" id="{42FD1FD8-FB9C-DA2A-689B-4B082982C998}"/>
                    </a:ext>
                  </a:extLst>
                </p:cNvPr>
                <p:cNvSpPr/>
                <p:nvPr/>
              </p:nvSpPr>
              <p:spPr>
                <a:xfrm>
                  <a:off x="6011985" y="1703341"/>
                  <a:ext cx="180664" cy="334491"/>
                </a:xfrm>
                <a:custGeom>
                  <a:avLst/>
                  <a:gdLst>
                    <a:gd name="connsiteX0" fmla="*/ 176261 w 180664"/>
                    <a:gd name="connsiteY0" fmla="*/ 66845 h 334491"/>
                    <a:gd name="connsiteX1" fmla="*/ 117644 w 180664"/>
                    <a:gd name="connsiteY1" fmla="*/ 179042 h 334491"/>
                    <a:gd name="connsiteX2" fmla="*/ 35522 w 180664"/>
                    <a:gd name="connsiteY2" fmla="*/ 320142 h 334491"/>
                    <a:gd name="connsiteX3" fmla="*/ 4985 w 180664"/>
                    <a:gd name="connsiteY3" fmla="*/ 327549 h 334491"/>
                    <a:gd name="connsiteX4" fmla="*/ 4137 w 180664"/>
                    <a:gd name="connsiteY4" fmla="*/ 287012 h 334491"/>
                    <a:gd name="connsiteX5" fmla="*/ 33751 w 180664"/>
                    <a:gd name="connsiteY5" fmla="*/ 181062 h 334491"/>
                    <a:gd name="connsiteX6" fmla="*/ 106022 w 180664"/>
                    <a:gd name="connsiteY6" fmla="*/ 16308 h 334491"/>
                    <a:gd name="connsiteX7" fmla="*/ 176273 w 180664"/>
                    <a:gd name="connsiteY7" fmla="*/ 66845 h 33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64" h="334491">
                      <a:moveTo>
                        <a:pt x="176261" y="66845"/>
                      </a:moveTo>
                      <a:cubicBezTo>
                        <a:pt x="176261" y="66845"/>
                        <a:pt x="148505" y="126622"/>
                        <a:pt x="117644" y="179042"/>
                      </a:cubicBezTo>
                      <a:cubicBezTo>
                        <a:pt x="90860" y="224529"/>
                        <a:pt x="49226" y="296538"/>
                        <a:pt x="35522" y="320142"/>
                      </a:cubicBezTo>
                      <a:cubicBezTo>
                        <a:pt x="21819" y="343746"/>
                        <a:pt x="9474" y="332187"/>
                        <a:pt x="4985" y="327549"/>
                      </a:cubicBezTo>
                      <a:cubicBezTo>
                        <a:pt x="497" y="322911"/>
                        <a:pt x="-3132" y="311165"/>
                        <a:pt x="4137" y="287012"/>
                      </a:cubicBezTo>
                      <a:cubicBezTo>
                        <a:pt x="11407" y="262859"/>
                        <a:pt x="21557" y="220265"/>
                        <a:pt x="33751" y="181062"/>
                      </a:cubicBezTo>
                      <a:cubicBezTo>
                        <a:pt x="47904" y="135575"/>
                        <a:pt x="70648" y="51683"/>
                        <a:pt x="106022" y="16308"/>
                      </a:cubicBezTo>
                      <a:cubicBezTo>
                        <a:pt x="147968" y="-25638"/>
                        <a:pt x="195476" y="21358"/>
                        <a:pt x="176273" y="6684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17" name="Freeform: Shape 3616">
                  <a:extLst>
                    <a:ext uri="{FF2B5EF4-FFF2-40B4-BE49-F238E27FC236}">
                      <a16:creationId xmlns:a16="http://schemas.microsoft.com/office/drawing/2014/main" id="{D72E076A-FB80-3D0D-9704-8B7EFCA1E43C}"/>
                    </a:ext>
                  </a:extLst>
                </p:cNvPr>
                <p:cNvSpPr/>
                <p:nvPr/>
              </p:nvSpPr>
              <p:spPr>
                <a:xfrm>
                  <a:off x="5984670" y="1702715"/>
                  <a:ext cx="211587" cy="355121"/>
                </a:xfrm>
                <a:custGeom>
                  <a:avLst/>
                  <a:gdLst>
                    <a:gd name="connsiteX0" fmla="*/ 186032 w 211587"/>
                    <a:gd name="connsiteY0" fmla="*/ 3942 h 355121"/>
                    <a:gd name="connsiteX1" fmla="*/ 134934 w 211587"/>
                    <a:gd name="connsiteY1" fmla="*/ 10114 h 355121"/>
                    <a:gd name="connsiteX2" fmla="*/ 69346 w 211587"/>
                    <a:gd name="connsiteY2" fmla="*/ 109169 h 355121"/>
                    <a:gd name="connsiteX3" fmla="*/ 16564 w 211587"/>
                    <a:gd name="connsiteY3" fmla="*/ 266740 h 355121"/>
                    <a:gd name="connsiteX4" fmla="*/ 6115 w 211587"/>
                    <a:gd name="connsiteY4" fmla="*/ 348949 h 355121"/>
                    <a:gd name="connsiteX5" fmla="*/ 32787 w 211587"/>
                    <a:gd name="connsiteY5" fmla="*/ 354012 h 355121"/>
                    <a:gd name="connsiteX6" fmla="*/ 116729 w 211587"/>
                    <a:gd name="connsiteY6" fmla="*/ 351306 h 355121"/>
                    <a:gd name="connsiteX7" fmla="*/ 131442 w 211587"/>
                    <a:gd name="connsiteY7" fmla="*/ 278524 h 355121"/>
                    <a:gd name="connsiteX8" fmla="*/ 189735 w 211587"/>
                    <a:gd name="connsiteY8" fmla="*/ 115453 h 355121"/>
                    <a:gd name="connsiteX9" fmla="*/ 208264 w 211587"/>
                    <a:gd name="connsiteY9" fmla="*/ 28531 h 355121"/>
                    <a:gd name="connsiteX10" fmla="*/ 186032 w 211587"/>
                    <a:gd name="connsiteY10" fmla="*/ 3929 h 35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87" h="355121">
                      <a:moveTo>
                        <a:pt x="186032" y="3942"/>
                      </a:moveTo>
                      <a:cubicBezTo>
                        <a:pt x="186032" y="3942"/>
                        <a:pt x="161767" y="-8191"/>
                        <a:pt x="134934" y="10114"/>
                      </a:cubicBezTo>
                      <a:cubicBezTo>
                        <a:pt x="109933" y="27159"/>
                        <a:pt x="88212" y="65365"/>
                        <a:pt x="69346" y="109169"/>
                      </a:cubicBezTo>
                      <a:cubicBezTo>
                        <a:pt x="50480" y="152972"/>
                        <a:pt x="26328" y="234732"/>
                        <a:pt x="16564" y="266740"/>
                      </a:cubicBezTo>
                      <a:cubicBezTo>
                        <a:pt x="9956" y="288374"/>
                        <a:pt x="-9945" y="348725"/>
                        <a:pt x="6115" y="348949"/>
                      </a:cubicBezTo>
                      <a:cubicBezTo>
                        <a:pt x="9594" y="349959"/>
                        <a:pt x="20305" y="353363"/>
                        <a:pt x="32787" y="354012"/>
                      </a:cubicBezTo>
                      <a:cubicBezTo>
                        <a:pt x="84384" y="356693"/>
                        <a:pt x="113025" y="354012"/>
                        <a:pt x="116729" y="351306"/>
                      </a:cubicBezTo>
                      <a:cubicBezTo>
                        <a:pt x="120432" y="348613"/>
                        <a:pt x="120993" y="311218"/>
                        <a:pt x="131442" y="278524"/>
                      </a:cubicBezTo>
                      <a:cubicBezTo>
                        <a:pt x="141891" y="245842"/>
                        <a:pt x="174909" y="152511"/>
                        <a:pt x="189735" y="115453"/>
                      </a:cubicBezTo>
                      <a:cubicBezTo>
                        <a:pt x="204561" y="78395"/>
                        <a:pt x="218040" y="51773"/>
                        <a:pt x="208264" y="28531"/>
                      </a:cubicBezTo>
                      <a:cubicBezTo>
                        <a:pt x="199835" y="7645"/>
                        <a:pt x="186032" y="3929"/>
                        <a:pt x="186032" y="3929"/>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618" name="Graphic 525">
              <a:extLst>
                <a:ext uri="{FF2B5EF4-FFF2-40B4-BE49-F238E27FC236}">
                  <a16:creationId xmlns:a16="http://schemas.microsoft.com/office/drawing/2014/main" id="{C93C4024-A0F7-0ACF-524B-5B2FC2411F49}"/>
                </a:ext>
              </a:extLst>
            </p:cNvPr>
            <p:cNvGrpSpPr/>
            <p:nvPr/>
          </p:nvGrpSpPr>
          <p:grpSpPr>
            <a:xfrm>
              <a:off x="3712361" y="1719549"/>
              <a:ext cx="135237" cy="158678"/>
              <a:chOff x="5877655" y="1509221"/>
              <a:chExt cx="163101" cy="191372"/>
            </a:xfrm>
          </p:grpSpPr>
          <p:sp>
            <p:nvSpPr>
              <p:cNvPr id="3619" name="Freeform: Shape 3618">
                <a:extLst>
                  <a:ext uri="{FF2B5EF4-FFF2-40B4-BE49-F238E27FC236}">
                    <a16:creationId xmlns:a16="http://schemas.microsoft.com/office/drawing/2014/main" id="{34722E3D-4C7F-4B55-29A3-6087997334C5}"/>
                  </a:ext>
                </a:extLst>
              </p:cNvPr>
              <p:cNvSpPr/>
              <p:nvPr/>
            </p:nvSpPr>
            <p:spPr>
              <a:xfrm>
                <a:off x="5877655" y="1509221"/>
                <a:ext cx="163101" cy="40969"/>
              </a:xfrm>
              <a:custGeom>
                <a:avLst/>
                <a:gdLst>
                  <a:gd name="connsiteX0" fmla="*/ 934 w 163101"/>
                  <a:gd name="connsiteY0" fmla="*/ 0 h 40969"/>
                  <a:gd name="connsiteX1" fmla="*/ 162271 w 163101"/>
                  <a:gd name="connsiteY1" fmla="*/ 10674 h 40969"/>
                  <a:gd name="connsiteX2" fmla="*/ 160526 w 163101"/>
                  <a:gd name="connsiteY2" fmla="*/ 31883 h 40969"/>
                  <a:gd name="connsiteX3" fmla="*/ 1620 w 163101"/>
                  <a:gd name="connsiteY3" fmla="*/ 21559 h 40969"/>
                  <a:gd name="connsiteX4" fmla="*/ 946 w 163101"/>
                  <a:gd name="connsiteY4" fmla="*/ 0 h 4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01" h="40969">
                    <a:moveTo>
                      <a:pt x="934" y="0"/>
                    </a:moveTo>
                    <a:cubicBezTo>
                      <a:pt x="934" y="0"/>
                      <a:pt x="94440" y="41896"/>
                      <a:pt x="162271" y="10674"/>
                    </a:cubicBezTo>
                    <a:cubicBezTo>
                      <a:pt x="162271" y="10674"/>
                      <a:pt x="165015" y="24764"/>
                      <a:pt x="160526" y="31883"/>
                    </a:cubicBezTo>
                    <a:cubicBezTo>
                      <a:pt x="160526" y="31883"/>
                      <a:pt x="106734" y="58056"/>
                      <a:pt x="1620" y="21559"/>
                    </a:cubicBezTo>
                    <a:cubicBezTo>
                      <a:pt x="1620" y="21559"/>
                      <a:pt x="-1523" y="12681"/>
                      <a:pt x="946" y="0"/>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20" name="Freeform: Shape 3619">
                <a:extLst>
                  <a:ext uri="{FF2B5EF4-FFF2-40B4-BE49-F238E27FC236}">
                    <a16:creationId xmlns:a16="http://schemas.microsoft.com/office/drawing/2014/main" id="{572BD34C-2733-8DA4-4683-307B89C4479F}"/>
                  </a:ext>
                </a:extLst>
              </p:cNvPr>
              <p:cNvSpPr/>
              <p:nvPr/>
            </p:nvSpPr>
            <p:spPr>
              <a:xfrm>
                <a:off x="6000758" y="1539546"/>
                <a:ext cx="27974" cy="153980"/>
              </a:xfrm>
              <a:custGeom>
                <a:avLst/>
                <a:gdLst>
                  <a:gd name="connsiteX0" fmla="*/ 21699 w 27974"/>
                  <a:gd name="connsiteY0" fmla="*/ 0 h 153980"/>
                  <a:gd name="connsiteX1" fmla="*/ 26749 w 27974"/>
                  <a:gd name="connsiteY1" fmla="*/ 32345 h 153980"/>
                  <a:gd name="connsiteX2" fmla="*/ 23382 w 27974"/>
                  <a:gd name="connsiteY2" fmla="*/ 92658 h 153980"/>
                  <a:gd name="connsiteX3" fmla="*/ 22372 w 27974"/>
                  <a:gd name="connsiteY3" fmla="*/ 149268 h 153980"/>
                  <a:gd name="connsiteX4" fmla="*/ 4180 w 27974"/>
                  <a:gd name="connsiteY4" fmla="*/ 153981 h 153980"/>
                  <a:gd name="connsiteX5" fmla="*/ 2833 w 27974"/>
                  <a:gd name="connsiteY5" fmla="*/ 100077 h 153980"/>
                  <a:gd name="connsiteX6" fmla="*/ 21699 w 27974"/>
                  <a:gd name="connsiteY6" fmla="*/ 12 h 15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74" h="153980">
                    <a:moveTo>
                      <a:pt x="21699" y="0"/>
                    </a:moveTo>
                    <a:cubicBezTo>
                      <a:pt x="21699" y="0"/>
                      <a:pt x="24055" y="9102"/>
                      <a:pt x="26749" y="32345"/>
                    </a:cubicBezTo>
                    <a:cubicBezTo>
                      <a:pt x="29442" y="55587"/>
                      <a:pt x="27422" y="69740"/>
                      <a:pt x="23382" y="92658"/>
                    </a:cubicBezTo>
                    <a:cubicBezTo>
                      <a:pt x="20190" y="110776"/>
                      <a:pt x="15639" y="128706"/>
                      <a:pt x="22372" y="149268"/>
                    </a:cubicBezTo>
                    <a:cubicBezTo>
                      <a:pt x="22372" y="149268"/>
                      <a:pt x="12933" y="149941"/>
                      <a:pt x="4180" y="153981"/>
                    </a:cubicBezTo>
                    <a:cubicBezTo>
                      <a:pt x="4180" y="153981"/>
                      <a:pt x="-4250" y="128369"/>
                      <a:pt x="2833" y="100077"/>
                    </a:cubicBezTo>
                    <a:cubicBezTo>
                      <a:pt x="9903" y="71772"/>
                      <a:pt x="20352" y="25275"/>
                      <a:pt x="21699" y="12"/>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21" name="Freeform: Shape 3620">
                <a:extLst>
                  <a:ext uri="{FF2B5EF4-FFF2-40B4-BE49-F238E27FC236}">
                    <a16:creationId xmlns:a16="http://schemas.microsoft.com/office/drawing/2014/main" id="{47351CB6-07DA-49A6-E33A-CA9D0704CDA7}"/>
                  </a:ext>
                </a:extLst>
              </p:cNvPr>
              <p:cNvSpPr/>
              <p:nvPr/>
            </p:nvSpPr>
            <p:spPr>
              <a:xfrm>
                <a:off x="5970377" y="1535949"/>
                <a:ext cx="52455" cy="164644"/>
              </a:xfrm>
              <a:custGeom>
                <a:avLst/>
                <a:gdLst>
                  <a:gd name="connsiteX0" fmla="*/ 43863 w 52455"/>
                  <a:gd name="connsiteY0" fmla="*/ 1764 h 164644"/>
                  <a:gd name="connsiteX1" fmla="*/ 42803 w 52455"/>
                  <a:gd name="connsiteY1" fmla="*/ 3035 h 164644"/>
                  <a:gd name="connsiteX2" fmla="*/ 40958 w 52455"/>
                  <a:gd name="connsiteY2" fmla="*/ 40306 h 164644"/>
                  <a:gd name="connsiteX3" fmla="*/ 25122 w 52455"/>
                  <a:gd name="connsiteY3" fmla="*/ 87139 h 164644"/>
                  <a:gd name="connsiteX4" fmla="*/ 1206 w 52455"/>
                  <a:gd name="connsiteY4" fmla="*/ 164635 h 164644"/>
                  <a:gd name="connsiteX5" fmla="*/ 9635 w 52455"/>
                  <a:gd name="connsiteY5" fmla="*/ 161605 h 164644"/>
                  <a:gd name="connsiteX6" fmla="*/ 20758 w 52455"/>
                  <a:gd name="connsiteY6" fmla="*/ 160595 h 164644"/>
                  <a:gd name="connsiteX7" fmla="*/ 34237 w 52455"/>
                  <a:gd name="connsiteY7" fmla="*/ 103312 h 164644"/>
                  <a:gd name="connsiteX8" fmla="*/ 52429 w 52455"/>
                  <a:gd name="connsiteY8" fmla="*/ 37612 h 164644"/>
                  <a:gd name="connsiteX9" fmla="*/ 52342 w 52455"/>
                  <a:gd name="connsiteY9" fmla="*/ 1439 h 164644"/>
                  <a:gd name="connsiteX10" fmla="*/ 50572 w 52455"/>
                  <a:gd name="connsiteY10" fmla="*/ 43 h 164644"/>
                  <a:gd name="connsiteX11" fmla="*/ 43876 w 52455"/>
                  <a:gd name="connsiteY11" fmla="*/ 1751 h 164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455" h="164644">
                    <a:moveTo>
                      <a:pt x="43863" y="1764"/>
                    </a:moveTo>
                    <a:cubicBezTo>
                      <a:pt x="43265" y="1913"/>
                      <a:pt x="42841" y="2424"/>
                      <a:pt x="42803" y="3035"/>
                    </a:cubicBezTo>
                    <a:cubicBezTo>
                      <a:pt x="42529" y="7088"/>
                      <a:pt x="41544" y="22662"/>
                      <a:pt x="40958" y="40306"/>
                    </a:cubicBezTo>
                    <a:cubicBezTo>
                      <a:pt x="40285" y="60855"/>
                      <a:pt x="36257" y="71379"/>
                      <a:pt x="25122" y="87139"/>
                    </a:cubicBezTo>
                    <a:cubicBezTo>
                      <a:pt x="11306" y="106679"/>
                      <a:pt x="-4529" y="123188"/>
                      <a:pt x="1206" y="164635"/>
                    </a:cubicBezTo>
                    <a:cubicBezTo>
                      <a:pt x="1206" y="164635"/>
                      <a:pt x="5246" y="164972"/>
                      <a:pt x="9635" y="161605"/>
                    </a:cubicBezTo>
                    <a:cubicBezTo>
                      <a:pt x="14012" y="158238"/>
                      <a:pt x="16369" y="161942"/>
                      <a:pt x="20758" y="160595"/>
                    </a:cubicBezTo>
                    <a:cubicBezTo>
                      <a:pt x="20758" y="160595"/>
                      <a:pt x="17728" y="130607"/>
                      <a:pt x="34237" y="103312"/>
                    </a:cubicBezTo>
                    <a:cubicBezTo>
                      <a:pt x="50060" y="77152"/>
                      <a:pt x="52766" y="63560"/>
                      <a:pt x="52429" y="37612"/>
                    </a:cubicBezTo>
                    <a:cubicBezTo>
                      <a:pt x="52168" y="17500"/>
                      <a:pt x="52280" y="5716"/>
                      <a:pt x="52342" y="1439"/>
                    </a:cubicBezTo>
                    <a:cubicBezTo>
                      <a:pt x="52355" y="504"/>
                      <a:pt x="51482" y="-182"/>
                      <a:pt x="50572" y="43"/>
                    </a:cubicBezTo>
                    <a:lnTo>
                      <a:pt x="43876" y="1751"/>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623" name="Freeform: Shape 3622">
              <a:extLst>
                <a:ext uri="{FF2B5EF4-FFF2-40B4-BE49-F238E27FC236}">
                  <a16:creationId xmlns:a16="http://schemas.microsoft.com/office/drawing/2014/main" id="{2FF8115E-07E9-AE24-31DD-56070B55F8D7}"/>
                </a:ext>
              </a:extLst>
            </p:cNvPr>
            <p:cNvSpPr/>
            <p:nvPr/>
          </p:nvSpPr>
          <p:spPr>
            <a:xfrm>
              <a:off x="3735490" y="1401349"/>
              <a:ext cx="107580" cy="138142"/>
            </a:xfrm>
            <a:custGeom>
              <a:avLst/>
              <a:gdLst>
                <a:gd name="connsiteX0" fmla="*/ 49350 w 129746"/>
                <a:gd name="connsiteY0" fmla="*/ 1124 h 166606"/>
                <a:gd name="connsiteX1" fmla="*/ 123242 w 129746"/>
                <a:gd name="connsiteY1" fmla="*/ 56275 h 166606"/>
                <a:gd name="connsiteX2" fmla="*/ 104090 w 129746"/>
                <a:gd name="connsiteY2" fmla="*/ 165928 h 166606"/>
                <a:gd name="connsiteX3" fmla="*/ 13876 w 129746"/>
                <a:gd name="connsiteY3" fmla="*/ 116002 h 166606"/>
                <a:gd name="connsiteX4" fmla="*/ 49350 w 129746"/>
                <a:gd name="connsiteY4" fmla="*/ 1111 h 16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46" h="166606">
                  <a:moveTo>
                    <a:pt x="49350" y="1124"/>
                  </a:moveTo>
                  <a:cubicBezTo>
                    <a:pt x="49350" y="1124"/>
                    <a:pt x="111309" y="-12654"/>
                    <a:pt x="123242" y="56275"/>
                  </a:cubicBezTo>
                  <a:cubicBezTo>
                    <a:pt x="135175" y="125204"/>
                    <a:pt x="131746" y="161302"/>
                    <a:pt x="104090" y="165928"/>
                  </a:cubicBezTo>
                  <a:cubicBezTo>
                    <a:pt x="76433" y="170566"/>
                    <a:pt x="35522" y="151140"/>
                    <a:pt x="13876" y="116002"/>
                  </a:cubicBezTo>
                  <a:cubicBezTo>
                    <a:pt x="-7771" y="80864"/>
                    <a:pt x="-9678" y="14191"/>
                    <a:pt x="49350" y="1111"/>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24" name="Freeform: Shape 3623">
              <a:extLst>
                <a:ext uri="{FF2B5EF4-FFF2-40B4-BE49-F238E27FC236}">
                  <a16:creationId xmlns:a16="http://schemas.microsoft.com/office/drawing/2014/main" id="{B951DE2C-E4EE-A483-BC5E-F82B027D6A4D}"/>
                </a:ext>
              </a:extLst>
            </p:cNvPr>
            <p:cNvSpPr/>
            <p:nvPr/>
          </p:nvSpPr>
          <p:spPr>
            <a:xfrm>
              <a:off x="3763450" y="1461518"/>
              <a:ext cx="19977" cy="33192"/>
            </a:xfrm>
            <a:custGeom>
              <a:avLst/>
              <a:gdLst>
                <a:gd name="connsiteX0" fmla="*/ 23671 w 24093"/>
                <a:gd name="connsiteY0" fmla="*/ 21938 h 40031"/>
                <a:gd name="connsiteX1" fmla="*/ 6949 w 24093"/>
                <a:gd name="connsiteY1" fmla="*/ 204 h 40031"/>
                <a:gd name="connsiteX2" fmla="*/ 5902 w 24093"/>
                <a:gd name="connsiteY2" fmla="*/ 32499 h 40031"/>
                <a:gd name="connsiteX3" fmla="*/ 23671 w 24093"/>
                <a:gd name="connsiteY3" fmla="*/ 21938 h 40031"/>
              </a:gdLst>
              <a:ahLst/>
              <a:cxnLst>
                <a:cxn ang="0">
                  <a:pos x="connsiteX0" y="connsiteY0"/>
                </a:cxn>
                <a:cxn ang="0">
                  <a:pos x="connsiteX1" y="connsiteY1"/>
                </a:cxn>
                <a:cxn ang="0">
                  <a:pos x="connsiteX2" y="connsiteY2"/>
                </a:cxn>
                <a:cxn ang="0">
                  <a:pos x="connsiteX3" y="connsiteY3"/>
                </a:cxn>
              </a:cxnLst>
              <a:rect l="l" t="t" r="r" b="b"/>
              <a:pathLst>
                <a:path w="24093" h="40031">
                  <a:moveTo>
                    <a:pt x="23671" y="21938"/>
                  </a:moveTo>
                  <a:cubicBezTo>
                    <a:pt x="23671" y="21938"/>
                    <a:pt x="22461" y="-2464"/>
                    <a:pt x="6949" y="204"/>
                  </a:cubicBezTo>
                  <a:cubicBezTo>
                    <a:pt x="-6131" y="2448"/>
                    <a:pt x="2672" y="26339"/>
                    <a:pt x="5902" y="32499"/>
                  </a:cubicBezTo>
                  <a:cubicBezTo>
                    <a:pt x="11376" y="42923"/>
                    <a:pt x="26838" y="45155"/>
                    <a:pt x="23671" y="21938"/>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25" name="Graphic 525">
              <a:extLst>
                <a:ext uri="{FF2B5EF4-FFF2-40B4-BE49-F238E27FC236}">
                  <a16:creationId xmlns:a16="http://schemas.microsoft.com/office/drawing/2014/main" id="{6A874AB5-6F32-DC0B-916E-6E3F6CF654A7}"/>
                </a:ext>
              </a:extLst>
            </p:cNvPr>
            <p:cNvGrpSpPr/>
            <p:nvPr/>
          </p:nvGrpSpPr>
          <p:grpSpPr>
            <a:xfrm>
              <a:off x="3702834" y="1396354"/>
              <a:ext cx="133126" cy="197763"/>
              <a:chOff x="5866165" y="1119434"/>
              <a:chExt cx="160555" cy="238511"/>
            </a:xfrm>
            <a:solidFill>
              <a:srgbClr val="8C4949"/>
            </a:solidFill>
          </p:grpSpPr>
          <p:sp>
            <p:nvSpPr>
              <p:cNvPr id="3626" name="Freeform: Shape 3625">
                <a:extLst>
                  <a:ext uri="{FF2B5EF4-FFF2-40B4-BE49-F238E27FC236}">
                    <a16:creationId xmlns:a16="http://schemas.microsoft.com/office/drawing/2014/main" id="{689D87D0-B651-D24E-4C6E-8106FE538953}"/>
                  </a:ext>
                </a:extLst>
              </p:cNvPr>
              <p:cNvSpPr/>
              <p:nvPr/>
            </p:nvSpPr>
            <p:spPr>
              <a:xfrm>
                <a:off x="5866165" y="1122567"/>
                <a:ext cx="134560" cy="235378"/>
              </a:xfrm>
              <a:custGeom>
                <a:avLst/>
                <a:gdLst>
                  <a:gd name="connsiteX0" fmla="*/ 134383 w 134560"/>
                  <a:gd name="connsiteY0" fmla="*/ 21421 h 235378"/>
                  <a:gd name="connsiteX1" fmla="*/ 124271 w 134560"/>
                  <a:gd name="connsiteY1" fmla="*/ 61859 h 235378"/>
                  <a:gd name="connsiteX2" fmla="*/ 88559 w 134560"/>
                  <a:gd name="connsiteY2" fmla="*/ 102296 h 235378"/>
                  <a:gd name="connsiteX3" fmla="*/ 68347 w 134560"/>
                  <a:gd name="connsiteY3" fmla="*/ 187310 h 235378"/>
                  <a:gd name="connsiteX4" fmla="*/ 565 w 134560"/>
                  <a:gd name="connsiteY4" fmla="*/ 235378 h 235378"/>
                  <a:gd name="connsiteX5" fmla="*/ 6687 w 134560"/>
                  <a:gd name="connsiteY5" fmla="*/ 185851 h 235378"/>
                  <a:gd name="connsiteX6" fmla="*/ 25890 w 134560"/>
                  <a:gd name="connsiteY6" fmla="*/ 104428 h 235378"/>
                  <a:gd name="connsiteX7" fmla="*/ 112812 w 134560"/>
                  <a:gd name="connsiteY7" fmla="*/ 2231 h 235378"/>
                  <a:gd name="connsiteX8" fmla="*/ 134371 w 134560"/>
                  <a:gd name="connsiteY8" fmla="*/ 21434 h 23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560" h="235378">
                    <a:moveTo>
                      <a:pt x="134383" y="21421"/>
                    </a:moveTo>
                    <a:cubicBezTo>
                      <a:pt x="134383" y="21421"/>
                      <a:pt x="136740" y="44327"/>
                      <a:pt x="124271" y="61859"/>
                    </a:cubicBezTo>
                    <a:cubicBezTo>
                      <a:pt x="111802" y="79378"/>
                      <a:pt x="98659" y="87807"/>
                      <a:pt x="88559" y="102296"/>
                    </a:cubicBezTo>
                    <a:cubicBezTo>
                      <a:pt x="78447" y="116785"/>
                      <a:pt x="96876" y="159018"/>
                      <a:pt x="68347" y="187310"/>
                    </a:cubicBezTo>
                    <a:cubicBezTo>
                      <a:pt x="56003" y="199555"/>
                      <a:pt x="18820" y="167771"/>
                      <a:pt x="565" y="235378"/>
                    </a:cubicBezTo>
                    <a:cubicBezTo>
                      <a:pt x="565" y="235378"/>
                      <a:pt x="-2752" y="215166"/>
                      <a:pt x="6687" y="185851"/>
                    </a:cubicBezTo>
                    <a:cubicBezTo>
                      <a:pt x="16126" y="156536"/>
                      <a:pt x="28882" y="154242"/>
                      <a:pt x="25890" y="104428"/>
                    </a:cubicBezTo>
                    <a:cubicBezTo>
                      <a:pt x="22411" y="46359"/>
                      <a:pt x="37685" y="-12258"/>
                      <a:pt x="112812" y="2231"/>
                    </a:cubicBezTo>
                    <a:cubicBezTo>
                      <a:pt x="134034" y="5598"/>
                      <a:pt x="134371" y="21434"/>
                      <a:pt x="134371" y="2143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27" name="Freeform: Shape 3626">
                <a:extLst>
                  <a:ext uri="{FF2B5EF4-FFF2-40B4-BE49-F238E27FC236}">
                    <a16:creationId xmlns:a16="http://schemas.microsoft.com/office/drawing/2014/main" id="{F10B8D24-C5D8-F8FD-DC6B-8F880C3FA73A}"/>
                  </a:ext>
                </a:extLst>
              </p:cNvPr>
              <p:cNvSpPr/>
              <p:nvPr/>
            </p:nvSpPr>
            <p:spPr>
              <a:xfrm>
                <a:off x="5951869" y="1119434"/>
                <a:ext cx="74851" cy="52859"/>
              </a:xfrm>
              <a:custGeom>
                <a:avLst/>
                <a:gdLst>
                  <a:gd name="connsiteX0" fmla="*/ 0 w 74851"/>
                  <a:gd name="connsiteY0" fmla="*/ 4006 h 52859"/>
                  <a:gd name="connsiteX1" fmla="*/ 74852 w 74851"/>
                  <a:gd name="connsiteY1" fmla="*/ 52860 h 52859"/>
                  <a:gd name="connsiteX2" fmla="*/ 39078 w 74851"/>
                  <a:gd name="connsiteY2" fmla="*/ 18495 h 52859"/>
                  <a:gd name="connsiteX3" fmla="*/ 0 w 74851"/>
                  <a:gd name="connsiteY3" fmla="*/ 4006 h 52859"/>
                </a:gdLst>
                <a:ahLst/>
                <a:cxnLst>
                  <a:cxn ang="0">
                    <a:pos x="connsiteX0" y="connsiteY0"/>
                  </a:cxn>
                  <a:cxn ang="0">
                    <a:pos x="connsiteX1" y="connsiteY1"/>
                  </a:cxn>
                  <a:cxn ang="0">
                    <a:pos x="connsiteX2" y="connsiteY2"/>
                  </a:cxn>
                  <a:cxn ang="0">
                    <a:pos x="connsiteX3" y="connsiteY3"/>
                  </a:cxn>
                </a:cxnLst>
                <a:rect l="l" t="t" r="r" b="b"/>
                <a:pathLst>
                  <a:path w="74851" h="52859">
                    <a:moveTo>
                      <a:pt x="0" y="4006"/>
                    </a:moveTo>
                    <a:cubicBezTo>
                      <a:pt x="0" y="4006"/>
                      <a:pt x="67944" y="-20758"/>
                      <a:pt x="74852" y="52860"/>
                    </a:cubicBezTo>
                    <a:cubicBezTo>
                      <a:pt x="74852" y="52860"/>
                      <a:pt x="63168" y="24555"/>
                      <a:pt x="39078" y="18495"/>
                    </a:cubicBezTo>
                    <a:cubicBezTo>
                      <a:pt x="14988" y="12435"/>
                      <a:pt x="2693" y="6200"/>
                      <a:pt x="0" y="400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31" name="Graphic 525">
              <a:extLst>
                <a:ext uri="{FF2B5EF4-FFF2-40B4-BE49-F238E27FC236}">
                  <a16:creationId xmlns:a16="http://schemas.microsoft.com/office/drawing/2014/main" id="{4115F8FE-DCC8-F5E3-A7D8-527236C19B86}"/>
                </a:ext>
              </a:extLst>
            </p:cNvPr>
            <p:cNvGrpSpPr/>
            <p:nvPr/>
          </p:nvGrpSpPr>
          <p:grpSpPr>
            <a:xfrm>
              <a:off x="3765121" y="1463128"/>
              <a:ext cx="20552" cy="30986"/>
              <a:chOff x="5941286" y="1199966"/>
              <a:chExt cx="24787" cy="37371"/>
            </a:xfrm>
          </p:grpSpPr>
          <p:sp>
            <p:nvSpPr>
              <p:cNvPr id="3632" name="Freeform: Shape 3631">
                <a:extLst>
                  <a:ext uri="{FF2B5EF4-FFF2-40B4-BE49-F238E27FC236}">
                    <a16:creationId xmlns:a16="http://schemas.microsoft.com/office/drawing/2014/main" id="{75DF378F-9A87-BB24-4F05-4A168606ABB4}"/>
                  </a:ext>
                </a:extLst>
              </p:cNvPr>
              <p:cNvSpPr/>
              <p:nvPr/>
            </p:nvSpPr>
            <p:spPr>
              <a:xfrm>
                <a:off x="5941286" y="1199966"/>
                <a:ext cx="24787" cy="37371"/>
              </a:xfrm>
              <a:custGeom>
                <a:avLst/>
                <a:gdLst>
                  <a:gd name="connsiteX0" fmla="*/ 24249 w 24787"/>
                  <a:gd name="connsiteY0" fmla="*/ 20471 h 37371"/>
                  <a:gd name="connsiteX1" fmla="*/ 6855 w 24787"/>
                  <a:gd name="connsiteY1" fmla="*/ 84 h 37371"/>
                  <a:gd name="connsiteX2" fmla="*/ 6306 w 24787"/>
                  <a:gd name="connsiteY2" fmla="*/ 30970 h 37371"/>
                  <a:gd name="connsiteX3" fmla="*/ 24249 w 24787"/>
                  <a:gd name="connsiteY3" fmla="*/ 20459 h 37371"/>
                </a:gdLst>
                <a:ahLst/>
                <a:cxnLst>
                  <a:cxn ang="0">
                    <a:pos x="connsiteX0" y="connsiteY0"/>
                  </a:cxn>
                  <a:cxn ang="0">
                    <a:pos x="connsiteX1" y="connsiteY1"/>
                  </a:cxn>
                  <a:cxn ang="0">
                    <a:pos x="connsiteX2" y="connsiteY2"/>
                  </a:cxn>
                  <a:cxn ang="0">
                    <a:pos x="connsiteX3" y="connsiteY3"/>
                  </a:cxn>
                </a:cxnLst>
                <a:rect l="l" t="t" r="r" b="b"/>
                <a:pathLst>
                  <a:path w="24787" h="37371">
                    <a:moveTo>
                      <a:pt x="24249" y="20471"/>
                    </a:moveTo>
                    <a:cubicBezTo>
                      <a:pt x="24249" y="20471"/>
                      <a:pt x="20022" y="-1524"/>
                      <a:pt x="6855" y="84"/>
                    </a:cubicBezTo>
                    <a:cubicBezTo>
                      <a:pt x="-6313" y="1693"/>
                      <a:pt x="2940" y="24885"/>
                      <a:pt x="6306" y="30970"/>
                    </a:cubicBezTo>
                    <a:cubicBezTo>
                      <a:pt x="10496" y="38551"/>
                      <a:pt x="28065" y="43726"/>
                      <a:pt x="24249" y="20459"/>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33" name="Graphic 525">
                <a:extLst>
                  <a:ext uri="{FF2B5EF4-FFF2-40B4-BE49-F238E27FC236}">
                    <a16:creationId xmlns:a16="http://schemas.microsoft.com/office/drawing/2014/main" id="{8C59982B-A65D-BE1A-347F-6165677761BF}"/>
                  </a:ext>
                </a:extLst>
              </p:cNvPr>
              <p:cNvGrpSpPr/>
              <p:nvPr/>
            </p:nvGrpSpPr>
            <p:grpSpPr>
              <a:xfrm>
                <a:off x="5947675" y="1208740"/>
                <a:ext cx="11057" cy="19888"/>
                <a:chOff x="5947675" y="1208740"/>
                <a:chExt cx="11057" cy="19888"/>
              </a:xfrm>
              <a:solidFill>
                <a:srgbClr val="E57E73"/>
              </a:solidFill>
            </p:grpSpPr>
            <p:sp>
              <p:nvSpPr>
                <p:cNvPr id="3634" name="Freeform: Shape 3633">
                  <a:extLst>
                    <a:ext uri="{FF2B5EF4-FFF2-40B4-BE49-F238E27FC236}">
                      <a16:creationId xmlns:a16="http://schemas.microsoft.com/office/drawing/2014/main" id="{D8B5A3B3-E0A5-2E07-6E0F-BF814F5CBC62}"/>
                    </a:ext>
                  </a:extLst>
                </p:cNvPr>
                <p:cNvSpPr/>
                <p:nvPr/>
              </p:nvSpPr>
              <p:spPr>
                <a:xfrm>
                  <a:off x="5949923" y="1208740"/>
                  <a:ext cx="8809" cy="19888"/>
                </a:xfrm>
                <a:custGeom>
                  <a:avLst/>
                  <a:gdLst>
                    <a:gd name="connsiteX0" fmla="*/ 6747 w 8809"/>
                    <a:gd name="connsiteY0" fmla="*/ 19852 h 19888"/>
                    <a:gd name="connsiteX1" fmla="*/ 5737 w 8809"/>
                    <a:gd name="connsiteY1" fmla="*/ 18293 h 19888"/>
                    <a:gd name="connsiteX2" fmla="*/ 774 w 8809"/>
                    <a:gd name="connsiteY2" fmla="*/ 2545 h 19888"/>
                    <a:gd name="connsiteX3" fmla="*/ 126 w 8809"/>
                    <a:gd name="connsiteY3" fmla="*/ 774 h 19888"/>
                    <a:gd name="connsiteX4" fmla="*/ 1896 w 8809"/>
                    <a:gd name="connsiteY4" fmla="*/ 126 h 19888"/>
                    <a:gd name="connsiteX5" fmla="*/ 8355 w 8809"/>
                    <a:gd name="connsiteY5" fmla="*/ 18817 h 19888"/>
                    <a:gd name="connsiteX6" fmla="*/ 6784 w 8809"/>
                    <a:gd name="connsiteY6" fmla="*/ 19864 h 19888"/>
                    <a:gd name="connsiteX7" fmla="*/ 6747 w 8809"/>
                    <a:gd name="connsiteY7" fmla="*/ 19864 h 1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9" h="19888">
                      <a:moveTo>
                        <a:pt x="6747" y="19852"/>
                      </a:moveTo>
                      <a:cubicBezTo>
                        <a:pt x="6049" y="19690"/>
                        <a:pt x="5600" y="19004"/>
                        <a:pt x="5737" y="18293"/>
                      </a:cubicBezTo>
                      <a:cubicBezTo>
                        <a:pt x="5762" y="18169"/>
                        <a:pt x="8119" y="5936"/>
                        <a:pt x="774" y="2545"/>
                      </a:cubicBezTo>
                      <a:cubicBezTo>
                        <a:pt x="101" y="2233"/>
                        <a:pt x="-186" y="1448"/>
                        <a:pt x="126" y="774"/>
                      </a:cubicBezTo>
                      <a:cubicBezTo>
                        <a:pt x="438" y="101"/>
                        <a:pt x="1223" y="-186"/>
                        <a:pt x="1896" y="126"/>
                      </a:cubicBezTo>
                      <a:cubicBezTo>
                        <a:pt x="11161" y="4403"/>
                        <a:pt x="8480" y="18231"/>
                        <a:pt x="8355" y="18817"/>
                      </a:cubicBezTo>
                      <a:cubicBezTo>
                        <a:pt x="8206" y="19540"/>
                        <a:pt x="7508" y="20002"/>
                        <a:pt x="6784" y="19864"/>
                      </a:cubicBezTo>
                      <a:cubicBezTo>
                        <a:pt x="6772" y="19864"/>
                        <a:pt x="6759" y="19864"/>
                        <a:pt x="6747" y="19864"/>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35" name="Freeform: Shape 3634">
                  <a:extLst>
                    <a:ext uri="{FF2B5EF4-FFF2-40B4-BE49-F238E27FC236}">
                      <a16:creationId xmlns:a16="http://schemas.microsoft.com/office/drawing/2014/main" id="{222C472C-5109-5B4E-E3AD-B07905BEC130}"/>
                    </a:ext>
                  </a:extLst>
                </p:cNvPr>
                <p:cNvSpPr/>
                <p:nvPr/>
              </p:nvSpPr>
              <p:spPr>
                <a:xfrm>
                  <a:off x="5947675" y="1215052"/>
                  <a:ext cx="10687" cy="7130"/>
                </a:xfrm>
                <a:custGeom>
                  <a:avLst/>
                  <a:gdLst>
                    <a:gd name="connsiteX0" fmla="*/ 9057 w 10687"/>
                    <a:gd name="connsiteY0" fmla="*/ 7093 h 7130"/>
                    <a:gd name="connsiteX1" fmla="*/ 8272 w 10687"/>
                    <a:gd name="connsiteY1" fmla="*/ 6570 h 7130"/>
                    <a:gd name="connsiteX2" fmla="*/ 1439 w 10687"/>
                    <a:gd name="connsiteY2" fmla="*/ 2679 h 7130"/>
                    <a:gd name="connsiteX3" fmla="*/ 5 w 10687"/>
                    <a:gd name="connsiteY3" fmla="*/ 1457 h 7130"/>
                    <a:gd name="connsiteX4" fmla="*/ 1227 w 10687"/>
                    <a:gd name="connsiteY4" fmla="*/ 23 h 7130"/>
                    <a:gd name="connsiteX5" fmla="*/ 10441 w 10687"/>
                    <a:gd name="connsiteY5" fmla="*/ 5023 h 7130"/>
                    <a:gd name="connsiteX6" fmla="*/ 10130 w 10687"/>
                    <a:gd name="connsiteY6" fmla="*/ 6881 h 7130"/>
                    <a:gd name="connsiteX7" fmla="*/ 9057 w 10687"/>
                    <a:gd name="connsiteY7" fmla="*/ 7093 h 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7130">
                      <a:moveTo>
                        <a:pt x="9057" y="7093"/>
                      </a:moveTo>
                      <a:cubicBezTo>
                        <a:pt x="8746" y="7018"/>
                        <a:pt x="8471" y="6844"/>
                        <a:pt x="8272" y="6570"/>
                      </a:cubicBezTo>
                      <a:cubicBezTo>
                        <a:pt x="8247" y="6532"/>
                        <a:pt x="5217" y="2392"/>
                        <a:pt x="1439" y="2679"/>
                      </a:cubicBezTo>
                      <a:cubicBezTo>
                        <a:pt x="703" y="2729"/>
                        <a:pt x="67" y="2180"/>
                        <a:pt x="5" y="1457"/>
                      </a:cubicBezTo>
                      <a:cubicBezTo>
                        <a:pt x="-58" y="722"/>
                        <a:pt x="491" y="86"/>
                        <a:pt x="1227" y="23"/>
                      </a:cubicBezTo>
                      <a:cubicBezTo>
                        <a:pt x="6526" y="-388"/>
                        <a:pt x="10279" y="4799"/>
                        <a:pt x="10441" y="5023"/>
                      </a:cubicBezTo>
                      <a:cubicBezTo>
                        <a:pt x="10865" y="5622"/>
                        <a:pt x="10728" y="6457"/>
                        <a:pt x="10130" y="6881"/>
                      </a:cubicBezTo>
                      <a:cubicBezTo>
                        <a:pt x="9806" y="7118"/>
                        <a:pt x="9419" y="7181"/>
                        <a:pt x="9057" y="7093"/>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637" name="Freeform: Shape 3636">
              <a:extLst>
                <a:ext uri="{FF2B5EF4-FFF2-40B4-BE49-F238E27FC236}">
                  <a16:creationId xmlns:a16="http://schemas.microsoft.com/office/drawing/2014/main" id="{AB06C746-67A2-D489-18A8-62FCCA2BADD1}"/>
                </a:ext>
              </a:extLst>
            </p:cNvPr>
            <p:cNvSpPr/>
            <p:nvPr/>
          </p:nvSpPr>
          <p:spPr>
            <a:xfrm>
              <a:off x="3744536" y="1712890"/>
              <a:ext cx="158022" cy="84277"/>
            </a:xfrm>
            <a:custGeom>
              <a:avLst/>
              <a:gdLst>
                <a:gd name="connsiteX0" fmla="*/ 32730 w 190581"/>
                <a:gd name="connsiteY0" fmla="*/ 101399 h 101642"/>
                <a:gd name="connsiteX1" fmla="*/ 109851 w 190581"/>
                <a:gd name="connsiteY1" fmla="*/ 68194 h 101642"/>
                <a:gd name="connsiteX2" fmla="*/ 186586 w 190581"/>
                <a:gd name="connsiteY2" fmla="*/ 21772 h 101642"/>
                <a:gd name="connsiteX3" fmla="*/ 171373 w 190581"/>
                <a:gd name="connsiteY3" fmla="*/ 163 h 101642"/>
                <a:gd name="connsiteX4" fmla="*/ 73641 w 190581"/>
                <a:gd name="connsiteY4" fmla="*/ 26909 h 101642"/>
                <a:gd name="connsiteX5" fmla="*/ 622 w 190581"/>
                <a:gd name="connsiteY5" fmla="*/ 68419 h 101642"/>
                <a:gd name="connsiteX6" fmla="*/ 32717 w 190581"/>
                <a:gd name="connsiteY6" fmla="*/ 101412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81" h="101642">
                  <a:moveTo>
                    <a:pt x="32730" y="101399"/>
                  </a:moveTo>
                  <a:cubicBezTo>
                    <a:pt x="32730" y="101399"/>
                    <a:pt x="51745" y="101275"/>
                    <a:pt x="109851" y="68194"/>
                  </a:cubicBezTo>
                  <a:cubicBezTo>
                    <a:pt x="151186" y="44665"/>
                    <a:pt x="180887" y="29652"/>
                    <a:pt x="186586" y="21772"/>
                  </a:cubicBezTo>
                  <a:cubicBezTo>
                    <a:pt x="195863" y="8928"/>
                    <a:pt x="188244" y="-1433"/>
                    <a:pt x="171373" y="163"/>
                  </a:cubicBezTo>
                  <a:cubicBezTo>
                    <a:pt x="154640" y="1746"/>
                    <a:pt x="125924" y="12806"/>
                    <a:pt x="73641" y="26909"/>
                  </a:cubicBezTo>
                  <a:cubicBezTo>
                    <a:pt x="15048" y="42707"/>
                    <a:pt x="2891" y="53194"/>
                    <a:pt x="622" y="68419"/>
                  </a:cubicBezTo>
                  <a:cubicBezTo>
                    <a:pt x="-3281" y="94628"/>
                    <a:pt x="11644" y="103220"/>
                    <a:pt x="32717" y="101412"/>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38" name="Freeform: Shape 3637">
              <a:extLst>
                <a:ext uri="{FF2B5EF4-FFF2-40B4-BE49-F238E27FC236}">
                  <a16:creationId xmlns:a16="http://schemas.microsoft.com/office/drawing/2014/main" id="{47D45984-3FA4-AFA6-2176-2C4322B2E063}"/>
                </a:ext>
              </a:extLst>
            </p:cNvPr>
            <p:cNvSpPr/>
            <p:nvPr/>
          </p:nvSpPr>
          <p:spPr>
            <a:xfrm>
              <a:off x="3851387" y="1703083"/>
              <a:ext cx="57613" cy="41057"/>
            </a:xfrm>
            <a:custGeom>
              <a:avLst/>
              <a:gdLst>
                <a:gd name="connsiteX0" fmla="*/ 9176 w 69484"/>
                <a:gd name="connsiteY0" fmla="*/ 20208 h 49517"/>
                <a:gd name="connsiteX1" fmla="*/ 29725 w 69484"/>
                <a:gd name="connsiteY1" fmla="*/ 10095 h 49517"/>
                <a:gd name="connsiteX2" fmla="*/ 67457 w 69484"/>
                <a:gd name="connsiteY2" fmla="*/ 1666 h 49517"/>
                <a:gd name="connsiteX3" fmla="*/ 49601 w 69484"/>
                <a:gd name="connsiteY3" fmla="*/ 38387 h 49517"/>
                <a:gd name="connsiteX4" fmla="*/ 4114 w 69484"/>
                <a:gd name="connsiteY4" fmla="*/ 42091 h 49517"/>
                <a:gd name="connsiteX5" fmla="*/ 9164 w 69484"/>
                <a:gd name="connsiteY5" fmla="*/ 20195 h 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84" h="49517">
                  <a:moveTo>
                    <a:pt x="9176" y="20208"/>
                  </a:moveTo>
                  <a:cubicBezTo>
                    <a:pt x="9176" y="20208"/>
                    <a:pt x="18615" y="17178"/>
                    <a:pt x="29725" y="10095"/>
                  </a:cubicBezTo>
                  <a:cubicBezTo>
                    <a:pt x="40848" y="3025"/>
                    <a:pt x="63080" y="-3047"/>
                    <a:pt x="67457" y="1666"/>
                  </a:cubicBezTo>
                  <a:cubicBezTo>
                    <a:pt x="71833" y="6379"/>
                    <a:pt x="70487" y="24235"/>
                    <a:pt x="49601" y="38387"/>
                  </a:cubicBezTo>
                  <a:cubicBezTo>
                    <a:pt x="28715" y="52540"/>
                    <a:pt x="11870" y="52540"/>
                    <a:pt x="4114" y="42091"/>
                  </a:cubicBezTo>
                  <a:cubicBezTo>
                    <a:pt x="-3630" y="31642"/>
                    <a:pt x="410" y="24235"/>
                    <a:pt x="9164" y="20195"/>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39" name="Graphic 525">
              <a:extLst>
                <a:ext uri="{FF2B5EF4-FFF2-40B4-BE49-F238E27FC236}">
                  <a16:creationId xmlns:a16="http://schemas.microsoft.com/office/drawing/2014/main" id="{3186DEED-50EA-8D61-83D8-6679021DB719}"/>
                </a:ext>
              </a:extLst>
            </p:cNvPr>
            <p:cNvGrpSpPr/>
            <p:nvPr/>
          </p:nvGrpSpPr>
          <p:grpSpPr>
            <a:xfrm>
              <a:off x="3703365" y="1557167"/>
              <a:ext cx="83212" cy="239687"/>
              <a:chOff x="5866805" y="1313381"/>
              <a:chExt cx="100357" cy="289073"/>
            </a:xfrm>
          </p:grpSpPr>
          <p:sp>
            <p:nvSpPr>
              <p:cNvPr id="3640" name="Freeform: Shape 3639">
                <a:extLst>
                  <a:ext uri="{FF2B5EF4-FFF2-40B4-BE49-F238E27FC236}">
                    <a16:creationId xmlns:a16="http://schemas.microsoft.com/office/drawing/2014/main" id="{931866EE-6903-8E87-C3BD-4E2DD0BDE515}"/>
                  </a:ext>
                </a:extLst>
              </p:cNvPr>
              <p:cNvSpPr/>
              <p:nvPr/>
            </p:nvSpPr>
            <p:spPr>
              <a:xfrm>
                <a:off x="5873621" y="1314700"/>
                <a:ext cx="93541" cy="287754"/>
              </a:xfrm>
              <a:custGeom>
                <a:avLst/>
                <a:gdLst>
                  <a:gd name="connsiteX0" fmla="*/ 34956 w 93541"/>
                  <a:gd name="connsiteY0" fmla="*/ 676 h 287754"/>
                  <a:gd name="connsiteX1" fmla="*/ 192 w 93541"/>
                  <a:gd name="connsiteY1" fmla="*/ 55478 h 287754"/>
                  <a:gd name="connsiteX2" fmla="*/ 50193 w 93541"/>
                  <a:gd name="connsiteY2" fmla="*/ 281617 h 287754"/>
                  <a:gd name="connsiteX3" fmla="*/ 93236 w 93541"/>
                  <a:gd name="connsiteY3" fmla="*/ 232252 h 287754"/>
                  <a:gd name="connsiteX4" fmla="*/ 75904 w 93541"/>
                  <a:gd name="connsiteY4" fmla="*/ 49106 h 287754"/>
                  <a:gd name="connsiteX5" fmla="*/ 34956 w 93541"/>
                  <a:gd name="connsiteY5" fmla="*/ 676 h 28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541" h="287754">
                    <a:moveTo>
                      <a:pt x="34956" y="676"/>
                    </a:moveTo>
                    <a:cubicBezTo>
                      <a:pt x="34956" y="676"/>
                      <a:pt x="-3013" y="6749"/>
                      <a:pt x="192" y="55478"/>
                    </a:cubicBezTo>
                    <a:cubicBezTo>
                      <a:pt x="2873" y="96239"/>
                      <a:pt x="28534" y="267901"/>
                      <a:pt x="50193" y="281617"/>
                    </a:cubicBezTo>
                    <a:cubicBezTo>
                      <a:pt x="71852" y="295333"/>
                      <a:pt x="96578" y="288987"/>
                      <a:pt x="93236" y="232252"/>
                    </a:cubicBezTo>
                    <a:cubicBezTo>
                      <a:pt x="89895" y="175530"/>
                      <a:pt x="81029" y="88371"/>
                      <a:pt x="75904" y="49106"/>
                    </a:cubicBezTo>
                    <a:cubicBezTo>
                      <a:pt x="70780" y="9841"/>
                      <a:pt x="52637" y="-3289"/>
                      <a:pt x="34956" y="676"/>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1" name="Freeform: Shape 3640">
                <a:extLst>
                  <a:ext uri="{FF2B5EF4-FFF2-40B4-BE49-F238E27FC236}">
                    <a16:creationId xmlns:a16="http://schemas.microsoft.com/office/drawing/2014/main" id="{45C2636D-A069-BFAC-3778-D3D7B4689530}"/>
                  </a:ext>
                </a:extLst>
              </p:cNvPr>
              <p:cNvSpPr/>
              <p:nvPr/>
            </p:nvSpPr>
            <p:spPr>
              <a:xfrm>
                <a:off x="5866805" y="1313381"/>
                <a:ext cx="97371" cy="106567"/>
              </a:xfrm>
              <a:custGeom>
                <a:avLst/>
                <a:gdLst>
                  <a:gd name="connsiteX0" fmla="*/ 34864 w 97371"/>
                  <a:gd name="connsiteY0" fmla="*/ 586 h 106567"/>
                  <a:gd name="connsiteX1" fmla="*/ 4713 w 97371"/>
                  <a:gd name="connsiteY1" fmla="*/ 37819 h 106567"/>
                  <a:gd name="connsiteX2" fmla="*/ 0 w 97371"/>
                  <a:gd name="connsiteY2" fmla="*/ 99478 h 106567"/>
                  <a:gd name="connsiteX3" fmla="*/ 97371 w 97371"/>
                  <a:gd name="connsiteY3" fmla="*/ 99142 h 106567"/>
                  <a:gd name="connsiteX4" fmla="*/ 80688 w 97371"/>
                  <a:gd name="connsiteY4" fmla="*/ 32594 h 106567"/>
                  <a:gd name="connsiteX5" fmla="*/ 34864 w 97371"/>
                  <a:gd name="connsiteY5" fmla="*/ 586 h 106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371" h="106567">
                    <a:moveTo>
                      <a:pt x="34864" y="586"/>
                    </a:moveTo>
                    <a:cubicBezTo>
                      <a:pt x="34864" y="586"/>
                      <a:pt x="11447" y="4801"/>
                      <a:pt x="4713" y="37819"/>
                    </a:cubicBezTo>
                    <a:cubicBezTo>
                      <a:pt x="-1671" y="69091"/>
                      <a:pt x="1010" y="94428"/>
                      <a:pt x="0" y="99478"/>
                    </a:cubicBezTo>
                    <a:cubicBezTo>
                      <a:pt x="0" y="99478"/>
                      <a:pt x="51884" y="115651"/>
                      <a:pt x="97371" y="99142"/>
                    </a:cubicBezTo>
                    <a:cubicBezTo>
                      <a:pt x="97371" y="99142"/>
                      <a:pt x="86922" y="54502"/>
                      <a:pt x="80688" y="32594"/>
                    </a:cubicBezTo>
                    <a:cubicBezTo>
                      <a:pt x="74578" y="11110"/>
                      <a:pt x="61485" y="-3117"/>
                      <a:pt x="34864" y="586"/>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42" name="Graphic 525">
              <a:extLst>
                <a:ext uri="{FF2B5EF4-FFF2-40B4-BE49-F238E27FC236}">
                  <a16:creationId xmlns:a16="http://schemas.microsoft.com/office/drawing/2014/main" id="{12B942CC-6559-E5C3-C541-211EB42CDFD5}"/>
                </a:ext>
              </a:extLst>
            </p:cNvPr>
            <p:cNvGrpSpPr/>
            <p:nvPr/>
          </p:nvGrpSpPr>
          <p:grpSpPr>
            <a:xfrm>
              <a:off x="3844738" y="1691124"/>
              <a:ext cx="150340" cy="185638"/>
              <a:chOff x="6037307" y="1474939"/>
              <a:chExt cx="181316" cy="223887"/>
            </a:xfrm>
          </p:grpSpPr>
          <p:grpSp>
            <p:nvGrpSpPr>
              <p:cNvPr id="3643" name="Graphic 525">
                <a:extLst>
                  <a:ext uri="{FF2B5EF4-FFF2-40B4-BE49-F238E27FC236}">
                    <a16:creationId xmlns:a16="http://schemas.microsoft.com/office/drawing/2014/main" id="{418F1911-67FB-D943-718A-8E7D31F21E63}"/>
                  </a:ext>
                </a:extLst>
              </p:cNvPr>
              <p:cNvGrpSpPr/>
              <p:nvPr/>
            </p:nvGrpSpPr>
            <p:grpSpPr>
              <a:xfrm>
                <a:off x="6037307" y="1501057"/>
                <a:ext cx="181316" cy="197769"/>
                <a:chOff x="6037307" y="1501057"/>
                <a:chExt cx="181316" cy="197769"/>
              </a:xfrm>
            </p:grpSpPr>
            <p:sp>
              <p:nvSpPr>
                <p:cNvPr id="3644" name="Freeform: Shape 3643">
                  <a:extLst>
                    <a:ext uri="{FF2B5EF4-FFF2-40B4-BE49-F238E27FC236}">
                      <a16:creationId xmlns:a16="http://schemas.microsoft.com/office/drawing/2014/main" id="{F66BDAC7-6CA4-D501-BE56-7EC3BE89120C}"/>
                    </a:ext>
                  </a:extLst>
                </p:cNvPr>
                <p:cNvSpPr/>
                <p:nvPr/>
              </p:nvSpPr>
              <p:spPr>
                <a:xfrm>
                  <a:off x="6037321" y="1501069"/>
                  <a:ext cx="181302" cy="197757"/>
                </a:xfrm>
                <a:custGeom>
                  <a:avLst/>
                  <a:gdLst>
                    <a:gd name="connsiteX0" fmla="*/ 86260 w 181302"/>
                    <a:gd name="connsiteY0" fmla="*/ 2428 h 197757"/>
                    <a:gd name="connsiteX1" fmla="*/ 49202 w 181302"/>
                    <a:gd name="connsiteY1" fmla="*/ 6468 h 197757"/>
                    <a:gd name="connsiteX2" fmla="*/ 26969 w 181302"/>
                    <a:gd name="connsiteY2" fmla="*/ 32753 h 197757"/>
                    <a:gd name="connsiteX3" fmla="*/ 3054 w 181302"/>
                    <a:gd name="connsiteY3" fmla="*/ 140573 h 197757"/>
                    <a:gd name="connsiteX4" fmla="*/ 28329 w 181302"/>
                    <a:gd name="connsiteY4" fmla="*/ 195151 h 197757"/>
                    <a:gd name="connsiteX5" fmla="*/ 146585 w 181302"/>
                    <a:gd name="connsiteY5" fmla="*/ 175612 h 197757"/>
                    <a:gd name="connsiteX6" fmla="*/ 181287 w 181302"/>
                    <a:gd name="connsiteY6" fmla="*/ 141583 h 197757"/>
                    <a:gd name="connsiteX7" fmla="*/ 162758 w 181302"/>
                    <a:gd name="connsiteY7" fmla="*/ 70834 h 197757"/>
                    <a:gd name="connsiteX8" fmla="*/ 141199 w 181302"/>
                    <a:gd name="connsiteY8" fmla="*/ 3114 h 197757"/>
                    <a:gd name="connsiteX9" fmla="*/ 86285 w 181302"/>
                    <a:gd name="connsiteY9" fmla="*/ 2441 h 19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302" h="197757">
                      <a:moveTo>
                        <a:pt x="86260" y="2428"/>
                      </a:moveTo>
                      <a:cubicBezTo>
                        <a:pt x="86260" y="2428"/>
                        <a:pt x="57618" y="4785"/>
                        <a:pt x="49202" y="6468"/>
                      </a:cubicBezTo>
                      <a:cubicBezTo>
                        <a:pt x="40773" y="8152"/>
                        <a:pt x="29999" y="16918"/>
                        <a:pt x="26969" y="32753"/>
                      </a:cubicBezTo>
                      <a:cubicBezTo>
                        <a:pt x="23939" y="48589"/>
                        <a:pt x="8777" y="110922"/>
                        <a:pt x="3054" y="140573"/>
                      </a:cubicBezTo>
                      <a:cubicBezTo>
                        <a:pt x="-2670" y="170225"/>
                        <a:pt x="-3343" y="186734"/>
                        <a:pt x="28329" y="195151"/>
                      </a:cubicBezTo>
                      <a:cubicBezTo>
                        <a:pt x="60000" y="203580"/>
                        <a:pt x="116597" y="190101"/>
                        <a:pt x="146585" y="175612"/>
                      </a:cubicBezTo>
                      <a:cubicBezTo>
                        <a:pt x="176574" y="161123"/>
                        <a:pt x="181624" y="153379"/>
                        <a:pt x="181287" y="141583"/>
                      </a:cubicBezTo>
                      <a:cubicBezTo>
                        <a:pt x="180950" y="129788"/>
                        <a:pt x="168144" y="96433"/>
                        <a:pt x="162758" y="70834"/>
                      </a:cubicBezTo>
                      <a:cubicBezTo>
                        <a:pt x="157371" y="45222"/>
                        <a:pt x="145575" y="7491"/>
                        <a:pt x="141199" y="3114"/>
                      </a:cubicBezTo>
                      <a:cubicBezTo>
                        <a:pt x="136822" y="-1263"/>
                        <a:pt x="122670" y="-589"/>
                        <a:pt x="86285" y="2441"/>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5" name="Freeform: Shape 3644">
                  <a:extLst>
                    <a:ext uri="{FF2B5EF4-FFF2-40B4-BE49-F238E27FC236}">
                      <a16:creationId xmlns:a16="http://schemas.microsoft.com/office/drawing/2014/main" id="{B5D68086-69FA-68F3-554B-416FB9513092}"/>
                    </a:ext>
                  </a:extLst>
                </p:cNvPr>
                <p:cNvSpPr/>
                <p:nvPr/>
              </p:nvSpPr>
              <p:spPr>
                <a:xfrm>
                  <a:off x="6074952" y="1501057"/>
                  <a:ext cx="103543" cy="17308"/>
                </a:xfrm>
                <a:custGeom>
                  <a:avLst/>
                  <a:gdLst>
                    <a:gd name="connsiteX0" fmla="*/ 48629 w 103543"/>
                    <a:gd name="connsiteY0" fmla="*/ 2441 h 17308"/>
                    <a:gd name="connsiteX1" fmla="*/ 11571 w 103543"/>
                    <a:gd name="connsiteY1" fmla="*/ 6481 h 17308"/>
                    <a:gd name="connsiteX2" fmla="*/ 0 w 103543"/>
                    <a:gd name="connsiteY2" fmla="*/ 12765 h 17308"/>
                    <a:gd name="connsiteX3" fmla="*/ 19988 w 103543"/>
                    <a:gd name="connsiteY3" fmla="*/ 17267 h 17308"/>
                    <a:gd name="connsiteX4" fmla="*/ 103543 w 103543"/>
                    <a:gd name="connsiteY4" fmla="*/ 3114 h 17308"/>
                    <a:gd name="connsiteX5" fmla="*/ 48629 w 103543"/>
                    <a:gd name="connsiteY5" fmla="*/ 2441 h 17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543" h="17308">
                      <a:moveTo>
                        <a:pt x="48629" y="2441"/>
                      </a:moveTo>
                      <a:cubicBezTo>
                        <a:pt x="48629" y="2441"/>
                        <a:pt x="19988" y="4798"/>
                        <a:pt x="11571" y="6481"/>
                      </a:cubicBezTo>
                      <a:cubicBezTo>
                        <a:pt x="7880" y="7216"/>
                        <a:pt x="3741" y="9311"/>
                        <a:pt x="0" y="12765"/>
                      </a:cubicBezTo>
                      <a:cubicBezTo>
                        <a:pt x="3491" y="14947"/>
                        <a:pt x="9913" y="17678"/>
                        <a:pt x="19988" y="17267"/>
                      </a:cubicBezTo>
                      <a:cubicBezTo>
                        <a:pt x="36497" y="16593"/>
                        <a:pt x="73892" y="421"/>
                        <a:pt x="103543" y="3114"/>
                      </a:cubicBezTo>
                      <a:cubicBezTo>
                        <a:pt x="99167" y="-1262"/>
                        <a:pt x="85014" y="-589"/>
                        <a:pt x="48629" y="2441"/>
                      </a:cubicBezTo>
                      <a:close/>
                    </a:path>
                  </a:pathLst>
                </a:custGeom>
                <a:solidFill>
                  <a:srgbClr val="111B3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6" name="Freeform: Shape 3645">
                  <a:extLst>
                    <a:ext uri="{FF2B5EF4-FFF2-40B4-BE49-F238E27FC236}">
                      <a16:creationId xmlns:a16="http://schemas.microsoft.com/office/drawing/2014/main" id="{A6C3D56E-1CF2-7085-47D7-E3AF1EE459D7}"/>
                    </a:ext>
                  </a:extLst>
                </p:cNvPr>
                <p:cNvSpPr/>
                <p:nvPr/>
              </p:nvSpPr>
              <p:spPr>
                <a:xfrm>
                  <a:off x="6037307" y="1513859"/>
                  <a:ext cx="49889" cy="182023"/>
                </a:xfrm>
                <a:custGeom>
                  <a:avLst/>
                  <a:gdLst>
                    <a:gd name="connsiteX0" fmla="*/ 26971 w 49889"/>
                    <a:gd name="connsiteY0" fmla="*/ 19963 h 182023"/>
                    <a:gd name="connsiteX1" fmla="*/ 3055 w 49889"/>
                    <a:gd name="connsiteY1" fmla="*/ 127783 h 182023"/>
                    <a:gd name="connsiteX2" fmla="*/ 27096 w 49889"/>
                    <a:gd name="connsiteY2" fmla="*/ 182024 h 182023"/>
                    <a:gd name="connsiteX3" fmla="*/ 23268 w 49889"/>
                    <a:gd name="connsiteY3" fmla="*/ 153382 h 182023"/>
                    <a:gd name="connsiteX4" fmla="*/ 39777 w 49889"/>
                    <a:gd name="connsiteY4" fmla="*/ 29726 h 182023"/>
                    <a:gd name="connsiteX5" fmla="*/ 49889 w 49889"/>
                    <a:gd name="connsiteY5" fmla="*/ 4115 h 182023"/>
                    <a:gd name="connsiteX6" fmla="*/ 37595 w 49889"/>
                    <a:gd name="connsiteY6" fmla="*/ 0 h 182023"/>
                    <a:gd name="connsiteX7" fmla="*/ 26971 w 49889"/>
                    <a:gd name="connsiteY7" fmla="*/ 19951 h 18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9" h="182023">
                      <a:moveTo>
                        <a:pt x="26971" y="19963"/>
                      </a:moveTo>
                      <a:cubicBezTo>
                        <a:pt x="23941" y="35799"/>
                        <a:pt x="8778" y="98132"/>
                        <a:pt x="3055" y="127783"/>
                      </a:cubicBezTo>
                      <a:cubicBezTo>
                        <a:pt x="-2593" y="157048"/>
                        <a:pt x="-3329" y="173507"/>
                        <a:pt x="27096" y="182024"/>
                      </a:cubicBezTo>
                      <a:cubicBezTo>
                        <a:pt x="24352" y="177223"/>
                        <a:pt x="21896" y="168607"/>
                        <a:pt x="23268" y="153382"/>
                      </a:cubicBezTo>
                      <a:cubicBezTo>
                        <a:pt x="25961" y="123394"/>
                        <a:pt x="36410" y="50288"/>
                        <a:pt x="39777" y="29726"/>
                      </a:cubicBezTo>
                      <a:cubicBezTo>
                        <a:pt x="43143" y="9177"/>
                        <a:pt x="49889" y="4115"/>
                        <a:pt x="49889" y="4115"/>
                      </a:cubicBezTo>
                      <a:cubicBezTo>
                        <a:pt x="46136" y="3454"/>
                        <a:pt x="41772" y="1845"/>
                        <a:pt x="37595" y="0"/>
                      </a:cubicBezTo>
                      <a:cubicBezTo>
                        <a:pt x="32806" y="4427"/>
                        <a:pt x="28679" y="11085"/>
                        <a:pt x="26971" y="19951"/>
                      </a:cubicBezTo>
                      <a:close/>
                    </a:path>
                  </a:pathLst>
                </a:custGeom>
                <a:solidFill>
                  <a:srgbClr val="1A23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7" name="Freeform: Shape 3646">
                  <a:extLst>
                    <a:ext uri="{FF2B5EF4-FFF2-40B4-BE49-F238E27FC236}">
                      <a16:creationId xmlns:a16="http://schemas.microsoft.com/office/drawing/2014/main" id="{839EE576-2931-3A6E-71C7-F56CE70620EE}"/>
                    </a:ext>
                  </a:extLst>
                </p:cNvPr>
                <p:cNvSpPr/>
                <p:nvPr/>
              </p:nvSpPr>
              <p:spPr>
                <a:xfrm>
                  <a:off x="6099316" y="1521322"/>
                  <a:ext cx="17368" cy="23078"/>
                </a:xfrm>
                <a:custGeom>
                  <a:avLst/>
                  <a:gdLst>
                    <a:gd name="connsiteX0" fmla="*/ 0 w 17368"/>
                    <a:gd name="connsiteY0" fmla="*/ 3410 h 23078"/>
                    <a:gd name="connsiteX1" fmla="*/ 2357 w 17368"/>
                    <a:gd name="connsiteY1" fmla="*/ 22276 h 23078"/>
                    <a:gd name="connsiteX2" fmla="*/ 17182 w 17368"/>
                    <a:gd name="connsiteY2" fmla="*/ 21603 h 23078"/>
                    <a:gd name="connsiteX3" fmla="*/ 16172 w 17368"/>
                    <a:gd name="connsiteY3" fmla="*/ 2400 h 23078"/>
                    <a:gd name="connsiteX4" fmla="*/ 0 w 17368"/>
                    <a:gd name="connsiteY4" fmla="*/ 3410 h 2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 h="23078">
                      <a:moveTo>
                        <a:pt x="0" y="3410"/>
                      </a:moveTo>
                      <a:cubicBezTo>
                        <a:pt x="0" y="3410"/>
                        <a:pt x="337" y="21266"/>
                        <a:pt x="2357" y="22276"/>
                      </a:cubicBezTo>
                      <a:cubicBezTo>
                        <a:pt x="4377" y="23286"/>
                        <a:pt x="16509" y="23623"/>
                        <a:pt x="17182" y="21603"/>
                      </a:cubicBezTo>
                      <a:cubicBezTo>
                        <a:pt x="17856" y="19583"/>
                        <a:pt x="16509" y="5430"/>
                        <a:pt x="16172" y="2400"/>
                      </a:cubicBezTo>
                      <a:cubicBezTo>
                        <a:pt x="15836" y="-630"/>
                        <a:pt x="0" y="-1303"/>
                        <a:pt x="0" y="3410"/>
                      </a:cubicBezTo>
                      <a:close/>
                    </a:path>
                  </a:pathLst>
                </a:custGeom>
                <a:solidFill>
                  <a:srgbClr val="3440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8" name="Freeform: Shape 3647">
                  <a:extLst>
                    <a:ext uri="{FF2B5EF4-FFF2-40B4-BE49-F238E27FC236}">
                      <a16:creationId xmlns:a16="http://schemas.microsoft.com/office/drawing/2014/main" id="{8766B3C9-BA21-C7EB-DED0-89EB12F4E062}"/>
                    </a:ext>
                  </a:extLst>
                </p:cNvPr>
                <p:cNvSpPr/>
                <p:nvPr/>
              </p:nvSpPr>
              <p:spPr>
                <a:xfrm>
                  <a:off x="6157609" y="1509972"/>
                  <a:ext cx="18963" cy="23478"/>
                </a:xfrm>
                <a:custGeom>
                  <a:avLst/>
                  <a:gdLst>
                    <a:gd name="connsiteX0" fmla="*/ 0 w 18963"/>
                    <a:gd name="connsiteY0" fmla="*/ 4648 h 23478"/>
                    <a:gd name="connsiteX1" fmla="*/ 4040 w 18963"/>
                    <a:gd name="connsiteY1" fmla="*/ 23177 h 23478"/>
                    <a:gd name="connsiteX2" fmla="*/ 18866 w 18963"/>
                    <a:gd name="connsiteY2" fmla="*/ 20484 h 23478"/>
                    <a:gd name="connsiteX3" fmla="*/ 16172 w 18963"/>
                    <a:gd name="connsiteY3" fmla="*/ 1618 h 23478"/>
                    <a:gd name="connsiteX4" fmla="*/ 0 w 18963"/>
                    <a:gd name="connsiteY4" fmla="*/ 4648 h 2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3" h="23478">
                      <a:moveTo>
                        <a:pt x="0" y="4648"/>
                      </a:moveTo>
                      <a:cubicBezTo>
                        <a:pt x="0" y="4648"/>
                        <a:pt x="2020" y="22167"/>
                        <a:pt x="4040" y="23177"/>
                      </a:cubicBezTo>
                      <a:cubicBezTo>
                        <a:pt x="6060" y="24187"/>
                        <a:pt x="18193" y="22504"/>
                        <a:pt x="18866" y="20484"/>
                      </a:cubicBezTo>
                      <a:cubicBezTo>
                        <a:pt x="19539" y="18464"/>
                        <a:pt x="16509" y="4648"/>
                        <a:pt x="16172" y="1618"/>
                      </a:cubicBezTo>
                      <a:cubicBezTo>
                        <a:pt x="15836" y="-1412"/>
                        <a:pt x="0" y="-65"/>
                        <a:pt x="0" y="4648"/>
                      </a:cubicBezTo>
                      <a:close/>
                    </a:path>
                  </a:pathLst>
                </a:custGeom>
                <a:solidFill>
                  <a:srgbClr val="34407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49" name="Freeform: Shape 3648">
                  <a:extLst>
                    <a:ext uri="{FF2B5EF4-FFF2-40B4-BE49-F238E27FC236}">
                      <a16:creationId xmlns:a16="http://schemas.microsoft.com/office/drawing/2014/main" id="{36E4FCD6-4471-6A16-232A-E02CAA416C69}"/>
                    </a:ext>
                  </a:extLst>
                </p:cNvPr>
                <p:cNvSpPr/>
                <p:nvPr/>
              </p:nvSpPr>
              <p:spPr>
                <a:xfrm>
                  <a:off x="6105698" y="1521185"/>
                  <a:ext cx="73012" cy="95020"/>
                </a:xfrm>
                <a:custGeom>
                  <a:avLst/>
                  <a:gdLst>
                    <a:gd name="connsiteX0" fmla="*/ 45839 w 73012"/>
                    <a:gd name="connsiteY0" fmla="*/ 95020 h 95020"/>
                    <a:gd name="connsiteX1" fmla="*/ 18120 w 73012"/>
                    <a:gd name="connsiteY1" fmla="*/ 83287 h 95020"/>
                    <a:gd name="connsiteX2" fmla="*/ 1187 w 73012"/>
                    <a:gd name="connsiteY2" fmla="*/ 39458 h 95020"/>
                    <a:gd name="connsiteX3" fmla="*/ 177 w 73012"/>
                    <a:gd name="connsiteY3" fmla="*/ 12849 h 95020"/>
                    <a:gd name="connsiteX4" fmla="*/ 2147 w 73012"/>
                    <a:gd name="connsiteY4" fmla="*/ 11128 h 95020"/>
                    <a:gd name="connsiteX5" fmla="*/ 3868 w 73012"/>
                    <a:gd name="connsiteY5" fmla="*/ 13098 h 95020"/>
                    <a:gd name="connsiteX6" fmla="*/ 20813 w 73012"/>
                    <a:gd name="connsiteY6" fmla="*/ 80756 h 95020"/>
                    <a:gd name="connsiteX7" fmla="*/ 45814 w 73012"/>
                    <a:gd name="connsiteY7" fmla="*/ 91304 h 95020"/>
                    <a:gd name="connsiteX8" fmla="*/ 62497 w 73012"/>
                    <a:gd name="connsiteY8" fmla="*/ 83499 h 95020"/>
                    <a:gd name="connsiteX9" fmla="*/ 60889 w 73012"/>
                    <a:gd name="connsiteY9" fmla="*/ 2387 h 95020"/>
                    <a:gd name="connsiteX10" fmla="*/ 62123 w 73012"/>
                    <a:gd name="connsiteY10" fmla="*/ 81 h 95020"/>
                    <a:gd name="connsiteX11" fmla="*/ 64430 w 73012"/>
                    <a:gd name="connsiteY11" fmla="*/ 1315 h 95020"/>
                    <a:gd name="connsiteX12" fmla="*/ 65465 w 73012"/>
                    <a:gd name="connsiteY12" fmla="*/ 85706 h 95020"/>
                    <a:gd name="connsiteX13" fmla="*/ 45814 w 73012"/>
                    <a:gd name="connsiteY13" fmla="*/ 95008 h 9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012" h="95020">
                      <a:moveTo>
                        <a:pt x="45839" y="95020"/>
                      </a:moveTo>
                      <a:cubicBezTo>
                        <a:pt x="34729" y="95020"/>
                        <a:pt x="25402" y="91068"/>
                        <a:pt x="18120" y="83287"/>
                      </a:cubicBezTo>
                      <a:cubicBezTo>
                        <a:pt x="9304" y="73860"/>
                        <a:pt x="3606" y="59109"/>
                        <a:pt x="1187" y="39458"/>
                      </a:cubicBezTo>
                      <a:cubicBezTo>
                        <a:pt x="-596" y="24944"/>
                        <a:pt x="152" y="13335"/>
                        <a:pt x="177" y="12849"/>
                      </a:cubicBezTo>
                      <a:cubicBezTo>
                        <a:pt x="251" y="11826"/>
                        <a:pt x="1124" y="11053"/>
                        <a:pt x="2147" y="11128"/>
                      </a:cubicBezTo>
                      <a:cubicBezTo>
                        <a:pt x="3169" y="11190"/>
                        <a:pt x="3942" y="12076"/>
                        <a:pt x="3868" y="13098"/>
                      </a:cubicBezTo>
                      <a:cubicBezTo>
                        <a:pt x="3843" y="13560"/>
                        <a:pt x="1000" y="59571"/>
                        <a:pt x="20813" y="80756"/>
                      </a:cubicBezTo>
                      <a:cubicBezTo>
                        <a:pt x="27359" y="87763"/>
                        <a:pt x="35776" y="91304"/>
                        <a:pt x="45814" y="91304"/>
                      </a:cubicBezTo>
                      <a:cubicBezTo>
                        <a:pt x="53133" y="91304"/>
                        <a:pt x="58594" y="88748"/>
                        <a:pt x="62497" y="83499"/>
                      </a:cubicBezTo>
                      <a:cubicBezTo>
                        <a:pt x="78607" y="61790"/>
                        <a:pt x="61076" y="2973"/>
                        <a:pt x="60889" y="2387"/>
                      </a:cubicBezTo>
                      <a:cubicBezTo>
                        <a:pt x="60590" y="1402"/>
                        <a:pt x="61151" y="367"/>
                        <a:pt x="62123" y="81"/>
                      </a:cubicBezTo>
                      <a:cubicBezTo>
                        <a:pt x="63096" y="-219"/>
                        <a:pt x="64143" y="342"/>
                        <a:pt x="64430" y="1315"/>
                      </a:cubicBezTo>
                      <a:cubicBezTo>
                        <a:pt x="65178" y="3809"/>
                        <a:pt x="82672" y="62526"/>
                        <a:pt x="65465" y="85706"/>
                      </a:cubicBezTo>
                      <a:cubicBezTo>
                        <a:pt x="60889" y="91878"/>
                        <a:pt x="54268" y="95008"/>
                        <a:pt x="45814" y="95008"/>
                      </a:cubicBezTo>
                      <a:close/>
                    </a:path>
                  </a:pathLst>
                </a:custGeom>
                <a:solidFill>
                  <a:srgbClr val="2832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50" name="Graphic 525">
                <a:extLst>
                  <a:ext uri="{FF2B5EF4-FFF2-40B4-BE49-F238E27FC236}">
                    <a16:creationId xmlns:a16="http://schemas.microsoft.com/office/drawing/2014/main" id="{57C91904-C25B-8041-12AC-6DE4CF11D4AA}"/>
                  </a:ext>
                </a:extLst>
              </p:cNvPr>
              <p:cNvGrpSpPr/>
              <p:nvPr/>
            </p:nvGrpSpPr>
            <p:grpSpPr>
              <a:xfrm>
                <a:off x="6068991" y="1474939"/>
                <a:ext cx="96393" cy="56988"/>
                <a:chOff x="6068991" y="1474939"/>
                <a:chExt cx="96393" cy="56988"/>
              </a:xfrm>
            </p:grpSpPr>
            <p:sp>
              <p:nvSpPr>
                <p:cNvPr id="3651" name="Freeform: Shape 3650">
                  <a:extLst>
                    <a:ext uri="{FF2B5EF4-FFF2-40B4-BE49-F238E27FC236}">
                      <a16:creationId xmlns:a16="http://schemas.microsoft.com/office/drawing/2014/main" id="{237F0EDF-7704-C9B1-989B-49C8ADE07D76}"/>
                    </a:ext>
                  </a:extLst>
                </p:cNvPr>
                <p:cNvSpPr/>
                <p:nvPr/>
              </p:nvSpPr>
              <p:spPr>
                <a:xfrm>
                  <a:off x="6068991" y="1474939"/>
                  <a:ext cx="96393" cy="56988"/>
                </a:xfrm>
                <a:custGeom>
                  <a:avLst/>
                  <a:gdLst>
                    <a:gd name="connsiteX0" fmla="*/ 0 w 96393"/>
                    <a:gd name="connsiteY0" fmla="*/ 28222 h 56988"/>
                    <a:gd name="connsiteX1" fmla="*/ 15162 w 96393"/>
                    <a:gd name="connsiteY1" fmla="*/ 13396 h 56988"/>
                    <a:gd name="connsiteX2" fmla="*/ 30662 w 96393"/>
                    <a:gd name="connsiteY2" fmla="*/ 6663 h 56988"/>
                    <a:gd name="connsiteX3" fmla="*/ 45824 w 96393"/>
                    <a:gd name="connsiteY3" fmla="*/ 2286 h 56988"/>
                    <a:gd name="connsiteX4" fmla="*/ 60986 w 96393"/>
                    <a:gd name="connsiteY4" fmla="*/ 603 h 56988"/>
                    <a:gd name="connsiteX5" fmla="*/ 86261 w 96393"/>
                    <a:gd name="connsiteY5" fmla="*/ 12735 h 56988"/>
                    <a:gd name="connsiteX6" fmla="*/ 96373 w 96393"/>
                    <a:gd name="connsiteY6" fmla="*/ 40367 h 56988"/>
                    <a:gd name="connsiteX7" fmla="*/ 91660 w 96393"/>
                    <a:gd name="connsiteY7" fmla="*/ 43060 h 56988"/>
                    <a:gd name="connsiteX8" fmla="*/ 88231 w 96393"/>
                    <a:gd name="connsiteY8" fmla="*/ 52661 h 56988"/>
                    <a:gd name="connsiteX9" fmla="*/ 81885 w 96393"/>
                    <a:gd name="connsiteY9" fmla="*/ 47773 h 56988"/>
                    <a:gd name="connsiteX10" fmla="*/ 79079 w 96393"/>
                    <a:gd name="connsiteY10" fmla="*/ 56988 h 56988"/>
                    <a:gd name="connsiteX11" fmla="*/ 71785 w 96393"/>
                    <a:gd name="connsiteY11" fmla="*/ 49133 h 56988"/>
                    <a:gd name="connsiteX12" fmla="*/ 65051 w 96393"/>
                    <a:gd name="connsiteY12" fmla="*/ 51489 h 56988"/>
                    <a:gd name="connsiteX13" fmla="*/ 55276 w 96393"/>
                    <a:gd name="connsiteY13" fmla="*/ 32960 h 56988"/>
                    <a:gd name="connsiteX14" fmla="*/ 30337 w 96393"/>
                    <a:gd name="connsiteY14" fmla="*/ 31614 h 56988"/>
                    <a:gd name="connsiteX15" fmla="*/ 12 w 96393"/>
                    <a:gd name="connsiteY15" fmla="*/ 28247 h 5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393" h="56988">
                      <a:moveTo>
                        <a:pt x="0" y="28222"/>
                      </a:moveTo>
                      <a:cubicBezTo>
                        <a:pt x="0" y="28222"/>
                        <a:pt x="11285" y="21825"/>
                        <a:pt x="15162" y="13396"/>
                      </a:cubicBezTo>
                      <a:cubicBezTo>
                        <a:pt x="17494" y="8334"/>
                        <a:pt x="24938" y="4967"/>
                        <a:pt x="30662" y="6663"/>
                      </a:cubicBezTo>
                      <a:cubicBezTo>
                        <a:pt x="30662" y="6663"/>
                        <a:pt x="36722" y="-407"/>
                        <a:pt x="45824" y="2286"/>
                      </a:cubicBezTo>
                      <a:cubicBezTo>
                        <a:pt x="45824" y="2286"/>
                        <a:pt x="53916" y="-1417"/>
                        <a:pt x="60986" y="603"/>
                      </a:cubicBezTo>
                      <a:cubicBezTo>
                        <a:pt x="68056" y="2623"/>
                        <a:pt x="81872" y="10042"/>
                        <a:pt x="86261" y="12735"/>
                      </a:cubicBezTo>
                      <a:cubicBezTo>
                        <a:pt x="90638" y="15429"/>
                        <a:pt x="96037" y="35304"/>
                        <a:pt x="96373" y="40367"/>
                      </a:cubicBezTo>
                      <a:cubicBezTo>
                        <a:pt x="96710" y="45417"/>
                        <a:pt x="92670" y="44407"/>
                        <a:pt x="91660" y="43060"/>
                      </a:cubicBezTo>
                      <a:cubicBezTo>
                        <a:pt x="91660" y="43060"/>
                        <a:pt x="93119" y="52325"/>
                        <a:pt x="88231" y="52661"/>
                      </a:cubicBezTo>
                      <a:cubicBezTo>
                        <a:pt x="84865" y="52898"/>
                        <a:pt x="81885" y="47773"/>
                        <a:pt x="81885" y="47773"/>
                      </a:cubicBezTo>
                      <a:cubicBezTo>
                        <a:pt x="81885" y="47773"/>
                        <a:pt x="83119" y="56988"/>
                        <a:pt x="79079" y="56988"/>
                      </a:cubicBezTo>
                      <a:cubicBezTo>
                        <a:pt x="75039" y="56988"/>
                        <a:pt x="71785" y="49133"/>
                        <a:pt x="71785" y="49133"/>
                      </a:cubicBezTo>
                      <a:cubicBezTo>
                        <a:pt x="71785" y="49133"/>
                        <a:pt x="69428" y="60255"/>
                        <a:pt x="65051" y="51489"/>
                      </a:cubicBezTo>
                      <a:cubicBezTo>
                        <a:pt x="60675" y="42724"/>
                        <a:pt x="56959" y="34644"/>
                        <a:pt x="55276" y="32960"/>
                      </a:cubicBezTo>
                      <a:cubicBezTo>
                        <a:pt x="53592" y="31277"/>
                        <a:pt x="43480" y="28247"/>
                        <a:pt x="30337" y="31614"/>
                      </a:cubicBezTo>
                      <a:cubicBezTo>
                        <a:pt x="17195" y="34980"/>
                        <a:pt x="12" y="28247"/>
                        <a:pt x="12" y="28247"/>
                      </a:cubicBezTo>
                      <a:close/>
                    </a:path>
                  </a:pathLst>
                </a:custGeom>
                <a:solidFill>
                  <a:srgbClr val="F7BE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2" name="Freeform: Shape 3651">
                  <a:extLst>
                    <a:ext uri="{FF2B5EF4-FFF2-40B4-BE49-F238E27FC236}">
                      <a16:creationId xmlns:a16="http://schemas.microsoft.com/office/drawing/2014/main" id="{77F2A2B4-55E4-2186-C45A-260DED4C8B1C}"/>
                    </a:ext>
                  </a:extLst>
                </p:cNvPr>
                <p:cNvSpPr/>
                <p:nvPr/>
              </p:nvSpPr>
              <p:spPr>
                <a:xfrm>
                  <a:off x="6135614" y="1485018"/>
                  <a:ext cx="25158" cy="33090"/>
                </a:xfrm>
                <a:custGeom>
                  <a:avLst/>
                  <a:gdLst>
                    <a:gd name="connsiteX0" fmla="*/ 24913 w 25158"/>
                    <a:gd name="connsiteY0" fmla="*/ 33018 h 33090"/>
                    <a:gd name="connsiteX1" fmla="*/ 20174 w 25158"/>
                    <a:gd name="connsiteY1" fmla="*/ 23180 h 33090"/>
                    <a:gd name="connsiteX2" fmla="*/ 15499 w 25158"/>
                    <a:gd name="connsiteY2" fmla="*/ 13317 h 33090"/>
                    <a:gd name="connsiteX3" fmla="*/ 13067 w 25158"/>
                    <a:gd name="connsiteY3" fmla="*/ 8467 h 33090"/>
                    <a:gd name="connsiteX4" fmla="*/ 12494 w 25158"/>
                    <a:gd name="connsiteY4" fmla="*/ 7606 h 33090"/>
                    <a:gd name="connsiteX5" fmla="*/ 11646 w 25158"/>
                    <a:gd name="connsiteY5" fmla="*/ 6846 h 33090"/>
                    <a:gd name="connsiteX6" fmla="*/ 9538 w 25158"/>
                    <a:gd name="connsiteY6" fmla="*/ 5424 h 33090"/>
                    <a:gd name="connsiteX7" fmla="*/ 62 w 25158"/>
                    <a:gd name="connsiteY7" fmla="*/ 225 h 33090"/>
                    <a:gd name="connsiteX8" fmla="*/ 12 w 25158"/>
                    <a:gd name="connsiteY8" fmla="*/ 62 h 33090"/>
                    <a:gd name="connsiteX9" fmla="*/ 137 w 25158"/>
                    <a:gd name="connsiteY9" fmla="*/ 0 h 33090"/>
                    <a:gd name="connsiteX10" fmla="*/ 5523 w 25158"/>
                    <a:gd name="connsiteY10" fmla="*/ 1284 h 33090"/>
                    <a:gd name="connsiteX11" fmla="*/ 10698 w 25158"/>
                    <a:gd name="connsiteY11" fmla="*/ 3379 h 33090"/>
                    <a:gd name="connsiteX12" fmla="*/ 13167 w 25158"/>
                    <a:gd name="connsiteY12" fmla="*/ 4925 h 33090"/>
                    <a:gd name="connsiteX13" fmla="*/ 14327 w 25158"/>
                    <a:gd name="connsiteY13" fmla="*/ 6010 h 33090"/>
                    <a:gd name="connsiteX14" fmla="*/ 14601 w 25158"/>
                    <a:gd name="connsiteY14" fmla="*/ 6359 h 33090"/>
                    <a:gd name="connsiteX15" fmla="*/ 14725 w 25158"/>
                    <a:gd name="connsiteY15" fmla="*/ 6546 h 33090"/>
                    <a:gd name="connsiteX16" fmla="*/ 14850 w 25158"/>
                    <a:gd name="connsiteY16" fmla="*/ 6758 h 33090"/>
                    <a:gd name="connsiteX17" fmla="*/ 14962 w 25158"/>
                    <a:gd name="connsiteY17" fmla="*/ 6970 h 33090"/>
                    <a:gd name="connsiteX18" fmla="*/ 15037 w 25158"/>
                    <a:gd name="connsiteY18" fmla="*/ 7145 h 33090"/>
                    <a:gd name="connsiteX19" fmla="*/ 15174 w 25158"/>
                    <a:gd name="connsiteY19" fmla="*/ 7469 h 33090"/>
                    <a:gd name="connsiteX20" fmla="*/ 17232 w 25158"/>
                    <a:gd name="connsiteY20" fmla="*/ 12569 h 33090"/>
                    <a:gd name="connsiteX21" fmla="*/ 19277 w 25158"/>
                    <a:gd name="connsiteY21" fmla="*/ 17631 h 33090"/>
                    <a:gd name="connsiteX22" fmla="*/ 21272 w 25158"/>
                    <a:gd name="connsiteY22" fmla="*/ 22719 h 33090"/>
                    <a:gd name="connsiteX23" fmla="*/ 25150 w 25158"/>
                    <a:gd name="connsiteY23" fmla="*/ 32931 h 33090"/>
                    <a:gd name="connsiteX24" fmla="*/ 25075 w 25158"/>
                    <a:gd name="connsiteY24" fmla="*/ 33081 h 33090"/>
                    <a:gd name="connsiteX25" fmla="*/ 24925 w 25158"/>
                    <a:gd name="connsiteY25" fmla="*/ 33018 h 3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158" h="33090">
                      <a:moveTo>
                        <a:pt x="24913" y="33018"/>
                      </a:moveTo>
                      <a:cubicBezTo>
                        <a:pt x="23304" y="29751"/>
                        <a:pt x="21758" y="26460"/>
                        <a:pt x="20174" y="23180"/>
                      </a:cubicBezTo>
                      <a:lnTo>
                        <a:pt x="15499" y="13317"/>
                      </a:lnTo>
                      <a:cubicBezTo>
                        <a:pt x="14701" y="11684"/>
                        <a:pt x="13903" y="10038"/>
                        <a:pt x="13067" y="8467"/>
                      </a:cubicBezTo>
                      <a:cubicBezTo>
                        <a:pt x="12830" y="8005"/>
                        <a:pt x="12743" y="7868"/>
                        <a:pt x="12494" y="7606"/>
                      </a:cubicBezTo>
                      <a:cubicBezTo>
                        <a:pt x="12269" y="7344"/>
                        <a:pt x="11945" y="7107"/>
                        <a:pt x="11646" y="6846"/>
                      </a:cubicBezTo>
                      <a:cubicBezTo>
                        <a:pt x="10997" y="6347"/>
                        <a:pt x="10287" y="5873"/>
                        <a:pt x="9538" y="5424"/>
                      </a:cubicBezTo>
                      <a:cubicBezTo>
                        <a:pt x="6546" y="3591"/>
                        <a:pt x="3266" y="2020"/>
                        <a:pt x="62" y="225"/>
                      </a:cubicBezTo>
                      <a:cubicBezTo>
                        <a:pt x="0" y="187"/>
                        <a:pt x="-13" y="125"/>
                        <a:pt x="12" y="62"/>
                      </a:cubicBezTo>
                      <a:cubicBezTo>
                        <a:pt x="37" y="12"/>
                        <a:pt x="87" y="0"/>
                        <a:pt x="137" y="0"/>
                      </a:cubicBezTo>
                      <a:cubicBezTo>
                        <a:pt x="1970" y="274"/>
                        <a:pt x="3765" y="723"/>
                        <a:pt x="5523" y="1284"/>
                      </a:cubicBezTo>
                      <a:cubicBezTo>
                        <a:pt x="7281" y="1845"/>
                        <a:pt x="9015" y="2506"/>
                        <a:pt x="10698" y="3379"/>
                      </a:cubicBezTo>
                      <a:cubicBezTo>
                        <a:pt x="11533" y="3816"/>
                        <a:pt x="12369" y="4302"/>
                        <a:pt x="13167" y="4925"/>
                      </a:cubicBezTo>
                      <a:cubicBezTo>
                        <a:pt x="13566" y="5250"/>
                        <a:pt x="13952" y="5574"/>
                        <a:pt x="14327" y="6010"/>
                      </a:cubicBezTo>
                      <a:cubicBezTo>
                        <a:pt x="14426" y="6110"/>
                        <a:pt x="14514" y="6235"/>
                        <a:pt x="14601" y="6359"/>
                      </a:cubicBezTo>
                      <a:lnTo>
                        <a:pt x="14725" y="6546"/>
                      </a:lnTo>
                      <a:lnTo>
                        <a:pt x="14850" y="6758"/>
                      </a:lnTo>
                      <a:lnTo>
                        <a:pt x="14962" y="6970"/>
                      </a:lnTo>
                      <a:cubicBezTo>
                        <a:pt x="15000" y="7045"/>
                        <a:pt x="15012" y="7083"/>
                        <a:pt x="15037" y="7145"/>
                      </a:cubicBezTo>
                      <a:lnTo>
                        <a:pt x="15174" y="7469"/>
                      </a:lnTo>
                      <a:cubicBezTo>
                        <a:pt x="15885" y="9190"/>
                        <a:pt x="16546" y="10873"/>
                        <a:pt x="17232" y="12569"/>
                      </a:cubicBezTo>
                      <a:lnTo>
                        <a:pt x="19277" y="17631"/>
                      </a:lnTo>
                      <a:lnTo>
                        <a:pt x="21272" y="22719"/>
                      </a:lnTo>
                      <a:cubicBezTo>
                        <a:pt x="22569" y="26123"/>
                        <a:pt x="23890" y="29514"/>
                        <a:pt x="25150" y="32931"/>
                      </a:cubicBezTo>
                      <a:cubicBezTo>
                        <a:pt x="25175" y="32993"/>
                        <a:pt x="25150" y="33056"/>
                        <a:pt x="25075" y="33081"/>
                      </a:cubicBezTo>
                      <a:cubicBezTo>
                        <a:pt x="25013" y="33105"/>
                        <a:pt x="24950" y="33081"/>
                        <a:pt x="24925" y="33018"/>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3" name="Freeform: Shape 3652">
                  <a:extLst>
                    <a:ext uri="{FF2B5EF4-FFF2-40B4-BE49-F238E27FC236}">
                      <a16:creationId xmlns:a16="http://schemas.microsoft.com/office/drawing/2014/main" id="{DF8D32D9-1CEF-E356-79D1-6216C321EF46}"/>
                    </a:ext>
                  </a:extLst>
                </p:cNvPr>
                <p:cNvSpPr/>
                <p:nvPr/>
              </p:nvSpPr>
              <p:spPr>
                <a:xfrm>
                  <a:off x="6126643" y="1489753"/>
                  <a:ext cx="24340" cy="33088"/>
                </a:xfrm>
                <a:custGeom>
                  <a:avLst/>
                  <a:gdLst>
                    <a:gd name="connsiteX0" fmla="*/ 24108 w 24340"/>
                    <a:gd name="connsiteY0" fmla="*/ 32996 h 33088"/>
                    <a:gd name="connsiteX1" fmla="*/ 19806 w 24340"/>
                    <a:gd name="connsiteY1" fmla="*/ 22934 h 33088"/>
                    <a:gd name="connsiteX2" fmla="*/ 17649 w 24340"/>
                    <a:gd name="connsiteY2" fmla="*/ 17909 h 33088"/>
                    <a:gd name="connsiteX3" fmla="*/ 15467 w 24340"/>
                    <a:gd name="connsiteY3" fmla="*/ 12909 h 33088"/>
                    <a:gd name="connsiteX4" fmla="*/ 13123 w 24340"/>
                    <a:gd name="connsiteY4" fmla="*/ 8033 h 33088"/>
                    <a:gd name="connsiteX5" fmla="*/ 12811 w 24340"/>
                    <a:gd name="connsiteY5" fmla="*/ 7460 h 33088"/>
                    <a:gd name="connsiteX6" fmla="*/ 12512 w 24340"/>
                    <a:gd name="connsiteY6" fmla="*/ 6936 h 33088"/>
                    <a:gd name="connsiteX7" fmla="*/ 12374 w 24340"/>
                    <a:gd name="connsiteY7" fmla="*/ 6712 h 33088"/>
                    <a:gd name="connsiteX8" fmla="*/ 12237 w 24340"/>
                    <a:gd name="connsiteY8" fmla="*/ 6512 h 33088"/>
                    <a:gd name="connsiteX9" fmla="*/ 12100 w 24340"/>
                    <a:gd name="connsiteY9" fmla="*/ 6375 h 33088"/>
                    <a:gd name="connsiteX10" fmla="*/ 11913 w 24340"/>
                    <a:gd name="connsiteY10" fmla="*/ 6213 h 33088"/>
                    <a:gd name="connsiteX11" fmla="*/ 10953 w 24340"/>
                    <a:gd name="connsiteY11" fmla="*/ 5552 h 33088"/>
                    <a:gd name="connsiteX12" fmla="*/ 9843 w 24340"/>
                    <a:gd name="connsiteY12" fmla="*/ 4916 h 33088"/>
                    <a:gd name="connsiteX13" fmla="*/ 5030 w 24340"/>
                    <a:gd name="connsiteY13" fmla="*/ 2572 h 33088"/>
                    <a:gd name="connsiteX14" fmla="*/ 67 w 24340"/>
                    <a:gd name="connsiteY14" fmla="*/ 228 h 33088"/>
                    <a:gd name="connsiteX15" fmla="*/ 18 w 24340"/>
                    <a:gd name="connsiteY15" fmla="*/ 66 h 33088"/>
                    <a:gd name="connsiteX16" fmla="*/ 142 w 24340"/>
                    <a:gd name="connsiteY16" fmla="*/ 3 h 33088"/>
                    <a:gd name="connsiteX17" fmla="*/ 5591 w 24340"/>
                    <a:gd name="connsiteY17" fmla="*/ 1013 h 33088"/>
                    <a:gd name="connsiteX18" fmla="*/ 10891 w 24340"/>
                    <a:gd name="connsiteY18" fmla="*/ 2809 h 33088"/>
                    <a:gd name="connsiteX19" fmla="*/ 13484 w 24340"/>
                    <a:gd name="connsiteY19" fmla="*/ 4342 h 33088"/>
                    <a:gd name="connsiteX20" fmla="*/ 13808 w 24340"/>
                    <a:gd name="connsiteY20" fmla="*/ 4642 h 33088"/>
                    <a:gd name="connsiteX21" fmla="*/ 14133 w 24340"/>
                    <a:gd name="connsiteY21" fmla="*/ 5003 h 33088"/>
                    <a:gd name="connsiteX22" fmla="*/ 14382 w 24340"/>
                    <a:gd name="connsiteY22" fmla="*/ 5377 h 33088"/>
                    <a:gd name="connsiteX23" fmla="*/ 14594 w 24340"/>
                    <a:gd name="connsiteY23" fmla="*/ 5739 h 33088"/>
                    <a:gd name="connsiteX24" fmla="*/ 14931 w 24340"/>
                    <a:gd name="connsiteY24" fmla="*/ 6412 h 33088"/>
                    <a:gd name="connsiteX25" fmla="*/ 15230 w 24340"/>
                    <a:gd name="connsiteY25" fmla="*/ 7061 h 33088"/>
                    <a:gd name="connsiteX26" fmla="*/ 16252 w 24340"/>
                    <a:gd name="connsiteY26" fmla="*/ 9642 h 33088"/>
                    <a:gd name="connsiteX27" fmla="*/ 17225 w 24340"/>
                    <a:gd name="connsiteY27" fmla="*/ 12210 h 33088"/>
                    <a:gd name="connsiteX28" fmla="*/ 19120 w 24340"/>
                    <a:gd name="connsiteY28" fmla="*/ 17360 h 33088"/>
                    <a:gd name="connsiteX29" fmla="*/ 20916 w 24340"/>
                    <a:gd name="connsiteY29" fmla="*/ 22535 h 33088"/>
                    <a:gd name="connsiteX30" fmla="*/ 24332 w 24340"/>
                    <a:gd name="connsiteY30" fmla="*/ 32934 h 33088"/>
                    <a:gd name="connsiteX31" fmla="*/ 24258 w 24340"/>
                    <a:gd name="connsiteY31" fmla="*/ 33084 h 33088"/>
                    <a:gd name="connsiteX32" fmla="*/ 24108 w 24340"/>
                    <a:gd name="connsiteY32" fmla="*/ 33021 h 3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340" h="33088">
                      <a:moveTo>
                        <a:pt x="24108" y="32996"/>
                      </a:moveTo>
                      <a:lnTo>
                        <a:pt x="19806" y="22934"/>
                      </a:lnTo>
                      <a:lnTo>
                        <a:pt x="17649" y="17909"/>
                      </a:lnTo>
                      <a:cubicBezTo>
                        <a:pt x="16938" y="16238"/>
                        <a:pt x="16215" y="14567"/>
                        <a:pt x="15467" y="12909"/>
                      </a:cubicBezTo>
                      <a:cubicBezTo>
                        <a:pt x="14719" y="11250"/>
                        <a:pt x="13946" y="9604"/>
                        <a:pt x="13123" y="8033"/>
                      </a:cubicBezTo>
                      <a:lnTo>
                        <a:pt x="12811" y="7460"/>
                      </a:lnTo>
                      <a:cubicBezTo>
                        <a:pt x="12711" y="7260"/>
                        <a:pt x="12599" y="7073"/>
                        <a:pt x="12512" y="6936"/>
                      </a:cubicBezTo>
                      <a:lnTo>
                        <a:pt x="12374" y="6712"/>
                      </a:lnTo>
                      <a:cubicBezTo>
                        <a:pt x="12325" y="6637"/>
                        <a:pt x="12275" y="6537"/>
                        <a:pt x="12237" y="6512"/>
                      </a:cubicBezTo>
                      <a:cubicBezTo>
                        <a:pt x="12200" y="6475"/>
                        <a:pt x="12162" y="6425"/>
                        <a:pt x="12100" y="6375"/>
                      </a:cubicBezTo>
                      <a:cubicBezTo>
                        <a:pt x="12038" y="6325"/>
                        <a:pt x="11988" y="6275"/>
                        <a:pt x="11913" y="6213"/>
                      </a:cubicBezTo>
                      <a:cubicBezTo>
                        <a:pt x="11651" y="5988"/>
                        <a:pt x="11315" y="5764"/>
                        <a:pt x="10953" y="5552"/>
                      </a:cubicBezTo>
                      <a:cubicBezTo>
                        <a:pt x="10604" y="5328"/>
                        <a:pt x="10230" y="5115"/>
                        <a:pt x="9843" y="4916"/>
                      </a:cubicBezTo>
                      <a:cubicBezTo>
                        <a:pt x="8310" y="4093"/>
                        <a:pt x="6676" y="3332"/>
                        <a:pt x="5030" y="2572"/>
                      </a:cubicBezTo>
                      <a:cubicBezTo>
                        <a:pt x="3384" y="1811"/>
                        <a:pt x="1726" y="1063"/>
                        <a:pt x="67" y="228"/>
                      </a:cubicBezTo>
                      <a:cubicBezTo>
                        <a:pt x="5" y="203"/>
                        <a:pt x="-20" y="128"/>
                        <a:pt x="18" y="66"/>
                      </a:cubicBezTo>
                      <a:cubicBezTo>
                        <a:pt x="42" y="16"/>
                        <a:pt x="92" y="-9"/>
                        <a:pt x="142" y="3"/>
                      </a:cubicBezTo>
                      <a:cubicBezTo>
                        <a:pt x="1988" y="190"/>
                        <a:pt x="3796" y="552"/>
                        <a:pt x="5591" y="1013"/>
                      </a:cubicBezTo>
                      <a:cubicBezTo>
                        <a:pt x="7387" y="1474"/>
                        <a:pt x="9145" y="2036"/>
                        <a:pt x="10891" y="2809"/>
                      </a:cubicBezTo>
                      <a:cubicBezTo>
                        <a:pt x="11763" y="3220"/>
                        <a:pt x="12624" y="3632"/>
                        <a:pt x="13484" y="4342"/>
                      </a:cubicBezTo>
                      <a:cubicBezTo>
                        <a:pt x="13596" y="4430"/>
                        <a:pt x="13709" y="4529"/>
                        <a:pt x="13808" y="4642"/>
                      </a:cubicBezTo>
                      <a:cubicBezTo>
                        <a:pt x="13908" y="4741"/>
                        <a:pt x="14020" y="4866"/>
                        <a:pt x="14133" y="5003"/>
                      </a:cubicBezTo>
                      <a:cubicBezTo>
                        <a:pt x="14257" y="5140"/>
                        <a:pt x="14307" y="5253"/>
                        <a:pt x="14382" y="5377"/>
                      </a:cubicBezTo>
                      <a:lnTo>
                        <a:pt x="14594" y="5739"/>
                      </a:lnTo>
                      <a:cubicBezTo>
                        <a:pt x="14744" y="5988"/>
                        <a:pt x="14831" y="6200"/>
                        <a:pt x="14931" y="6412"/>
                      </a:cubicBezTo>
                      <a:lnTo>
                        <a:pt x="15230" y="7061"/>
                      </a:lnTo>
                      <a:cubicBezTo>
                        <a:pt x="15591" y="7934"/>
                        <a:pt x="15928" y="8781"/>
                        <a:pt x="16252" y="9642"/>
                      </a:cubicBezTo>
                      <a:cubicBezTo>
                        <a:pt x="16589" y="10502"/>
                        <a:pt x="16901" y="11363"/>
                        <a:pt x="17225" y="12210"/>
                      </a:cubicBezTo>
                      <a:cubicBezTo>
                        <a:pt x="17873" y="13919"/>
                        <a:pt x="18497" y="15639"/>
                        <a:pt x="19120" y="17360"/>
                      </a:cubicBezTo>
                      <a:lnTo>
                        <a:pt x="20916" y="22535"/>
                      </a:lnTo>
                      <a:cubicBezTo>
                        <a:pt x="22075" y="26001"/>
                        <a:pt x="23247" y="29455"/>
                        <a:pt x="24332" y="32934"/>
                      </a:cubicBezTo>
                      <a:cubicBezTo>
                        <a:pt x="24357" y="32996"/>
                        <a:pt x="24320" y="33059"/>
                        <a:pt x="24258" y="33084"/>
                      </a:cubicBezTo>
                      <a:cubicBezTo>
                        <a:pt x="24195" y="33096"/>
                        <a:pt x="24133" y="33084"/>
                        <a:pt x="24108" y="33021"/>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54" name="Freeform: Shape 3653">
                  <a:extLst>
                    <a:ext uri="{FF2B5EF4-FFF2-40B4-BE49-F238E27FC236}">
                      <a16:creationId xmlns:a16="http://schemas.microsoft.com/office/drawing/2014/main" id="{F97DD6F3-3D6E-9C6E-FDA0-BEF7E1247D6C}"/>
                    </a:ext>
                  </a:extLst>
                </p:cNvPr>
                <p:cNvSpPr/>
                <p:nvPr/>
              </p:nvSpPr>
              <p:spPr>
                <a:xfrm>
                  <a:off x="6117921" y="1495817"/>
                  <a:ext cx="22925" cy="28346"/>
                </a:xfrm>
                <a:custGeom>
                  <a:avLst/>
                  <a:gdLst>
                    <a:gd name="connsiteX0" fmla="*/ 22731 w 22925"/>
                    <a:gd name="connsiteY0" fmla="*/ 28280 h 28346"/>
                    <a:gd name="connsiteX1" fmla="*/ 18716 w 22925"/>
                    <a:gd name="connsiteY1" fmla="*/ 19527 h 28346"/>
                    <a:gd name="connsiteX2" fmla="*/ 16671 w 22925"/>
                    <a:gd name="connsiteY2" fmla="*/ 15175 h 28346"/>
                    <a:gd name="connsiteX3" fmla="*/ 14576 w 22925"/>
                    <a:gd name="connsiteY3" fmla="*/ 10861 h 28346"/>
                    <a:gd name="connsiteX4" fmla="*/ 13441 w 22925"/>
                    <a:gd name="connsiteY4" fmla="*/ 8791 h 28346"/>
                    <a:gd name="connsiteX5" fmla="*/ 12843 w 22925"/>
                    <a:gd name="connsiteY5" fmla="*/ 7843 h 28346"/>
                    <a:gd name="connsiteX6" fmla="*/ 12194 w 22925"/>
                    <a:gd name="connsiteY6" fmla="*/ 7145 h 28346"/>
                    <a:gd name="connsiteX7" fmla="*/ 8504 w 22925"/>
                    <a:gd name="connsiteY7" fmla="*/ 4701 h 28346"/>
                    <a:gd name="connsiteX8" fmla="*/ 4339 w 22925"/>
                    <a:gd name="connsiteY8" fmla="*/ 2469 h 28346"/>
                    <a:gd name="connsiteX9" fmla="*/ 62 w 22925"/>
                    <a:gd name="connsiteY9" fmla="*/ 225 h 28346"/>
                    <a:gd name="connsiteX10" fmla="*/ 12 w 22925"/>
                    <a:gd name="connsiteY10" fmla="*/ 62 h 28346"/>
                    <a:gd name="connsiteX11" fmla="*/ 124 w 22925"/>
                    <a:gd name="connsiteY11" fmla="*/ 0 h 28346"/>
                    <a:gd name="connsiteX12" fmla="*/ 4937 w 22925"/>
                    <a:gd name="connsiteY12" fmla="*/ 923 h 28346"/>
                    <a:gd name="connsiteX13" fmla="*/ 9576 w 22925"/>
                    <a:gd name="connsiteY13" fmla="*/ 2594 h 28346"/>
                    <a:gd name="connsiteX14" fmla="*/ 13840 w 22925"/>
                    <a:gd name="connsiteY14" fmla="*/ 5486 h 28346"/>
                    <a:gd name="connsiteX15" fmla="*/ 14701 w 22925"/>
                    <a:gd name="connsiteY15" fmla="*/ 6658 h 28346"/>
                    <a:gd name="connsiteX16" fmla="*/ 15274 w 22925"/>
                    <a:gd name="connsiteY16" fmla="*/ 7806 h 28346"/>
                    <a:gd name="connsiteX17" fmla="*/ 16272 w 22925"/>
                    <a:gd name="connsiteY17" fmla="*/ 10050 h 28346"/>
                    <a:gd name="connsiteX18" fmla="*/ 18092 w 22925"/>
                    <a:gd name="connsiteY18" fmla="*/ 14539 h 28346"/>
                    <a:gd name="connsiteX19" fmla="*/ 19776 w 22925"/>
                    <a:gd name="connsiteY19" fmla="*/ 19065 h 28346"/>
                    <a:gd name="connsiteX20" fmla="*/ 22918 w 22925"/>
                    <a:gd name="connsiteY20" fmla="*/ 28193 h 28346"/>
                    <a:gd name="connsiteX21" fmla="*/ 22843 w 22925"/>
                    <a:gd name="connsiteY21" fmla="*/ 28342 h 28346"/>
                    <a:gd name="connsiteX22" fmla="*/ 22693 w 22925"/>
                    <a:gd name="connsiteY22" fmla="*/ 28280 h 2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925" h="28346">
                      <a:moveTo>
                        <a:pt x="22731" y="28280"/>
                      </a:moveTo>
                      <a:cubicBezTo>
                        <a:pt x="21384" y="25362"/>
                        <a:pt x="20075" y="22432"/>
                        <a:pt x="18716" y="19527"/>
                      </a:cubicBezTo>
                      <a:cubicBezTo>
                        <a:pt x="18042" y="18068"/>
                        <a:pt x="17369" y="16621"/>
                        <a:pt x="16671" y="15175"/>
                      </a:cubicBezTo>
                      <a:cubicBezTo>
                        <a:pt x="15998" y="13728"/>
                        <a:pt x="15299" y="12282"/>
                        <a:pt x="14576" y="10861"/>
                      </a:cubicBezTo>
                      <a:cubicBezTo>
                        <a:pt x="14214" y="10162"/>
                        <a:pt x="13840" y="9452"/>
                        <a:pt x="13441" y="8791"/>
                      </a:cubicBezTo>
                      <a:cubicBezTo>
                        <a:pt x="13254" y="8442"/>
                        <a:pt x="13042" y="8155"/>
                        <a:pt x="12843" y="7843"/>
                      </a:cubicBezTo>
                      <a:cubicBezTo>
                        <a:pt x="12656" y="7581"/>
                        <a:pt x="12456" y="7369"/>
                        <a:pt x="12194" y="7145"/>
                      </a:cubicBezTo>
                      <a:cubicBezTo>
                        <a:pt x="11172" y="6247"/>
                        <a:pt x="9838" y="5461"/>
                        <a:pt x="8504" y="4701"/>
                      </a:cubicBezTo>
                      <a:cubicBezTo>
                        <a:pt x="7157" y="3940"/>
                        <a:pt x="5760" y="3204"/>
                        <a:pt x="4339" y="2469"/>
                      </a:cubicBezTo>
                      <a:cubicBezTo>
                        <a:pt x="2917" y="1746"/>
                        <a:pt x="1483" y="1010"/>
                        <a:pt x="62" y="225"/>
                      </a:cubicBezTo>
                      <a:cubicBezTo>
                        <a:pt x="0" y="187"/>
                        <a:pt x="-13" y="112"/>
                        <a:pt x="12" y="62"/>
                      </a:cubicBezTo>
                      <a:cubicBezTo>
                        <a:pt x="37" y="25"/>
                        <a:pt x="87" y="0"/>
                        <a:pt x="124" y="0"/>
                      </a:cubicBezTo>
                      <a:cubicBezTo>
                        <a:pt x="1770" y="150"/>
                        <a:pt x="3366" y="486"/>
                        <a:pt x="4937" y="923"/>
                      </a:cubicBezTo>
                      <a:cubicBezTo>
                        <a:pt x="6509" y="1359"/>
                        <a:pt x="8067" y="1895"/>
                        <a:pt x="9576" y="2594"/>
                      </a:cubicBezTo>
                      <a:cubicBezTo>
                        <a:pt x="11085" y="3304"/>
                        <a:pt x="12569" y="4140"/>
                        <a:pt x="13840" y="5486"/>
                      </a:cubicBezTo>
                      <a:cubicBezTo>
                        <a:pt x="14152" y="5811"/>
                        <a:pt x="14464" y="6235"/>
                        <a:pt x="14701" y="6658"/>
                      </a:cubicBezTo>
                      <a:cubicBezTo>
                        <a:pt x="14888" y="7045"/>
                        <a:pt x="15125" y="7432"/>
                        <a:pt x="15274" y="7806"/>
                      </a:cubicBezTo>
                      <a:cubicBezTo>
                        <a:pt x="15623" y="8566"/>
                        <a:pt x="15948" y="9302"/>
                        <a:pt x="16272" y="10050"/>
                      </a:cubicBezTo>
                      <a:cubicBezTo>
                        <a:pt x="16908" y="11546"/>
                        <a:pt x="17506" y="13043"/>
                        <a:pt x="18092" y="14539"/>
                      </a:cubicBezTo>
                      <a:cubicBezTo>
                        <a:pt x="18666" y="16048"/>
                        <a:pt x="19227" y="17556"/>
                        <a:pt x="19776" y="19065"/>
                      </a:cubicBezTo>
                      <a:cubicBezTo>
                        <a:pt x="20848" y="22095"/>
                        <a:pt x="21933" y="25125"/>
                        <a:pt x="22918" y="28193"/>
                      </a:cubicBezTo>
                      <a:cubicBezTo>
                        <a:pt x="22943" y="28255"/>
                        <a:pt x="22905" y="28317"/>
                        <a:pt x="22843" y="28342"/>
                      </a:cubicBezTo>
                      <a:cubicBezTo>
                        <a:pt x="22781" y="28355"/>
                        <a:pt x="22718" y="28342"/>
                        <a:pt x="22693" y="28280"/>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655" name="Freeform: Shape 3654">
              <a:extLst>
                <a:ext uri="{FF2B5EF4-FFF2-40B4-BE49-F238E27FC236}">
                  <a16:creationId xmlns:a16="http://schemas.microsoft.com/office/drawing/2014/main" id="{C500F3CD-29B5-9784-BABD-735F837E252A}"/>
                </a:ext>
              </a:extLst>
            </p:cNvPr>
            <p:cNvSpPr/>
            <p:nvPr/>
          </p:nvSpPr>
          <p:spPr>
            <a:xfrm>
              <a:off x="3621764" y="1643879"/>
              <a:ext cx="139746" cy="313701"/>
            </a:xfrm>
            <a:custGeom>
              <a:avLst/>
              <a:gdLst>
                <a:gd name="connsiteX0" fmla="*/ 88139 w 168540"/>
                <a:gd name="connsiteY0" fmla="*/ 288560 h 378337"/>
                <a:gd name="connsiteX1" fmla="*/ 21006 w 168540"/>
                <a:gd name="connsiteY1" fmla="*/ 248397 h 378337"/>
                <a:gd name="connsiteX2" fmla="*/ 21006 w 168540"/>
                <a:gd name="connsiteY2" fmla="*/ 57532 h 378337"/>
                <a:gd name="connsiteX3" fmla="*/ 41306 w 168540"/>
                <a:gd name="connsiteY3" fmla="*/ 0 h 378337"/>
                <a:gd name="connsiteX4" fmla="*/ 24597 w 168540"/>
                <a:gd name="connsiteY4" fmla="*/ 0 h 378337"/>
                <a:gd name="connsiteX5" fmla="*/ 2502 w 168540"/>
                <a:gd name="connsiteY5" fmla="*/ 21896 h 378337"/>
                <a:gd name="connsiteX6" fmla="*/ 2726 w 168540"/>
                <a:gd name="connsiteY6" fmla="*/ 152971 h 378337"/>
                <a:gd name="connsiteX7" fmla="*/ 931 w 168540"/>
                <a:gd name="connsiteY7" fmla="*/ 301839 h 378337"/>
                <a:gd name="connsiteX8" fmla="*/ 36742 w 168540"/>
                <a:gd name="connsiteY8" fmla="*/ 363873 h 378337"/>
                <a:gd name="connsiteX9" fmla="*/ 105596 w 168540"/>
                <a:gd name="connsiteY9" fmla="*/ 377003 h 378337"/>
                <a:gd name="connsiteX10" fmla="*/ 168540 w 168540"/>
                <a:gd name="connsiteY10" fmla="*/ 376280 h 378337"/>
                <a:gd name="connsiteX11" fmla="*/ 88127 w 168540"/>
                <a:gd name="connsiteY11" fmla="*/ 288560 h 37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540" h="378337">
                  <a:moveTo>
                    <a:pt x="88139" y="288560"/>
                  </a:moveTo>
                  <a:cubicBezTo>
                    <a:pt x="13263" y="279744"/>
                    <a:pt x="21006" y="248397"/>
                    <a:pt x="21006" y="248397"/>
                  </a:cubicBezTo>
                  <a:lnTo>
                    <a:pt x="21006" y="57532"/>
                  </a:lnTo>
                  <a:cubicBezTo>
                    <a:pt x="21006" y="4738"/>
                    <a:pt x="41306" y="0"/>
                    <a:pt x="41306" y="0"/>
                  </a:cubicBezTo>
                  <a:lnTo>
                    <a:pt x="24597" y="0"/>
                  </a:lnTo>
                  <a:cubicBezTo>
                    <a:pt x="12465" y="0"/>
                    <a:pt x="2614" y="9763"/>
                    <a:pt x="2502" y="21896"/>
                  </a:cubicBezTo>
                  <a:cubicBezTo>
                    <a:pt x="2190" y="56161"/>
                    <a:pt x="1754" y="121773"/>
                    <a:pt x="2726" y="152971"/>
                  </a:cubicBezTo>
                  <a:cubicBezTo>
                    <a:pt x="3923" y="191238"/>
                    <a:pt x="-2274" y="252212"/>
                    <a:pt x="931" y="301839"/>
                  </a:cubicBezTo>
                  <a:lnTo>
                    <a:pt x="36742" y="363873"/>
                  </a:lnTo>
                  <a:cubicBezTo>
                    <a:pt x="59535" y="374023"/>
                    <a:pt x="88264" y="375083"/>
                    <a:pt x="105596" y="377003"/>
                  </a:cubicBezTo>
                  <a:cubicBezTo>
                    <a:pt x="136058" y="380382"/>
                    <a:pt x="168540" y="376280"/>
                    <a:pt x="168540" y="376280"/>
                  </a:cubicBezTo>
                  <a:cubicBezTo>
                    <a:pt x="168540" y="315368"/>
                    <a:pt x="164837" y="297587"/>
                    <a:pt x="88127" y="288560"/>
                  </a:cubicBezTo>
                  <a:close/>
                </a:path>
              </a:pathLst>
            </a:custGeom>
            <a:solidFill>
              <a:srgbClr val="DBDB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773" name="TextBox 3772">
            <a:extLst>
              <a:ext uri="{FF2B5EF4-FFF2-40B4-BE49-F238E27FC236}">
                <a16:creationId xmlns:a16="http://schemas.microsoft.com/office/drawing/2014/main" id="{1D01176A-5E54-010F-AD7D-D45ABB920EF9}"/>
              </a:ext>
            </a:extLst>
          </p:cNvPr>
          <p:cNvSpPr txBox="1"/>
          <p:nvPr>
            <p:custDataLst>
              <p:tags r:id="rId9"/>
            </p:custDataLst>
          </p:nvPr>
        </p:nvSpPr>
        <p:spPr>
          <a:xfrm>
            <a:off x="4562758" y="1572614"/>
            <a:ext cx="1536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64"/>
                </a:solidFill>
                <a:effectLst/>
                <a:uLnTx/>
                <a:uFillTx/>
                <a:latin typeface="Calibri"/>
                <a:ea typeface="+mn-ea"/>
                <a:cs typeface="+mn-cs"/>
              </a:rPr>
              <a:t>Information</a:t>
            </a:r>
          </a:p>
        </p:txBody>
      </p:sp>
      <p:sp>
        <p:nvSpPr>
          <p:cNvPr id="3780" name="TextBox 3779">
            <a:extLst>
              <a:ext uri="{FF2B5EF4-FFF2-40B4-BE49-F238E27FC236}">
                <a16:creationId xmlns:a16="http://schemas.microsoft.com/office/drawing/2014/main" id="{AA400A00-2BC2-FD47-F3DA-EB025846D1D1}"/>
              </a:ext>
            </a:extLst>
          </p:cNvPr>
          <p:cNvSpPr txBox="1"/>
          <p:nvPr>
            <p:custDataLst>
              <p:tags r:id="rId10"/>
            </p:custDataLst>
          </p:nvPr>
        </p:nvSpPr>
        <p:spPr>
          <a:xfrm>
            <a:off x="6211564" y="1334087"/>
            <a:ext cx="5713736" cy="815608"/>
          </a:xfrm>
          <a:prstGeom prst="rect">
            <a:avLst/>
          </a:prstGeom>
          <a:noFill/>
        </p:spPr>
        <p:txBody>
          <a:bodyPr wrap="square" anchor="ctr">
            <a:spAutoFit/>
          </a:bodyPr>
          <a:lstStyle/>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Understand the patient's medical history and current treatment plan.</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Review known values, preferences, or existing advance directives </a:t>
            </a:r>
            <a:br>
              <a:rPr kumimoji="0" lang="en-US" sz="1400" b="0" i="0" u="none" strike="noStrike" kern="1200" cap="none" spc="0" normalizeH="0" baseline="0" noProof="0" dirty="0">
                <a:ln>
                  <a:noFill/>
                </a:ln>
                <a:solidFill>
                  <a:prstClr val="black"/>
                </a:solidFill>
                <a:effectLst/>
                <a:uLnTx/>
                <a:uFillTx/>
                <a:latin typeface="Calibri"/>
                <a:ea typeface="+mn-ea"/>
                <a:cs typeface="+mn-cs"/>
              </a:rPr>
            </a:br>
            <a:r>
              <a:rPr kumimoji="0" lang="en-US" sz="1400" b="0" i="0" u="none" strike="noStrike" kern="1200" cap="none" spc="0" normalizeH="0" baseline="0" noProof="0" dirty="0">
                <a:ln>
                  <a:noFill/>
                </a:ln>
                <a:solidFill>
                  <a:prstClr val="black"/>
                </a:solidFill>
                <a:effectLst/>
                <a:uLnTx/>
                <a:uFillTx/>
                <a:latin typeface="Calibri"/>
                <a:ea typeface="+mn-ea"/>
                <a:cs typeface="+mn-cs"/>
              </a:rPr>
              <a:t>in the EHR.</a:t>
            </a:r>
          </a:p>
        </p:txBody>
      </p:sp>
      <p:sp>
        <p:nvSpPr>
          <p:cNvPr id="3777" name="Rectangle: Rounded Corners 3776">
            <a:extLst>
              <a:ext uri="{FF2B5EF4-FFF2-40B4-BE49-F238E27FC236}">
                <a16:creationId xmlns:a16="http://schemas.microsoft.com/office/drawing/2014/main" id="{F6A9942B-AB52-6BB7-6BA4-4941FB3ACEBF}"/>
              </a:ext>
            </a:extLst>
          </p:cNvPr>
          <p:cNvSpPr/>
          <p:nvPr>
            <p:custDataLst>
              <p:tags r:id="rId11"/>
            </p:custDataLst>
          </p:nvPr>
        </p:nvSpPr>
        <p:spPr>
          <a:xfrm rot="10800000">
            <a:off x="4210958" y="2555789"/>
            <a:ext cx="1888175" cy="857390"/>
          </a:xfrm>
          <a:prstGeom prst="roundRect">
            <a:avLst/>
          </a:prstGeom>
          <a:solidFill>
            <a:srgbClr val="A8DE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786" name="Group 3785">
            <a:extLst>
              <a:ext uri="{FF2B5EF4-FFF2-40B4-BE49-F238E27FC236}">
                <a16:creationId xmlns:a16="http://schemas.microsoft.com/office/drawing/2014/main" id="{46EC98D6-BABC-0EF0-7100-0ECDA14D642C}"/>
              </a:ext>
            </a:extLst>
          </p:cNvPr>
          <p:cNvGrpSpPr/>
          <p:nvPr>
            <p:custDataLst>
              <p:tags r:id="rId12"/>
            </p:custDataLst>
          </p:nvPr>
        </p:nvGrpSpPr>
        <p:grpSpPr>
          <a:xfrm>
            <a:off x="3438198" y="2478227"/>
            <a:ext cx="1121392" cy="1012514"/>
            <a:chOff x="3558513" y="2461836"/>
            <a:chExt cx="1121392" cy="1012514"/>
          </a:xfrm>
        </p:grpSpPr>
        <p:grpSp>
          <p:nvGrpSpPr>
            <p:cNvPr id="889" name="Graphic 525">
              <a:extLst>
                <a:ext uri="{FF2B5EF4-FFF2-40B4-BE49-F238E27FC236}">
                  <a16:creationId xmlns:a16="http://schemas.microsoft.com/office/drawing/2014/main" id="{10D4F287-94F9-BB1A-57A7-86B734F9F323}"/>
                </a:ext>
              </a:extLst>
            </p:cNvPr>
            <p:cNvGrpSpPr/>
            <p:nvPr/>
          </p:nvGrpSpPr>
          <p:grpSpPr>
            <a:xfrm>
              <a:off x="3558513" y="2461836"/>
              <a:ext cx="1121392" cy="1012514"/>
              <a:chOff x="7008918" y="2404452"/>
              <a:chExt cx="1352447" cy="1221135"/>
            </a:xfrm>
          </p:grpSpPr>
          <p:sp>
            <p:nvSpPr>
              <p:cNvPr id="890" name="Freeform: Shape 889">
                <a:extLst>
                  <a:ext uri="{FF2B5EF4-FFF2-40B4-BE49-F238E27FC236}">
                    <a16:creationId xmlns:a16="http://schemas.microsoft.com/office/drawing/2014/main" id="{6B8DCD1A-8EA0-2ACD-4731-1094DE241C1B}"/>
                  </a:ext>
                </a:extLst>
              </p:cNvPr>
              <p:cNvSpPr/>
              <p:nvPr/>
            </p:nvSpPr>
            <p:spPr>
              <a:xfrm>
                <a:off x="7204215" y="3403189"/>
                <a:ext cx="961840" cy="222398"/>
              </a:xfrm>
              <a:custGeom>
                <a:avLst/>
                <a:gdLst>
                  <a:gd name="connsiteX0" fmla="*/ 887163 w 961840"/>
                  <a:gd name="connsiteY0" fmla="*/ 129342 h 222398"/>
                  <a:gd name="connsiteX1" fmla="*/ 961841 w 961840"/>
                  <a:gd name="connsiteY1" fmla="*/ 0 h 222398"/>
                  <a:gd name="connsiteX2" fmla="*/ 0 w 961840"/>
                  <a:gd name="connsiteY2" fmla="*/ 0 h 222398"/>
                  <a:gd name="connsiteX3" fmla="*/ 74677 w 961840"/>
                  <a:gd name="connsiteY3" fmla="*/ 129342 h 222398"/>
                  <a:gd name="connsiteX4" fmla="*/ 235865 w 961840"/>
                  <a:gd name="connsiteY4" fmla="*/ 222399 h 222398"/>
                  <a:gd name="connsiteX5" fmla="*/ 725963 w 961840"/>
                  <a:gd name="connsiteY5" fmla="*/ 222399 h 222398"/>
                  <a:gd name="connsiteX6" fmla="*/ 887151 w 961840"/>
                  <a:gd name="connsiteY6" fmla="*/ 129342 h 22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840" h="222398">
                    <a:moveTo>
                      <a:pt x="887163" y="129342"/>
                    </a:moveTo>
                    <a:lnTo>
                      <a:pt x="961841" y="0"/>
                    </a:lnTo>
                    <a:lnTo>
                      <a:pt x="0" y="0"/>
                    </a:lnTo>
                    <a:lnTo>
                      <a:pt x="74677" y="129342"/>
                    </a:lnTo>
                    <a:cubicBezTo>
                      <a:pt x="107920" y="186924"/>
                      <a:pt x="169368" y="222399"/>
                      <a:pt x="235865" y="222399"/>
                    </a:cubicBezTo>
                    <a:lnTo>
                      <a:pt x="725963" y="222399"/>
                    </a:lnTo>
                    <a:cubicBezTo>
                      <a:pt x="792461" y="222399"/>
                      <a:pt x="853908" y="186924"/>
                      <a:pt x="887151" y="129342"/>
                    </a:cubicBez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1" name="Freeform: Shape 890">
                <a:extLst>
                  <a:ext uri="{FF2B5EF4-FFF2-40B4-BE49-F238E27FC236}">
                    <a16:creationId xmlns:a16="http://schemas.microsoft.com/office/drawing/2014/main" id="{8F5B96FA-E9C2-5A38-E5A7-8D225F8981DF}"/>
                  </a:ext>
                </a:extLst>
              </p:cNvPr>
              <p:cNvSpPr/>
              <p:nvPr/>
            </p:nvSpPr>
            <p:spPr>
              <a:xfrm>
                <a:off x="7008918" y="2404452"/>
                <a:ext cx="1352447" cy="1004672"/>
              </a:xfrm>
              <a:custGeom>
                <a:avLst/>
                <a:gdLst>
                  <a:gd name="connsiteX0" fmla="*/ 1082461 w 1352447"/>
                  <a:gd name="connsiteY0" fmla="*/ 93069 h 1004672"/>
                  <a:gd name="connsiteX1" fmla="*/ 921273 w 1352447"/>
                  <a:gd name="connsiteY1" fmla="*/ 0 h 1004672"/>
                  <a:gd name="connsiteX2" fmla="*/ 431175 w 1352447"/>
                  <a:gd name="connsiteY2" fmla="*/ 0 h 1004672"/>
                  <a:gd name="connsiteX3" fmla="*/ 269987 w 1352447"/>
                  <a:gd name="connsiteY3" fmla="*/ 93069 h 1004672"/>
                  <a:gd name="connsiteX4" fmla="*/ 24932 w 1352447"/>
                  <a:gd name="connsiteY4" fmla="*/ 517505 h 1004672"/>
                  <a:gd name="connsiteX5" fmla="*/ 24932 w 1352447"/>
                  <a:gd name="connsiteY5" fmla="*/ 703631 h 1004672"/>
                  <a:gd name="connsiteX6" fmla="*/ 198739 w 1352447"/>
                  <a:gd name="connsiteY6" fmla="*/ 1004672 h 1004672"/>
                  <a:gd name="connsiteX7" fmla="*/ 1153709 w 1352447"/>
                  <a:gd name="connsiteY7" fmla="*/ 1004672 h 1004672"/>
                  <a:gd name="connsiteX8" fmla="*/ 1327516 w 1352447"/>
                  <a:gd name="connsiteY8" fmla="*/ 703631 h 1004672"/>
                  <a:gd name="connsiteX9" fmla="*/ 1327516 w 1352447"/>
                  <a:gd name="connsiteY9" fmla="*/ 517505 h 1004672"/>
                  <a:gd name="connsiteX10" fmla="*/ 1082461 w 1352447"/>
                  <a:gd name="connsiteY10" fmla="*/ 93069 h 100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2447" h="1004672">
                    <a:moveTo>
                      <a:pt x="1082461" y="93069"/>
                    </a:moveTo>
                    <a:cubicBezTo>
                      <a:pt x="1049218" y="35487"/>
                      <a:pt x="987770" y="0"/>
                      <a:pt x="921273" y="0"/>
                    </a:cubicBezTo>
                    <a:lnTo>
                      <a:pt x="431175" y="0"/>
                    </a:lnTo>
                    <a:cubicBezTo>
                      <a:pt x="364677" y="0"/>
                      <a:pt x="303230" y="35475"/>
                      <a:pt x="269987" y="93069"/>
                    </a:cubicBezTo>
                    <a:lnTo>
                      <a:pt x="24932" y="517505"/>
                    </a:lnTo>
                    <a:cubicBezTo>
                      <a:pt x="-8311" y="575087"/>
                      <a:pt x="-8311" y="646049"/>
                      <a:pt x="24932" y="703631"/>
                    </a:cubicBezTo>
                    <a:lnTo>
                      <a:pt x="198739" y="1004672"/>
                    </a:lnTo>
                    <a:lnTo>
                      <a:pt x="1153709" y="1004672"/>
                    </a:lnTo>
                    <a:lnTo>
                      <a:pt x="1327516" y="703631"/>
                    </a:lnTo>
                    <a:cubicBezTo>
                      <a:pt x="1360758" y="646049"/>
                      <a:pt x="1360758" y="575100"/>
                      <a:pt x="1327516" y="517505"/>
                    </a:cubicBezTo>
                    <a:lnTo>
                      <a:pt x="1082461" y="93069"/>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92" name="Graphic 525">
              <a:extLst>
                <a:ext uri="{FF2B5EF4-FFF2-40B4-BE49-F238E27FC236}">
                  <a16:creationId xmlns:a16="http://schemas.microsoft.com/office/drawing/2014/main" id="{C9D47BB8-00EF-4967-5AE4-880865E289AB}"/>
                </a:ext>
              </a:extLst>
            </p:cNvPr>
            <p:cNvGrpSpPr/>
            <p:nvPr/>
          </p:nvGrpSpPr>
          <p:grpSpPr>
            <a:xfrm>
              <a:off x="3559273" y="2461836"/>
              <a:ext cx="1107135" cy="639892"/>
              <a:chOff x="7009834" y="2404452"/>
              <a:chExt cx="1335252" cy="771737"/>
            </a:xfrm>
          </p:grpSpPr>
          <p:grpSp>
            <p:nvGrpSpPr>
              <p:cNvPr id="893" name="Graphic 525">
                <a:extLst>
                  <a:ext uri="{FF2B5EF4-FFF2-40B4-BE49-F238E27FC236}">
                    <a16:creationId xmlns:a16="http://schemas.microsoft.com/office/drawing/2014/main" id="{760F8270-7AA0-ACF4-317E-92E2EB74E1F5}"/>
                  </a:ext>
                </a:extLst>
              </p:cNvPr>
              <p:cNvGrpSpPr/>
              <p:nvPr/>
            </p:nvGrpSpPr>
            <p:grpSpPr>
              <a:xfrm>
                <a:off x="7009834" y="2442383"/>
                <a:ext cx="317650" cy="554064"/>
                <a:chOff x="7009834" y="2442383"/>
                <a:chExt cx="317650" cy="554064"/>
              </a:xfrm>
            </p:grpSpPr>
            <p:sp>
              <p:nvSpPr>
                <p:cNvPr id="894" name="Freeform: Shape 893">
                  <a:extLst>
                    <a:ext uri="{FF2B5EF4-FFF2-40B4-BE49-F238E27FC236}">
                      <a16:creationId xmlns:a16="http://schemas.microsoft.com/office/drawing/2014/main" id="{C03F14C3-67CB-E7AE-9447-BC6655E01C30}"/>
                    </a:ext>
                  </a:extLst>
                </p:cNvPr>
                <p:cNvSpPr/>
                <p:nvPr/>
              </p:nvSpPr>
              <p:spPr>
                <a:xfrm>
                  <a:off x="7009834" y="2442383"/>
                  <a:ext cx="317650" cy="554064"/>
                </a:xfrm>
                <a:custGeom>
                  <a:avLst/>
                  <a:gdLst>
                    <a:gd name="connsiteX0" fmla="*/ 317650 w 317650"/>
                    <a:gd name="connsiteY0" fmla="*/ 554064 h 554064"/>
                    <a:gd name="connsiteX1" fmla="*/ 317650 w 317650"/>
                    <a:gd name="connsiteY1" fmla="*/ 0 h 554064"/>
                    <a:gd name="connsiteX2" fmla="*/ 269058 w 317650"/>
                    <a:gd name="connsiteY2" fmla="*/ 55138 h 554064"/>
                    <a:gd name="connsiteX3" fmla="*/ 24003 w 317650"/>
                    <a:gd name="connsiteY3" fmla="*/ 479574 h 554064"/>
                    <a:gd name="connsiteX4" fmla="*/ 0 w 317650"/>
                    <a:gd name="connsiteY4" fmla="*/ 554064 h 554064"/>
                    <a:gd name="connsiteX5" fmla="*/ 317650 w 317650"/>
                    <a:gd name="connsiteY5" fmla="*/ 554064 h 55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650" h="554064">
                      <a:moveTo>
                        <a:pt x="317650" y="554064"/>
                      </a:moveTo>
                      <a:lnTo>
                        <a:pt x="317650" y="0"/>
                      </a:lnTo>
                      <a:cubicBezTo>
                        <a:pt x="298248" y="14738"/>
                        <a:pt x="281639" y="33342"/>
                        <a:pt x="269058" y="55138"/>
                      </a:cubicBezTo>
                      <a:lnTo>
                        <a:pt x="24003" y="479574"/>
                      </a:lnTo>
                      <a:cubicBezTo>
                        <a:pt x="10587" y="502816"/>
                        <a:pt x="2594" y="528228"/>
                        <a:pt x="0" y="554064"/>
                      </a:cubicBezTo>
                      <a:lnTo>
                        <a:pt x="317650" y="554064"/>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895" name="Graphic 525">
                  <a:extLst>
                    <a:ext uri="{FF2B5EF4-FFF2-40B4-BE49-F238E27FC236}">
                      <a16:creationId xmlns:a16="http://schemas.microsoft.com/office/drawing/2014/main" id="{AAD6CF2D-68B4-ABC4-0D3D-7F3600A16D15}"/>
                    </a:ext>
                  </a:extLst>
                </p:cNvPr>
                <p:cNvGrpSpPr/>
                <p:nvPr/>
              </p:nvGrpSpPr>
              <p:grpSpPr>
                <a:xfrm>
                  <a:off x="7012528" y="2460825"/>
                  <a:ext cx="294145" cy="517691"/>
                  <a:chOff x="7012528" y="2460825"/>
                  <a:chExt cx="294145" cy="517691"/>
                </a:xfrm>
              </p:grpSpPr>
              <p:sp>
                <p:nvSpPr>
                  <p:cNvPr id="896" name="Freeform: Shape 895">
                    <a:extLst>
                      <a:ext uri="{FF2B5EF4-FFF2-40B4-BE49-F238E27FC236}">
                        <a16:creationId xmlns:a16="http://schemas.microsoft.com/office/drawing/2014/main" id="{EA899F70-DCFB-02ED-C868-57526C300A75}"/>
                      </a:ext>
                    </a:extLst>
                  </p:cNvPr>
                  <p:cNvSpPr/>
                  <p:nvPr/>
                </p:nvSpPr>
                <p:spPr>
                  <a:xfrm>
                    <a:off x="7012528" y="2460825"/>
                    <a:ext cx="294145" cy="517679"/>
                  </a:xfrm>
                  <a:custGeom>
                    <a:avLst/>
                    <a:gdLst>
                      <a:gd name="connsiteX0" fmla="*/ 294146 w 294145"/>
                      <a:gd name="connsiteY0" fmla="*/ 517679 h 517679"/>
                      <a:gd name="connsiteX1" fmla="*/ 294146 w 294145"/>
                      <a:gd name="connsiteY1" fmla="*/ 0 h 517679"/>
                      <a:gd name="connsiteX2" fmla="*/ 266365 w 294145"/>
                      <a:gd name="connsiteY2" fmla="*/ 36696 h 517679"/>
                      <a:gd name="connsiteX3" fmla="*/ 21309 w 294145"/>
                      <a:gd name="connsiteY3" fmla="*/ 461132 h 517679"/>
                      <a:gd name="connsiteX4" fmla="*/ 0 w 294145"/>
                      <a:gd name="connsiteY4" fmla="*/ 517679 h 517679"/>
                      <a:gd name="connsiteX5" fmla="*/ 294146 w 294145"/>
                      <a:gd name="connsiteY5" fmla="*/ 517679 h 51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145" h="517679">
                        <a:moveTo>
                          <a:pt x="294146" y="517679"/>
                        </a:moveTo>
                        <a:lnTo>
                          <a:pt x="294146" y="0"/>
                        </a:lnTo>
                        <a:cubicBezTo>
                          <a:pt x="283535" y="10910"/>
                          <a:pt x="274170" y="23180"/>
                          <a:pt x="266365" y="36696"/>
                        </a:cubicBezTo>
                        <a:lnTo>
                          <a:pt x="21309" y="461132"/>
                        </a:lnTo>
                        <a:cubicBezTo>
                          <a:pt x="11010" y="478963"/>
                          <a:pt x="3915" y="498078"/>
                          <a:pt x="0" y="517679"/>
                        </a:cubicBezTo>
                        <a:lnTo>
                          <a:pt x="294146" y="517679"/>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897" name="Graphic 525">
                    <a:extLst>
                      <a:ext uri="{FF2B5EF4-FFF2-40B4-BE49-F238E27FC236}">
                        <a16:creationId xmlns:a16="http://schemas.microsoft.com/office/drawing/2014/main" id="{03B350D3-E6DF-AFAB-F0ED-5E5D6EC939F1}"/>
                      </a:ext>
                    </a:extLst>
                  </p:cNvPr>
                  <p:cNvGrpSpPr/>
                  <p:nvPr/>
                </p:nvGrpSpPr>
                <p:grpSpPr>
                  <a:xfrm>
                    <a:off x="7012528" y="2559916"/>
                    <a:ext cx="294145" cy="418599"/>
                    <a:chOff x="7012528" y="2559916"/>
                    <a:chExt cx="294145" cy="418599"/>
                  </a:xfrm>
                </p:grpSpPr>
                <p:sp>
                  <p:nvSpPr>
                    <p:cNvPr id="898" name="Freeform: Shape 897">
                      <a:extLst>
                        <a:ext uri="{FF2B5EF4-FFF2-40B4-BE49-F238E27FC236}">
                          <a16:creationId xmlns:a16="http://schemas.microsoft.com/office/drawing/2014/main" id="{AE71F2D4-1820-84A3-CEEF-1C53F89A568B}"/>
                        </a:ext>
                      </a:extLst>
                    </p:cNvPr>
                    <p:cNvSpPr/>
                    <p:nvPr/>
                  </p:nvSpPr>
                  <p:spPr>
                    <a:xfrm>
                      <a:off x="7141470" y="2559916"/>
                      <a:ext cx="165202" cy="418587"/>
                    </a:xfrm>
                    <a:custGeom>
                      <a:avLst/>
                      <a:gdLst>
                        <a:gd name="connsiteX0" fmla="*/ 0 w 165202"/>
                        <a:gd name="connsiteY0" fmla="*/ 175627 h 418587"/>
                        <a:gd name="connsiteX1" fmla="*/ 0 w 165202"/>
                        <a:gd name="connsiteY1" fmla="*/ 418587 h 418587"/>
                        <a:gd name="connsiteX2" fmla="*/ 165203 w 165202"/>
                        <a:gd name="connsiteY2" fmla="*/ 418587 h 418587"/>
                        <a:gd name="connsiteX3" fmla="*/ 165203 w 165202"/>
                        <a:gd name="connsiteY3" fmla="*/ 0 h 418587"/>
                        <a:gd name="connsiteX4" fmla="*/ 101399 w 165202"/>
                        <a:gd name="connsiteY4" fmla="*/ 0 h 418587"/>
                        <a:gd name="connsiteX5" fmla="*/ 0 w 165202"/>
                        <a:gd name="connsiteY5" fmla="*/ 175627 h 41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202" h="418587">
                          <a:moveTo>
                            <a:pt x="0" y="175627"/>
                          </a:moveTo>
                          <a:lnTo>
                            <a:pt x="0" y="418587"/>
                          </a:lnTo>
                          <a:lnTo>
                            <a:pt x="165203" y="418587"/>
                          </a:lnTo>
                          <a:lnTo>
                            <a:pt x="165203" y="0"/>
                          </a:lnTo>
                          <a:lnTo>
                            <a:pt x="101399" y="0"/>
                          </a:lnTo>
                          <a:lnTo>
                            <a:pt x="0" y="175627"/>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9" name="Freeform: Shape 898">
                      <a:extLst>
                        <a:ext uri="{FF2B5EF4-FFF2-40B4-BE49-F238E27FC236}">
                          <a16:creationId xmlns:a16="http://schemas.microsoft.com/office/drawing/2014/main" id="{41568316-85E5-EA27-CF05-8035F18ECA7C}"/>
                        </a:ext>
                      </a:extLst>
                    </p:cNvPr>
                    <p:cNvSpPr/>
                    <p:nvPr/>
                  </p:nvSpPr>
                  <p:spPr>
                    <a:xfrm>
                      <a:off x="7013862" y="2670417"/>
                      <a:ext cx="165202" cy="308086"/>
                    </a:xfrm>
                    <a:custGeom>
                      <a:avLst/>
                      <a:gdLst>
                        <a:gd name="connsiteX0" fmla="*/ 165203 w 165202"/>
                        <a:gd name="connsiteY0" fmla="*/ 0 h 308086"/>
                        <a:gd name="connsiteX1" fmla="*/ 19975 w 165202"/>
                        <a:gd name="connsiteY1" fmla="*/ 251539 h 308086"/>
                        <a:gd name="connsiteX2" fmla="*/ 0 w 165202"/>
                        <a:gd name="connsiteY2" fmla="*/ 301977 h 308086"/>
                        <a:gd name="connsiteX3" fmla="*/ 0 w 165202"/>
                        <a:gd name="connsiteY3" fmla="*/ 308086 h 308086"/>
                        <a:gd name="connsiteX4" fmla="*/ 165203 w 165202"/>
                        <a:gd name="connsiteY4" fmla="*/ 308086 h 308086"/>
                        <a:gd name="connsiteX5" fmla="*/ 165203 w 165202"/>
                        <a:gd name="connsiteY5" fmla="*/ 12 h 30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202" h="308086">
                          <a:moveTo>
                            <a:pt x="165203" y="0"/>
                          </a:moveTo>
                          <a:lnTo>
                            <a:pt x="19975" y="251539"/>
                          </a:lnTo>
                          <a:cubicBezTo>
                            <a:pt x="10748" y="267512"/>
                            <a:pt x="4102" y="284520"/>
                            <a:pt x="0" y="301977"/>
                          </a:cubicBezTo>
                          <a:lnTo>
                            <a:pt x="0" y="308086"/>
                          </a:lnTo>
                          <a:lnTo>
                            <a:pt x="165203" y="308086"/>
                          </a:lnTo>
                          <a:lnTo>
                            <a:pt x="165203" y="12"/>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0" name="Freeform: Shape 899">
                      <a:extLst>
                        <a:ext uri="{FF2B5EF4-FFF2-40B4-BE49-F238E27FC236}">
                          <a16:creationId xmlns:a16="http://schemas.microsoft.com/office/drawing/2014/main" id="{CCE2F68E-BC2D-D6B9-8353-1A0CA7055105}"/>
                        </a:ext>
                      </a:extLst>
                    </p:cNvPr>
                    <p:cNvSpPr/>
                    <p:nvPr/>
                  </p:nvSpPr>
                  <p:spPr>
                    <a:xfrm>
                      <a:off x="7012528" y="2822478"/>
                      <a:ext cx="78754" cy="156038"/>
                    </a:xfrm>
                    <a:custGeom>
                      <a:avLst/>
                      <a:gdLst>
                        <a:gd name="connsiteX0" fmla="*/ 78755 w 78754"/>
                        <a:gd name="connsiteY0" fmla="*/ 156026 h 156038"/>
                        <a:gd name="connsiteX1" fmla="*/ 78755 w 78754"/>
                        <a:gd name="connsiteY1" fmla="*/ 0 h 156038"/>
                        <a:gd name="connsiteX2" fmla="*/ 21309 w 78754"/>
                        <a:gd name="connsiteY2" fmla="*/ 99491 h 156038"/>
                        <a:gd name="connsiteX3" fmla="*/ 0 w 78754"/>
                        <a:gd name="connsiteY3" fmla="*/ 156038 h 156038"/>
                        <a:gd name="connsiteX4" fmla="*/ 78755 w 78754"/>
                        <a:gd name="connsiteY4" fmla="*/ 156038 h 156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54" h="156038">
                          <a:moveTo>
                            <a:pt x="78755" y="156026"/>
                          </a:moveTo>
                          <a:lnTo>
                            <a:pt x="78755" y="0"/>
                          </a:lnTo>
                          <a:lnTo>
                            <a:pt x="21309" y="99491"/>
                          </a:lnTo>
                          <a:cubicBezTo>
                            <a:pt x="11010" y="117321"/>
                            <a:pt x="3915" y="136437"/>
                            <a:pt x="0" y="156038"/>
                          </a:cubicBezTo>
                          <a:lnTo>
                            <a:pt x="78755" y="156038"/>
                          </a:lnTo>
                          <a:close/>
                        </a:path>
                      </a:pathLst>
                    </a:custGeom>
                    <a:solidFill>
                      <a:srgbClr val="ACEA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901" name="Graphic 525">
                <a:extLst>
                  <a:ext uri="{FF2B5EF4-FFF2-40B4-BE49-F238E27FC236}">
                    <a16:creationId xmlns:a16="http://schemas.microsoft.com/office/drawing/2014/main" id="{A6740CBE-5F6B-1FB9-7576-23AD7D77BB0F}"/>
                  </a:ext>
                </a:extLst>
              </p:cNvPr>
              <p:cNvGrpSpPr/>
              <p:nvPr/>
            </p:nvGrpSpPr>
            <p:grpSpPr>
              <a:xfrm>
                <a:off x="7540045" y="2404452"/>
                <a:ext cx="271239" cy="323323"/>
                <a:chOff x="7540045" y="2404452"/>
                <a:chExt cx="271239" cy="323323"/>
              </a:xfrm>
            </p:grpSpPr>
            <p:grpSp>
              <p:nvGrpSpPr>
                <p:cNvPr id="902" name="Graphic 525">
                  <a:extLst>
                    <a:ext uri="{FF2B5EF4-FFF2-40B4-BE49-F238E27FC236}">
                      <a16:creationId xmlns:a16="http://schemas.microsoft.com/office/drawing/2014/main" id="{7B2DD0E7-0884-0C03-3C76-4034612DE313}"/>
                    </a:ext>
                  </a:extLst>
                </p:cNvPr>
                <p:cNvGrpSpPr/>
                <p:nvPr/>
              </p:nvGrpSpPr>
              <p:grpSpPr>
                <a:xfrm>
                  <a:off x="7540045" y="2404452"/>
                  <a:ext cx="271239" cy="323323"/>
                  <a:chOff x="7540045" y="2404452"/>
                  <a:chExt cx="271239" cy="323323"/>
                </a:xfrm>
                <a:solidFill>
                  <a:srgbClr val="A2E9F2"/>
                </a:solidFill>
              </p:grpSpPr>
              <p:sp>
                <p:nvSpPr>
                  <p:cNvPr id="903" name="Freeform: Shape 902">
                    <a:extLst>
                      <a:ext uri="{FF2B5EF4-FFF2-40B4-BE49-F238E27FC236}">
                        <a16:creationId xmlns:a16="http://schemas.microsoft.com/office/drawing/2014/main" id="{C2788F6F-4F53-EC0A-0288-C2B93045EC73}"/>
                      </a:ext>
                    </a:extLst>
                  </p:cNvPr>
                  <p:cNvSpPr/>
                  <p:nvPr/>
                </p:nvSpPr>
                <p:spPr>
                  <a:xfrm>
                    <a:off x="7540045" y="2404452"/>
                    <a:ext cx="271239" cy="323323"/>
                  </a:xfrm>
                  <a:custGeom>
                    <a:avLst/>
                    <a:gdLst>
                      <a:gd name="connsiteX0" fmla="*/ 267337 w 271239"/>
                      <a:gd name="connsiteY0" fmla="*/ 0 h 323323"/>
                      <a:gd name="connsiteX1" fmla="*/ 267337 w 271239"/>
                      <a:gd name="connsiteY1" fmla="*/ 319408 h 323323"/>
                      <a:gd name="connsiteX2" fmla="*/ 3928 w 271239"/>
                      <a:gd name="connsiteY2" fmla="*/ 319408 h 323323"/>
                      <a:gd name="connsiteX3" fmla="*/ 3928 w 271239"/>
                      <a:gd name="connsiteY3" fmla="*/ 0 h 323323"/>
                      <a:gd name="connsiteX4" fmla="*/ 0 w 271239"/>
                      <a:gd name="connsiteY4" fmla="*/ 0 h 323323"/>
                      <a:gd name="connsiteX5" fmla="*/ 0 w 271239"/>
                      <a:gd name="connsiteY5" fmla="*/ 321366 h 323323"/>
                      <a:gd name="connsiteX6" fmla="*/ 1957 w 271239"/>
                      <a:gd name="connsiteY6" fmla="*/ 323323 h 323323"/>
                      <a:gd name="connsiteX7" fmla="*/ 269282 w 271239"/>
                      <a:gd name="connsiteY7" fmla="*/ 323323 h 323323"/>
                      <a:gd name="connsiteX8" fmla="*/ 271240 w 271239"/>
                      <a:gd name="connsiteY8" fmla="*/ 321366 h 323323"/>
                      <a:gd name="connsiteX9" fmla="*/ 271240 w 271239"/>
                      <a:gd name="connsiteY9" fmla="*/ 0 h 323323"/>
                      <a:gd name="connsiteX10" fmla="*/ 267312 w 271239"/>
                      <a:gd name="connsiteY10" fmla="*/ 0 h 32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39" h="323323">
                        <a:moveTo>
                          <a:pt x="267337" y="0"/>
                        </a:moveTo>
                        <a:lnTo>
                          <a:pt x="267337" y="319408"/>
                        </a:lnTo>
                        <a:lnTo>
                          <a:pt x="3928" y="319408"/>
                        </a:lnTo>
                        <a:lnTo>
                          <a:pt x="3928" y="0"/>
                        </a:lnTo>
                        <a:lnTo>
                          <a:pt x="0" y="0"/>
                        </a:lnTo>
                        <a:lnTo>
                          <a:pt x="0" y="321366"/>
                        </a:lnTo>
                        <a:cubicBezTo>
                          <a:pt x="0" y="322451"/>
                          <a:pt x="873" y="323323"/>
                          <a:pt x="1957" y="323323"/>
                        </a:cubicBezTo>
                        <a:lnTo>
                          <a:pt x="269282" y="323323"/>
                        </a:lnTo>
                        <a:cubicBezTo>
                          <a:pt x="270367" y="323323"/>
                          <a:pt x="271240" y="322451"/>
                          <a:pt x="271240" y="321366"/>
                        </a:cubicBezTo>
                        <a:lnTo>
                          <a:pt x="271240" y="0"/>
                        </a:lnTo>
                        <a:lnTo>
                          <a:pt x="267312" y="0"/>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6" name="Freeform: Shape 905">
                    <a:extLst>
                      <a:ext uri="{FF2B5EF4-FFF2-40B4-BE49-F238E27FC236}">
                        <a16:creationId xmlns:a16="http://schemas.microsoft.com/office/drawing/2014/main" id="{DB762620-835C-D262-4A79-AE7ED1DC8708}"/>
                      </a:ext>
                    </a:extLst>
                  </p:cNvPr>
                  <p:cNvSpPr/>
                  <p:nvPr/>
                </p:nvSpPr>
                <p:spPr>
                  <a:xfrm>
                    <a:off x="7553935" y="2404452"/>
                    <a:ext cx="243483" cy="311004"/>
                  </a:xfrm>
                  <a:custGeom>
                    <a:avLst/>
                    <a:gdLst>
                      <a:gd name="connsiteX0" fmla="*/ 0 w 243483"/>
                      <a:gd name="connsiteY0" fmla="*/ 0 h 311004"/>
                      <a:gd name="connsiteX1" fmla="*/ 243484 w 243483"/>
                      <a:gd name="connsiteY1" fmla="*/ 0 h 311004"/>
                      <a:gd name="connsiteX2" fmla="*/ 243484 w 243483"/>
                      <a:gd name="connsiteY2" fmla="*/ 311004 h 311004"/>
                      <a:gd name="connsiteX3" fmla="*/ 0 w 243483"/>
                      <a:gd name="connsiteY3" fmla="*/ 311004 h 311004"/>
                    </a:gdLst>
                    <a:ahLst/>
                    <a:cxnLst>
                      <a:cxn ang="0">
                        <a:pos x="connsiteX0" y="connsiteY0"/>
                      </a:cxn>
                      <a:cxn ang="0">
                        <a:pos x="connsiteX1" y="connsiteY1"/>
                      </a:cxn>
                      <a:cxn ang="0">
                        <a:pos x="connsiteX2" y="connsiteY2"/>
                      </a:cxn>
                      <a:cxn ang="0">
                        <a:pos x="connsiteX3" y="connsiteY3"/>
                      </a:cxn>
                    </a:cxnLst>
                    <a:rect l="l" t="t" r="r" b="b"/>
                    <a:pathLst>
                      <a:path w="243483" h="311004">
                        <a:moveTo>
                          <a:pt x="0" y="0"/>
                        </a:moveTo>
                        <a:lnTo>
                          <a:pt x="243484" y="0"/>
                        </a:lnTo>
                        <a:lnTo>
                          <a:pt x="243484" y="311004"/>
                        </a:lnTo>
                        <a:lnTo>
                          <a:pt x="0" y="311004"/>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07" name="Graphic 525">
                  <a:extLst>
                    <a:ext uri="{FF2B5EF4-FFF2-40B4-BE49-F238E27FC236}">
                      <a16:creationId xmlns:a16="http://schemas.microsoft.com/office/drawing/2014/main" id="{305AAEDC-C7BE-8692-B354-40ECF4917E48}"/>
                    </a:ext>
                  </a:extLst>
                </p:cNvPr>
                <p:cNvGrpSpPr/>
                <p:nvPr/>
              </p:nvGrpSpPr>
              <p:grpSpPr>
                <a:xfrm>
                  <a:off x="7574854" y="2456253"/>
                  <a:ext cx="201651" cy="185941"/>
                  <a:chOff x="7574854" y="2456253"/>
                  <a:chExt cx="201651" cy="185941"/>
                </a:xfrm>
              </p:grpSpPr>
              <p:sp>
                <p:nvSpPr>
                  <p:cNvPr id="908" name="Freeform: Shape 907">
                    <a:extLst>
                      <a:ext uri="{FF2B5EF4-FFF2-40B4-BE49-F238E27FC236}">
                        <a16:creationId xmlns:a16="http://schemas.microsoft.com/office/drawing/2014/main" id="{0D6BFBFA-0D1D-D3DD-A922-B3F204BBA3D0}"/>
                      </a:ext>
                    </a:extLst>
                  </p:cNvPr>
                  <p:cNvSpPr/>
                  <p:nvPr/>
                </p:nvSpPr>
                <p:spPr>
                  <a:xfrm>
                    <a:off x="7683309" y="2480740"/>
                    <a:ext cx="93196" cy="158590"/>
                  </a:xfrm>
                  <a:custGeom>
                    <a:avLst/>
                    <a:gdLst>
                      <a:gd name="connsiteX0" fmla="*/ 2125 w 93196"/>
                      <a:gd name="connsiteY0" fmla="*/ 16943 h 158590"/>
                      <a:gd name="connsiteX1" fmla="*/ 10243 w 93196"/>
                      <a:gd name="connsiteY1" fmla="*/ 2180 h 158590"/>
                      <a:gd name="connsiteX2" fmla="*/ 22437 w 93196"/>
                      <a:gd name="connsiteY2" fmla="*/ 1469 h 158590"/>
                      <a:gd name="connsiteX3" fmla="*/ 64221 w 93196"/>
                      <a:gd name="connsiteY3" fmla="*/ 54188 h 158590"/>
                      <a:gd name="connsiteX4" fmla="*/ 62376 w 93196"/>
                      <a:gd name="connsiteY4" fmla="*/ 155088 h 158590"/>
                      <a:gd name="connsiteX5" fmla="*/ 21926 w 93196"/>
                      <a:gd name="connsiteY5" fmla="*/ 156871 h 158590"/>
                      <a:gd name="connsiteX6" fmla="*/ 704 w 93196"/>
                      <a:gd name="connsiteY6" fmla="*/ 114514 h 158590"/>
                      <a:gd name="connsiteX7" fmla="*/ 2138 w 93196"/>
                      <a:gd name="connsiteY7" fmla="*/ 16943 h 15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96" h="158590">
                        <a:moveTo>
                          <a:pt x="2125" y="16943"/>
                        </a:moveTo>
                        <a:cubicBezTo>
                          <a:pt x="2250" y="11008"/>
                          <a:pt x="5255" y="5409"/>
                          <a:pt x="10243" y="2180"/>
                        </a:cubicBezTo>
                        <a:cubicBezTo>
                          <a:pt x="13609" y="10"/>
                          <a:pt x="17799" y="-1062"/>
                          <a:pt x="22437" y="1469"/>
                        </a:cubicBezTo>
                        <a:cubicBezTo>
                          <a:pt x="33946" y="7741"/>
                          <a:pt x="51116" y="19798"/>
                          <a:pt x="64221" y="54188"/>
                        </a:cubicBezTo>
                        <a:cubicBezTo>
                          <a:pt x="74209" y="80423"/>
                          <a:pt x="125170" y="140175"/>
                          <a:pt x="62376" y="155088"/>
                        </a:cubicBezTo>
                        <a:cubicBezTo>
                          <a:pt x="38822" y="161073"/>
                          <a:pt x="28348" y="157769"/>
                          <a:pt x="21926" y="156871"/>
                        </a:cubicBezTo>
                        <a:cubicBezTo>
                          <a:pt x="15504" y="155961"/>
                          <a:pt x="3060" y="147245"/>
                          <a:pt x="704" y="114514"/>
                        </a:cubicBezTo>
                        <a:cubicBezTo>
                          <a:pt x="-1366" y="85847"/>
                          <a:pt x="1751" y="35597"/>
                          <a:pt x="2138" y="16943"/>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9" name="Freeform: Shape 908">
                    <a:extLst>
                      <a:ext uri="{FF2B5EF4-FFF2-40B4-BE49-F238E27FC236}">
                        <a16:creationId xmlns:a16="http://schemas.microsoft.com/office/drawing/2014/main" id="{88E9617E-D25C-8E71-6FEC-CD2412F74BD0}"/>
                      </a:ext>
                    </a:extLst>
                  </p:cNvPr>
                  <p:cNvSpPr/>
                  <p:nvPr/>
                </p:nvSpPr>
                <p:spPr>
                  <a:xfrm>
                    <a:off x="7574854" y="2482326"/>
                    <a:ext cx="92399" cy="159867"/>
                  </a:xfrm>
                  <a:custGeom>
                    <a:avLst/>
                    <a:gdLst>
                      <a:gd name="connsiteX0" fmla="*/ 87987 w 92399"/>
                      <a:gd name="connsiteY0" fmla="*/ 16043 h 159867"/>
                      <a:gd name="connsiteX1" fmla="*/ 79470 w 92399"/>
                      <a:gd name="connsiteY1" fmla="*/ 1790 h 159867"/>
                      <a:gd name="connsiteX2" fmla="*/ 67263 w 92399"/>
                      <a:gd name="connsiteY2" fmla="*/ 1815 h 159867"/>
                      <a:gd name="connsiteX3" fmla="*/ 27000 w 92399"/>
                      <a:gd name="connsiteY3" fmla="*/ 57028 h 159867"/>
                      <a:gd name="connsiteX4" fmla="*/ 31676 w 92399"/>
                      <a:gd name="connsiteY4" fmla="*/ 157729 h 159867"/>
                      <a:gd name="connsiteX5" fmla="*/ 72151 w 92399"/>
                      <a:gd name="connsiteY5" fmla="*/ 157055 h 159867"/>
                      <a:gd name="connsiteX6" fmla="*/ 92176 w 92399"/>
                      <a:gd name="connsiteY6" fmla="*/ 113451 h 159867"/>
                      <a:gd name="connsiteX7" fmla="*/ 87999 w 92399"/>
                      <a:gd name="connsiteY7" fmla="*/ 16043 h 15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399" h="159867">
                        <a:moveTo>
                          <a:pt x="87987" y="16043"/>
                        </a:moveTo>
                        <a:cubicBezTo>
                          <a:pt x="87700" y="10120"/>
                          <a:pt x="84533" y="4708"/>
                          <a:pt x="79470" y="1790"/>
                        </a:cubicBezTo>
                        <a:cubicBezTo>
                          <a:pt x="76054" y="-180"/>
                          <a:pt x="71827" y="-990"/>
                          <a:pt x="67263" y="1815"/>
                        </a:cubicBezTo>
                        <a:cubicBezTo>
                          <a:pt x="55941" y="8773"/>
                          <a:pt x="39120" y="21866"/>
                          <a:pt x="27000" y="57028"/>
                        </a:cubicBezTo>
                        <a:cubicBezTo>
                          <a:pt x="17761" y="83849"/>
                          <a:pt x="-31492" y="146644"/>
                          <a:pt x="31676" y="157729"/>
                        </a:cubicBezTo>
                        <a:cubicBezTo>
                          <a:pt x="55380" y="162280"/>
                          <a:pt x="65754" y="158352"/>
                          <a:pt x="72151" y="157055"/>
                        </a:cubicBezTo>
                        <a:cubicBezTo>
                          <a:pt x="78548" y="155759"/>
                          <a:pt x="90730" y="146282"/>
                          <a:pt x="92176" y="113451"/>
                        </a:cubicBezTo>
                        <a:cubicBezTo>
                          <a:pt x="93448" y="84685"/>
                          <a:pt x="88910" y="34671"/>
                          <a:pt x="87999" y="16043"/>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0" name="Freeform: Shape 909">
                    <a:extLst>
                      <a:ext uri="{FF2B5EF4-FFF2-40B4-BE49-F238E27FC236}">
                        <a16:creationId xmlns:a16="http://schemas.microsoft.com/office/drawing/2014/main" id="{845CCCED-B18C-48C6-7179-1E9D4FABC750}"/>
                      </a:ext>
                    </a:extLst>
                  </p:cNvPr>
                  <p:cNvSpPr/>
                  <p:nvPr/>
                </p:nvSpPr>
                <p:spPr>
                  <a:xfrm>
                    <a:off x="7612316" y="2456253"/>
                    <a:ext cx="126012" cy="138054"/>
                  </a:xfrm>
                  <a:custGeom>
                    <a:avLst/>
                    <a:gdLst>
                      <a:gd name="connsiteX0" fmla="*/ 102433 w 126012"/>
                      <a:gd name="connsiteY0" fmla="*/ 113726 h 138054"/>
                      <a:gd name="connsiteX1" fmla="*/ 74640 w 126012"/>
                      <a:gd name="connsiteY1" fmla="*/ 73625 h 138054"/>
                      <a:gd name="connsiteX2" fmla="*/ 68742 w 126012"/>
                      <a:gd name="connsiteY2" fmla="*/ 64498 h 138054"/>
                      <a:gd name="connsiteX3" fmla="*/ 67857 w 126012"/>
                      <a:gd name="connsiteY3" fmla="*/ 1516 h 138054"/>
                      <a:gd name="connsiteX4" fmla="*/ 66099 w 126012"/>
                      <a:gd name="connsiteY4" fmla="*/ 20 h 138054"/>
                      <a:gd name="connsiteX5" fmla="*/ 65226 w 126012"/>
                      <a:gd name="connsiteY5" fmla="*/ 157 h 138054"/>
                      <a:gd name="connsiteX6" fmla="*/ 57270 w 126012"/>
                      <a:gd name="connsiteY6" fmla="*/ 394 h 138054"/>
                      <a:gd name="connsiteX7" fmla="*/ 56398 w 126012"/>
                      <a:gd name="connsiteY7" fmla="*/ 307 h 138054"/>
                      <a:gd name="connsiteX8" fmla="*/ 54677 w 126012"/>
                      <a:gd name="connsiteY8" fmla="*/ 1915 h 138054"/>
                      <a:gd name="connsiteX9" fmla="*/ 55562 w 126012"/>
                      <a:gd name="connsiteY9" fmla="*/ 64760 h 138054"/>
                      <a:gd name="connsiteX10" fmla="*/ 49839 w 126012"/>
                      <a:gd name="connsiteY10" fmla="*/ 74286 h 138054"/>
                      <a:gd name="connsiteX11" fmla="*/ 22993 w 126012"/>
                      <a:gd name="connsiteY11" fmla="*/ 116132 h 138054"/>
                      <a:gd name="connsiteX12" fmla="*/ 0 w 126012"/>
                      <a:gd name="connsiteY12" fmla="*/ 137941 h 138054"/>
                      <a:gd name="connsiteX13" fmla="*/ 26098 w 126012"/>
                      <a:gd name="connsiteY13" fmla="*/ 121681 h 138054"/>
                      <a:gd name="connsiteX14" fmla="*/ 62208 w 126012"/>
                      <a:gd name="connsiteY14" fmla="*/ 79760 h 138054"/>
                      <a:gd name="connsiteX15" fmla="*/ 99291 w 126012"/>
                      <a:gd name="connsiteY15" fmla="*/ 119723 h 138054"/>
                      <a:gd name="connsiteX16" fmla="*/ 126013 w 126012"/>
                      <a:gd name="connsiteY16" fmla="*/ 134125 h 138054"/>
                      <a:gd name="connsiteX17" fmla="*/ 102433 w 126012"/>
                      <a:gd name="connsiteY17" fmla="*/ 113726 h 13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012" h="138054">
                        <a:moveTo>
                          <a:pt x="102433" y="113726"/>
                        </a:moveTo>
                        <a:cubicBezTo>
                          <a:pt x="100002" y="102516"/>
                          <a:pt x="90600" y="81094"/>
                          <a:pt x="74640" y="73625"/>
                        </a:cubicBezTo>
                        <a:cubicBezTo>
                          <a:pt x="71099" y="71967"/>
                          <a:pt x="68792" y="68463"/>
                          <a:pt x="68742" y="64498"/>
                        </a:cubicBezTo>
                        <a:lnTo>
                          <a:pt x="67857" y="1516"/>
                        </a:lnTo>
                        <a:cubicBezTo>
                          <a:pt x="67844" y="581"/>
                          <a:pt x="67021" y="-130"/>
                          <a:pt x="66099" y="20"/>
                        </a:cubicBezTo>
                        <a:lnTo>
                          <a:pt x="65226" y="157"/>
                        </a:lnTo>
                        <a:cubicBezTo>
                          <a:pt x="62582" y="569"/>
                          <a:pt x="59914" y="656"/>
                          <a:pt x="57270" y="394"/>
                        </a:cubicBezTo>
                        <a:lnTo>
                          <a:pt x="56398" y="307"/>
                        </a:lnTo>
                        <a:cubicBezTo>
                          <a:pt x="55475" y="220"/>
                          <a:pt x="54664" y="968"/>
                          <a:pt x="54677" y="1915"/>
                        </a:cubicBezTo>
                        <a:lnTo>
                          <a:pt x="55562" y="64760"/>
                        </a:lnTo>
                        <a:cubicBezTo>
                          <a:pt x="55624" y="68750"/>
                          <a:pt x="53380" y="72428"/>
                          <a:pt x="49839" y="74286"/>
                        </a:cubicBezTo>
                        <a:cubicBezTo>
                          <a:pt x="33978" y="82628"/>
                          <a:pt x="25125" y="104736"/>
                          <a:pt x="22993" y="116132"/>
                        </a:cubicBezTo>
                        <a:cubicBezTo>
                          <a:pt x="19489" y="134923"/>
                          <a:pt x="0" y="137941"/>
                          <a:pt x="0" y="137941"/>
                        </a:cubicBezTo>
                        <a:cubicBezTo>
                          <a:pt x="0" y="137941"/>
                          <a:pt x="22594" y="140472"/>
                          <a:pt x="26098" y="121681"/>
                        </a:cubicBezTo>
                        <a:cubicBezTo>
                          <a:pt x="28716" y="107616"/>
                          <a:pt x="38579" y="80483"/>
                          <a:pt x="62208" y="79760"/>
                        </a:cubicBezTo>
                        <a:cubicBezTo>
                          <a:pt x="85837" y="79049"/>
                          <a:pt x="96274" y="105833"/>
                          <a:pt x="99291" y="119723"/>
                        </a:cubicBezTo>
                        <a:cubicBezTo>
                          <a:pt x="103319" y="138290"/>
                          <a:pt x="126013" y="134125"/>
                          <a:pt x="126013" y="134125"/>
                        </a:cubicBezTo>
                        <a:cubicBezTo>
                          <a:pt x="126013" y="134125"/>
                          <a:pt x="106461" y="132292"/>
                          <a:pt x="102433" y="113726"/>
                        </a:cubicBezTo>
                        <a:close/>
                      </a:path>
                    </a:pathLst>
                  </a:custGeom>
                  <a:solidFill>
                    <a:srgbClr val="79DB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911" name="Freeform: Shape 910">
                  <a:extLst>
                    <a:ext uri="{FF2B5EF4-FFF2-40B4-BE49-F238E27FC236}">
                      <a16:creationId xmlns:a16="http://schemas.microsoft.com/office/drawing/2014/main" id="{69504198-C2EE-90BA-1D3D-36829DF3B72C}"/>
                    </a:ext>
                  </a:extLst>
                </p:cNvPr>
                <p:cNvSpPr/>
                <p:nvPr/>
              </p:nvSpPr>
              <p:spPr>
                <a:xfrm>
                  <a:off x="7574123" y="2404452"/>
                  <a:ext cx="203109" cy="29963"/>
                </a:xfrm>
                <a:custGeom>
                  <a:avLst/>
                  <a:gdLst>
                    <a:gd name="connsiteX0" fmla="*/ 0 w 203109"/>
                    <a:gd name="connsiteY0" fmla="*/ 0 h 29963"/>
                    <a:gd name="connsiteX1" fmla="*/ 0 w 203109"/>
                    <a:gd name="connsiteY1" fmla="*/ 28243 h 29963"/>
                    <a:gd name="connsiteX2" fmla="*/ 1721 w 203109"/>
                    <a:gd name="connsiteY2" fmla="*/ 29963 h 29963"/>
                    <a:gd name="connsiteX3" fmla="*/ 201388 w 203109"/>
                    <a:gd name="connsiteY3" fmla="*/ 29963 h 29963"/>
                    <a:gd name="connsiteX4" fmla="*/ 203109 w 203109"/>
                    <a:gd name="connsiteY4" fmla="*/ 28243 h 29963"/>
                    <a:gd name="connsiteX5" fmla="*/ 203109 w 203109"/>
                    <a:gd name="connsiteY5" fmla="*/ 0 h 29963"/>
                    <a:gd name="connsiteX6" fmla="*/ 12 w 203109"/>
                    <a:gd name="connsiteY6" fmla="*/ 0 h 2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109" h="29963">
                      <a:moveTo>
                        <a:pt x="0" y="0"/>
                      </a:moveTo>
                      <a:lnTo>
                        <a:pt x="0" y="28243"/>
                      </a:lnTo>
                      <a:cubicBezTo>
                        <a:pt x="0" y="29190"/>
                        <a:pt x="773" y="29963"/>
                        <a:pt x="1721" y="29963"/>
                      </a:cubicBezTo>
                      <a:lnTo>
                        <a:pt x="201388" y="29963"/>
                      </a:lnTo>
                      <a:cubicBezTo>
                        <a:pt x="202336" y="29963"/>
                        <a:pt x="203109" y="29190"/>
                        <a:pt x="203109" y="28243"/>
                      </a:cubicBezTo>
                      <a:lnTo>
                        <a:pt x="203109" y="0"/>
                      </a:lnTo>
                      <a:lnTo>
                        <a:pt x="12" y="0"/>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2" name="Freeform: Shape 911">
                  <a:extLst>
                    <a:ext uri="{FF2B5EF4-FFF2-40B4-BE49-F238E27FC236}">
                      <a16:creationId xmlns:a16="http://schemas.microsoft.com/office/drawing/2014/main" id="{8CC417A6-81A2-71DC-F6A9-61C41967D773}"/>
                    </a:ext>
                  </a:extLst>
                </p:cNvPr>
                <p:cNvSpPr/>
                <p:nvPr/>
              </p:nvSpPr>
              <p:spPr>
                <a:xfrm>
                  <a:off x="7574123" y="2656552"/>
                  <a:ext cx="203096" cy="15312"/>
                </a:xfrm>
                <a:custGeom>
                  <a:avLst/>
                  <a:gdLst>
                    <a:gd name="connsiteX0" fmla="*/ 201376 w 203096"/>
                    <a:gd name="connsiteY0" fmla="*/ 0 h 15312"/>
                    <a:gd name="connsiteX1" fmla="*/ 203096 w 203096"/>
                    <a:gd name="connsiteY1" fmla="*/ 1721 h 15312"/>
                    <a:gd name="connsiteX2" fmla="*/ 203096 w 203096"/>
                    <a:gd name="connsiteY2" fmla="*/ 13591 h 15312"/>
                    <a:gd name="connsiteX3" fmla="*/ 201376 w 203096"/>
                    <a:gd name="connsiteY3" fmla="*/ 15312 h 15312"/>
                    <a:gd name="connsiteX4" fmla="*/ 1721 w 203096"/>
                    <a:gd name="connsiteY4" fmla="*/ 15312 h 15312"/>
                    <a:gd name="connsiteX5" fmla="*/ 0 w 203096"/>
                    <a:gd name="connsiteY5" fmla="*/ 13591 h 15312"/>
                    <a:gd name="connsiteX6" fmla="*/ 0 w 203096"/>
                    <a:gd name="connsiteY6" fmla="*/ 1721 h 15312"/>
                    <a:gd name="connsiteX7" fmla="*/ 1721 w 203096"/>
                    <a:gd name="connsiteY7" fmla="*/ 0 h 1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96" h="15312">
                      <a:moveTo>
                        <a:pt x="201376" y="0"/>
                      </a:moveTo>
                      <a:cubicBezTo>
                        <a:pt x="202326" y="0"/>
                        <a:pt x="203096" y="771"/>
                        <a:pt x="203096" y="1721"/>
                      </a:cubicBezTo>
                      <a:lnTo>
                        <a:pt x="203096" y="13591"/>
                      </a:lnTo>
                      <a:cubicBezTo>
                        <a:pt x="203096" y="14542"/>
                        <a:pt x="202326" y="15312"/>
                        <a:pt x="201376" y="15312"/>
                      </a:cubicBezTo>
                      <a:lnTo>
                        <a:pt x="1721" y="15312"/>
                      </a:lnTo>
                      <a:cubicBezTo>
                        <a:pt x="770" y="15312"/>
                        <a:pt x="0" y="14541"/>
                        <a:pt x="0" y="13591"/>
                      </a:cubicBezTo>
                      <a:lnTo>
                        <a:pt x="0" y="1721"/>
                      </a:lnTo>
                      <a:cubicBezTo>
                        <a:pt x="0" y="770"/>
                        <a:pt x="770" y="0"/>
                        <a:pt x="1721" y="0"/>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3" name="Freeform: Shape 912">
                  <a:extLst>
                    <a:ext uri="{FF2B5EF4-FFF2-40B4-BE49-F238E27FC236}">
                      <a16:creationId xmlns:a16="http://schemas.microsoft.com/office/drawing/2014/main" id="{47E534AD-65F3-9201-F259-74F6848C1E56}"/>
                    </a:ext>
                  </a:extLst>
                </p:cNvPr>
                <p:cNvSpPr/>
                <p:nvPr/>
              </p:nvSpPr>
              <p:spPr>
                <a:xfrm>
                  <a:off x="7611929" y="2680443"/>
                  <a:ext cx="127496" cy="15312"/>
                </a:xfrm>
                <a:custGeom>
                  <a:avLst/>
                  <a:gdLst>
                    <a:gd name="connsiteX0" fmla="*/ 125776 w 127496"/>
                    <a:gd name="connsiteY0" fmla="*/ 0 h 15312"/>
                    <a:gd name="connsiteX1" fmla="*/ 127496 w 127496"/>
                    <a:gd name="connsiteY1" fmla="*/ 1720 h 15312"/>
                    <a:gd name="connsiteX2" fmla="*/ 127496 w 127496"/>
                    <a:gd name="connsiteY2" fmla="*/ 13591 h 15312"/>
                    <a:gd name="connsiteX3" fmla="*/ 125776 w 127496"/>
                    <a:gd name="connsiteY3" fmla="*/ 15312 h 15312"/>
                    <a:gd name="connsiteX4" fmla="*/ 1721 w 127496"/>
                    <a:gd name="connsiteY4" fmla="*/ 15312 h 15312"/>
                    <a:gd name="connsiteX5" fmla="*/ 0 w 127496"/>
                    <a:gd name="connsiteY5" fmla="*/ 13591 h 15312"/>
                    <a:gd name="connsiteX6" fmla="*/ 0 w 127496"/>
                    <a:gd name="connsiteY6" fmla="*/ 1720 h 15312"/>
                    <a:gd name="connsiteX7" fmla="*/ 1721 w 127496"/>
                    <a:gd name="connsiteY7" fmla="*/ 0 h 1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496" h="15312">
                      <a:moveTo>
                        <a:pt x="125776" y="0"/>
                      </a:moveTo>
                      <a:cubicBezTo>
                        <a:pt x="126726" y="0"/>
                        <a:pt x="127496" y="770"/>
                        <a:pt x="127496" y="1720"/>
                      </a:cubicBezTo>
                      <a:lnTo>
                        <a:pt x="127496" y="13591"/>
                      </a:lnTo>
                      <a:cubicBezTo>
                        <a:pt x="127496" y="14541"/>
                        <a:pt x="126726" y="15312"/>
                        <a:pt x="125776" y="15312"/>
                      </a:cubicBezTo>
                      <a:lnTo>
                        <a:pt x="1721" y="15312"/>
                      </a:lnTo>
                      <a:cubicBezTo>
                        <a:pt x="770" y="15312"/>
                        <a:pt x="0" y="14541"/>
                        <a:pt x="0" y="13591"/>
                      </a:cubicBezTo>
                      <a:lnTo>
                        <a:pt x="0" y="1720"/>
                      </a:lnTo>
                      <a:cubicBezTo>
                        <a:pt x="0" y="770"/>
                        <a:pt x="771" y="0"/>
                        <a:pt x="1721" y="0"/>
                      </a:cubicBez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14" name="Graphic 525">
                <a:extLst>
                  <a:ext uri="{FF2B5EF4-FFF2-40B4-BE49-F238E27FC236}">
                    <a16:creationId xmlns:a16="http://schemas.microsoft.com/office/drawing/2014/main" id="{B18C94A6-8E50-4D7D-507E-285E7FBD7C26}"/>
                  </a:ext>
                </a:extLst>
              </p:cNvPr>
              <p:cNvGrpSpPr/>
              <p:nvPr/>
            </p:nvGrpSpPr>
            <p:grpSpPr>
              <a:xfrm>
                <a:off x="8209648" y="3091112"/>
                <a:ext cx="135439" cy="85076"/>
                <a:chOff x="8209648" y="3091112"/>
                <a:chExt cx="135439" cy="85076"/>
              </a:xfrm>
            </p:grpSpPr>
            <p:sp>
              <p:nvSpPr>
                <p:cNvPr id="931" name="Freeform: Shape 930">
                  <a:extLst>
                    <a:ext uri="{FF2B5EF4-FFF2-40B4-BE49-F238E27FC236}">
                      <a16:creationId xmlns:a16="http://schemas.microsoft.com/office/drawing/2014/main" id="{0978B167-B632-03ED-6CF2-AA5D331161D2}"/>
                    </a:ext>
                  </a:extLst>
                </p:cNvPr>
                <p:cNvSpPr/>
                <p:nvPr/>
              </p:nvSpPr>
              <p:spPr>
                <a:xfrm>
                  <a:off x="8264224" y="3123694"/>
                  <a:ext cx="63193" cy="52494"/>
                </a:xfrm>
                <a:custGeom>
                  <a:avLst/>
                  <a:gdLst>
                    <a:gd name="connsiteX0" fmla="*/ 0 w 63193"/>
                    <a:gd name="connsiteY0" fmla="*/ 0 h 52494"/>
                    <a:gd name="connsiteX1" fmla="*/ 0 w 63193"/>
                    <a:gd name="connsiteY1" fmla="*/ 38143 h 52494"/>
                    <a:gd name="connsiteX2" fmla="*/ 14352 w 63193"/>
                    <a:gd name="connsiteY2" fmla="*/ 52495 h 52494"/>
                    <a:gd name="connsiteX3" fmla="*/ 32894 w 63193"/>
                    <a:gd name="connsiteY3" fmla="*/ 52495 h 52494"/>
                    <a:gd name="connsiteX4" fmla="*/ 63194 w 63193"/>
                    <a:gd name="connsiteY4" fmla="*/ 0 h 52494"/>
                    <a:gd name="connsiteX5" fmla="*/ 0 w 63193"/>
                    <a:gd name="connsiteY5" fmla="*/ 0 h 5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93" h="52494">
                      <a:moveTo>
                        <a:pt x="0" y="0"/>
                      </a:moveTo>
                      <a:lnTo>
                        <a:pt x="0" y="38143"/>
                      </a:lnTo>
                      <a:cubicBezTo>
                        <a:pt x="0" y="46061"/>
                        <a:pt x="6422" y="52495"/>
                        <a:pt x="14352" y="52495"/>
                      </a:cubicBezTo>
                      <a:lnTo>
                        <a:pt x="32894" y="52495"/>
                      </a:lnTo>
                      <a:lnTo>
                        <a:pt x="63194" y="0"/>
                      </a:lnTo>
                      <a:lnTo>
                        <a:pt x="0" y="0"/>
                      </a:lnTo>
                      <a:close/>
                    </a:path>
                  </a:pathLst>
                </a:custGeom>
                <a:solidFill>
                  <a:srgbClr val="8FE0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5" name="Freeform: Shape 1024">
                  <a:extLst>
                    <a:ext uri="{FF2B5EF4-FFF2-40B4-BE49-F238E27FC236}">
                      <a16:creationId xmlns:a16="http://schemas.microsoft.com/office/drawing/2014/main" id="{8E27B286-B55B-7F51-3881-12FCDB04B84B}"/>
                    </a:ext>
                  </a:extLst>
                </p:cNvPr>
                <p:cNvSpPr/>
                <p:nvPr/>
              </p:nvSpPr>
              <p:spPr>
                <a:xfrm>
                  <a:off x="8209648" y="3091112"/>
                  <a:ext cx="135439" cy="52494"/>
                </a:xfrm>
                <a:custGeom>
                  <a:avLst/>
                  <a:gdLst>
                    <a:gd name="connsiteX0" fmla="*/ 12219 w 135439"/>
                    <a:gd name="connsiteY0" fmla="*/ 0 h 52494"/>
                    <a:gd name="connsiteX1" fmla="*/ 0 w 135439"/>
                    <a:gd name="connsiteY1" fmla="*/ 12220 h 52494"/>
                    <a:gd name="connsiteX2" fmla="*/ 0 w 135439"/>
                    <a:gd name="connsiteY2" fmla="*/ 40275 h 52494"/>
                    <a:gd name="connsiteX3" fmla="*/ 12219 w 135439"/>
                    <a:gd name="connsiteY3" fmla="*/ 52495 h 52494"/>
                    <a:gd name="connsiteX4" fmla="*/ 106274 w 135439"/>
                    <a:gd name="connsiteY4" fmla="*/ 52495 h 52494"/>
                    <a:gd name="connsiteX5" fmla="*/ 126773 w 135439"/>
                    <a:gd name="connsiteY5" fmla="*/ 16983 h 52494"/>
                    <a:gd name="connsiteX6" fmla="*/ 135439 w 135439"/>
                    <a:gd name="connsiteY6" fmla="*/ 0 h 52494"/>
                    <a:gd name="connsiteX7" fmla="*/ 12219 w 135439"/>
                    <a:gd name="connsiteY7" fmla="*/ 0 h 5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39" h="52494">
                      <a:moveTo>
                        <a:pt x="12219" y="0"/>
                      </a:moveTo>
                      <a:cubicBezTo>
                        <a:pt x="5474" y="0"/>
                        <a:pt x="0" y="5474"/>
                        <a:pt x="0" y="12220"/>
                      </a:cubicBezTo>
                      <a:lnTo>
                        <a:pt x="0" y="40275"/>
                      </a:lnTo>
                      <a:cubicBezTo>
                        <a:pt x="0" y="47021"/>
                        <a:pt x="5474" y="52495"/>
                        <a:pt x="12219" y="52495"/>
                      </a:cubicBezTo>
                      <a:lnTo>
                        <a:pt x="106274" y="52495"/>
                      </a:lnTo>
                      <a:lnTo>
                        <a:pt x="126773" y="16983"/>
                      </a:lnTo>
                      <a:cubicBezTo>
                        <a:pt x="129978" y="11434"/>
                        <a:pt x="132858" y="5773"/>
                        <a:pt x="135439" y="0"/>
                      </a:cubicBezTo>
                      <a:lnTo>
                        <a:pt x="12219" y="0"/>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48" name="Freeform: Shape 1047">
                <a:extLst>
                  <a:ext uri="{FF2B5EF4-FFF2-40B4-BE49-F238E27FC236}">
                    <a16:creationId xmlns:a16="http://schemas.microsoft.com/office/drawing/2014/main" id="{A74F9FC8-620A-BD83-05CB-93C0EF3833E1}"/>
                  </a:ext>
                </a:extLst>
              </p:cNvPr>
              <p:cNvSpPr/>
              <p:nvPr/>
            </p:nvSpPr>
            <p:spPr>
              <a:xfrm>
                <a:off x="7025171" y="3091112"/>
                <a:ext cx="38517" cy="52183"/>
              </a:xfrm>
              <a:custGeom>
                <a:avLst/>
                <a:gdLst>
                  <a:gd name="connsiteX0" fmla="*/ 26297 w 38517"/>
                  <a:gd name="connsiteY0" fmla="*/ 0 h 52183"/>
                  <a:gd name="connsiteX1" fmla="*/ 0 w 38517"/>
                  <a:gd name="connsiteY1" fmla="*/ 0 h 52183"/>
                  <a:gd name="connsiteX2" fmla="*/ 8666 w 38517"/>
                  <a:gd name="connsiteY2" fmla="*/ 16983 h 52183"/>
                  <a:gd name="connsiteX3" fmla="*/ 28991 w 38517"/>
                  <a:gd name="connsiteY3" fmla="*/ 52183 h 52183"/>
                  <a:gd name="connsiteX4" fmla="*/ 38517 w 38517"/>
                  <a:gd name="connsiteY4" fmla="*/ 40275 h 52183"/>
                  <a:gd name="connsiteX5" fmla="*/ 38517 w 38517"/>
                  <a:gd name="connsiteY5" fmla="*/ 12220 h 52183"/>
                  <a:gd name="connsiteX6" fmla="*/ 26297 w 38517"/>
                  <a:gd name="connsiteY6" fmla="*/ 0 h 5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7" h="52183">
                    <a:moveTo>
                      <a:pt x="26297" y="0"/>
                    </a:moveTo>
                    <a:lnTo>
                      <a:pt x="0" y="0"/>
                    </a:lnTo>
                    <a:cubicBezTo>
                      <a:pt x="2581" y="5761"/>
                      <a:pt x="5474" y="11434"/>
                      <a:pt x="8666" y="16983"/>
                    </a:cubicBezTo>
                    <a:lnTo>
                      <a:pt x="28991" y="52183"/>
                    </a:lnTo>
                    <a:cubicBezTo>
                      <a:pt x="34440" y="50949"/>
                      <a:pt x="38517" y="46098"/>
                      <a:pt x="38517" y="40275"/>
                    </a:cubicBezTo>
                    <a:lnTo>
                      <a:pt x="38517" y="12220"/>
                    </a:lnTo>
                    <a:cubicBezTo>
                      <a:pt x="38517" y="5474"/>
                      <a:pt x="33043" y="0"/>
                      <a:pt x="26297" y="0"/>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161" name="Graphic 525">
              <a:extLst>
                <a:ext uri="{FF2B5EF4-FFF2-40B4-BE49-F238E27FC236}">
                  <a16:creationId xmlns:a16="http://schemas.microsoft.com/office/drawing/2014/main" id="{C5B5F374-99F5-AC45-BE18-3E04E2883B11}"/>
                </a:ext>
              </a:extLst>
            </p:cNvPr>
            <p:cNvGrpSpPr/>
            <p:nvPr/>
          </p:nvGrpSpPr>
          <p:grpSpPr>
            <a:xfrm>
              <a:off x="3644783" y="2831899"/>
              <a:ext cx="382329" cy="629042"/>
              <a:chOff x="7112963" y="2850763"/>
              <a:chExt cx="461105" cy="758652"/>
            </a:xfrm>
          </p:grpSpPr>
          <p:sp>
            <p:nvSpPr>
              <p:cNvPr id="1163" name="Freeform: Shape 1162">
                <a:extLst>
                  <a:ext uri="{FF2B5EF4-FFF2-40B4-BE49-F238E27FC236}">
                    <a16:creationId xmlns:a16="http://schemas.microsoft.com/office/drawing/2014/main" id="{829B0B3E-FEDE-D218-4F79-D0BCB41ABE8F}"/>
                  </a:ext>
                </a:extLst>
              </p:cNvPr>
              <p:cNvSpPr/>
              <p:nvPr/>
            </p:nvSpPr>
            <p:spPr>
              <a:xfrm>
                <a:off x="7211784" y="3305456"/>
                <a:ext cx="63118" cy="172746"/>
              </a:xfrm>
              <a:custGeom>
                <a:avLst/>
                <a:gdLst>
                  <a:gd name="connsiteX0" fmla="*/ 0 w 63118"/>
                  <a:gd name="connsiteY0" fmla="*/ 110825 h 172746"/>
                  <a:gd name="connsiteX1" fmla="*/ 35749 w 63118"/>
                  <a:gd name="connsiteY1" fmla="*/ 172747 h 172746"/>
                  <a:gd name="connsiteX2" fmla="*/ 63118 w 63118"/>
                  <a:gd name="connsiteY2" fmla="*/ 0 h 172746"/>
                  <a:gd name="connsiteX3" fmla="*/ 9763 w 63118"/>
                  <a:gd name="connsiteY3" fmla="*/ 0 h 172746"/>
                  <a:gd name="connsiteX4" fmla="*/ 0 w 63118"/>
                  <a:gd name="connsiteY4" fmla="*/ 110825 h 172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18" h="172746">
                    <a:moveTo>
                      <a:pt x="0" y="110825"/>
                    </a:moveTo>
                    <a:lnTo>
                      <a:pt x="35749" y="172747"/>
                    </a:lnTo>
                    <a:lnTo>
                      <a:pt x="63118" y="0"/>
                    </a:lnTo>
                    <a:lnTo>
                      <a:pt x="9763" y="0"/>
                    </a:lnTo>
                    <a:lnTo>
                      <a:pt x="0" y="110825"/>
                    </a:ln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9" name="Freeform: Shape 1178">
                <a:extLst>
                  <a:ext uri="{FF2B5EF4-FFF2-40B4-BE49-F238E27FC236}">
                    <a16:creationId xmlns:a16="http://schemas.microsoft.com/office/drawing/2014/main" id="{1ED91C76-7E52-6E0D-0FB1-0C1C2EDA86ED}"/>
                  </a:ext>
                </a:extLst>
              </p:cNvPr>
              <p:cNvSpPr/>
              <p:nvPr/>
            </p:nvSpPr>
            <p:spPr>
              <a:xfrm>
                <a:off x="7129064" y="3254233"/>
                <a:ext cx="56734" cy="81685"/>
              </a:xfrm>
              <a:custGeom>
                <a:avLst/>
                <a:gdLst>
                  <a:gd name="connsiteX0" fmla="*/ 0 w 56734"/>
                  <a:gd name="connsiteY0" fmla="*/ 18791 h 81685"/>
                  <a:gd name="connsiteX1" fmla="*/ 36322 w 56734"/>
                  <a:gd name="connsiteY1" fmla="*/ 81685 h 81685"/>
                  <a:gd name="connsiteX2" fmla="*/ 56734 w 56734"/>
                  <a:gd name="connsiteY2" fmla="*/ 0 h 81685"/>
                  <a:gd name="connsiteX3" fmla="*/ 3379 w 56734"/>
                  <a:gd name="connsiteY3" fmla="*/ 0 h 81685"/>
                  <a:gd name="connsiteX4" fmla="*/ 0 w 56734"/>
                  <a:gd name="connsiteY4" fmla="*/ 18791 h 81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34" h="81685">
                    <a:moveTo>
                      <a:pt x="0" y="18791"/>
                    </a:moveTo>
                    <a:lnTo>
                      <a:pt x="36322" y="81685"/>
                    </a:lnTo>
                    <a:lnTo>
                      <a:pt x="56734" y="0"/>
                    </a:lnTo>
                    <a:lnTo>
                      <a:pt x="3379" y="0"/>
                    </a:lnTo>
                    <a:lnTo>
                      <a:pt x="0" y="18791"/>
                    </a:ln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0" name="Freeform: Shape 1179">
                <a:extLst>
                  <a:ext uri="{FF2B5EF4-FFF2-40B4-BE49-F238E27FC236}">
                    <a16:creationId xmlns:a16="http://schemas.microsoft.com/office/drawing/2014/main" id="{AD1CD413-1E32-8938-C58E-7A6F2D4C16FD}"/>
                  </a:ext>
                </a:extLst>
              </p:cNvPr>
              <p:cNvSpPr/>
              <p:nvPr/>
            </p:nvSpPr>
            <p:spPr>
              <a:xfrm>
                <a:off x="7318918" y="3254233"/>
                <a:ext cx="105615" cy="303946"/>
              </a:xfrm>
              <a:custGeom>
                <a:avLst/>
                <a:gdLst>
                  <a:gd name="connsiteX0" fmla="*/ 53355 w 105615"/>
                  <a:gd name="connsiteY0" fmla="*/ 0 h 303946"/>
                  <a:gd name="connsiteX1" fmla="*/ 105451 w 105615"/>
                  <a:gd name="connsiteY1" fmla="*/ 289694 h 303946"/>
                  <a:gd name="connsiteX2" fmla="*/ 93331 w 105615"/>
                  <a:gd name="connsiteY2" fmla="*/ 303947 h 303946"/>
                  <a:gd name="connsiteX3" fmla="*/ 85563 w 105615"/>
                  <a:gd name="connsiteY3" fmla="*/ 303947 h 303946"/>
                  <a:gd name="connsiteX4" fmla="*/ 73593 w 105615"/>
                  <a:gd name="connsiteY4" fmla="*/ 294395 h 303946"/>
                  <a:gd name="connsiteX5" fmla="*/ 0 w 105615"/>
                  <a:gd name="connsiteY5" fmla="*/ 0 h 303946"/>
                  <a:gd name="connsiteX6" fmla="*/ 53355 w 105615"/>
                  <a:gd name="connsiteY6" fmla="*/ 0 h 30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15" h="303946">
                    <a:moveTo>
                      <a:pt x="53355" y="0"/>
                    </a:moveTo>
                    <a:lnTo>
                      <a:pt x="105451" y="289694"/>
                    </a:lnTo>
                    <a:cubicBezTo>
                      <a:pt x="106673" y="297163"/>
                      <a:pt x="100912" y="303947"/>
                      <a:pt x="93331" y="303947"/>
                    </a:cubicBezTo>
                    <a:lnTo>
                      <a:pt x="85563" y="303947"/>
                    </a:lnTo>
                    <a:cubicBezTo>
                      <a:pt x="79827" y="303947"/>
                      <a:pt x="74864" y="299981"/>
                      <a:pt x="73593" y="294395"/>
                    </a:cubicBezTo>
                    <a:lnTo>
                      <a:pt x="0" y="0"/>
                    </a:lnTo>
                    <a:lnTo>
                      <a:pt x="53355" y="0"/>
                    </a:ln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81" name="Freeform: Shape 1380">
                <a:extLst>
                  <a:ext uri="{FF2B5EF4-FFF2-40B4-BE49-F238E27FC236}">
                    <a16:creationId xmlns:a16="http://schemas.microsoft.com/office/drawing/2014/main" id="{480BDD81-A2DC-8B2F-61B9-BE2182B6427E}"/>
                  </a:ext>
                </a:extLst>
              </p:cNvPr>
              <p:cNvSpPr/>
              <p:nvPr/>
            </p:nvSpPr>
            <p:spPr>
              <a:xfrm>
                <a:off x="7469382" y="3291054"/>
                <a:ext cx="104686" cy="318360"/>
              </a:xfrm>
              <a:custGeom>
                <a:avLst/>
                <a:gdLst>
                  <a:gd name="connsiteX0" fmla="*/ 53355 w 104686"/>
                  <a:gd name="connsiteY0" fmla="*/ 0 h 318360"/>
                  <a:gd name="connsiteX1" fmla="*/ 104541 w 104686"/>
                  <a:gd name="connsiteY1" fmla="*/ 304221 h 318360"/>
                  <a:gd name="connsiteX2" fmla="*/ 92409 w 104686"/>
                  <a:gd name="connsiteY2" fmla="*/ 318361 h 318360"/>
                  <a:gd name="connsiteX3" fmla="*/ 84615 w 104686"/>
                  <a:gd name="connsiteY3" fmla="*/ 318361 h 318360"/>
                  <a:gd name="connsiteX4" fmla="*/ 72620 w 104686"/>
                  <a:gd name="connsiteY4" fmla="*/ 308672 h 318360"/>
                  <a:gd name="connsiteX5" fmla="*/ 0 w 104686"/>
                  <a:gd name="connsiteY5" fmla="*/ 12 h 318360"/>
                  <a:gd name="connsiteX6" fmla="*/ 53355 w 104686"/>
                  <a:gd name="connsiteY6" fmla="*/ 12 h 31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86" h="318360">
                    <a:moveTo>
                      <a:pt x="53355" y="0"/>
                    </a:moveTo>
                    <a:lnTo>
                      <a:pt x="104541" y="304221"/>
                    </a:lnTo>
                    <a:cubicBezTo>
                      <a:pt x="105688" y="311652"/>
                      <a:pt x="99927" y="318361"/>
                      <a:pt x="92409" y="318361"/>
                    </a:cubicBezTo>
                    <a:lnTo>
                      <a:pt x="84615" y="318361"/>
                    </a:lnTo>
                    <a:cubicBezTo>
                      <a:pt x="78830" y="318361"/>
                      <a:pt x="73829" y="314321"/>
                      <a:pt x="72620" y="308672"/>
                    </a:cubicBezTo>
                    <a:lnTo>
                      <a:pt x="0" y="12"/>
                    </a:lnTo>
                    <a:lnTo>
                      <a:pt x="53355" y="12"/>
                    </a:ln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16" name="Freeform: Shape 1415">
                <a:extLst>
                  <a:ext uri="{FF2B5EF4-FFF2-40B4-BE49-F238E27FC236}">
                    <a16:creationId xmlns:a16="http://schemas.microsoft.com/office/drawing/2014/main" id="{96828AFF-CBBB-2835-8C0C-C15B4AF6C32F}"/>
                  </a:ext>
                </a:extLst>
              </p:cNvPr>
              <p:cNvSpPr/>
              <p:nvPr/>
            </p:nvSpPr>
            <p:spPr>
              <a:xfrm>
                <a:off x="7359467" y="2850763"/>
                <a:ext cx="186314" cy="398669"/>
              </a:xfrm>
              <a:custGeom>
                <a:avLst/>
                <a:gdLst>
                  <a:gd name="connsiteX0" fmla="*/ 0 w 186314"/>
                  <a:gd name="connsiteY0" fmla="*/ 108 h 398669"/>
                  <a:gd name="connsiteX1" fmla="*/ 48018 w 186314"/>
                  <a:gd name="connsiteY1" fmla="*/ 36929 h 398669"/>
                  <a:gd name="connsiteX2" fmla="*/ 48018 w 186314"/>
                  <a:gd name="connsiteY2" fmla="*/ 264215 h 398669"/>
                  <a:gd name="connsiteX3" fmla="*/ 116050 w 186314"/>
                  <a:gd name="connsiteY3" fmla="*/ 306635 h 398669"/>
                  <a:gd name="connsiteX4" fmla="*/ 184879 w 186314"/>
                  <a:gd name="connsiteY4" fmla="*/ 398670 h 398669"/>
                  <a:gd name="connsiteX5" fmla="*/ 35213 w 186314"/>
                  <a:gd name="connsiteY5" fmla="*/ 341050 h 398669"/>
                  <a:gd name="connsiteX6" fmla="*/ 35213 w 186314"/>
                  <a:gd name="connsiteY6" fmla="*/ 35320 h 398669"/>
                  <a:gd name="connsiteX7" fmla="*/ 0 w 186314"/>
                  <a:gd name="connsiteY7" fmla="*/ 108 h 39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314" h="398669">
                    <a:moveTo>
                      <a:pt x="0" y="108"/>
                    </a:moveTo>
                    <a:cubicBezTo>
                      <a:pt x="0" y="108"/>
                      <a:pt x="48018" y="-3895"/>
                      <a:pt x="48018" y="36929"/>
                    </a:cubicBezTo>
                    <a:lnTo>
                      <a:pt x="48018" y="264215"/>
                    </a:lnTo>
                    <a:cubicBezTo>
                      <a:pt x="48018" y="264215"/>
                      <a:pt x="40811" y="292221"/>
                      <a:pt x="116050" y="306635"/>
                    </a:cubicBezTo>
                    <a:cubicBezTo>
                      <a:pt x="186051" y="320039"/>
                      <a:pt x="189680" y="349055"/>
                      <a:pt x="184879" y="398670"/>
                    </a:cubicBezTo>
                    <a:lnTo>
                      <a:pt x="35213" y="341050"/>
                    </a:lnTo>
                    <a:lnTo>
                      <a:pt x="35213" y="35320"/>
                    </a:lnTo>
                    <a:cubicBezTo>
                      <a:pt x="35213" y="35320"/>
                      <a:pt x="36011" y="4908"/>
                      <a:pt x="0" y="108"/>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73" name="Freeform: Shape 1472">
                <a:extLst>
                  <a:ext uri="{FF2B5EF4-FFF2-40B4-BE49-F238E27FC236}">
                    <a16:creationId xmlns:a16="http://schemas.microsoft.com/office/drawing/2014/main" id="{F0E9E6CD-82DE-7930-648D-AC2D35060CAA}"/>
                  </a:ext>
                </a:extLst>
              </p:cNvPr>
              <p:cNvSpPr/>
              <p:nvPr/>
            </p:nvSpPr>
            <p:spPr>
              <a:xfrm>
                <a:off x="7125996" y="3253447"/>
                <a:ext cx="418207" cy="60682"/>
              </a:xfrm>
              <a:custGeom>
                <a:avLst/>
                <a:gdLst>
                  <a:gd name="connsiteX0" fmla="*/ 0 w 418207"/>
                  <a:gd name="connsiteY0" fmla="*/ 14252 h 60682"/>
                  <a:gd name="connsiteX1" fmla="*/ 18379 w 418207"/>
                  <a:gd name="connsiteY1" fmla="*/ 46098 h 60682"/>
                  <a:gd name="connsiteX2" fmla="*/ 54203 w 418207"/>
                  <a:gd name="connsiteY2" fmla="*/ 57620 h 60682"/>
                  <a:gd name="connsiteX3" fmla="*/ 372738 w 418207"/>
                  <a:gd name="connsiteY3" fmla="*/ 48817 h 60682"/>
                  <a:gd name="connsiteX4" fmla="*/ 417552 w 418207"/>
                  <a:gd name="connsiteY4" fmla="*/ 0 h 60682"/>
                  <a:gd name="connsiteX5" fmla="*/ 0 w 418207"/>
                  <a:gd name="connsiteY5" fmla="*/ 14265 h 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207" h="60682">
                    <a:moveTo>
                      <a:pt x="0" y="14252"/>
                    </a:moveTo>
                    <a:lnTo>
                      <a:pt x="18379" y="46098"/>
                    </a:lnTo>
                    <a:cubicBezTo>
                      <a:pt x="26834" y="51535"/>
                      <a:pt x="38392" y="55961"/>
                      <a:pt x="54203" y="57620"/>
                    </a:cubicBezTo>
                    <a:cubicBezTo>
                      <a:pt x="107820" y="63218"/>
                      <a:pt x="318311" y="61622"/>
                      <a:pt x="372738" y="48817"/>
                    </a:cubicBezTo>
                    <a:cubicBezTo>
                      <a:pt x="427166" y="36011"/>
                      <a:pt x="417552" y="0"/>
                      <a:pt x="417552" y="0"/>
                    </a:cubicBezTo>
                    <a:lnTo>
                      <a:pt x="0" y="14265"/>
                    </a:ln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12" name="Freeform: Shape 1511">
                <a:extLst>
                  <a:ext uri="{FF2B5EF4-FFF2-40B4-BE49-F238E27FC236}">
                    <a16:creationId xmlns:a16="http://schemas.microsoft.com/office/drawing/2014/main" id="{788E9B1D-CE7A-D514-C26C-147E0BA9B7F2}"/>
                  </a:ext>
                </a:extLst>
              </p:cNvPr>
              <p:cNvSpPr/>
              <p:nvPr/>
            </p:nvSpPr>
            <p:spPr>
              <a:xfrm>
                <a:off x="7112966" y="2850870"/>
                <a:ext cx="281714" cy="373748"/>
              </a:xfrm>
              <a:custGeom>
                <a:avLst/>
                <a:gdLst>
                  <a:gd name="connsiteX0" fmla="*/ 0 w 281714"/>
                  <a:gd name="connsiteY0" fmla="*/ 35213 h 373748"/>
                  <a:gd name="connsiteX1" fmla="*/ 0 w 281714"/>
                  <a:gd name="connsiteY1" fmla="*/ 373749 h 373748"/>
                  <a:gd name="connsiteX2" fmla="*/ 281714 w 281714"/>
                  <a:gd name="connsiteY2" fmla="*/ 373749 h 373748"/>
                  <a:gd name="connsiteX3" fmla="*/ 281714 w 281714"/>
                  <a:gd name="connsiteY3" fmla="*/ 35213 h 373748"/>
                  <a:gd name="connsiteX4" fmla="*/ 246501 w 281714"/>
                  <a:gd name="connsiteY4" fmla="*/ 0 h 373748"/>
                  <a:gd name="connsiteX5" fmla="*/ 35213 w 281714"/>
                  <a:gd name="connsiteY5" fmla="*/ 0 h 373748"/>
                  <a:gd name="connsiteX6" fmla="*/ 0 w 281714"/>
                  <a:gd name="connsiteY6" fmla="*/ 35213 h 373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14" h="373748">
                    <a:moveTo>
                      <a:pt x="0" y="35213"/>
                    </a:moveTo>
                    <a:lnTo>
                      <a:pt x="0" y="373749"/>
                    </a:lnTo>
                    <a:lnTo>
                      <a:pt x="281714" y="373749"/>
                    </a:lnTo>
                    <a:lnTo>
                      <a:pt x="281714" y="35213"/>
                    </a:lnTo>
                    <a:cubicBezTo>
                      <a:pt x="281714" y="15761"/>
                      <a:pt x="265953" y="0"/>
                      <a:pt x="246501" y="0"/>
                    </a:cubicBezTo>
                    <a:lnTo>
                      <a:pt x="35213" y="0"/>
                    </a:lnTo>
                    <a:cubicBezTo>
                      <a:pt x="15761" y="0"/>
                      <a:pt x="0" y="15761"/>
                      <a:pt x="0" y="35213"/>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27" name="Freeform: Shape 1526">
                <a:extLst>
                  <a:ext uri="{FF2B5EF4-FFF2-40B4-BE49-F238E27FC236}">
                    <a16:creationId xmlns:a16="http://schemas.microsoft.com/office/drawing/2014/main" id="{56E06575-886D-79FF-7B63-AC6220813D06}"/>
                  </a:ext>
                </a:extLst>
              </p:cNvPr>
              <p:cNvSpPr/>
              <p:nvPr/>
            </p:nvSpPr>
            <p:spPr>
              <a:xfrm>
                <a:off x="7112963" y="3191800"/>
                <a:ext cx="431884" cy="103971"/>
              </a:xfrm>
              <a:custGeom>
                <a:avLst/>
                <a:gdLst>
                  <a:gd name="connsiteX0" fmla="*/ 3 w 431884"/>
                  <a:gd name="connsiteY0" fmla="*/ 32819 h 103971"/>
                  <a:gd name="connsiteX1" fmla="*/ 72835 w 431884"/>
                  <a:gd name="connsiteY1" fmla="*/ 0 h 103971"/>
                  <a:gd name="connsiteX2" fmla="*/ 281717 w 431884"/>
                  <a:gd name="connsiteY2" fmla="*/ 0 h 103971"/>
                  <a:gd name="connsiteX3" fmla="*/ 431383 w 431884"/>
                  <a:gd name="connsiteY3" fmla="*/ 57620 h 103971"/>
                  <a:gd name="connsiteX4" fmla="*/ 376158 w 431884"/>
                  <a:gd name="connsiteY4" fmla="*/ 89628 h 103971"/>
                  <a:gd name="connsiteX5" fmla="*/ 164071 w 431884"/>
                  <a:gd name="connsiteY5" fmla="*/ 103232 h 103971"/>
                  <a:gd name="connsiteX6" fmla="*/ 3 w 431884"/>
                  <a:gd name="connsiteY6" fmla="*/ 32806 h 10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884" h="103971">
                    <a:moveTo>
                      <a:pt x="3" y="32819"/>
                    </a:moveTo>
                    <a:cubicBezTo>
                      <a:pt x="3" y="32819"/>
                      <a:pt x="-1593" y="0"/>
                      <a:pt x="72835" y="0"/>
                    </a:cubicBezTo>
                    <a:lnTo>
                      <a:pt x="281717" y="0"/>
                    </a:lnTo>
                    <a:lnTo>
                      <a:pt x="431383" y="57620"/>
                    </a:lnTo>
                    <a:cubicBezTo>
                      <a:pt x="431383" y="57620"/>
                      <a:pt x="440984" y="78430"/>
                      <a:pt x="376158" y="89628"/>
                    </a:cubicBezTo>
                    <a:cubicBezTo>
                      <a:pt x="311331" y="100837"/>
                      <a:pt x="190530" y="106012"/>
                      <a:pt x="164071" y="103232"/>
                    </a:cubicBezTo>
                    <a:cubicBezTo>
                      <a:pt x="133659" y="100027"/>
                      <a:pt x="3" y="32806"/>
                      <a:pt x="3" y="32806"/>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08" name="Graphic 525">
              <a:extLst>
                <a:ext uri="{FF2B5EF4-FFF2-40B4-BE49-F238E27FC236}">
                  <a16:creationId xmlns:a16="http://schemas.microsoft.com/office/drawing/2014/main" id="{3CCB380F-141C-B2DF-D240-EF977AB9DBEF}"/>
                </a:ext>
              </a:extLst>
            </p:cNvPr>
            <p:cNvGrpSpPr/>
            <p:nvPr/>
          </p:nvGrpSpPr>
          <p:grpSpPr>
            <a:xfrm>
              <a:off x="3699853" y="2518394"/>
              <a:ext cx="446945" cy="951786"/>
              <a:chOff x="7179380" y="2472663"/>
              <a:chExt cx="539035" cy="1147895"/>
            </a:xfrm>
          </p:grpSpPr>
          <p:grpSp>
            <p:nvGrpSpPr>
              <p:cNvPr id="1710" name="Graphic 525">
                <a:extLst>
                  <a:ext uri="{FF2B5EF4-FFF2-40B4-BE49-F238E27FC236}">
                    <a16:creationId xmlns:a16="http://schemas.microsoft.com/office/drawing/2014/main" id="{36BFC252-C9F6-DC46-E136-578B0F052FFE}"/>
                  </a:ext>
                </a:extLst>
              </p:cNvPr>
              <p:cNvGrpSpPr/>
              <p:nvPr/>
            </p:nvGrpSpPr>
            <p:grpSpPr>
              <a:xfrm>
                <a:off x="7187955" y="2472663"/>
                <a:ext cx="530460" cy="1147895"/>
                <a:chOff x="7187955" y="2472663"/>
                <a:chExt cx="530460" cy="1147895"/>
              </a:xfrm>
            </p:grpSpPr>
            <p:sp>
              <p:nvSpPr>
                <p:cNvPr id="1801" name="Freeform: Shape 1800">
                  <a:extLst>
                    <a:ext uri="{FF2B5EF4-FFF2-40B4-BE49-F238E27FC236}">
                      <a16:creationId xmlns:a16="http://schemas.microsoft.com/office/drawing/2014/main" id="{6CC388FA-F9F0-811A-4D7E-6B0B96FF9B17}"/>
                    </a:ext>
                  </a:extLst>
                </p:cNvPr>
                <p:cNvSpPr/>
                <p:nvPr/>
              </p:nvSpPr>
              <p:spPr>
                <a:xfrm>
                  <a:off x="7293045" y="2472663"/>
                  <a:ext cx="149788" cy="221764"/>
                </a:xfrm>
                <a:custGeom>
                  <a:avLst/>
                  <a:gdLst>
                    <a:gd name="connsiteX0" fmla="*/ 149043 w 149788"/>
                    <a:gd name="connsiteY0" fmla="*/ 47152 h 221764"/>
                    <a:gd name="connsiteX1" fmla="*/ 130663 w 149788"/>
                    <a:gd name="connsiteY1" fmla="*/ 27102 h 221764"/>
                    <a:gd name="connsiteX2" fmla="*/ 95800 w 149788"/>
                    <a:gd name="connsiteY2" fmla="*/ 1752 h 221764"/>
                    <a:gd name="connsiteX3" fmla="*/ 78156 w 149788"/>
                    <a:gd name="connsiteY3" fmla="*/ 14870 h 221764"/>
                    <a:gd name="connsiteX4" fmla="*/ 55525 w 149788"/>
                    <a:gd name="connsiteY4" fmla="*/ 21204 h 221764"/>
                    <a:gd name="connsiteX5" fmla="*/ 42856 w 149788"/>
                    <a:gd name="connsiteY5" fmla="*/ 44284 h 221764"/>
                    <a:gd name="connsiteX6" fmla="*/ 22943 w 149788"/>
                    <a:gd name="connsiteY6" fmla="*/ 57402 h 221764"/>
                    <a:gd name="connsiteX7" fmla="*/ 27918 w 149788"/>
                    <a:gd name="connsiteY7" fmla="*/ 84547 h 221764"/>
                    <a:gd name="connsiteX8" fmla="*/ 16147 w 149788"/>
                    <a:gd name="connsiteY8" fmla="*/ 107179 h 221764"/>
                    <a:gd name="connsiteX9" fmla="*/ 311 w 149788"/>
                    <a:gd name="connsiteY9" fmla="*/ 117590 h 221764"/>
                    <a:gd name="connsiteX10" fmla="*/ 5736 w 149788"/>
                    <a:gd name="connsiteY10" fmla="*/ 135695 h 221764"/>
                    <a:gd name="connsiteX11" fmla="*/ 12980 w 149788"/>
                    <a:gd name="connsiteY11" fmla="*/ 160584 h 221764"/>
                    <a:gd name="connsiteX12" fmla="*/ 11621 w 149788"/>
                    <a:gd name="connsiteY12" fmla="*/ 175970 h 221764"/>
                    <a:gd name="connsiteX13" fmla="*/ 22032 w 149788"/>
                    <a:gd name="connsiteY13" fmla="*/ 191806 h 221764"/>
                    <a:gd name="connsiteX14" fmla="*/ 43305 w 149788"/>
                    <a:gd name="connsiteY14" fmla="*/ 203577 h 221764"/>
                    <a:gd name="connsiteX15" fmla="*/ 88555 w 149788"/>
                    <a:gd name="connsiteY15" fmla="*/ 218054 h 221764"/>
                    <a:gd name="connsiteX16" fmla="*/ 149043 w 149788"/>
                    <a:gd name="connsiteY16" fmla="*/ 47152 h 22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9788" h="221764">
                      <a:moveTo>
                        <a:pt x="149043" y="47152"/>
                      </a:moveTo>
                      <a:cubicBezTo>
                        <a:pt x="149043" y="47152"/>
                        <a:pt x="135189" y="38411"/>
                        <a:pt x="130663" y="27102"/>
                      </a:cubicBezTo>
                      <a:cubicBezTo>
                        <a:pt x="122920" y="7738"/>
                        <a:pt x="109628" y="-4794"/>
                        <a:pt x="95800" y="1752"/>
                      </a:cubicBezTo>
                      <a:cubicBezTo>
                        <a:pt x="84752" y="6989"/>
                        <a:pt x="86298" y="14870"/>
                        <a:pt x="78156" y="14870"/>
                      </a:cubicBezTo>
                      <a:cubicBezTo>
                        <a:pt x="70013" y="14870"/>
                        <a:pt x="63218" y="11254"/>
                        <a:pt x="55525" y="21204"/>
                      </a:cubicBezTo>
                      <a:cubicBezTo>
                        <a:pt x="47831" y="31155"/>
                        <a:pt x="50549" y="43835"/>
                        <a:pt x="42856" y="44284"/>
                      </a:cubicBezTo>
                      <a:cubicBezTo>
                        <a:pt x="35162" y="44733"/>
                        <a:pt x="25661" y="47452"/>
                        <a:pt x="22943" y="57402"/>
                      </a:cubicBezTo>
                      <a:cubicBezTo>
                        <a:pt x="20224" y="67352"/>
                        <a:pt x="34714" y="79123"/>
                        <a:pt x="27918" y="84547"/>
                      </a:cubicBezTo>
                      <a:cubicBezTo>
                        <a:pt x="21135" y="89971"/>
                        <a:pt x="13890" y="98575"/>
                        <a:pt x="16147" y="107179"/>
                      </a:cubicBezTo>
                      <a:cubicBezTo>
                        <a:pt x="16147" y="107179"/>
                        <a:pt x="2568" y="106729"/>
                        <a:pt x="311" y="117590"/>
                      </a:cubicBezTo>
                      <a:cubicBezTo>
                        <a:pt x="-1946" y="128451"/>
                        <a:pt x="8915" y="129810"/>
                        <a:pt x="5736" y="135695"/>
                      </a:cubicBezTo>
                      <a:cubicBezTo>
                        <a:pt x="2568" y="141581"/>
                        <a:pt x="760" y="153339"/>
                        <a:pt x="12980" y="160584"/>
                      </a:cubicBezTo>
                      <a:cubicBezTo>
                        <a:pt x="17057" y="163302"/>
                        <a:pt x="8005" y="168277"/>
                        <a:pt x="11621" y="175970"/>
                      </a:cubicBezTo>
                      <a:cubicBezTo>
                        <a:pt x="12980" y="178689"/>
                        <a:pt x="10262" y="188190"/>
                        <a:pt x="22032" y="191806"/>
                      </a:cubicBezTo>
                      <a:cubicBezTo>
                        <a:pt x="22032" y="191806"/>
                        <a:pt x="26559" y="205385"/>
                        <a:pt x="43305" y="203577"/>
                      </a:cubicBezTo>
                      <a:cubicBezTo>
                        <a:pt x="43305" y="203577"/>
                        <a:pt x="62308" y="231633"/>
                        <a:pt x="88555" y="218054"/>
                      </a:cubicBezTo>
                      <a:cubicBezTo>
                        <a:pt x="114803" y="204475"/>
                        <a:pt x="155826" y="97839"/>
                        <a:pt x="149043" y="47152"/>
                      </a:cubicBezTo>
                      <a:close/>
                    </a:path>
                  </a:pathLst>
                </a:custGeom>
                <a:solidFill>
                  <a:srgbClr val="1D25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843" name="Graphic 525">
                  <a:extLst>
                    <a:ext uri="{FF2B5EF4-FFF2-40B4-BE49-F238E27FC236}">
                      <a16:creationId xmlns:a16="http://schemas.microsoft.com/office/drawing/2014/main" id="{2BD13FBC-1B58-6418-CF44-6F3051DE8906}"/>
                    </a:ext>
                  </a:extLst>
                </p:cNvPr>
                <p:cNvGrpSpPr/>
                <p:nvPr/>
              </p:nvGrpSpPr>
              <p:grpSpPr>
                <a:xfrm>
                  <a:off x="7259840" y="2611586"/>
                  <a:ext cx="234918" cy="473196"/>
                  <a:chOff x="7259840" y="2611586"/>
                  <a:chExt cx="234918" cy="473196"/>
                </a:xfrm>
              </p:grpSpPr>
              <p:grpSp>
                <p:nvGrpSpPr>
                  <p:cNvPr id="1986" name="Graphic 525">
                    <a:extLst>
                      <a:ext uri="{FF2B5EF4-FFF2-40B4-BE49-F238E27FC236}">
                        <a16:creationId xmlns:a16="http://schemas.microsoft.com/office/drawing/2014/main" id="{8ABEF37F-5709-50C4-0A92-BCD0DBB6B3EB}"/>
                      </a:ext>
                    </a:extLst>
                  </p:cNvPr>
                  <p:cNvGrpSpPr/>
                  <p:nvPr/>
                </p:nvGrpSpPr>
                <p:grpSpPr>
                  <a:xfrm>
                    <a:off x="7367072" y="2611586"/>
                    <a:ext cx="93000" cy="133686"/>
                    <a:chOff x="7367072" y="2611586"/>
                    <a:chExt cx="93000" cy="133686"/>
                  </a:xfrm>
                </p:grpSpPr>
                <p:sp>
                  <p:nvSpPr>
                    <p:cNvPr id="2054" name="Freeform: Shape 2053">
                      <a:extLst>
                        <a:ext uri="{FF2B5EF4-FFF2-40B4-BE49-F238E27FC236}">
                          <a16:creationId xmlns:a16="http://schemas.microsoft.com/office/drawing/2014/main" id="{D4356107-1D8E-02F9-2F83-2FDD92B32C87}"/>
                        </a:ext>
                      </a:extLst>
                    </p:cNvPr>
                    <p:cNvSpPr/>
                    <p:nvPr/>
                  </p:nvSpPr>
                  <p:spPr>
                    <a:xfrm>
                      <a:off x="7367072" y="2611586"/>
                      <a:ext cx="92988" cy="133686"/>
                    </a:xfrm>
                    <a:custGeom>
                      <a:avLst/>
                      <a:gdLst>
                        <a:gd name="connsiteX0" fmla="*/ 87710 w 92988"/>
                        <a:gd name="connsiteY0" fmla="*/ 73919 h 133686"/>
                        <a:gd name="connsiteX1" fmla="*/ 80477 w 92988"/>
                        <a:gd name="connsiteY1" fmla="*/ 104355 h 133686"/>
                        <a:gd name="connsiteX2" fmla="*/ 56250 w 92988"/>
                        <a:gd name="connsiteY2" fmla="*/ 133683 h 133686"/>
                        <a:gd name="connsiteX3" fmla="*/ 2359 w 92988"/>
                        <a:gd name="connsiteY3" fmla="*/ 99779 h 133686"/>
                        <a:gd name="connsiteX4" fmla="*/ 5937 w 92988"/>
                        <a:gd name="connsiteY4" fmla="*/ 77360 h 133686"/>
                        <a:gd name="connsiteX5" fmla="*/ 31088 w 92988"/>
                        <a:gd name="connsiteY5" fmla="*/ 15551 h 133686"/>
                        <a:gd name="connsiteX6" fmla="*/ 68407 w 92988"/>
                        <a:gd name="connsiteY6" fmla="*/ 6349 h 133686"/>
                        <a:gd name="connsiteX7" fmla="*/ 87697 w 92988"/>
                        <a:gd name="connsiteY7" fmla="*/ 73931 h 133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988" h="133686">
                          <a:moveTo>
                            <a:pt x="87710" y="73919"/>
                          </a:moveTo>
                          <a:cubicBezTo>
                            <a:pt x="87710" y="73919"/>
                            <a:pt x="80827" y="90365"/>
                            <a:pt x="80477" y="104355"/>
                          </a:cubicBezTo>
                          <a:cubicBezTo>
                            <a:pt x="80128" y="118359"/>
                            <a:pt x="82697" y="133957"/>
                            <a:pt x="56250" y="133683"/>
                          </a:cubicBezTo>
                          <a:cubicBezTo>
                            <a:pt x="35614" y="133471"/>
                            <a:pt x="6286" y="111213"/>
                            <a:pt x="2359" y="99779"/>
                          </a:cubicBezTo>
                          <a:cubicBezTo>
                            <a:pt x="-1569" y="88333"/>
                            <a:pt x="-734" y="86774"/>
                            <a:pt x="5937" y="77360"/>
                          </a:cubicBezTo>
                          <a:cubicBezTo>
                            <a:pt x="9653" y="72123"/>
                            <a:pt x="21798" y="61362"/>
                            <a:pt x="31088" y="15551"/>
                          </a:cubicBezTo>
                          <a:cubicBezTo>
                            <a:pt x="33793" y="1236"/>
                            <a:pt x="53370" y="-6096"/>
                            <a:pt x="68407" y="6349"/>
                          </a:cubicBezTo>
                          <a:cubicBezTo>
                            <a:pt x="78894" y="15015"/>
                            <a:pt x="103832" y="29840"/>
                            <a:pt x="87697" y="7393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90" name="Freeform: Shape 2089">
                      <a:extLst>
                        <a:ext uri="{FF2B5EF4-FFF2-40B4-BE49-F238E27FC236}">
                          <a16:creationId xmlns:a16="http://schemas.microsoft.com/office/drawing/2014/main" id="{EFFEDC53-BF5F-B44B-4FBD-D6F99FA80F19}"/>
                        </a:ext>
                      </a:extLst>
                    </p:cNvPr>
                    <p:cNvSpPr/>
                    <p:nvPr/>
                  </p:nvSpPr>
                  <p:spPr>
                    <a:xfrm>
                      <a:off x="7403407" y="2612780"/>
                      <a:ext cx="56665" cy="102214"/>
                    </a:xfrm>
                    <a:custGeom>
                      <a:avLst/>
                      <a:gdLst>
                        <a:gd name="connsiteX0" fmla="*/ 32085 w 56665"/>
                        <a:gd name="connsiteY0" fmla="*/ 5142 h 102214"/>
                        <a:gd name="connsiteX1" fmla="*/ 214 w 56665"/>
                        <a:gd name="connsiteY1" fmla="*/ 19395 h 102214"/>
                        <a:gd name="connsiteX2" fmla="*/ 44180 w 56665"/>
                        <a:gd name="connsiteY2" fmla="*/ 102214 h 102214"/>
                        <a:gd name="connsiteX3" fmla="*/ 51374 w 56665"/>
                        <a:gd name="connsiteY3" fmla="*/ 72712 h 102214"/>
                        <a:gd name="connsiteX4" fmla="*/ 32085 w 56665"/>
                        <a:gd name="connsiteY4" fmla="*/ 5130 h 102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65" h="102214">
                          <a:moveTo>
                            <a:pt x="32085" y="5142"/>
                          </a:moveTo>
                          <a:cubicBezTo>
                            <a:pt x="17047" y="-7289"/>
                            <a:pt x="1910" y="4931"/>
                            <a:pt x="214" y="19395"/>
                          </a:cubicBezTo>
                          <a:cubicBezTo>
                            <a:pt x="-1494" y="33921"/>
                            <a:pt x="6486" y="81491"/>
                            <a:pt x="44180" y="102214"/>
                          </a:cubicBezTo>
                          <a:cubicBezTo>
                            <a:pt x="44803" y="88436"/>
                            <a:pt x="51374" y="72712"/>
                            <a:pt x="51374" y="72712"/>
                          </a:cubicBezTo>
                          <a:cubicBezTo>
                            <a:pt x="67509" y="28622"/>
                            <a:pt x="42571" y="13796"/>
                            <a:pt x="32085" y="5130"/>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94" name="Graphic 525">
                    <a:extLst>
                      <a:ext uri="{FF2B5EF4-FFF2-40B4-BE49-F238E27FC236}">
                        <a16:creationId xmlns:a16="http://schemas.microsoft.com/office/drawing/2014/main" id="{7F9671CD-22DA-4F63-C664-D38E1A8B9A28}"/>
                      </a:ext>
                    </a:extLst>
                  </p:cNvPr>
                  <p:cNvGrpSpPr/>
                  <p:nvPr/>
                </p:nvGrpSpPr>
                <p:grpSpPr>
                  <a:xfrm>
                    <a:off x="7259840" y="2690263"/>
                    <a:ext cx="234918" cy="394519"/>
                    <a:chOff x="7259840" y="2690263"/>
                    <a:chExt cx="234918" cy="394519"/>
                  </a:xfrm>
                </p:grpSpPr>
                <p:sp>
                  <p:nvSpPr>
                    <p:cNvPr id="2095" name="Freeform: Shape 2094">
                      <a:extLst>
                        <a:ext uri="{FF2B5EF4-FFF2-40B4-BE49-F238E27FC236}">
                          <a16:creationId xmlns:a16="http://schemas.microsoft.com/office/drawing/2014/main" id="{2A6F4D7A-7F44-9C6B-F5FA-C4FA6D6DF44D}"/>
                        </a:ext>
                      </a:extLst>
                    </p:cNvPr>
                    <p:cNvSpPr/>
                    <p:nvPr/>
                  </p:nvSpPr>
                  <p:spPr>
                    <a:xfrm>
                      <a:off x="7259840" y="2690263"/>
                      <a:ext cx="234918" cy="394519"/>
                    </a:xfrm>
                    <a:custGeom>
                      <a:avLst/>
                      <a:gdLst>
                        <a:gd name="connsiteX0" fmla="*/ 119366 w 234918"/>
                        <a:gd name="connsiteY0" fmla="*/ 990 h 394519"/>
                        <a:gd name="connsiteX1" fmla="*/ 188208 w 234918"/>
                        <a:gd name="connsiteY1" fmla="*/ 39906 h 394519"/>
                        <a:gd name="connsiteX2" fmla="*/ 230365 w 234918"/>
                        <a:gd name="connsiteY2" fmla="*/ 144023 h 394519"/>
                        <a:gd name="connsiteX3" fmla="*/ 204729 w 234918"/>
                        <a:gd name="connsiteY3" fmla="*/ 236319 h 394519"/>
                        <a:gd name="connsiteX4" fmla="*/ 179093 w 234918"/>
                        <a:gd name="connsiteY4" fmla="*/ 316221 h 394519"/>
                        <a:gd name="connsiteX5" fmla="*/ 87694 w 234918"/>
                        <a:gd name="connsiteY5" fmla="*/ 394477 h 394519"/>
                        <a:gd name="connsiteX6" fmla="*/ 16945 w 234918"/>
                        <a:gd name="connsiteY6" fmla="*/ 55367 h 394519"/>
                        <a:gd name="connsiteX7" fmla="*/ 119366 w 234918"/>
                        <a:gd name="connsiteY7" fmla="*/ 1002 h 394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918" h="394519">
                          <a:moveTo>
                            <a:pt x="119366" y="990"/>
                          </a:moveTo>
                          <a:cubicBezTo>
                            <a:pt x="151499" y="4145"/>
                            <a:pt x="169155" y="13833"/>
                            <a:pt x="188208" y="39906"/>
                          </a:cubicBezTo>
                          <a:cubicBezTo>
                            <a:pt x="204443" y="62126"/>
                            <a:pt x="219680" y="110269"/>
                            <a:pt x="230365" y="144023"/>
                          </a:cubicBezTo>
                          <a:cubicBezTo>
                            <a:pt x="240777" y="176916"/>
                            <a:pt x="233782" y="202989"/>
                            <a:pt x="204729" y="236319"/>
                          </a:cubicBezTo>
                          <a:cubicBezTo>
                            <a:pt x="197410" y="244723"/>
                            <a:pt x="190489" y="276345"/>
                            <a:pt x="179093" y="316221"/>
                          </a:cubicBezTo>
                          <a:cubicBezTo>
                            <a:pt x="171898" y="341409"/>
                            <a:pt x="157446" y="396260"/>
                            <a:pt x="87694" y="394477"/>
                          </a:cubicBezTo>
                          <a:cubicBezTo>
                            <a:pt x="-34041" y="391347"/>
                            <a:pt x="1558" y="130569"/>
                            <a:pt x="16945" y="55367"/>
                          </a:cubicBezTo>
                          <a:cubicBezTo>
                            <a:pt x="25673" y="12673"/>
                            <a:pt x="63068" y="-4522"/>
                            <a:pt x="119366" y="1002"/>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96" name="Freeform: Shape 2095">
                      <a:extLst>
                        <a:ext uri="{FF2B5EF4-FFF2-40B4-BE49-F238E27FC236}">
                          <a16:creationId xmlns:a16="http://schemas.microsoft.com/office/drawing/2014/main" id="{9EB37124-9035-AB2A-DD88-5CFCF2A8418A}"/>
                        </a:ext>
                      </a:extLst>
                    </p:cNvPr>
                    <p:cNvSpPr/>
                    <p:nvPr/>
                  </p:nvSpPr>
                  <p:spPr>
                    <a:xfrm>
                      <a:off x="7266211" y="2719062"/>
                      <a:ext cx="97519" cy="142378"/>
                    </a:xfrm>
                    <a:custGeom>
                      <a:avLst/>
                      <a:gdLst>
                        <a:gd name="connsiteX0" fmla="*/ 10861 w 97519"/>
                        <a:gd name="connsiteY0" fmla="*/ 45410 h 142378"/>
                        <a:gd name="connsiteX1" fmla="*/ 0 w 97519"/>
                        <a:gd name="connsiteY1" fmla="*/ 132893 h 142378"/>
                        <a:gd name="connsiteX2" fmla="*/ 97134 w 97519"/>
                        <a:gd name="connsiteY2" fmla="*/ 134103 h 142378"/>
                        <a:gd name="connsiteX3" fmla="*/ 89291 w 97519"/>
                        <a:gd name="connsiteY3" fmla="*/ 16457 h 142378"/>
                        <a:gd name="connsiteX4" fmla="*/ 10861 w 97519"/>
                        <a:gd name="connsiteY4" fmla="*/ 45423 h 14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9" h="142378">
                          <a:moveTo>
                            <a:pt x="10861" y="45410"/>
                          </a:moveTo>
                          <a:cubicBezTo>
                            <a:pt x="10861" y="45410"/>
                            <a:pt x="910" y="102431"/>
                            <a:pt x="0" y="132893"/>
                          </a:cubicBezTo>
                          <a:cubicBezTo>
                            <a:pt x="0" y="132893"/>
                            <a:pt x="71498" y="153405"/>
                            <a:pt x="97134" y="134103"/>
                          </a:cubicBezTo>
                          <a:cubicBezTo>
                            <a:pt x="97134" y="134103"/>
                            <a:pt x="100152" y="40884"/>
                            <a:pt x="89291" y="16457"/>
                          </a:cubicBezTo>
                          <a:cubicBezTo>
                            <a:pt x="78430" y="-7982"/>
                            <a:pt x="25637" y="-10389"/>
                            <a:pt x="10861" y="45423"/>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097" name="Graphic 525">
                  <a:extLst>
                    <a:ext uri="{FF2B5EF4-FFF2-40B4-BE49-F238E27FC236}">
                      <a16:creationId xmlns:a16="http://schemas.microsoft.com/office/drawing/2014/main" id="{74D45A3D-1509-9523-F9F7-4544B33F7937}"/>
                    </a:ext>
                  </a:extLst>
                </p:cNvPr>
                <p:cNvGrpSpPr/>
                <p:nvPr/>
              </p:nvGrpSpPr>
              <p:grpSpPr>
                <a:xfrm>
                  <a:off x="7187955" y="2869535"/>
                  <a:ext cx="530460" cy="751024"/>
                  <a:chOff x="7187955" y="2869535"/>
                  <a:chExt cx="530460" cy="751024"/>
                </a:xfrm>
              </p:grpSpPr>
              <p:grpSp>
                <p:nvGrpSpPr>
                  <p:cNvPr id="2098" name="Graphic 525">
                    <a:extLst>
                      <a:ext uri="{FF2B5EF4-FFF2-40B4-BE49-F238E27FC236}">
                        <a16:creationId xmlns:a16="http://schemas.microsoft.com/office/drawing/2014/main" id="{27E5297A-6592-D702-E22D-07ADDB6E99B3}"/>
                      </a:ext>
                    </a:extLst>
                  </p:cNvPr>
                  <p:cNvGrpSpPr/>
                  <p:nvPr/>
                </p:nvGrpSpPr>
                <p:grpSpPr>
                  <a:xfrm>
                    <a:off x="7273302" y="3074925"/>
                    <a:ext cx="445112" cy="485507"/>
                    <a:chOff x="7273302" y="3074925"/>
                    <a:chExt cx="445112" cy="485507"/>
                  </a:xfrm>
                </p:grpSpPr>
                <p:sp>
                  <p:nvSpPr>
                    <p:cNvPr id="2099" name="Freeform: Shape 2098">
                      <a:extLst>
                        <a:ext uri="{FF2B5EF4-FFF2-40B4-BE49-F238E27FC236}">
                          <a16:creationId xmlns:a16="http://schemas.microsoft.com/office/drawing/2014/main" id="{2D3BEAE9-5539-234C-64AF-92B9BF94B13C}"/>
                        </a:ext>
                      </a:extLst>
                    </p:cNvPr>
                    <p:cNvSpPr/>
                    <p:nvPr/>
                  </p:nvSpPr>
                  <p:spPr>
                    <a:xfrm>
                      <a:off x="7273302" y="3074925"/>
                      <a:ext cx="405651" cy="168557"/>
                    </a:xfrm>
                    <a:custGeom>
                      <a:avLst/>
                      <a:gdLst>
                        <a:gd name="connsiteX0" fmla="*/ 166 w 405651"/>
                        <a:gd name="connsiteY0" fmla="*/ 77610 h 168557"/>
                        <a:gd name="connsiteX1" fmla="*/ 110629 w 405651"/>
                        <a:gd name="connsiteY1" fmla="*/ 3 h 168557"/>
                        <a:gd name="connsiteX2" fmla="*/ 390423 w 405651"/>
                        <a:gd name="connsiteY2" fmla="*/ 33931 h 168557"/>
                        <a:gd name="connsiteX3" fmla="*/ 373590 w 405651"/>
                        <a:gd name="connsiteY3" fmla="*/ 116613 h 168557"/>
                        <a:gd name="connsiteX4" fmla="*/ 187726 w 405651"/>
                        <a:gd name="connsiteY4" fmla="*/ 163048 h 168557"/>
                        <a:gd name="connsiteX5" fmla="*/ 153 w 405651"/>
                        <a:gd name="connsiteY5" fmla="*/ 77623 h 16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651" h="168557">
                          <a:moveTo>
                            <a:pt x="166" y="77610"/>
                          </a:moveTo>
                          <a:cubicBezTo>
                            <a:pt x="166" y="77610"/>
                            <a:pt x="5390" y="-509"/>
                            <a:pt x="110629" y="3"/>
                          </a:cubicBezTo>
                          <a:cubicBezTo>
                            <a:pt x="209160" y="489"/>
                            <a:pt x="350148" y="1486"/>
                            <a:pt x="390423" y="33931"/>
                          </a:cubicBezTo>
                          <a:cubicBezTo>
                            <a:pt x="402593" y="42672"/>
                            <a:pt x="424377" y="97486"/>
                            <a:pt x="373590" y="116613"/>
                          </a:cubicBezTo>
                          <a:cubicBezTo>
                            <a:pt x="321120" y="136377"/>
                            <a:pt x="236817" y="155380"/>
                            <a:pt x="187726" y="163048"/>
                          </a:cubicBezTo>
                          <a:cubicBezTo>
                            <a:pt x="138635" y="170717"/>
                            <a:pt x="-5346" y="186465"/>
                            <a:pt x="153" y="77623"/>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00" name="Freeform: Shape 2099">
                      <a:extLst>
                        <a:ext uri="{FF2B5EF4-FFF2-40B4-BE49-F238E27FC236}">
                          <a16:creationId xmlns:a16="http://schemas.microsoft.com/office/drawing/2014/main" id="{CED399E0-08BC-9FCE-5810-C14AD4955CC9}"/>
                        </a:ext>
                      </a:extLst>
                    </p:cNvPr>
                    <p:cNvSpPr/>
                    <p:nvPr/>
                  </p:nvSpPr>
                  <p:spPr>
                    <a:xfrm>
                      <a:off x="7568122" y="3100908"/>
                      <a:ext cx="110819" cy="406333"/>
                    </a:xfrm>
                    <a:custGeom>
                      <a:avLst/>
                      <a:gdLst>
                        <a:gd name="connsiteX0" fmla="*/ 68970 w 110819"/>
                        <a:gd name="connsiteY0" fmla="*/ 379 h 406333"/>
                        <a:gd name="connsiteX1" fmla="*/ 110779 w 110819"/>
                        <a:gd name="connsiteY1" fmla="*/ 48485 h 406333"/>
                        <a:gd name="connsiteX2" fmla="*/ 83172 w 110819"/>
                        <a:gd name="connsiteY2" fmla="*/ 245023 h 406333"/>
                        <a:gd name="connsiteX3" fmla="*/ 42199 w 110819"/>
                        <a:gd name="connsiteY3" fmla="*/ 406074 h 406333"/>
                        <a:gd name="connsiteX4" fmla="*/ 14043 w 110819"/>
                        <a:gd name="connsiteY4" fmla="*/ 318117 h 406333"/>
                        <a:gd name="connsiteX5" fmla="*/ 776 w 110819"/>
                        <a:gd name="connsiteY5" fmla="*/ 150756 h 406333"/>
                        <a:gd name="connsiteX6" fmla="*/ 57062 w 110819"/>
                        <a:gd name="connsiteY6" fmla="*/ 155 h 406333"/>
                        <a:gd name="connsiteX7" fmla="*/ 68957 w 110819"/>
                        <a:gd name="connsiteY7" fmla="*/ 379 h 40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9" h="406333">
                          <a:moveTo>
                            <a:pt x="68970" y="379"/>
                          </a:moveTo>
                          <a:cubicBezTo>
                            <a:pt x="93210" y="2960"/>
                            <a:pt x="111814" y="24133"/>
                            <a:pt x="110779" y="48485"/>
                          </a:cubicBezTo>
                          <a:cubicBezTo>
                            <a:pt x="109245" y="84832"/>
                            <a:pt x="99195" y="126454"/>
                            <a:pt x="83172" y="245023"/>
                          </a:cubicBezTo>
                          <a:cubicBezTo>
                            <a:pt x="61663" y="404178"/>
                            <a:pt x="60416" y="402557"/>
                            <a:pt x="42199" y="406074"/>
                          </a:cubicBezTo>
                          <a:cubicBezTo>
                            <a:pt x="19804" y="410400"/>
                            <a:pt x="20453" y="359776"/>
                            <a:pt x="14043" y="318117"/>
                          </a:cubicBezTo>
                          <a:cubicBezTo>
                            <a:pt x="8295" y="280734"/>
                            <a:pt x="-3064" y="205807"/>
                            <a:pt x="776" y="150756"/>
                          </a:cubicBezTo>
                          <a:cubicBezTo>
                            <a:pt x="4617" y="95705"/>
                            <a:pt x="19405" y="2586"/>
                            <a:pt x="57062" y="155"/>
                          </a:cubicBezTo>
                          <a:cubicBezTo>
                            <a:pt x="61301" y="-120"/>
                            <a:pt x="65266" y="-20"/>
                            <a:pt x="68957" y="379"/>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01" name="Graphic 525">
                      <a:extLst>
                        <a:ext uri="{FF2B5EF4-FFF2-40B4-BE49-F238E27FC236}">
                          <a16:creationId xmlns:a16="http://schemas.microsoft.com/office/drawing/2014/main" id="{C9FC32E9-A922-9100-D22A-FB1A1CD51C5B}"/>
                        </a:ext>
                      </a:extLst>
                    </p:cNvPr>
                    <p:cNvGrpSpPr/>
                    <p:nvPr/>
                  </p:nvGrpSpPr>
                  <p:grpSpPr>
                    <a:xfrm>
                      <a:off x="7563502" y="3400685"/>
                      <a:ext cx="154913" cy="159746"/>
                      <a:chOff x="7563502" y="3400685"/>
                      <a:chExt cx="154913" cy="159746"/>
                    </a:xfrm>
                  </p:grpSpPr>
                  <p:grpSp>
                    <p:nvGrpSpPr>
                      <p:cNvPr id="2102" name="Graphic 525">
                        <a:extLst>
                          <a:ext uri="{FF2B5EF4-FFF2-40B4-BE49-F238E27FC236}">
                            <a16:creationId xmlns:a16="http://schemas.microsoft.com/office/drawing/2014/main" id="{F8DB4072-BA7A-4A12-CD44-72444FDF4F1C}"/>
                          </a:ext>
                        </a:extLst>
                      </p:cNvPr>
                      <p:cNvGrpSpPr/>
                      <p:nvPr/>
                    </p:nvGrpSpPr>
                    <p:grpSpPr>
                      <a:xfrm>
                        <a:off x="7563502" y="3495896"/>
                        <a:ext cx="154913" cy="64535"/>
                        <a:chOff x="7563502" y="3495896"/>
                        <a:chExt cx="154913" cy="64535"/>
                      </a:xfrm>
                    </p:grpSpPr>
                    <p:grpSp>
                      <p:nvGrpSpPr>
                        <p:cNvPr id="2103" name="Graphic 525">
                          <a:extLst>
                            <a:ext uri="{FF2B5EF4-FFF2-40B4-BE49-F238E27FC236}">
                              <a16:creationId xmlns:a16="http://schemas.microsoft.com/office/drawing/2014/main" id="{9C125220-552C-A987-176A-793BD8A9A7E6}"/>
                            </a:ext>
                          </a:extLst>
                        </p:cNvPr>
                        <p:cNvGrpSpPr/>
                        <p:nvPr/>
                      </p:nvGrpSpPr>
                      <p:grpSpPr>
                        <a:xfrm>
                          <a:off x="7564147" y="3507954"/>
                          <a:ext cx="43205" cy="52478"/>
                          <a:chOff x="7564147" y="3507954"/>
                          <a:chExt cx="43205" cy="52478"/>
                        </a:xfrm>
                      </p:grpSpPr>
                      <p:sp>
                        <p:nvSpPr>
                          <p:cNvPr id="2104" name="Freeform: Shape 2103">
                            <a:extLst>
                              <a:ext uri="{FF2B5EF4-FFF2-40B4-BE49-F238E27FC236}">
                                <a16:creationId xmlns:a16="http://schemas.microsoft.com/office/drawing/2014/main" id="{ACD8DF7D-77B8-E5CD-10B1-8E8874A727D7}"/>
                              </a:ext>
                            </a:extLst>
                          </p:cNvPr>
                          <p:cNvSpPr/>
                          <p:nvPr/>
                        </p:nvSpPr>
                        <p:spPr>
                          <a:xfrm>
                            <a:off x="7564147" y="3507954"/>
                            <a:ext cx="32320" cy="52478"/>
                          </a:xfrm>
                          <a:custGeom>
                            <a:avLst/>
                            <a:gdLst>
                              <a:gd name="connsiteX0" fmla="*/ 12 w 32320"/>
                              <a:gd name="connsiteY0" fmla="*/ 0 h 52478"/>
                              <a:gd name="connsiteX1" fmla="*/ 3354 w 32320"/>
                              <a:gd name="connsiteY1" fmla="*/ 50737 h 52478"/>
                              <a:gd name="connsiteX2" fmla="*/ 16073 w 32320"/>
                              <a:gd name="connsiteY2" fmla="*/ 52395 h 52478"/>
                              <a:gd name="connsiteX3" fmla="*/ 30923 w 32320"/>
                              <a:gd name="connsiteY3" fmla="*/ 51821 h 52478"/>
                              <a:gd name="connsiteX4" fmla="*/ 32320 w 32320"/>
                              <a:gd name="connsiteY4" fmla="*/ 17619 h 52478"/>
                              <a:gd name="connsiteX5" fmla="*/ 0 w 32320"/>
                              <a:gd name="connsiteY5" fmla="*/ 0 h 5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0" h="52478">
                                <a:moveTo>
                                  <a:pt x="12" y="0"/>
                                </a:moveTo>
                                <a:lnTo>
                                  <a:pt x="3354" y="50737"/>
                                </a:lnTo>
                                <a:cubicBezTo>
                                  <a:pt x="3354" y="50737"/>
                                  <a:pt x="6870" y="52033"/>
                                  <a:pt x="16073" y="52395"/>
                                </a:cubicBezTo>
                                <a:cubicBezTo>
                                  <a:pt x="25275" y="52756"/>
                                  <a:pt x="30923" y="51821"/>
                                  <a:pt x="30923" y="51821"/>
                                </a:cubicBezTo>
                                <a:lnTo>
                                  <a:pt x="32320" y="17619"/>
                                </a:lnTo>
                                <a:lnTo>
                                  <a:pt x="0" y="0"/>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05" name="Freeform: Shape 2104">
                            <a:extLst>
                              <a:ext uri="{FF2B5EF4-FFF2-40B4-BE49-F238E27FC236}">
                                <a16:creationId xmlns:a16="http://schemas.microsoft.com/office/drawing/2014/main" id="{0C7A5038-8B7C-97FF-AC32-9A84289B97A1}"/>
                              </a:ext>
                            </a:extLst>
                          </p:cNvPr>
                          <p:cNvSpPr/>
                          <p:nvPr/>
                        </p:nvSpPr>
                        <p:spPr>
                          <a:xfrm>
                            <a:off x="7595083" y="3525573"/>
                            <a:ext cx="12269" cy="34202"/>
                          </a:xfrm>
                          <a:custGeom>
                            <a:avLst/>
                            <a:gdLst>
                              <a:gd name="connsiteX0" fmla="*/ 0 w 12269"/>
                              <a:gd name="connsiteY0" fmla="*/ 34203 h 34202"/>
                              <a:gd name="connsiteX1" fmla="*/ 11459 w 12269"/>
                              <a:gd name="connsiteY1" fmla="*/ 28305 h 34202"/>
                              <a:gd name="connsiteX2" fmla="*/ 12270 w 12269"/>
                              <a:gd name="connsiteY2" fmla="*/ 6347 h 34202"/>
                              <a:gd name="connsiteX3" fmla="*/ 1397 w 12269"/>
                              <a:gd name="connsiteY3" fmla="*/ 0 h 34202"/>
                              <a:gd name="connsiteX4" fmla="*/ 0 w 12269"/>
                              <a:gd name="connsiteY4" fmla="*/ 34203 h 34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 h="34202">
                                <a:moveTo>
                                  <a:pt x="0" y="34203"/>
                                </a:moveTo>
                                <a:lnTo>
                                  <a:pt x="11459" y="28305"/>
                                </a:lnTo>
                                <a:lnTo>
                                  <a:pt x="12270" y="6347"/>
                                </a:lnTo>
                                <a:lnTo>
                                  <a:pt x="1397" y="0"/>
                                </a:lnTo>
                                <a:lnTo>
                                  <a:pt x="0" y="34203"/>
                                </a:lnTo>
                                <a:close/>
                              </a:path>
                            </a:pathLst>
                          </a:custGeom>
                          <a:solidFill>
                            <a:srgbClr val="19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06" name="Freeform: Shape 2105">
                          <a:extLst>
                            <a:ext uri="{FF2B5EF4-FFF2-40B4-BE49-F238E27FC236}">
                              <a16:creationId xmlns:a16="http://schemas.microsoft.com/office/drawing/2014/main" id="{16EE30FD-A463-4A9F-2918-1CB5C7F920AC}"/>
                            </a:ext>
                          </a:extLst>
                        </p:cNvPr>
                        <p:cNvSpPr/>
                        <p:nvPr/>
                      </p:nvSpPr>
                      <p:spPr>
                        <a:xfrm>
                          <a:off x="7563502" y="3495896"/>
                          <a:ext cx="154913" cy="62804"/>
                        </a:xfrm>
                        <a:custGeom>
                          <a:avLst/>
                          <a:gdLst>
                            <a:gd name="connsiteX0" fmla="*/ 153965 w 154913"/>
                            <a:gd name="connsiteY0" fmla="*/ 41634 h 62804"/>
                            <a:gd name="connsiteX1" fmla="*/ 154888 w 154913"/>
                            <a:gd name="connsiteY1" fmla="*/ 49976 h 62804"/>
                            <a:gd name="connsiteX2" fmla="*/ 152132 w 154913"/>
                            <a:gd name="connsiteY2" fmla="*/ 54290 h 62804"/>
                            <a:gd name="connsiteX3" fmla="*/ 82443 w 154913"/>
                            <a:gd name="connsiteY3" fmla="*/ 61585 h 62804"/>
                            <a:gd name="connsiteX4" fmla="*/ 34561 w 154913"/>
                            <a:gd name="connsiteY4" fmla="*/ 33243 h 62804"/>
                            <a:gd name="connsiteX5" fmla="*/ 4112 w 154913"/>
                            <a:gd name="connsiteY5" fmla="*/ 20213 h 62804"/>
                            <a:gd name="connsiteX6" fmla="*/ 758 w 154913"/>
                            <a:gd name="connsiteY6" fmla="*/ 15474 h 62804"/>
                            <a:gd name="connsiteX7" fmla="*/ 957 w 154913"/>
                            <a:gd name="connsiteY7" fmla="*/ 0 h 62804"/>
                            <a:gd name="connsiteX8" fmla="*/ 153978 w 154913"/>
                            <a:gd name="connsiteY8" fmla="*/ 41634 h 6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13" h="62804">
                              <a:moveTo>
                                <a:pt x="153965" y="41634"/>
                              </a:moveTo>
                              <a:lnTo>
                                <a:pt x="154888" y="49976"/>
                              </a:lnTo>
                              <a:cubicBezTo>
                                <a:pt x="155100" y="51884"/>
                                <a:pt x="153953" y="53679"/>
                                <a:pt x="152132" y="54290"/>
                              </a:cubicBezTo>
                              <a:cubicBezTo>
                                <a:pt x="142743" y="57433"/>
                                <a:pt x="113441" y="65949"/>
                                <a:pt x="82443" y="61585"/>
                              </a:cubicBezTo>
                              <a:cubicBezTo>
                                <a:pt x="72268" y="59652"/>
                                <a:pt x="48178" y="38654"/>
                                <a:pt x="34561" y="33243"/>
                              </a:cubicBezTo>
                              <a:cubicBezTo>
                                <a:pt x="24187" y="29115"/>
                                <a:pt x="10184" y="22918"/>
                                <a:pt x="4112" y="20213"/>
                              </a:cubicBezTo>
                              <a:cubicBezTo>
                                <a:pt x="2217" y="19365"/>
                                <a:pt x="1144" y="17519"/>
                                <a:pt x="758" y="15474"/>
                              </a:cubicBezTo>
                              <a:cubicBezTo>
                                <a:pt x="22" y="11684"/>
                                <a:pt x="-577" y="5374"/>
                                <a:pt x="957" y="0"/>
                              </a:cubicBezTo>
                              <a:lnTo>
                                <a:pt x="153978" y="41634"/>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07" name="Freeform: Shape 2106">
                        <a:extLst>
                          <a:ext uri="{FF2B5EF4-FFF2-40B4-BE49-F238E27FC236}">
                            <a16:creationId xmlns:a16="http://schemas.microsoft.com/office/drawing/2014/main" id="{E460D4E5-AE8A-195F-4128-E12B72CEF5A1}"/>
                          </a:ext>
                        </a:extLst>
                      </p:cNvPr>
                      <p:cNvSpPr/>
                      <p:nvPr/>
                    </p:nvSpPr>
                    <p:spPr>
                      <a:xfrm>
                        <a:off x="7563997" y="3400685"/>
                        <a:ext cx="153921" cy="148005"/>
                      </a:xfrm>
                      <a:custGeom>
                        <a:avLst/>
                        <a:gdLst>
                          <a:gd name="connsiteX0" fmla="*/ 51560 w 153921"/>
                          <a:gd name="connsiteY0" fmla="*/ 72 h 148005"/>
                          <a:gd name="connsiteX1" fmla="*/ 72521 w 153921"/>
                          <a:gd name="connsiteY1" fmla="*/ 33639 h 148005"/>
                          <a:gd name="connsiteX2" fmla="*/ 90913 w 153921"/>
                          <a:gd name="connsiteY2" fmla="*/ 94587 h 148005"/>
                          <a:gd name="connsiteX3" fmla="*/ 141774 w 153921"/>
                          <a:gd name="connsiteY3" fmla="*/ 119812 h 148005"/>
                          <a:gd name="connsiteX4" fmla="*/ 153483 w 153921"/>
                          <a:gd name="connsiteY4" fmla="*/ 136858 h 148005"/>
                          <a:gd name="connsiteX5" fmla="*/ 96200 w 153921"/>
                          <a:gd name="connsiteY5" fmla="*/ 147407 h 148005"/>
                          <a:gd name="connsiteX6" fmla="*/ 45450 w 153921"/>
                          <a:gd name="connsiteY6" fmla="*/ 123229 h 148005"/>
                          <a:gd name="connsiteX7" fmla="*/ 799 w 153921"/>
                          <a:gd name="connsiteY7" fmla="*/ 96520 h 148005"/>
                          <a:gd name="connsiteX8" fmla="*/ 15138 w 153921"/>
                          <a:gd name="connsiteY8" fmla="*/ 60809 h 148005"/>
                          <a:gd name="connsiteX9" fmla="*/ 27470 w 153921"/>
                          <a:gd name="connsiteY9" fmla="*/ 27441 h 148005"/>
                          <a:gd name="connsiteX10" fmla="*/ 51560 w 153921"/>
                          <a:gd name="connsiteY10" fmla="*/ 84 h 14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921" h="148005">
                            <a:moveTo>
                              <a:pt x="51560" y="72"/>
                            </a:moveTo>
                            <a:cubicBezTo>
                              <a:pt x="51560" y="72"/>
                              <a:pt x="73518" y="1643"/>
                              <a:pt x="72521" y="33639"/>
                            </a:cubicBezTo>
                            <a:cubicBezTo>
                              <a:pt x="71523" y="65634"/>
                              <a:pt x="75177" y="79575"/>
                              <a:pt x="90913" y="94587"/>
                            </a:cubicBezTo>
                            <a:cubicBezTo>
                              <a:pt x="106649" y="109600"/>
                              <a:pt x="129006" y="114837"/>
                              <a:pt x="141774" y="119812"/>
                            </a:cubicBezTo>
                            <a:cubicBezTo>
                              <a:pt x="150590" y="123241"/>
                              <a:pt x="155465" y="130798"/>
                              <a:pt x="153483" y="136858"/>
                            </a:cubicBezTo>
                            <a:cubicBezTo>
                              <a:pt x="151488" y="142918"/>
                              <a:pt x="119604" y="150150"/>
                              <a:pt x="96200" y="147407"/>
                            </a:cubicBezTo>
                            <a:cubicBezTo>
                              <a:pt x="72783" y="144663"/>
                              <a:pt x="56648" y="130773"/>
                              <a:pt x="45450" y="123229"/>
                            </a:cubicBezTo>
                            <a:cubicBezTo>
                              <a:pt x="34266" y="115698"/>
                              <a:pt x="4527" y="106209"/>
                              <a:pt x="799" y="96520"/>
                            </a:cubicBezTo>
                            <a:cubicBezTo>
                              <a:pt x="-2917" y="86832"/>
                              <a:pt x="7096" y="69263"/>
                              <a:pt x="15138" y="60809"/>
                            </a:cubicBezTo>
                            <a:cubicBezTo>
                              <a:pt x="22009" y="53589"/>
                              <a:pt x="28156" y="43302"/>
                              <a:pt x="27470" y="27441"/>
                            </a:cubicBezTo>
                            <a:cubicBezTo>
                              <a:pt x="26784" y="11581"/>
                              <a:pt x="33892" y="-1163"/>
                              <a:pt x="51560" y="84"/>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08" name="Graphic 525">
                        <a:extLst>
                          <a:ext uri="{FF2B5EF4-FFF2-40B4-BE49-F238E27FC236}">
                            <a16:creationId xmlns:a16="http://schemas.microsoft.com/office/drawing/2014/main" id="{D9642ECB-2CCF-3FAF-50AC-8538163BE762}"/>
                          </a:ext>
                        </a:extLst>
                      </p:cNvPr>
                      <p:cNvGrpSpPr/>
                      <p:nvPr/>
                    </p:nvGrpSpPr>
                    <p:grpSpPr>
                      <a:xfrm>
                        <a:off x="7579123" y="3452167"/>
                        <a:ext cx="115002" cy="97595"/>
                        <a:chOff x="7579123" y="3452167"/>
                        <a:chExt cx="115002" cy="97595"/>
                      </a:xfrm>
                    </p:grpSpPr>
                    <p:sp>
                      <p:nvSpPr>
                        <p:cNvPr id="2109" name="Freeform: Shape 2108">
                          <a:extLst>
                            <a:ext uri="{FF2B5EF4-FFF2-40B4-BE49-F238E27FC236}">
                              <a16:creationId xmlns:a16="http://schemas.microsoft.com/office/drawing/2014/main" id="{E9064DFA-195D-C95E-0D83-7F5D4BDE45AE}"/>
                            </a:ext>
                          </a:extLst>
                        </p:cNvPr>
                        <p:cNvSpPr/>
                        <p:nvPr/>
                      </p:nvSpPr>
                      <p:spPr>
                        <a:xfrm>
                          <a:off x="7579123" y="3452167"/>
                          <a:ext cx="38567" cy="79331"/>
                        </a:xfrm>
                        <a:custGeom>
                          <a:avLst/>
                          <a:gdLst>
                            <a:gd name="connsiteX0" fmla="*/ 38567 w 38567"/>
                            <a:gd name="connsiteY0" fmla="*/ 79204 h 79331"/>
                            <a:gd name="connsiteX1" fmla="*/ 34689 w 38567"/>
                            <a:gd name="connsiteY1" fmla="*/ 51136 h 79331"/>
                            <a:gd name="connsiteX2" fmla="*/ 6970 w 38567"/>
                            <a:gd name="connsiteY2" fmla="*/ 0 h 79331"/>
                            <a:gd name="connsiteX3" fmla="*/ 0 w 38567"/>
                            <a:gd name="connsiteY3" fmla="*/ 9314 h 79331"/>
                            <a:gd name="connsiteX4" fmla="*/ 19128 w 38567"/>
                            <a:gd name="connsiteY4" fmla="*/ 38293 h 79331"/>
                            <a:gd name="connsiteX5" fmla="*/ 24664 w 38567"/>
                            <a:gd name="connsiteY5" fmla="*/ 72358 h 79331"/>
                            <a:gd name="connsiteX6" fmla="*/ 38567 w 38567"/>
                            <a:gd name="connsiteY6" fmla="*/ 79204 h 7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67" h="79331">
                              <a:moveTo>
                                <a:pt x="38567" y="79204"/>
                              </a:moveTo>
                              <a:cubicBezTo>
                                <a:pt x="38567" y="79204"/>
                                <a:pt x="37906" y="65924"/>
                                <a:pt x="34689" y="51136"/>
                              </a:cubicBezTo>
                              <a:cubicBezTo>
                                <a:pt x="31859" y="38168"/>
                                <a:pt x="23492" y="12531"/>
                                <a:pt x="6970" y="0"/>
                              </a:cubicBezTo>
                              <a:cubicBezTo>
                                <a:pt x="6970" y="0"/>
                                <a:pt x="3230" y="3055"/>
                                <a:pt x="0" y="9314"/>
                              </a:cubicBezTo>
                              <a:cubicBezTo>
                                <a:pt x="0" y="9314"/>
                                <a:pt x="12370" y="20312"/>
                                <a:pt x="19128" y="38293"/>
                              </a:cubicBezTo>
                              <a:cubicBezTo>
                                <a:pt x="25886" y="56285"/>
                                <a:pt x="24664" y="72358"/>
                                <a:pt x="24664" y="72358"/>
                              </a:cubicBezTo>
                              <a:cubicBezTo>
                                <a:pt x="24664" y="72358"/>
                                <a:pt x="29140" y="80438"/>
                                <a:pt x="38567" y="79204"/>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10" name="Graphic 525">
                          <a:extLst>
                            <a:ext uri="{FF2B5EF4-FFF2-40B4-BE49-F238E27FC236}">
                              <a16:creationId xmlns:a16="http://schemas.microsoft.com/office/drawing/2014/main" id="{A87A8521-CEBF-BF79-410A-134CC2344DAD}"/>
                            </a:ext>
                          </a:extLst>
                        </p:cNvPr>
                        <p:cNvGrpSpPr/>
                        <p:nvPr/>
                      </p:nvGrpSpPr>
                      <p:grpSpPr>
                        <a:xfrm>
                          <a:off x="7638401" y="3506245"/>
                          <a:ext cx="55724" cy="43516"/>
                          <a:chOff x="7638401" y="3506245"/>
                          <a:chExt cx="55724" cy="43516"/>
                        </a:xfrm>
                      </p:grpSpPr>
                      <p:grpSp>
                        <p:nvGrpSpPr>
                          <p:cNvPr id="2111" name="Graphic 525">
                            <a:extLst>
                              <a:ext uri="{FF2B5EF4-FFF2-40B4-BE49-F238E27FC236}">
                                <a16:creationId xmlns:a16="http://schemas.microsoft.com/office/drawing/2014/main" id="{6C0D5A61-CED2-36C7-FCF6-3947CAFCB14C}"/>
                              </a:ext>
                            </a:extLst>
                          </p:cNvPr>
                          <p:cNvGrpSpPr/>
                          <p:nvPr/>
                        </p:nvGrpSpPr>
                        <p:grpSpPr>
                          <a:xfrm>
                            <a:off x="7670160" y="3506245"/>
                            <a:ext cx="23965" cy="43516"/>
                            <a:chOff x="7670160" y="3506245"/>
                            <a:chExt cx="23965" cy="43516"/>
                          </a:xfrm>
                        </p:grpSpPr>
                        <p:sp>
                          <p:nvSpPr>
                            <p:cNvPr id="2112" name="Freeform: Shape 2111">
                              <a:extLst>
                                <a:ext uri="{FF2B5EF4-FFF2-40B4-BE49-F238E27FC236}">
                                  <a16:creationId xmlns:a16="http://schemas.microsoft.com/office/drawing/2014/main" id="{3D21BC48-2FCE-A945-A943-EF7B4D06FFDE}"/>
                                </a:ext>
                              </a:extLst>
                            </p:cNvPr>
                            <p:cNvSpPr/>
                            <p:nvPr/>
                          </p:nvSpPr>
                          <p:spPr>
                            <a:xfrm>
                              <a:off x="7670160" y="3506245"/>
                              <a:ext cx="23965" cy="43516"/>
                            </a:xfrm>
                            <a:custGeom>
                              <a:avLst/>
                              <a:gdLst>
                                <a:gd name="connsiteX0" fmla="*/ 0 w 23965"/>
                                <a:gd name="connsiteY0" fmla="*/ 0 h 43516"/>
                                <a:gd name="connsiteX1" fmla="*/ 4127 w 23965"/>
                                <a:gd name="connsiteY1" fmla="*/ 43206 h 43516"/>
                                <a:gd name="connsiteX2" fmla="*/ 23966 w 23965"/>
                                <a:gd name="connsiteY2" fmla="*/ 40624 h 43516"/>
                                <a:gd name="connsiteX3" fmla="*/ 20661 w 23965"/>
                                <a:gd name="connsiteY3" fmla="*/ 8703 h 43516"/>
                                <a:gd name="connsiteX4" fmla="*/ 12 w 23965"/>
                                <a:gd name="connsiteY4" fmla="*/ 0 h 4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5" h="43516">
                                  <a:moveTo>
                                    <a:pt x="0" y="0"/>
                                  </a:moveTo>
                                  <a:cubicBezTo>
                                    <a:pt x="0" y="0"/>
                                    <a:pt x="3491" y="19365"/>
                                    <a:pt x="4127" y="43206"/>
                                  </a:cubicBezTo>
                                  <a:cubicBezTo>
                                    <a:pt x="4127" y="43206"/>
                                    <a:pt x="16459" y="44839"/>
                                    <a:pt x="23966" y="40624"/>
                                  </a:cubicBezTo>
                                  <a:cubicBezTo>
                                    <a:pt x="23966" y="40624"/>
                                    <a:pt x="23317" y="16584"/>
                                    <a:pt x="20661" y="8703"/>
                                  </a:cubicBezTo>
                                  <a:cubicBezTo>
                                    <a:pt x="20661" y="8703"/>
                                    <a:pt x="6634" y="1147"/>
                                    <a:pt x="12" y="0"/>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3" name="Freeform: Shape 2112">
                              <a:extLst>
                                <a:ext uri="{FF2B5EF4-FFF2-40B4-BE49-F238E27FC236}">
                                  <a16:creationId xmlns:a16="http://schemas.microsoft.com/office/drawing/2014/main" id="{E499BDBE-CDD4-E596-57B2-92C5581816B6}"/>
                                </a:ext>
                              </a:extLst>
                            </p:cNvPr>
                            <p:cNvSpPr/>
                            <p:nvPr/>
                          </p:nvSpPr>
                          <p:spPr>
                            <a:xfrm>
                              <a:off x="7670160" y="3506258"/>
                              <a:ext cx="21633" cy="23678"/>
                            </a:xfrm>
                            <a:custGeom>
                              <a:avLst/>
                              <a:gdLst>
                                <a:gd name="connsiteX0" fmla="*/ 20649 w 21633"/>
                                <a:gd name="connsiteY0" fmla="*/ 8703 h 23678"/>
                                <a:gd name="connsiteX1" fmla="*/ 21634 w 21633"/>
                                <a:gd name="connsiteY1" fmla="*/ 12781 h 23678"/>
                                <a:gd name="connsiteX2" fmla="*/ 2980 w 21633"/>
                                <a:gd name="connsiteY2" fmla="*/ 23679 h 23678"/>
                                <a:gd name="connsiteX3" fmla="*/ 0 w 21633"/>
                                <a:gd name="connsiteY3" fmla="*/ 0 h 23678"/>
                                <a:gd name="connsiteX4" fmla="*/ 20649 w 21633"/>
                                <a:gd name="connsiteY4" fmla="*/ 8703 h 23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3" h="23678">
                                  <a:moveTo>
                                    <a:pt x="20649" y="8703"/>
                                  </a:moveTo>
                                  <a:cubicBezTo>
                                    <a:pt x="21011" y="9788"/>
                                    <a:pt x="21347" y="11185"/>
                                    <a:pt x="21634" y="12781"/>
                                  </a:cubicBezTo>
                                  <a:cubicBezTo>
                                    <a:pt x="18454" y="14053"/>
                                    <a:pt x="8067" y="18467"/>
                                    <a:pt x="2980" y="23679"/>
                                  </a:cubicBezTo>
                                  <a:cubicBezTo>
                                    <a:pt x="1733" y="9639"/>
                                    <a:pt x="0" y="0"/>
                                    <a:pt x="0" y="0"/>
                                  </a:cubicBezTo>
                                  <a:cubicBezTo>
                                    <a:pt x="6634" y="1160"/>
                                    <a:pt x="20649" y="8703"/>
                                    <a:pt x="20649" y="8703"/>
                                  </a:cubicBezTo>
                                  <a:close/>
                                </a:path>
                              </a:pathLst>
                            </a:custGeom>
                            <a:solidFill>
                              <a:srgbClr val="19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14" name="Freeform: Shape 2113">
                            <a:extLst>
                              <a:ext uri="{FF2B5EF4-FFF2-40B4-BE49-F238E27FC236}">
                                <a16:creationId xmlns:a16="http://schemas.microsoft.com/office/drawing/2014/main" id="{160DE5D3-61E5-F4B2-5C18-6C6866E43243}"/>
                              </a:ext>
                            </a:extLst>
                          </p:cNvPr>
                          <p:cNvSpPr/>
                          <p:nvPr/>
                        </p:nvSpPr>
                        <p:spPr>
                          <a:xfrm>
                            <a:off x="7638401" y="3507256"/>
                            <a:ext cx="55125" cy="40499"/>
                          </a:xfrm>
                          <a:custGeom>
                            <a:avLst/>
                            <a:gdLst>
                              <a:gd name="connsiteX0" fmla="*/ 55126 w 55125"/>
                              <a:gd name="connsiteY0" fmla="*/ 8915 h 40499"/>
                              <a:gd name="connsiteX1" fmla="*/ 16971 w 55125"/>
                              <a:gd name="connsiteY1" fmla="*/ 40500 h 40499"/>
                              <a:gd name="connsiteX2" fmla="*/ 0 w 55125"/>
                              <a:gd name="connsiteY2" fmla="*/ 34789 h 40499"/>
                              <a:gd name="connsiteX3" fmla="*/ 35475 w 55125"/>
                              <a:gd name="connsiteY3" fmla="*/ 0 h 40499"/>
                              <a:gd name="connsiteX4" fmla="*/ 55126 w 55125"/>
                              <a:gd name="connsiteY4" fmla="*/ 8915 h 40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25" h="40499">
                                <a:moveTo>
                                  <a:pt x="55126" y="8915"/>
                                </a:moveTo>
                                <a:cubicBezTo>
                                  <a:pt x="55126" y="8915"/>
                                  <a:pt x="32769" y="13853"/>
                                  <a:pt x="16971" y="40500"/>
                                </a:cubicBezTo>
                                <a:cubicBezTo>
                                  <a:pt x="16971" y="40500"/>
                                  <a:pt x="5000" y="40425"/>
                                  <a:pt x="0" y="34789"/>
                                </a:cubicBezTo>
                                <a:cubicBezTo>
                                  <a:pt x="0" y="34789"/>
                                  <a:pt x="9713" y="13990"/>
                                  <a:pt x="35475" y="0"/>
                                </a:cubicBezTo>
                                <a:cubicBezTo>
                                  <a:pt x="35475" y="0"/>
                                  <a:pt x="46734" y="1471"/>
                                  <a:pt x="55126" y="8915"/>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sp>
                <p:nvSpPr>
                  <p:cNvPr id="2115" name="Freeform: Shape 2114">
                    <a:extLst>
                      <a:ext uri="{FF2B5EF4-FFF2-40B4-BE49-F238E27FC236}">
                        <a16:creationId xmlns:a16="http://schemas.microsoft.com/office/drawing/2014/main" id="{84806F6C-10E0-C38E-1D8C-9460FFB0AC79}"/>
                      </a:ext>
                    </a:extLst>
                  </p:cNvPr>
                  <p:cNvSpPr/>
                  <p:nvPr/>
                </p:nvSpPr>
                <p:spPr>
                  <a:xfrm>
                    <a:off x="7187955" y="2869535"/>
                    <a:ext cx="252750" cy="379791"/>
                  </a:xfrm>
                  <a:custGeom>
                    <a:avLst/>
                    <a:gdLst>
                      <a:gd name="connsiteX0" fmla="*/ 71523 w 252750"/>
                      <a:gd name="connsiteY0" fmla="*/ 58606 h 379791"/>
                      <a:gd name="connsiteX1" fmla="*/ 26535 w 252750"/>
                      <a:gd name="connsiteY1" fmla="*/ 193260 h 379791"/>
                      <a:gd name="connsiteX2" fmla="*/ 80650 w 252750"/>
                      <a:gd name="connsiteY2" fmla="*/ 376730 h 379791"/>
                      <a:gd name="connsiteX3" fmla="*/ 238522 w 252750"/>
                      <a:gd name="connsiteY3" fmla="*/ 248099 h 379791"/>
                      <a:gd name="connsiteX4" fmla="*/ 249594 w 252750"/>
                      <a:gd name="connsiteY4" fmla="*/ 145827 h 379791"/>
                      <a:gd name="connsiteX5" fmla="*/ 71523 w 252750"/>
                      <a:gd name="connsiteY5" fmla="*/ 58606 h 37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0" h="379791">
                        <a:moveTo>
                          <a:pt x="71523" y="58606"/>
                        </a:moveTo>
                        <a:cubicBezTo>
                          <a:pt x="71523" y="58606"/>
                          <a:pt x="57458" y="144717"/>
                          <a:pt x="26535" y="193260"/>
                        </a:cubicBezTo>
                        <a:cubicBezTo>
                          <a:pt x="-6396" y="244944"/>
                          <a:pt x="-27307" y="352228"/>
                          <a:pt x="80650" y="376730"/>
                        </a:cubicBezTo>
                        <a:cubicBezTo>
                          <a:pt x="162710" y="395358"/>
                          <a:pt x="228771" y="326055"/>
                          <a:pt x="238522" y="248099"/>
                        </a:cubicBezTo>
                        <a:cubicBezTo>
                          <a:pt x="242424" y="220816"/>
                          <a:pt x="240591" y="180628"/>
                          <a:pt x="249594" y="145827"/>
                        </a:cubicBezTo>
                        <a:cubicBezTo>
                          <a:pt x="277799" y="36860"/>
                          <a:pt x="108706" y="-69589"/>
                          <a:pt x="71523" y="5860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16" name="Graphic 525">
                    <a:extLst>
                      <a:ext uri="{FF2B5EF4-FFF2-40B4-BE49-F238E27FC236}">
                        <a16:creationId xmlns:a16="http://schemas.microsoft.com/office/drawing/2014/main" id="{24CCB100-954A-E750-AF87-D359E86BB026}"/>
                      </a:ext>
                    </a:extLst>
                  </p:cNvPr>
                  <p:cNvGrpSpPr/>
                  <p:nvPr/>
                </p:nvGrpSpPr>
                <p:grpSpPr>
                  <a:xfrm>
                    <a:off x="7191276" y="3083292"/>
                    <a:ext cx="433280" cy="537267"/>
                    <a:chOff x="7191276" y="3083292"/>
                    <a:chExt cx="433280" cy="537267"/>
                  </a:xfrm>
                </p:grpSpPr>
                <p:sp>
                  <p:nvSpPr>
                    <p:cNvPr id="2117" name="Freeform: Shape 2116">
                      <a:extLst>
                        <a:ext uri="{FF2B5EF4-FFF2-40B4-BE49-F238E27FC236}">
                          <a16:creationId xmlns:a16="http://schemas.microsoft.com/office/drawing/2014/main" id="{0120C9F2-D010-F365-DF80-523EFDAA7AA9}"/>
                        </a:ext>
                      </a:extLst>
                    </p:cNvPr>
                    <p:cNvSpPr/>
                    <p:nvPr/>
                  </p:nvSpPr>
                  <p:spPr>
                    <a:xfrm>
                      <a:off x="7191276" y="3083292"/>
                      <a:ext cx="433280" cy="190266"/>
                    </a:xfrm>
                    <a:custGeom>
                      <a:avLst/>
                      <a:gdLst>
                        <a:gd name="connsiteX0" fmla="*/ 27503 w 433280"/>
                        <a:gd name="connsiteY0" fmla="*/ 138596 h 190266"/>
                        <a:gd name="connsiteX1" fmla="*/ 22540 w 433280"/>
                        <a:gd name="connsiteY1" fmla="*/ 28693 h 190266"/>
                        <a:gd name="connsiteX2" fmla="*/ 110547 w 433280"/>
                        <a:gd name="connsiteY2" fmla="*/ 700 h 190266"/>
                        <a:gd name="connsiteX3" fmla="*/ 294266 w 433280"/>
                        <a:gd name="connsiteY3" fmla="*/ 45227 h 190266"/>
                        <a:gd name="connsiteX4" fmla="*/ 403945 w 433280"/>
                        <a:gd name="connsiteY4" fmla="*/ 90091 h 190266"/>
                        <a:gd name="connsiteX5" fmla="*/ 429581 w 433280"/>
                        <a:gd name="connsiteY5" fmla="*/ 152561 h 190266"/>
                        <a:gd name="connsiteX6" fmla="*/ 345352 w 433280"/>
                        <a:gd name="connsiteY6" fmla="*/ 190143 h 190266"/>
                        <a:gd name="connsiteX7" fmla="*/ 188516 w 433280"/>
                        <a:gd name="connsiteY7" fmla="*/ 184270 h 190266"/>
                        <a:gd name="connsiteX8" fmla="*/ 27503 w 433280"/>
                        <a:gd name="connsiteY8" fmla="*/ 138583 h 19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80" h="190266">
                          <a:moveTo>
                            <a:pt x="27503" y="138596"/>
                          </a:moveTo>
                          <a:cubicBezTo>
                            <a:pt x="-7186" y="111077"/>
                            <a:pt x="-9306" y="59467"/>
                            <a:pt x="22540" y="28693"/>
                          </a:cubicBezTo>
                          <a:cubicBezTo>
                            <a:pt x="39934" y="11885"/>
                            <a:pt x="67865" y="-3502"/>
                            <a:pt x="110547" y="700"/>
                          </a:cubicBezTo>
                          <a:cubicBezTo>
                            <a:pt x="197731" y="9291"/>
                            <a:pt x="227008" y="21611"/>
                            <a:pt x="294266" y="45227"/>
                          </a:cubicBezTo>
                          <a:cubicBezTo>
                            <a:pt x="361525" y="68844"/>
                            <a:pt x="371313" y="73084"/>
                            <a:pt x="403945" y="90091"/>
                          </a:cubicBezTo>
                          <a:cubicBezTo>
                            <a:pt x="436576" y="107099"/>
                            <a:pt x="436514" y="135042"/>
                            <a:pt x="429581" y="152561"/>
                          </a:cubicBezTo>
                          <a:cubicBezTo>
                            <a:pt x="422648" y="170080"/>
                            <a:pt x="397910" y="192113"/>
                            <a:pt x="345352" y="190143"/>
                          </a:cubicBezTo>
                          <a:cubicBezTo>
                            <a:pt x="292795" y="188173"/>
                            <a:pt x="241111" y="190742"/>
                            <a:pt x="188516" y="184270"/>
                          </a:cubicBezTo>
                          <a:cubicBezTo>
                            <a:pt x="152904" y="179894"/>
                            <a:pt x="71943" y="173846"/>
                            <a:pt x="27503" y="13858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18" name="Graphic 525">
                      <a:extLst>
                        <a:ext uri="{FF2B5EF4-FFF2-40B4-BE49-F238E27FC236}">
                          <a16:creationId xmlns:a16="http://schemas.microsoft.com/office/drawing/2014/main" id="{8911E681-3CBE-DE6C-6482-646C29D35937}"/>
                        </a:ext>
                      </a:extLst>
                    </p:cNvPr>
                    <p:cNvGrpSpPr/>
                    <p:nvPr/>
                  </p:nvGrpSpPr>
                  <p:grpSpPr>
                    <a:xfrm>
                      <a:off x="7397331" y="3167878"/>
                      <a:ext cx="227194" cy="387881"/>
                      <a:chOff x="7397331" y="3167878"/>
                      <a:chExt cx="227194" cy="387881"/>
                    </a:xfrm>
                  </p:grpSpPr>
                  <p:sp>
                    <p:nvSpPr>
                      <p:cNvPr id="2119" name="Freeform: Shape 2118">
                        <a:extLst>
                          <a:ext uri="{FF2B5EF4-FFF2-40B4-BE49-F238E27FC236}">
                            <a16:creationId xmlns:a16="http://schemas.microsoft.com/office/drawing/2014/main" id="{61362431-8281-C216-0561-8D73A294D81F}"/>
                          </a:ext>
                        </a:extLst>
                      </p:cNvPr>
                      <p:cNvSpPr/>
                      <p:nvPr/>
                    </p:nvSpPr>
                    <p:spPr>
                      <a:xfrm>
                        <a:off x="7397331" y="3167878"/>
                        <a:ext cx="227194" cy="387881"/>
                      </a:xfrm>
                      <a:custGeom>
                        <a:avLst/>
                        <a:gdLst>
                          <a:gd name="connsiteX0" fmla="*/ 221742 w 227194"/>
                          <a:gd name="connsiteY0" fmla="*/ 71916 h 387881"/>
                          <a:gd name="connsiteX1" fmla="*/ 146729 w 227194"/>
                          <a:gd name="connsiteY1" fmla="*/ 204762 h 387881"/>
                          <a:gd name="connsiteX2" fmla="*/ 39943 w 227194"/>
                          <a:gd name="connsiteY2" fmla="*/ 371336 h 387881"/>
                          <a:gd name="connsiteX3" fmla="*/ 5815 w 227194"/>
                          <a:gd name="connsiteY3" fmla="*/ 379541 h 387881"/>
                          <a:gd name="connsiteX4" fmla="*/ 4818 w 227194"/>
                          <a:gd name="connsiteY4" fmla="*/ 332258 h 387881"/>
                          <a:gd name="connsiteX5" fmla="*/ 36926 w 227194"/>
                          <a:gd name="connsiteY5" fmla="*/ 225186 h 387881"/>
                          <a:gd name="connsiteX6" fmla="*/ 131080 w 227194"/>
                          <a:gd name="connsiteY6" fmla="*/ 16266 h 387881"/>
                          <a:gd name="connsiteX7" fmla="*/ 221730 w 227194"/>
                          <a:gd name="connsiteY7" fmla="*/ 71916 h 38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194" h="387881">
                            <a:moveTo>
                              <a:pt x="221742" y="71916"/>
                            </a:moveTo>
                            <a:cubicBezTo>
                              <a:pt x="221742" y="71916"/>
                              <a:pt x="179622" y="154723"/>
                              <a:pt x="146729" y="204762"/>
                            </a:cubicBezTo>
                            <a:cubicBezTo>
                              <a:pt x="113897" y="254688"/>
                              <a:pt x="55929" y="343792"/>
                              <a:pt x="39943" y="371336"/>
                            </a:cubicBezTo>
                            <a:cubicBezTo>
                              <a:pt x="23970" y="398868"/>
                              <a:pt x="11065" y="384952"/>
                              <a:pt x="5815" y="379541"/>
                            </a:cubicBezTo>
                            <a:cubicBezTo>
                              <a:pt x="578" y="374129"/>
                              <a:pt x="-3649" y="360425"/>
                              <a:pt x="4818" y="332258"/>
                            </a:cubicBezTo>
                            <a:cubicBezTo>
                              <a:pt x="13297" y="304090"/>
                              <a:pt x="21314" y="270461"/>
                              <a:pt x="36926" y="225186"/>
                            </a:cubicBezTo>
                            <a:cubicBezTo>
                              <a:pt x="52537" y="179911"/>
                              <a:pt x="86939" y="54422"/>
                              <a:pt x="131080" y="16266"/>
                            </a:cubicBezTo>
                            <a:cubicBezTo>
                              <a:pt x="180632" y="-26553"/>
                              <a:pt x="246731" y="23299"/>
                              <a:pt x="221730" y="7191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20" name="Freeform: Shape 2119">
                        <a:extLst>
                          <a:ext uri="{FF2B5EF4-FFF2-40B4-BE49-F238E27FC236}">
                            <a16:creationId xmlns:a16="http://schemas.microsoft.com/office/drawing/2014/main" id="{3B76EA0C-9F31-0424-2AD5-BFE72C966B9F}"/>
                          </a:ext>
                        </a:extLst>
                      </p:cNvPr>
                      <p:cNvSpPr/>
                      <p:nvPr/>
                    </p:nvSpPr>
                    <p:spPr>
                      <a:xfrm>
                        <a:off x="7487064" y="3175341"/>
                        <a:ext cx="57957" cy="190971"/>
                      </a:xfrm>
                      <a:custGeom>
                        <a:avLst/>
                        <a:gdLst>
                          <a:gd name="connsiteX0" fmla="*/ 0 w 57957"/>
                          <a:gd name="connsiteY0" fmla="*/ 71585 h 190971"/>
                          <a:gd name="connsiteX1" fmla="*/ 6309 w 57957"/>
                          <a:gd name="connsiteY1" fmla="*/ 102733 h 190971"/>
                          <a:gd name="connsiteX2" fmla="*/ 9476 w 57957"/>
                          <a:gd name="connsiteY2" fmla="*/ 137123 h 190971"/>
                          <a:gd name="connsiteX3" fmla="*/ 7219 w 57957"/>
                          <a:gd name="connsiteY3" fmla="*/ 170602 h 190971"/>
                          <a:gd name="connsiteX4" fmla="*/ 32557 w 57957"/>
                          <a:gd name="connsiteY4" fmla="*/ 190964 h 190971"/>
                          <a:gd name="connsiteX5" fmla="*/ 57445 w 57957"/>
                          <a:gd name="connsiteY5" fmla="*/ 167884 h 190971"/>
                          <a:gd name="connsiteX6" fmla="*/ 53367 w 57957"/>
                          <a:gd name="connsiteY6" fmla="*/ 131237 h 190971"/>
                          <a:gd name="connsiteX7" fmla="*/ 49141 w 57957"/>
                          <a:gd name="connsiteY7" fmla="*/ 84777 h 190971"/>
                          <a:gd name="connsiteX8" fmla="*/ 54265 w 57957"/>
                          <a:gd name="connsiteY8" fmla="*/ 5436 h 190971"/>
                          <a:gd name="connsiteX9" fmla="*/ 53991 w 57957"/>
                          <a:gd name="connsiteY9" fmla="*/ 0 h 190971"/>
                          <a:gd name="connsiteX10" fmla="*/ 41360 w 57957"/>
                          <a:gd name="connsiteY10" fmla="*/ 8803 h 190971"/>
                          <a:gd name="connsiteX11" fmla="*/ 0 w 57957"/>
                          <a:gd name="connsiteY11" fmla="*/ 71572 h 19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57" h="190971">
                            <a:moveTo>
                              <a:pt x="0" y="71585"/>
                            </a:moveTo>
                            <a:cubicBezTo>
                              <a:pt x="1920" y="81623"/>
                              <a:pt x="4202" y="93119"/>
                              <a:pt x="6309" y="102733"/>
                            </a:cubicBezTo>
                            <a:cubicBezTo>
                              <a:pt x="11284" y="125364"/>
                              <a:pt x="11284" y="124903"/>
                              <a:pt x="9476" y="137123"/>
                            </a:cubicBezTo>
                            <a:cubicBezTo>
                              <a:pt x="7668" y="149342"/>
                              <a:pt x="4501" y="163370"/>
                              <a:pt x="7219" y="170602"/>
                            </a:cubicBezTo>
                            <a:cubicBezTo>
                              <a:pt x="7219" y="170602"/>
                              <a:pt x="7668" y="191413"/>
                              <a:pt x="32557" y="190964"/>
                            </a:cubicBezTo>
                            <a:cubicBezTo>
                              <a:pt x="57445" y="190515"/>
                              <a:pt x="59253" y="177847"/>
                              <a:pt x="57445" y="167884"/>
                            </a:cubicBezTo>
                            <a:cubicBezTo>
                              <a:pt x="57445" y="167884"/>
                              <a:pt x="59253" y="150689"/>
                              <a:pt x="53367" y="131237"/>
                            </a:cubicBezTo>
                            <a:cubicBezTo>
                              <a:pt x="47482" y="111785"/>
                              <a:pt x="49141" y="94740"/>
                              <a:pt x="49141" y="84777"/>
                            </a:cubicBezTo>
                            <a:cubicBezTo>
                              <a:pt x="49141" y="74815"/>
                              <a:pt x="55624" y="32594"/>
                              <a:pt x="54265" y="5436"/>
                            </a:cubicBezTo>
                            <a:cubicBezTo>
                              <a:pt x="54178" y="3578"/>
                              <a:pt x="54078" y="1771"/>
                              <a:pt x="53991" y="0"/>
                            </a:cubicBezTo>
                            <a:cubicBezTo>
                              <a:pt x="49702" y="2332"/>
                              <a:pt x="45475" y="5249"/>
                              <a:pt x="41360" y="8803"/>
                            </a:cubicBezTo>
                            <a:cubicBezTo>
                              <a:pt x="26322" y="21796"/>
                              <a:pt x="12419" y="44926"/>
                              <a:pt x="0" y="71572"/>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21" name="Graphic 525">
                      <a:extLst>
                        <a:ext uri="{FF2B5EF4-FFF2-40B4-BE49-F238E27FC236}">
                          <a16:creationId xmlns:a16="http://schemas.microsoft.com/office/drawing/2014/main" id="{53ABED9C-5CBB-426D-46EA-3ED87A62C81F}"/>
                        </a:ext>
                      </a:extLst>
                    </p:cNvPr>
                    <p:cNvGrpSpPr/>
                    <p:nvPr/>
                  </p:nvGrpSpPr>
                  <p:grpSpPr>
                    <a:xfrm>
                      <a:off x="7372256" y="3446596"/>
                      <a:ext cx="159802" cy="173963"/>
                      <a:chOff x="7372256" y="3446596"/>
                      <a:chExt cx="159802" cy="173963"/>
                    </a:xfrm>
                  </p:grpSpPr>
                  <p:grpSp>
                    <p:nvGrpSpPr>
                      <p:cNvPr id="2122" name="Graphic 525">
                        <a:extLst>
                          <a:ext uri="{FF2B5EF4-FFF2-40B4-BE49-F238E27FC236}">
                            <a16:creationId xmlns:a16="http://schemas.microsoft.com/office/drawing/2014/main" id="{6BBDD69E-8F9A-9E52-926C-56623C615171}"/>
                          </a:ext>
                        </a:extLst>
                      </p:cNvPr>
                      <p:cNvGrpSpPr/>
                      <p:nvPr/>
                    </p:nvGrpSpPr>
                    <p:grpSpPr>
                      <a:xfrm>
                        <a:off x="7372256" y="3541707"/>
                        <a:ext cx="158961" cy="78851"/>
                        <a:chOff x="7372256" y="3541707"/>
                        <a:chExt cx="158961" cy="78851"/>
                      </a:xfrm>
                    </p:grpSpPr>
                    <p:grpSp>
                      <p:nvGrpSpPr>
                        <p:cNvPr id="2123" name="Graphic 525">
                          <a:extLst>
                            <a:ext uri="{FF2B5EF4-FFF2-40B4-BE49-F238E27FC236}">
                              <a16:creationId xmlns:a16="http://schemas.microsoft.com/office/drawing/2014/main" id="{09D969AF-F088-E6DD-95F6-2C13C8F489B7}"/>
                            </a:ext>
                          </a:extLst>
                        </p:cNvPr>
                        <p:cNvGrpSpPr/>
                        <p:nvPr/>
                      </p:nvGrpSpPr>
                      <p:grpSpPr>
                        <a:xfrm>
                          <a:off x="7372385" y="3558017"/>
                          <a:ext cx="46983" cy="56485"/>
                          <a:chOff x="7372385" y="3558017"/>
                          <a:chExt cx="46983" cy="56485"/>
                        </a:xfrm>
                      </p:grpSpPr>
                      <p:sp>
                        <p:nvSpPr>
                          <p:cNvPr id="2124" name="Freeform: Shape 2123">
                            <a:extLst>
                              <a:ext uri="{FF2B5EF4-FFF2-40B4-BE49-F238E27FC236}">
                                <a16:creationId xmlns:a16="http://schemas.microsoft.com/office/drawing/2014/main" id="{82C87662-BFB6-BBEC-E379-CEE95E0CA08D}"/>
                              </a:ext>
                            </a:extLst>
                          </p:cNvPr>
                          <p:cNvSpPr/>
                          <p:nvPr/>
                        </p:nvSpPr>
                        <p:spPr>
                          <a:xfrm>
                            <a:off x="7372385" y="3558017"/>
                            <a:ext cx="35050" cy="56485"/>
                          </a:xfrm>
                          <a:custGeom>
                            <a:avLst/>
                            <a:gdLst>
                              <a:gd name="connsiteX0" fmla="*/ 0 w 35050"/>
                              <a:gd name="connsiteY0" fmla="*/ 12 h 56485"/>
                              <a:gd name="connsiteX1" fmla="*/ 5723 w 35050"/>
                              <a:gd name="connsiteY1" fmla="*/ 55263 h 56485"/>
                              <a:gd name="connsiteX2" fmla="*/ 19302 w 35050"/>
                              <a:gd name="connsiteY2" fmla="*/ 56485 h 56485"/>
                              <a:gd name="connsiteX3" fmla="*/ 35051 w 35050"/>
                              <a:gd name="connsiteY3" fmla="*/ 55263 h 56485"/>
                              <a:gd name="connsiteX4" fmla="*/ 35051 w 35050"/>
                              <a:gd name="connsiteY4" fmla="*/ 17369 h 56485"/>
                              <a:gd name="connsiteX5" fmla="*/ 0 w 35050"/>
                              <a:gd name="connsiteY5" fmla="*/ 0 h 5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0" h="56485">
                                <a:moveTo>
                                  <a:pt x="0" y="12"/>
                                </a:moveTo>
                                <a:lnTo>
                                  <a:pt x="5723" y="55263"/>
                                </a:lnTo>
                                <a:cubicBezTo>
                                  <a:pt x="5723" y="55263"/>
                                  <a:pt x="9514" y="56485"/>
                                  <a:pt x="19302" y="56485"/>
                                </a:cubicBezTo>
                                <a:cubicBezTo>
                                  <a:pt x="29090" y="56485"/>
                                  <a:pt x="35051" y="55263"/>
                                  <a:pt x="35051" y="55263"/>
                                </a:cubicBezTo>
                                <a:lnTo>
                                  <a:pt x="35051" y="17369"/>
                                </a:lnTo>
                                <a:lnTo>
                                  <a:pt x="0" y="0"/>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25" name="Freeform: Shape 2124">
                            <a:extLst>
                              <a:ext uri="{FF2B5EF4-FFF2-40B4-BE49-F238E27FC236}">
                                <a16:creationId xmlns:a16="http://schemas.microsoft.com/office/drawing/2014/main" id="{3AB253DC-1522-4DD9-E3A1-FB1A060D91D1}"/>
                              </a:ext>
                            </a:extLst>
                          </p:cNvPr>
                          <p:cNvSpPr/>
                          <p:nvPr/>
                        </p:nvSpPr>
                        <p:spPr>
                          <a:xfrm>
                            <a:off x="7407436" y="3575399"/>
                            <a:ext cx="11933" cy="37893"/>
                          </a:xfrm>
                          <a:custGeom>
                            <a:avLst/>
                            <a:gdLst>
                              <a:gd name="connsiteX0" fmla="*/ 0 w 11933"/>
                              <a:gd name="connsiteY0" fmla="*/ 37894 h 37893"/>
                              <a:gd name="connsiteX1" fmla="*/ 11933 w 11933"/>
                              <a:gd name="connsiteY1" fmla="*/ 31148 h 37893"/>
                              <a:gd name="connsiteX2" fmla="*/ 11933 w 11933"/>
                              <a:gd name="connsiteY2" fmla="*/ 9265 h 37893"/>
                              <a:gd name="connsiteX3" fmla="*/ 0 w 11933"/>
                              <a:gd name="connsiteY3" fmla="*/ 0 h 37893"/>
                              <a:gd name="connsiteX4" fmla="*/ 0 w 11933"/>
                              <a:gd name="connsiteY4" fmla="*/ 37894 h 37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3" h="37893">
                                <a:moveTo>
                                  <a:pt x="0" y="37894"/>
                                </a:moveTo>
                                <a:lnTo>
                                  <a:pt x="11933" y="31148"/>
                                </a:lnTo>
                                <a:lnTo>
                                  <a:pt x="11933" y="9265"/>
                                </a:lnTo>
                                <a:lnTo>
                                  <a:pt x="0" y="0"/>
                                </a:lnTo>
                                <a:lnTo>
                                  <a:pt x="0" y="37894"/>
                                </a:lnTo>
                                <a:close/>
                              </a:path>
                            </a:pathLst>
                          </a:custGeom>
                          <a:solidFill>
                            <a:srgbClr val="19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26" name="Freeform: Shape 2125">
                          <a:extLst>
                            <a:ext uri="{FF2B5EF4-FFF2-40B4-BE49-F238E27FC236}">
                              <a16:creationId xmlns:a16="http://schemas.microsoft.com/office/drawing/2014/main" id="{FA107975-F8D7-A10F-03FB-0949F5B01E45}"/>
                            </a:ext>
                          </a:extLst>
                        </p:cNvPr>
                        <p:cNvSpPr/>
                        <p:nvPr/>
                      </p:nvSpPr>
                      <p:spPr>
                        <a:xfrm>
                          <a:off x="7372256" y="3541707"/>
                          <a:ext cx="158961" cy="78851"/>
                        </a:xfrm>
                        <a:custGeom>
                          <a:avLst/>
                          <a:gdLst>
                            <a:gd name="connsiteX0" fmla="*/ 158961 w 158961"/>
                            <a:gd name="connsiteY0" fmla="*/ 61759 h 78851"/>
                            <a:gd name="connsiteX1" fmla="*/ 158961 w 158961"/>
                            <a:gd name="connsiteY1" fmla="*/ 70675 h 78851"/>
                            <a:gd name="connsiteX2" fmla="*/ 155545 w 158961"/>
                            <a:gd name="connsiteY2" fmla="*/ 74914 h 78851"/>
                            <a:gd name="connsiteX3" fmla="*/ 81079 w 158961"/>
                            <a:gd name="connsiteY3" fmla="*/ 74528 h 78851"/>
                            <a:gd name="connsiteX4" fmla="*/ 33784 w 158961"/>
                            <a:gd name="connsiteY4" fmla="*/ 39028 h 78851"/>
                            <a:gd name="connsiteX5" fmla="*/ 3135 w 158961"/>
                            <a:gd name="connsiteY5" fmla="*/ 21721 h 78851"/>
                            <a:gd name="connsiteX6" fmla="*/ 142 w 158961"/>
                            <a:gd name="connsiteY6" fmla="*/ 16322 h 78851"/>
                            <a:gd name="connsiteX7" fmla="*/ 2150 w 158961"/>
                            <a:gd name="connsiteY7" fmla="*/ 0 h 78851"/>
                            <a:gd name="connsiteX8" fmla="*/ 158961 w 158961"/>
                            <a:gd name="connsiteY8" fmla="*/ 61759 h 7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961" h="78851">
                              <a:moveTo>
                                <a:pt x="158961" y="61759"/>
                              </a:moveTo>
                              <a:lnTo>
                                <a:pt x="158961" y="70675"/>
                              </a:lnTo>
                              <a:cubicBezTo>
                                <a:pt x="158961" y="72720"/>
                                <a:pt x="157540" y="74478"/>
                                <a:pt x="155545" y="74914"/>
                              </a:cubicBezTo>
                              <a:cubicBezTo>
                                <a:pt x="145258" y="77146"/>
                                <a:pt x="113312" y="82733"/>
                                <a:pt x="81079" y="74528"/>
                              </a:cubicBezTo>
                              <a:cubicBezTo>
                                <a:pt x="70555" y="71298"/>
                                <a:pt x="47537" y="46323"/>
                                <a:pt x="33784" y="39028"/>
                              </a:cubicBezTo>
                              <a:cubicBezTo>
                                <a:pt x="23297" y="33467"/>
                                <a:pt x="9232" y="25300"/>
                                <a:pt x="3135" y="21721"/>
                              </a:cubicBezTo>
                              <a:cubicBezTo>
                                <a:pt x="1227" y="20599"/>
                                <a:pt x="317" y="18529"/>
                                <a:pt x="142" y="16322"/>
                              </a:cubicBezTo>
                              <a:cubicBezTo>
                                <a:pt x="-194" y="12232"/>
                                <a:pt x="-82" y="5499"/>
                                <a:pt x="2150" y="0"/>
                              </a:cubicBezTo>
                              <a:lnTo>
                                <a:pt x="158961" y="61759"/>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27" name="Freeform: Shape 2126">
                        <a:extLst>
                          <a:ext uri="{FF2B5EF4-FFF2-40B4-BE49-F238E27FC236}">
                            <a16:creationId xmlns:a16="http://schemas.microsoft.com/office/drawing/2014/main" id="{B02C5552-E7B8-9342-693F-47E132DE67E7}"/>
                          </a:ext>
                        </a:extLst>
                      </p:cNvPr>
                      <p:cNvSpPr/>
                      <p:nvPr/>
                    </p:nvSpPr>
                    <p:spPr>
                      <a:xfrm>
                        <a:off x="7374195" y="3446596"/>
                        <a:ext cx="157863" cy="164062"/>
                      </a:xfrm>
                      <a:custGeom>
                        <a:avLst/>
                        <a:gdLst>
                          <a:gd name="connsiteX0" fmla="*/ 65237 w 157863"/>
                          <a:gd name="connsiteY0" fmla="*/ 534 h 164062"/>
                          <a:gd name="connsiteX1" fmla="*/ 83479 w 157863"/>
                          <a:gd name="connsiteY1" fmla="*/ 38427 h 164062"/>
                          <a:gd name="connsiteX2" fmla="*/ 95824 w 157863"/>
                          <a:gd name="connsiteY2" fmla="*/ 104950 h 164062"/>
                          <a:gd name="connsiteX3" fmla="*/ 146623 w 157863"/>
                          <a:gd name="connsiteY3" fmla="*/ 137507 h 164062"/>
                          <a:gd name="connsiteX4" fmla="*/ 157010 w 157863"/>
                          <a:gd name="connsiteY4" fmla="*/ 156871 h 164062"/>
                          <a:gd name="connsiteX5" fmla="*/ 95263 w 157863"/>
                          <a:gd name="connsiteY5" fmla="*/ 161360 h 164062"/>
                          <a:gd name="connsiteX6" fmla="*/ 44464 w 157863"/>
                          <a:gd name="connsiteY6" fmla="*/ 129926 h 164062"/>
                          <a:gd name="connsiteX7" fmla="*/ 398 w 157863"/>
                          <a:gd name="connsiteY7" fmla="*/ 96521 h 164062"/>
                          <a:gd name="connsiteX8" fmla="*/ 19700 w 157863"/>
                          <a:gd name="connsiteY8" fmla="*/ 60460 h 164062"/>
                          <a:gd name="connsiteX9" fmla="*/ 36608 w 157863"/>
                          <a:gd name="connsiteY9" fmla="*/ 26644 h 164062"/>
                          <a:gd name="connsiteX10" fmla="*/ 65237 w 157863"/>
                          <a:gd name="connsiteY10" fmla="*/ 546 h 16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863" h="164062">
                            <a:moveTo>
                              <a:pt x="65237" y="534"/>
                            </a:moveTo>
                            <a:cubicBezTo>
                              <a:pt x="65237" y="534"/>
                              <a:pt x="88255" y="4748"/>
                              <a:pt x="83479" y="38427"/>
                            </a:cubicBezTo>
                            <a:cubicBezTo>
                              <a:pt x="78704" y="72106"/>
                              <a:pt x="80948" y="87269"/>
                              <a:pt x="95824" y="104950"/>
                            </a:cubicBezTo>
                            <a:cubicBezTo>
                              <a:pt x="110699" y="122631"/>
                              <a:pt x="133717" y="130773"/>
                              <a:pt x="146623" y="137507"/>
                            </a:cubicBezTo>
                            <a:cubicBezTo>
                              <a:pt x="155538" y="142158"/>
                              <a:pt x="159815" y="150699"/>
                              <a:pt x="157010" y="156871"/>
                            </a:cubicBezTo>
                            <a:cubicBezTo>
                              <a:pt x="154204" y="163044"/>
                              <a:pt x="119677" y="166971"/>
                              <a:pt x="95263" y="161360"/>
                            </a:cubicBezTo>
                            <a:cubicBezTo>
                              <a:pt x="70848" y="155749"/>
                              <a:pt x="55411" y="139190"/>
                              <a:pt x="44464" y="129926"/>
                            </a:cubicBezTo>
                            <a:cubicBezTo>
                              <a:pt x="33516" y="120661"/>
                              <a:pt x="3203" y="107195"/>
                              <a:pt x="398" y="96521"/>
                            </a:cubicBezTo>
                            <a:cubicBezTo>
                              <a:pt x="-2408" y="85860"/>
                              <a:pt x="10223" y="68453"/>
                              <a:pt x="19700" y="60460"/>
                            </a:cubicBezTo>
                            <a:cubicBezTo>
                              <a:pt x="27792" y="53627"/>
                              <a:pt x="35486" y="43477"/>
                              <a:pt x="36608" y="26644"/>
                            </a:cubicBezTo>
                            <a:cubicBezTo>
                              <a:pt x="37730" y="9798"/>
                              <a:pt x="46708" y="-2820"/>
                              <a:pt x="65237" y="54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28" name="Graphic 525">
                        <a:extLst>
                          <a:ext uri="{FF2B5EF4-FFF2-40B4-BE49-F238E27FC236}">
                            <a16:creationId xmlns:a16="http://schemas.microsoft.com/office/drawing/2014/main" id="{F21C0F40-8663-8405-0E26-B513A4561D3F}"/>
                          </a:ext>
                        </a:extLst>
                      </p:cNvPr>
                      <p:cNvGrpSpPr/>
                      <p:nvPr/>
                    </p:nvGrpSpPr>
                    <p:grpSpPr>
                      <a:xfrm>
                        <a:off x="7393894" y="3498029"/>
                        <a:ext cx="114516" cy="114304"/>
                        <a:chOff x="7393894" y="3498029"/>
                        <a:chExt cx="114516" cy="114304"/>
                      </a:xfrm>
                    </p:grpSpPr>
                    <p:sp>
                      <p:nvSpPr>
                        <p:cNvPr id="2129" name="Freeform: Shape 2128">
                          <a:extLst>
                            <a:ext uri="{FF2B5EF4-FFF2-40B4-BE49-F238E27FC236}">
                              <a16:creationId xmlns:a16="http://schemas.microsoft.com/office/drawing/2014/main" id="{4DFE22E0-77FB-A91F-994D-79FC2F2931B2}"/>
                            </a:ext>
                          </a:extLst>
                        </p:cNvPr>
                        <p:cNvSpPr/>
                        <p:nvPr/>
                      </p:nvSpPr>
                      <p:spPr>
                        <a:xfrm>
                          <a:off x="7393894" y="3498029"/>
                          <a:ext cx="32843" cy="87336"/>
                        </a:xfrm>
                        <a:custGeom>
                          <a:avLst/>
                          <a:gdLst>
                            <a:gd name="connsiteX0" fmla="*/ 32632 w 32843"/>
                            <a:gd name="connsiteY0" fmla="*/ 87333 h 87336"/>
                            <a:gd name="connsiteX1" fmla="*/ 31784 w 32843"/>
                            <a:gd name="connsiteY1" fmla="*/ 57233 h 87336"/>
                            <a:gd name="connsiteX2" fmla="*/ 8442 w 32843"/>
                            <a:gd name="connsiteY2" fmla="*/ 0 h 87336"/>
                            <a:gd name="connsiteX3" fmla="*/ 0 w 32843"/>
                            <a:gd name="connsiteY3" fmla="*/ 9028 h 87336"/>
                            <a:gd name="connsiteX4" fmla="*/ 16846 w 32843"/>
                            <a:gd name="connsiteY4" fmla="*/ 41871 h 87336"/>
                            <a:gd name="connsiteX5" fmla="*/ 18741 w 32843"/>
                            <a:gd name="connsiteY5" fmla="*/ 78493 h 87336"/>
                            <a:gd name="connsiteX6" fmla="*/ 32632 w 32843"/>
                            <a:gd name="connsiteY6" fmla="*/ 87333 h 8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43" h="87336">
                              <a:moveTo>
                                <a:pt x="32632" y="87333"/>
                              </a:moveTo>
                              <a:cubicBezTo>
                                <a:pt x="32632" y="87333"/>
                                <a:pt x="33480" y="73231"/>
                                <a:pt x="31784" y="57233"/>
                              </a:cubicBezTo>
                              <a:cubicBezTo>
                                <a:pt x="30312" y="43205"/>
                                <a:pt x="24440" y="15150"/>
                                <a:pt x="8442" y="0"/>
                              </a:cubicBezTo>
                              <a:cubicBezTo>
                                <a:pt x="8442" y="0"/>
                                <a:pt x="4140" y="2793"/>
                                <a:pt x="0" y="9028"/>
                              </a:cubicBezTo>
                              <a:cubicBezTo>
                                <a:pt x="0" y="9028"/>
                                <a:pt x="11784" y="22083"/>
                                <a:pt x="16846" y="41871"/>
                              </a:cubicBezTo>
                              <a:cubicBezTo>
                                <a:pt x="21896" y="61660"/>
                                <a:pt x="18741" y="78493"/>
                                <a:pt x="18741" y="78493"/>
                              </a:cubicBezTo>
                              <a:cubicBezTo>
                                <a:pt x="18741" y="78493"/>
                                <a:pt x="22532" y="87545"/>
                                <a:pt x="32632" y="87333"/>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30" name="Graphic 525">
                          <a:extLst>
                            <a:ext uri="{FF2B5EF4-FFF2-40B4-BE49-F238E27FC236}">
                              <a16:creationId xmlns:a16="http://schemas.microsoft.com/office/drawing/2014/main" id="{C6176073-EEB4-76A0-5BE2-6CEDBE25EC63}"/>
                            </a:ext>
                          </a:extLst>
                        </p:cNvPr>
                        <p:cNvGrpSpPr/>
                        <p:nvPr/>
                      </p:nvGrpSpPr>
                      <p:grpSpPr>
                        <a:xfrm>
                          <a:off x="7447163" y="3564925"/>
                          <a:ext cx="61248" cy="47407"/>
                          <a:chOff x="7447163" y="3564925"/>
                          <a:chExt cx="61248" cy="47407"/>
                        </a:xfrm>
                      </p:grpSpPr>
                      <p:grpSp>
                        <p:nvGrpSpPr>
                          <p:cNvPr id="2131" name="Graphic 525">
                            <a:extLst>
                              <a:ext uri="{FF2B5EF4-FFF2-40B4-BE49-F238E27FC236}">
                                <a16:creationId xmlns:a16="http://schemas.microsoft.com/office/drawing/2014/main" id="{7F3EB16C-EDA0-8599-0567-94815A443007}"/>
                              </a:ext>
                            </a:extLst>
                          </p:cNvPr>
                          <p:cNvGrpSpPr/>
                          <p:nvPr/>
                        </p:nvGrpSpPr>
                        <p:grpSpPr>
                          <a:xfrm>
                            <a:off x="7484208" y="3564925"/>
                            <a:ext cx="22262" cy="47407"/>
                            <a:chOff x="7484208" y="3564925"/>
                            <a:chExt cx="22262" cy="47407"/>
                          </a:xfrm>
                        </p:grpSpPr>
                        <p:sp>
                          <p:nvSpPr>
                            <p:cNvPr id="2132" name="Freeform: Shape 2131">
                              <a:extLst>
                                <a:ext uri="{FF2B5EF4-FFF2-40B4-BE49-F238E27FC236}">
                                  <a16:creationId xmlns:a16="http://schemas.microsoft.com/office/drawing/2014/main" id="{CDC47888-CC3F-0DD3-306D-A9B1911BF507}"/>
                                </a:ext>
                              </a:extLst>
                            </p:cNvPr>
                            <p:cNvSpPr/>
                            <p:nvPr/>
                          </p:nvSpPr>
                          <p:spPr>
                            <a:xfrm>
                              <a:off x="7484208" y="3564925"/>
                              <a:ext cx="22262" cy="47407"/>
                            </a:xfrm>
                            <a:custGeom>
                              <a:avLst/>
                              <a:gdLst>
                                <a:gd name="connsiteX0" fmla="*/ 661 w 22262"/>
                                <a:gd name="connsiteY0" fmla="*/ 0 h 47407"/>
                                <a:gd name="connsiteX1" fmla="*/ 0 w 22262"/>
                                <a:gd name="connsiteY1" fmla="*/ 46123 h 47407"/>
                                <a:gd name="connsiteX2" fmla="*/ 21260 w 22262"/>
                                <a:gd name="connsiteY2" fmla="*/ 45699 h 47407"/>
                                <a:gd name="connsiteX3" fmla="*/ 21472 w 22262"/>
                                <a:gd name="connsiteY3" fmla="*/ 11596 h 47407"/>
                                <a:gd name="connsiteX4" fmla="*/ 661 w 22262"/>
                                <a:gd name="connsiteY4" fmla="*/ 0 h 47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2" h="47407">
                                  <a:moveTo>
                                    <a:pt x="661" y="0"/>
                                  </a:moveTo>
                                  <a:cubicBezTo>
                                    <a:pt x="661" y="0"/>
                                    <a:pt x="2095" y="20861"/>
                                    <a:pt x="0" y="46123"/>
                                  </a:cubicBezTo>
                                  <a:cubicBezTo>
                                    <a:pt x="0" y="46123"/>
                                    <a:pt x="12843" y="49278"/>
                                    <a:pt x="21260" y="45699"/>
                                  </a:cubicBezTo>
                                  <a:cubicBezTo>
                                    <a:pt x="21260" y="45699"/>
                                    <a:pt x="23367" y="20225"/>
                                    <a:pt x="21472" y="11596"/>
                                  </a:cubicBezTo>
                                  <a:cubicBezTo>
                                    <a:pt x="21472" y="11596"/>
                                    <a:pt x="7531" y="1995"/>
                                    <a:pt x="661" y="0"/>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33" name="Freeform: Shape 2132">
                              <a:extLst>
                                <a:ext uri="{FF2B5EF4-FFF2-40B4-BE49-F238E27FC236}">
                                  <a16:creationId xmlns:a16="http://schemas.microsoft.com/office/drawing/2014/main" id="{3CB8CFC0-0701-04A2-E71F-ABAE006BBE46}"/>
                                </a:ext>
                              </a:extLst>
                            </p:cNvPr>
                            <p:cNvSpPr/>
                            <p:nvPr/>
                          </p:nvSpPr>
                          <p:spPr>
                            <a:xfrm>
                              <a:off x="7484869" y="3564925"/>
                              <a:ext cx="21371" cy="25362"/>
                            </a:xfrm>
                            <a:custGeom>
                              <a:avLst/>
                              <a:gdLst>
                                <a:gd name="connsiteX0" fmla="*/ 20798 w 21371"/>
                                <a:gd name="connsiteY0" fmla="*/ 11596 h 25362"/>
                                <a:gd name="connsiteX1" fmla="*/ 21372 w 21371"/>
                                <a:gd name="connsiteY1" fmla="*/ 16023 h 25362"/>
                                <a:gd name="connsiteX2" fmla="*/ 399 w 21371"/>
                                <a:gd name="connsiteY2" fmla="*/ 25362 h 25362"/>
                                <a:gd name="connsiteX3" fmla="*/ 0 w 21371"/>
                                <a:gd name="connsiteY3" fmla="*/ 0 h 25362"/>
                                <a:gd name="connsiteX4" fmla="*/ 20811 w 21371"/>
                                <a:gd name="connsiteY4" fmla="*/ 11596 h 2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71" h="25362">
                                  <a:moveTo>
                                    <a:pt x="20798" y="11596"/>
                                  </a:moveTo>
                                  <a:cubicBezTo>
                                    <a:pt x="21060" y="12781"/>
                                    <a:pt x="21247" y="14302"/>
                                    <a:pt x="21372" y="16023"/>
                                  </a:cubicBezTo>
                                  <a:cubicBezTo>
                                    <a:pt x="17868" y="16995"/>
                                    <a:pt x="6384" y="20449"/>
                                    <a:pt x="399" y="25362"/>
                                  </a:cubicBezTo>
                                  <a:cubicBezTo>
                                    <a:pt x="711" y="10387"/>
                                    <a:pt x="0" y="0"/>
                                    <a:pt x="0" y="0"/>
                                  </a:cubicBezTo>
                                  <a:cubicBezTo>
                                    <a:pt x="6870" y="1995"/>
                                    <a:pt x="20811" y="11596"/>
                                    <a:pt x="20811" y="11596"/>
                                  </a:cubicBezTo>
                                  <a:close/>
                                </a:path>
                              </a:pathLst>
                            </a:custGeom>
                            <a:solidFill>
                              <a:srgbClr val="1922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34" name="Freeform: Shape 2133">
                            <a:extLst>
                              <a:ext uri="{FF2B5EF4-FFF2-40B4-BE49-F238E27FC236}">
                                <a16:creationId xmlns:a16="http://schemas.microsoft.com/office/drawing/2014/main" id="{34F18B3A-1D30-1766-DDBD-8AC3A35C3D79}"/>
                              </a:ext>
                            </a:extLst>
                          </p:cNvPr>
                          <p:cNvSpPr/>
                          <p:nvPr/>
                        </p:nvSpPr>
                        <p:spPr>
                          <a:xfrm>
                            <a:off x="7447163" y="3566409"/>
                            <a:ext cx="61248" cy="40636"/>
                          </a:xfrm>
                          <a:custGeom>
                            <a:avLst/>
                            <a:gdLst>
                              <a:gd name="connsiteX0" fmla="*/ 61236 w 61248"/>
                              <a:gd name="connsiteY0" fmla="*/ 11709 h 40636"/>
                              <a:gd name="connsiteX1" fmla="*/ 17257 w 61248"/>
                              <a:gd name="connsiteY1" fmla="*/ 40637 h 40636"/>
                              <a:gd name="connsiteX2" fmla="*/ 0 w 61248"/>
                              <a:gd name="connsiteY2" fmla="*/ 32632 h 40636"/>
                              <a:gd name="connsiteX3" fmla="*/ 41522 w 61248"/>
                              <a:gd name="connsiteY3" fmla="*/ 0 h 40636"/>
                              <a:gd name="connsiteX4" fmla="*/ 61248 w 61248"/>
                              <a:gd name="connsiteY4" fmla="*/ 11709 h 40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 h="40636">
                                <a:moveTo>
                                  <a:pt x="61236" y="11709"/>
                                </a:moveTo>
                                <a:cubicBezTo>
                                  <a:pt x="61236" y="11709"/>
                                  <a:pt x="37046" y="14327"/>
                                  <a:pt x="17257" y="40637"/>
                                </a:cubicBezTo>
                                <a:cubicBezTo>
                                  <a:pt x="17257" y="40637"/>
                                  <a:pt x="4626" y="39166"/>
                                  <a:pt x="0" y="32632"/>
                                </a:cubicBezTo>
                                <a:cubicBezTo>
                                  <a:pt x="0" y="32632"/>
                                  <a:pt x="12681" y="11783"/>
                                  <a:pt x="41522" y="0"/>
                                </a:cubicBezTo>
                                <a:cubicBezTo>
                                  <a:pt x="41522" y="0"/>
                                  <a:pt x="53243" y="2868"/>
                                  <a:pt x="61248" y="11709"/>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grpSp>
            <p:nvGrpSpPr>
              <p:cNvPr id="2135" name="Graphic 525">
                <a:extLst>
                  <a:ext uri="{FF2B5EF4-FFF2-40B4-BE49-F238E27FC236}">
                    <a16:creationId xmlns:a16="http://schemas.microsoft.com/office/drawing/2014/main" id="{9B766C78-7ACF-316E-5D17-8A94F1A397C3}"/>
                  </a:ext>
                </a:extLst>
              </p:cNvPr>
              <p:cNvGrpSpPr/>
              <p:nvPr/>
            </p:nvGrpSpPr>
            <p:grpSpPr>
              <a:xfrm>
                <a:off x="7179380" y="2690964"/>
                <a:ext cx="484345" cy="584665"/>
                <a:chOff x="7179380" y="2690964"/>
                <a:chExt cx="484345" cy="584665"/>
              </a:xfrm>
            </p:grpSpPr>
            <p:sp>
              <p:nvSpPr>
                <p:cNvPr id="2136" name="Freeform: Shape 2135">
                  <a:extLst>
                    <a:ext uri="{FF2B5EF4-FFF2-40B4-BE49-F238E27FC236}">
                      <a16:creationId xmlns:a16="http://schemas.microsoft.com/office/drawing/2014/main" id="{ED5A6B06-FD39-4C5F-4618-25B04F0C920C}"/>
                    </a:ext>
                  </a:extLst>
                </p:cNvPr>
                <p:cNvSpPr/>
                <p:nvPr/>
              </p:nvSpPr>
              <p:spPr>
                <a:xfrm>
                  <a:off x="7179380" y="2690964"/>
                  <a:ext cx="484320" cy="584646"/>
                </a:xfrm>
                <a:custGeom>
                  <a:avLst/>
                  <a:gdLst>
                    <a:gd name="connsiteX0" fmla="*/ 142456 w 484320"/>
                    <a:gd name="connsiteY0" fmla="*/ 4192 h 584646"/>
                    <a:gd name="connsiteX1" fmla="*/ 142518 w 484320"/>
                    <a:gd name="connsiteY1" fmla="*/ 4628 h 584646"/>
                    <a:gd name="connsiteX2" fmla="*/ 186384 w 484320"/>
                    <a:gd name="connsiteY2" fmla="*/ 49068 h 584646"/>
                    <a:gd name="connsiteX3" fmla="*/ 156521 w 484320"/>
                    <a:gd name="connsiteY3" fmla="*/ 163547 h 584646"/>
                    <a:gd name="connsiteX4" fmla="*/ 83739 w 484320"/>
                    <a:gd name="connsiteY4" fmla="*/ 151788 h 584646"/>
                    <a:gd name="connsiteX5" fmla="*/ 83440 w 484320"/>
                    <a:gd name="connsiteY5" fmla="*/ 151888 h 584646"/>
                    <a:gd name="connsiteX6" fmla="*/ 78539 w 484320"/>
                    <a:gd name="connsiteY6" fmla="*/ 203061 h 584646"/>
                    <a:gd name="connsiteX7" fmla="*/ 61070 w 484320"/>
                    <a:gd name="connsiteY7" fmla="*/ 304260 h 584646"/>
                    <a:gd name="connsiteX8" fmla="*/ 2016 w 484320"/>
                    <a:gd name="connsiteY8" fmla="*/ 485486 h 584646"/>
                    <a:gd name="connsiteX9" fmla="*/ 190898 w 484320"/>
                    <a:gd name="connsiteY9" fmla="*/ 581660 h 584646"/>
                    <a:gd name="connsiteX10" fmla="*/ 295726 w 484320"/>
                    <a:gd name="connsiteY10" fmla="*/ 583892 h 584646"/>
                    <a:gd name="connsiteX11" fmla="*/ 413222 w 484320"/>
                    <a:gd name="connsiteY11" fmla="*/ 480748 h 584646"/>
                    <a:gd name="connsiteX12" fmla="*/ 484321 w 484320"/>
                    <a:gd name="connsiteY12" fmla="*/ 417866 h 584646"/>
                    <a:gd name="connsiteX13" fmla="*/ 340665 w 484320"/>
                    <a:gd name="connsiteY13" fmla="*/ 382092 h 584646"/>
                    <a:gd name="connsiteX14" fmla="*/ 259665 w 484320"/>
                    <a:gd name="connsiteY14" fmla="*/ 379374 h 584646"/>
                    <a:gd name="connsiteX15" fmla="*/ 266910 w 484320"/>
                    <a:gd name="connsiteY15" fmla="*/ 301542 h 584646"/>
                    <a:gd name="connsiteX16" fmla="*/ 293157 w 484320"/>
                    <a:gd name="connsiteY16" fmla="*/ 233660 h 584646"/>
                    <a:gd name="connsiteX17" fmla="*/ 313968 w 484320"/>
                    <a:gd name="connsiteY17" fmla="*/ 138633 h 584646"/>
                    <a:gd name="connsiteX18" fmla="*/ 268643 w 484320"/>
                    <a:gd name="connsiteY18" fmla="*/ 39167 h 584646"/>
                    <a:gd name="connsiteX19" fmla="*/ 290426 w 484320"/>
                    <a:gd name="connsiteY19" fmla="*/ 116912 h 584646"/>
                    <a:gd name="connsiteX20" fmla="*/ 219864 w 484320"/>
                    <a:gd name="connsiteY20" fmla="*/ 112162 h 584646"/>
                    <a:gd name="connsiteX21" fmla="*/ 161833 w 484320"/>
                    <a:gd name="connsiteY21" fmla="*/ 463 h 584646"/>
                    <a:gd name="connsiteX22" fmla="*/ 160661 w 484320"/>
                    <a:gd name="connsiteY22" fmla="*/ 15 h 584646"/>
                    <a:gd name="connsiteX23" fmla="*/ 151733 w 484320"/>
                    <a:gd name="connsiteY23" fmla="*/ 974 h 584646"/>
                    <a:gd name="connsiteX24" fmla="*/ 142418 w 484320"/>
                    <a:gd name="connsiteY24" fmla="*/ 4179 h 58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4320" h="584646">
                      <a:moveTo>
                        <a:pt x="142456" y="4192"/>
                      </a:moveTo>
                      <a:cubicBezTo>
                        <a:pt x="142269" y="4291"/>
                        <a:pt x="142306" y="4578"/>
                        <a:pt x="142518" y="4628"/>
                      </a:cubicBezTo>
                      <a:cubicBezTo>
                        <a:pt x="146745" y="5700"/>
                        <a:pt x="172693" y="13593"/>
                        <a:pt x="186384" y="49068"/>
                      </a:cubicBezTo>
                      <a:cubicBezTo>
                        <a:pt x="201322" y="87759"/>
                        <a:pt x="199502" y="148621"/>
                        <a:pt x="156521" y="163547"/>
                      </a:cubicBezTo>
                      <a:cubicBezTo>
                        <a:pt x="113403" y="178522"/>
                        <a:pt x="86569" y="154482"/>
                        <a:pt x="83739" y="151788"/>
                      </a:cubicBezTo>
                      <a:cubicBezTo>
                        <a:pt x="83639" y="151689"/>
                        <a:pt x="83465" y="151751"/>
                        <a:pt x="83440" y="151888"/>
                      </a:cubicBezTo>
                      <a:cubicBezTo>
                        <a:pt x="83003" y="154806"/>
                        <a:pt x="79936" y="175916"/>
                        <a:pt x="78539" y="203061"/>
                      </a:cubicBezTo>
                      <a:cubicBezTo>
                        <a:pt x="77454" y="224084"/>
                        <a:pt x="77367" y="269646"/>
                        <a:pt x="61070" y="304260"/>
                      </a:cubicBezTo>
                      <a:cubicBezTo>
                        <a:pt x="44785" y="338874"/>
                        <a:pt x="-11263" y="423652"/>
                        <a:pt x="2016" y="485486"/>
                      </a:cubicBezTo>
                      <a:cubicBezTo>
                        <a:pt x="17142" y="555874"/>
                        <a:pt x="128615" y="577159"/>
                        <a:pt x="190898" y="581660"/>
                      </a:cubicBezTo>
                      <a:cubicBezTo>
                        <a:pt x="259678" y="586635"/>
                        <a:pt x="295726" y="583892"/>
                        <a:pt x="295726" y="583892"/>
                      </a:cubicBezTo>
                      <a:cubicBezTo>
                        <a:pt x="295726" y="583892"/>
                        <a:pt x="337884" y="482780"/>
                        <a:pt x="413222" y="480748"/>
                      </a:cubicBezTo>
                      <a:cubicBezTo>
                        <a:pt x="413222" y="480748"/>
                        <a:pt x="443335" y="414749"/>
                        <a:pt x="484321" y="417866"/>
                      </a:cubicBezTo>
                      <a:cubicBezTo>
                        <a:pt x="484321" y="417866"/>
                        <a:pt x="456964" y="383913"/>
                        <a:pt x="340665" y="382092"/>
                      </a:cubicBezTo>
                      <a:cubicBezTo>
                        <a:pt x="340665" y="382092"/>
                        <a:pt x="270526" y="378476"/>
                        <a:pt x="259665" y="379374"/>
                      </a:cubicBezTo>
                      <a:cubicBezTo>
                        <a:pt x="259665" y="379374"/>
                        <a:pt x="260576" y="324174"/>
                        <a:pt x="266910" y="301542"/>
                      </a:cubicBezTo>
                      <a:cubicBezTo>
                        <a:pt x="273244" y="278911"/>
                        <a:pt x="282297" y="249047"/>
                        <a:pt x="293157" y="233660"/>
                      </a:cubicBezTo>
                      <a:cubicBezTo>
                        <a:pt x="304018" y="218273"/>
                        <a:pt x="332073" y="193834"/>
                        <a:pt x="313968" y="138633"/>
                      </a:cubicBezTo>
                      <a:cubicBezTo>
                        <a:pt x="295863" y="83433"/>
                        <a:pt x="285776" y="56462"/>
                        <a:pt x="268643" y="39167"/>
                      </a:cubicBezTo>
                      <a:cubicBezTo>
                        <a:pt x="268643" y="39167"/>
                        <a:pt x="288619" y="88857"/>
                        <a:pt x="290426" y="116912"/>
                      </a:cubicBezTo>
                      <a:cubicBezTo>
                        <a:pt x="290426" y="116912"/>
                        <a:pt x="256062" y="123022"/>
                        <a:pt x="219864" y="112162"/>
                      </a:cubicBezTo>
                      <a:cubicBezTo>
                        <a:pt x="219864" y="112162"/>
                        <a:pt x="207594" y="38581"/>
                        <a:pt x="161833" y="463"/>
                      </a:cubicBezTo>
                      <a:cubicBezTo>
                        <a:pt x="161496" y="189"/>
                        <a:pt x="161097" y="27"/>
                        <a:pt x="160661" y="15"/>
                      </a:cubicBezTo>
                      <a:cubicBezTo>
                        <a:pt x="159414" y="-35"/>
                        <a:pt x="156434" y="-10"/>
                        <a:pt x="151733" y="974"/>
                      </a:cubicBezTo>
                      <a:cubicBezTo>
                        <a:pt x="146770" y="2009"/>
                        <a:pt x="143603" y="3531"/>
                        <a:pt x="142418" y="4179"/>
                      </a:cubicBezTo>
                      <a:close/>
                    </a:path>
                  </a:pathLst>
                </a:custGeom>
                <a:solidFill>
                  <a:srgbClr val="30B2B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37" name="Graphic 525">
                  <a:extLst>
                    <a:ext uri="{FF2B5EF4-FFF2-40B4-BE49-F238E27FC236}">
                      <a16:creationId xmlns:a16="http://schemas.microsoft.com/office/drawing/2014/main" id="{08E03C68-92E4-AC80-5B2E-CB0B7EB05695}"/>
                    </a:ext>
                  </a:extLst>
                </p:cNvPr>
                <p:cNvGrpSpPr/>
                <p:nvPr/>
              </p:nvGrpSpPr>
              <p:grpSpPr>
                <a:xfrm>
                  <a:off x="7355166" y="2901569"/>
                  <a:ext cx="308560" cy="374060"/>
                  <a:chOff x="7355166" y="2901569"/>
                  <a:chExt cx="308560" cy="374060"/>
                </a:xfrm>
                <a:solidFill>
                  <a:srgbClr val="20A5A1"/>
                </a:solidFill>
              </p:grpSpPr>
              <p:sp>
                <p:nvSpPr>
                  <p:cNvPr id="2138" name="Freeform: Shape 2137">
                    <a:extLst>
                      <a:ext uri="{FF2B5EF4-FFF2-40B4-BE49-F238E27FC236}">
                        <a16:creationId xmlns:a16="http://schemas.microsoft.com/office/drawing/2014/main" id="{6C1B7FF1-2B60-226D-7FEC-A3A1786865C8}"/>
                      </a:ext>
                    </a:extLst>
                  </p:cNvPr>
                  <p:cNvSpPr/>
                  <p:nvPr/>
                </p:nvSpPr>
                <p:spPr>
                  <a:xfrm>
                    <a:off x="7379592" y="3093643"/>
                    <a:ext cx="226226" cy="78106"/>
                  </a:xfrm>
                  <a:custGeom>
                    <a:avLst/>
                    <a:gdLst>
                      <a:gd name="connsiteX0" fmla="*/ 0 w 226226"/>
                      <a:gd name="connsiteY0" fmla="*/ 12 h 78106"/>
                      <a:gd name="connsiteX1" fmla="*/ 105962 w 226226"/>
                      <a:gd name="connsiteY1" fmla="*/ 34888 h 78106"/>
                      <a:gd name="connsiteX2" fmla="*/ 212486 w 226226"/>
                      <a:gd name="connsiteY2" fmla="*/ 78106 h 78106"/>
                      <a:gd name="connsiteX3" fmla="*/ 213035 w 226226"/>
                      <a:gd name="connsiteY3" fmla="*/ 78081 h 78106"/>
                      <a:gd name="connsiteX4" fmla="*/ 226227 w 226226"/>
                      <a:gd name="connsiteY4" fmla="*/ 55088 h 78106"/>
                      <a:gd name="connsiteX5" fmla="*/ 0 w 226226"/>
                      <a:gd name="connsiteY5" fmla="*/ 0 h 7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26" h="78106">
                        <a:moveTo>
                          <a:pt x="0" y="12"/>
                        </a:moveTo>
                        <a:cubicBezTo>
                          <a:pt x="14539" y="4900"/>
                          <a:pt x="87745" y="28492"/>
                          <a:pt x="105962" y="34888"/>
                        </a:cubicBezTo>
                        <a:cubicBezTo>
                          <a:pt x="171001" y="57732"/>
                          <a:pt x="182298" y="62445"/>
                          <a:pt x="212486" y="78106"/>
                        </a:cubicBezTo>
                        <a:cubicBezTo>
                          <a:pt x="212673" y="78106"/>
                          <a:pt x="212848" y="78094"/>
                          <a:pt x="213035" y="78081"/>
                        </a:cubicBezTo>
                        <a:cubicBezTo>
                          <a:pt x="213035" y="78081"/>
                          <a:pt x="217847" y="67545"/>
                          <a:pt x="226227" y="55088"/>
                        </a:cubicBezTo>
                        <a:cubicBezTo>
                          <a:pt x="153482" y="28679"/>
                          <a:pt x="18529" y="1820"/>
                          <a:pt x="0" y="0"/>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39" name="Freeform: Shape 2138">
                    <a:extLst>
                      <a:ext uri="{FF2B5EF4-FFF2-40B4-BE49-F238E27FC236}">
                        <a16:creationId xmlns:a16="http://schemas.microsoft.com/office/drawing/2014/main" id="{C7DE83D4-D380-4FC7-69AF-7B10C756D40A}"/>
                      </a:ext>
                    </a:extLst>
                  </p:cNvPr>
                  <p:cNvSpPr/>
                  <p:nvPr/>
                </p:nvSpPr>
                <p:spPr>
                  <a:xfrm>
                    <a:off x="7446913" y="3218372"/>
                    <a:ext cx="63330" cy="57257"/>
                  </a:xfrm>
                  <a:custGeom>
                    <a:avLst/>
                    <a:gdLst>
                      <a:gd name="connsiteX0" fmla="*/ 63318 w 63330"/>
                      <a:gd name="connsiteY0" fmla="*/ 0 h 57257"/>
                      <a:gd name="connsiteX1" fmla="*/ 0 w 63330"/>
                      <a:gd name="connsiteY1" fmla="*/ 57258 h 57257"/>
                      <a:gd name="connsiteX2" fmla="*/ 28218 w 63330"/>
                      <a:gd name="connsiteY2" fmla="*/ 56510 h 57257"/>
                      <a:gd name="connsiteX3" fmla="*/ 63331 w 63330"/>
                      <a:gd name="connsiteY3" fmla="*/ 12 h 57257"/>
                    </a:gdLst>
                    <a:ahLst/>
                    <a:cxnLst>
                      <a:cxn ang="0">
                        <a:pos x="connsiteX0" y="connsiteY0"/>
                      </a:cxn>
                      <a:cxn ang="0">
                        <a:pos x="connsiteX1" y="connsiteY1"/>
                      </a:cxn>
                      <a:cxn ang="0">
                        <a:pos x="connsiteX2" y="connsiteY2"/>
                      </a:cxn>
                      <a:cxn ang="0">
                        <a:pos x="connsiteX3" y="connsiteY3"/>
                      </a:cxn>
                    </a:cxnLst>
                    <a:rect l="l" t="t" r="r" b="b"/>
                    <a:pathLst>
                      <a:path w="63330" h="57257">
                        <a:moveTo>
                          <a:pt x="63318" y="0"/>
                        </a:moveTo>
                        <a:cubicBezTo>
                          <a:pt x="50837" y="4040"/>
                          <a:pt x="26247" y="17918"/>
                          <a:pt x="0" y="57258"/>
                        </a:cubicBezTo>
                        <a:cubicBezTo>
                          <a:pt x="18654" y="57233"/>
                          <a:pt x="28218" y="56510"/>
                          <a:pt x="28218" y="56510"/>
                        </a:cubicBezTo>
                        <a:cubicBezTo>
                          <a:pt x="28218" y="56510"/>
                          <a:pt x="40388" y="27332"/>
                          <a:pt x="63331" y="12"/>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0" name="Freeform: Shape 2139">
                    <a:extLst>
                      <a:ext uri="{FF2B5EF4-FFF2-40B4-BE49-F238E27FC236}">
                        <a16:creationId xmlns:a16="http://schemas.microsoft.com/office/drawing/2014/main" id="{7122A62D-EBEF-FDBD-50BE-6A1CD7194F41}"/>
                      </a:ext>
                    </a:extLst>
                  </p:cNvPr>
                  <p:cNvSpPr/>
                  <p:nvPr/>
                </p:nvSpPr>
                <p:spPr>
                  <a:xfrm>
                    <a:off x="7437910" y="3070219"/>
                    <a:ext cx="10886" cy="25481"/>
                  </a:xfrm>
                  <a:custGeom>
                    <a:avLst/>
                    <a:gdLst>
                      <a:gd name="connsiteX0" fmla="*/ 1161 w 10886"/>
                      <a:gd name="connsiteY0" fmla="*/ 144 h 25481"/>
                      <a:gd name="connsiteX1" fmla="*/ 250 w 10886"/>
                      <a:gd name="connsiteY1" fmla="*/ 25481 h 25481"/>
                      <a:gd name="connsiteX2" fmla="*/ 10886 w 10886"/>
                      <a:gd name="connsiteY2" fmla="*/ 32 h 25481"/>
                      <a:gd name="connsiteX3" fmla="*/ 1148 w 10886"/>
                      <a:gd name="connsiteY3" fmla="*/ 144 h 25481"/>
                    </a:gdLst>
                    <a:ahLst/>
                    <a:cxnLst>
                      <a:cxn ang="0">
                        <a:pos x="connsiteX0" y="connsiteY0"/>
                      </a:cxn>
                      <a:cxn ang="0">
                        <a:pos x="connsiteX1" y="connsiteY1"/>
                      </a:cxn>
                      <a:cxn ang="0">
                        <a:pos x="connsiteX2" y="connsiteY2"/>
                      </a:cxn>
                      <a:cxn ang="0">
                        <a:pos x="connsiteX3" y="connsiteY3"/>
                      </a:cxn>
                    </a:cxnLst>
                    <a:rect l="l" t="t" r="r" b="b"/>
                    <a:pathLst>
                      <a:path w="10886" h="25481">
                        <a:moveTo>
                          <a:pt x="1161" y="144"/>
                        </a:moveTo>
                        <a:cubicBezTo>
                          <a:pt x="1161" y="144"/>
                          <a:pt x="-648" y="17937"/>
                          <a:pt x="250" y="25481"/>
                        </a:cubicBezTo>
                        <a:cubicBezTo>
                          <a:pt x="250" y="25481"/>
                          <a:pt x="6210" y="10095"/>
                          <a:pt x="10886" y="32"/>
                        </a:cubicBezTo>
                        <a:cubicBezTo>
                          <a:pt x="6398" y="-30"/>
                          <a:pt x="2956" y="-6"/>
                          <a:pt x="1148" y="144"/>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1" name="Freeform: Shape 2140">
                    <a:extLst>
                      <a:ext uri="{FF2B5EF4-FFF2-40B4-BE49-F238E27FC236}">
                        <a16:creationId xmlns:a16="http://schemas.microsoft.com/office/drawing/2014/main" id="{DB131D15-DE98-B7FF-F789-B069563AFC33}"/>
                      </a:ext>
                    </a:extLst>
                  </p:cNvPr>
                  <p:cNvSpPr/>
                  <p:nvPr/>
                </p:nvSpPr>
                <p:spPr>
                  <a:xfrm>
                    <a:off x="7355166" y="2901569"/>
                    <a:ext cx="80762" cy="14271"/>
                  </a:xfrm>
                  <a:custGeom>
                    <a:avLst/>
                    <a:gdLst>
                      <a:gd name="connsiteX0" fmla="*/ 0 w 80762"/>
                      <a:gd name="connsiteY0" fmla="*/ 0 h 14271"/>
                      <a:gd name="connsiteX1" fmla="*/ 80762 w 80762"/>
                      <a:gd name="connsiteY1" fmla="*/ 4077 h 14271"/>
                      <a:gd name="connsiteX2" fmla="*/ 0 w 80762"/>
                      <a:gd name="connsiteY2" fmla="*/ 0 h 14271"/>
                    </a:gdLst>
                    <a:ahLst/>
                    <a:cxnLst>
                      <a:cxn ang="0">
                        <a:pos x="connsiteX0" y="connsiteY0"/>
                      </a:cxn>
                      <a:cxn ang="0">
                        <a:pos x="connsiteX1" y="connsiteY1"/>
                      </a:cxn>
                      <a:cxn ang="0">
                        <a:pos x="connsiteX2" y="connsiteY2"/>
                      </a:cxn>
                    </a:cxnLst>
                    <a:rect l="l" t="t" r="r" b="b"/>
                    <a:pathLst>
                      <a:path w="80762" h="14271">
                        <a:moveTo>
                          <a:pt x="0" y="0"/>
                        </a:moveTo>
                        <a:cubicBezTo>
                          <a:pt x="0" y="0"/>
                          <a:pt x="41397" y="29190"/>
                          <a:pt x="80762" y="4077"/>
                        </a:cubicBezTo>
                        <a:cubicBezTo>
                          <a:pt x="80762" y="4077"/>
                          <a:pt x="44789" y="14252"/>
                          <a:pt x="0" y="0"/>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2" name="Freeform: Shape 2141">
                    <a:extLst>
                      <a:ext uri="{FF2B5EF4-FFF2-40B4-BE49-F238E27FC236}">
                        <a16:creationId xmlns:a16="http://schemas.microsoft.com/office/drawing/2014/main" id="{C9D3104F-D80B-DE16-5943-D53DA8908FDB}"/>
                      </a:ext>
                    </a:extLst>
                  </p:cNvPr>
                  <p:cNvSpPr/>
                  <p:nvPr/>
                </p:nvSpPr>
                <p:spPr>
                  <a:xfrm>
                    <a:off x="7407124" y="3057695"/>
                    <a:ext cx="134349" cy="192747"/>
                  </a:xfrm>
                  <a:custGeom>
                    <a:avLst/>
                    <a:gdLst>
                      <a:gd name="connsiteX0" fmla="*/ 131500 w 134349"/>
                      <a:gd name="connsiteY0" fmla="*/ 77383 h 192747"/>
                      <a:gd name="connsiteX1" fmla="*/ 116562 w 134349"/>
                      <a:gd name="connsiteY1" fmla="*/ 56111 h 192747"/>
                      <a:gd name="connsiteX2" fmla="*/ 2981 w 134349"/>
                      <a:gd name="connsiteY2" fmla="*/ 0 h 192747"/>
                      <a:gd name="connsiteX3" fmla="*/ 8405 w 134349"/>
                      <a:gd name="connsiteY3" fmla="*/ 58368 h 192747"/>
                      <a:gd name="connsiteX4" fmla="*/ 43705 w 134349"/>
                      <a:gd name="connsiteY4" fmla="*/ 109952 h 192747"/>
                      <a:gd name="connsiteX5" fmla="*/ 50488 w 134349"/>
                      <a:gd name="connsiteY5" fmla="*/ 106785 h 192747"/>
                      <a:gd name="connsiteX6" fmla="*/ 68593 w 134349"/>
                      <a:gd name="connsiteY6" fmla="*/ 123070 h 192747"/>
                      <a:gd name="connsiteX7" fmla="*/ 75376 w 134349"/>
                      <a:gd name="connsiteY7" fmla="*/ 164704 h 192747"/>
                      <a:gd name="connsiteX8" fmla="*/ 80601 w 134349"/>
                      <a:gd name="connsiteY8" fmla="*/ 192747 h 192747"/>
                      <a:gd name="connsiteX9" fmla="*/ 134330 w 134349"/>
                      <a:gd name="connsiteY9" fmla="*/ 131699 h 192747"/>
                      <a:gd name="connsiteX10" fmla="*/ 134205 w 134349"/>
                      <a:gd name="connsiteY10" fmla="*/ 123082 h 192747"/>
                      <a:gd name="connsiteX11" fmla="*/ 131487 w 134349"/>
                      <a:gd name="connsiteY11" fmla="*/ 77383 h 19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349" h="192747">
                        <a:moveTo>
                          <a:pt x="131500" y="77383"/>
                        </a:moveTo>
                        <a:lnTo>
                          <a:pt x="116562" y="56111"/>
                        </a:lnTo>
                        <a:lnTo>
                          <a:pt x="2981" y="0"/>
                        </a:lnTo>
                        <a:cubicBezTo>
                          <a:pt x="2981" y="0"/>
                          <a:pt x="-6521" y="25798"/>
                          <a:pt x="8405" y="58368"/>
                        </a:cubicBezTo>
                        <a:cubicBezTo>
                          <a:pt x="23343" y="90949"/>
                          <a:pt x="43705" y="109952"/>
                          <a:pt x="43705" y="109952"/>
                        </a:cubicBezTo>
                        <a:cubicBezTo>
                          <a:pt x="43705" y="109952"/>
                          <a:pt x="48231" y="109042"/>
                          <a:pt x="50488" y="106785"/>
                        </a:cubicBezTo>
                        <a:cubicBezTo>
                          <a:pt x="50488" y="106785"/>
                          <a:pt x="61797" y="118095"/>
                          <a:pt x="68593" y="123070"/>
                        </a:cubicBezTo>
                        <a:cubicBezTo>
                          <a:pt x="68593" y="123070"/>
                          <a:pt x="69042" y="136187"/>
                          <a:pt x="75376" y="164704"/>
                        </a:cubicBezTo>
                        <a:cubicBezTo>
                          <a:pt x="75376" y="164704"/>
                          <a:pt x="77671" y="177572"/>
                          <a:pt x="80601" y="192747"/>
                        </a:cubicBezTo>
                        <a:cubicBezTo>
                          <a:pt x="91648" y="173994"/>
                          <a:pt x="109791" y="148532"/>
                          <a:pt x="134330" y="131699"/>
                        </a:cubicBezTo>
                        <a:cubicBezTo>
                          <a:pt x="134380" y="128706"/>
                          <a:pt x="134330" y="125813"/>
                          <a:pt x="134205" y="123082"/>
                        </a:cubicBezTo>
                        <a:cubicBezTo>
                          <a:pt x="132846" y="95937"/>
                          <a:pt x="131487" y="77383"/>
                          <a:pt x="131487" y="77383"/>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3" name="Freeform: Shape 2142">
                    <a:extLst>
                      <a:ext uri="{FF2B5EF4-FFF2-40B4-BE49-F238E27FC236}">
                        <a16:creationId xmlns:a16="http://schemas.microsoft.com/office/drawing/2014/main" id="{F96A4F0A-9B4F-B716-F63B-65F72EFA6199}"/>
                      </a:ext>
                    </a:extLst>
                  </p:cNvPr>
                  <p:cNvSpPr/>
                  <p:nvPr/>
                </p:nvSpPr>
                <p:spPr>
                  <a:xfrm>
                    <a:off x="7522114" y="3075127"/>
                    <a:ext cx="141611" cy="70238"/>
                  </a:xfrm>
                  <a:custGeom>
                    <a:avLst/>
                    <a:gdLst>
                      <a:gd name="connsiteX0" fmla="*/ 37370 w 141611"/>
                      <a:gd name="connsiteY0" fmla="*/ 0 h 70238"/>
                      <a:gd name="connsiteX1" fmla="*/ 0 w 141611"/>
                      <a:gd name="connsiteY1" fmla="*/ 45924 h 70238"/>
                      <a:gd name="connsiteX2" fmla="*/ 17868 w 141611"/>
                      <a:gd name="connsiteY2" fmla="*/ 59502 h 70238"/>
                      <a:gd name="connsiteX3" fmla="*/ 73979 w 141611"/>
                      <a:gd name="connsiteY3" fmla="*/ 51136 h 70238"/>
                      <a:gd name="connsiteX4" fmla="*/ 86037 w 141611"/>
                      <a:gd name="connsiteY4" fmla="*/ 70238 h 70238"/>
                      <a:gd name="connsiteX5" fmla="*/ 141612 w 141611"/>
                      <a:gd name="connsiteY5" fmla="*/ 33729 h 70238"/>
                      <a:gd name="connsiteX6" fmla="*/ 37370 w 141611"/>
                      <a:gd name="connsiteY6" fmla="*/ 0 h 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611" h="70238">
                        <a:moveTo>
                          <a:pt x="37370" y="0"/>
                        </a:moveTo>
                        <a:cubicBezTo>
                          <a:pt x="18055" y="19240"/>
                          <a:pt x="0" y="45924"/>
                          <a:pt x="0" y="45924"/>
                        </a:cubicBezTo>
                        <a:lnTo>
                          <a:pt x="17868" y="59502"/>
                        </a:lnTo>
                        <a:cubicBezTo>
                          <a:pt x="17868" y="59502"/>
                          <a:pt x="66286" y="53841"/>
                          <a:pt x="73979" y="51136"/>
                        </a:cubicBezTo>
                        <a:lnTo>
                          <a:pt x="86037" y="70238"/>
                        </a:lnTo>
                        <a:cubicBezTo>
                          <a:pt x="98780" y="52246"/>
                          <a:pt x="118456" y="31958"/>
                          <a:pt x="141612" y="33729"/>
                        </a:cubicBezTo>
                        <a:cubicBezTo>
                          <a:pt x="141612" y="33729"/>
                          <a:pt x="120638" y="7694"/>
                          <a:pt x="37370" y="0"/>
                        </a:cubicBezTo>
                        <a:close/>
                      </a:path>
                    </a:pathLst>
                  </a:custGeom>
                  <a:solidFill>
                    <a:srgbClr val="20A5A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146" name="Graphic 525">
              <a:extLst>
                <a:ext uri="{FF2B5EF4-FFF2-40B4-BE49-F238E27FC236}">
                  <a16:creationId xmlns:a16="http://schemas.microsoft.com/office/drawing/2014/main" id="{B1056F9D-E61B-3602-9297-CB8624FA2A7C}"/>
                </a:ext>
              </a:extLst>
            </p:cNvPr>
            <p:cNvGrpSpPr/>
            <p:nvPr/>
          </p:nvGrpSpPr>
          <p:grpSpPr>
            <a:xfrm>
              <a:off x="3877730" y="2552365"/>
              <a:ext cx="120252" cy="160687"/>
              <a:chOff x="7393908" y="2513633"/>
              <a:chExt cx="145029" cy="193796"/>
            </a:xfrm>
          </p:grpSpPr>
          <p:sp>
            <p:nvSpPr>
              <p:cNvPr id="2147" name="Freeform: Shape 2146">
                <a:extLst>
                  <a:ext uri="{FF2B5EF4-FFF2-40B4-BE49-F238E27FC236}">
                    <a16:creationId xmlns:a16="http://schemas.microsoft.com/office/drawing/2014/main" id="{63469926-1AA4-8808-F30A-A14A38AFF4C6}"/>
                  </a:ext>
                </a:extLst>
              </p:cNvPr>
              <p:cNvSpPr/>
              <p:nvPr/>
            </p:nvSpPr>
            <p:spPr>
              <a:xfrm>
                <a:off x="7393908" y="2513633"/>
                <a:ext cx="145029" cy="193796"/>
              </a:xfrm>
              <a:custGeom>
                <a:avLst/>
                <a:gdLst>
                  <a:gd name="connsiteX0" fmla="*/ 95575 w 145029"/>
                  <a:gd name="connsiteY0" fmla="*/ 3004 h 193796"/>
                  <a:gd name="connsiteX1" fmla="*/ 139803 w 145029"/>
                  <a:gd name="connsiteY1" fmla="*/ 96372 h 193796"/>
                  <a:gd name="connsiteX2" fmla="*/ 63168 w 145029"/>
                  <a:gd name="connsiteY2" fmla="*/ 191998 h 193796"/>
                  <a:gd name="connsiteX3" fmla="*/ 186 w 145029"/>
                  <a:gd name="connsiteY3" fmla="*/ 98143 h 193796"/>
                  <a:gd name="connsiteX4" fmla="*/ 95575 w 145029"/>
                  <a:gd name="connsiteY4" fmla="*/ 3004 h 193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029" h="193796">
                    <a:moveTo>
                      <a:pt x="95575" y="3004"/>
                    </a:moveTo>
                    <a:cubicBezTo>
                      <a:pt x="95575" y="3004"/>
                      <a:pt x="164142" y="21869"/>
                      <a:pt x="139803" y="96372"/>
                    </a:cubicBezTo>
                    <a:cubicBezTo>
                      <a:pt x="115463" y="170875"/>
                      <a:pt x="92981" y="201923"/>
                      <a:pt x="63168" y="191998"/>
                    </a:cubicBezTo>
                    <a:cubicBezTo>
                      <a:pt x="33354" y="182072"/>
                      <a:pt x="3179" y="144278"/>
                      <a:pt x="186" y="98143"/>
                    </a:cubicBezTo>
                    <a:cubicBezTo>
                      <a:pt x="-2806" y="52007"/>
                      <a:pt x="30287" y="-15014"/>
                      <a:pt x="95575" y="300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8" name="Freeform: Shape 2147">
                <a:extLst>
                  <a:ext uri="{FF2B5EF4-FFF2-40B4-BE49-F238E27FC236}">
                    <a16:creationId xmlns:a16="http://schemas.microsoft.com/office/drawing/2014/main" id="{BDEAAC43-1CA8-3C47-5248-3409481B6D8F}"/>
                  </a:ext>
                </a:extLst>
              </p:cNvPr>
              <p:cNvSpPr/>
              <p:nvPr/>
            </p:nvSpPr>
            <p:spPr>
              <a:xfrm>
                <a:off x="7417623" y="2587254"/>
                <a:ext cx="26735" cy="45245"/>
              </a:xfrm>
              <a:custGeom>
                <a:avLst/>
                <a:gdLst>
                  <a:gd name="connsiteX0" fmla="*/ 22869 w 26735"/>
                  <a:gd name="connsiteY0" fmla="*/ 30457 h 45245"/>
                  <a:gd name="connsiteX1" fmla="*/ 17769 w 26735"/>
                  <a:gd name="connsiteY1" fmla="*/ 506 h 45245"/>
                  <a:gd name="connsiteX2" fmla="*/ 0 w 26735"/>
                  <a:gd name="connsiteY2" fmla="*/ 31579 h 45245"/>
                  <a:gd name="connsiteX3" fmla="*/ 22869 w 26735"/>
                  <a:gd name="connsiteY3" fmla="*/ 30457 h 45245"/>
                </a:gdLst>
                <a:ahLst/>
                <a:cxnLst>
                  <a:cxn ang="0">
                    <a:pos x="connsiteX0" y="connsiteY0"/>
                  </a:cxn>
                  <a:cxn ang="0">
                    <a:pos x="connsiteX1" y="connsiteY1"/>
                  </a:cxn>
                  <a:cxn ang="0">
                    <a:pos x="connsiteX2" y="connsiteY2"/>
                  </a:cxn>
                  <a:cxn ang="0">
                    <a:pos x="connsiteX3" y="connsiteY3"/>
                  </a:cxn>
                </a:cxnLst>
                <a:rect l="l" t="t" r="r" b="b"/>
                <a:pathLst>
                  <a:path w="26735" h="45245">
                    <a:moveTo>
                      <a:pt x="22869" y="30457"/>
                    </a:moveTo>
                    <a:cubicBezTo>
                      <a:pt x="22869" y="30457"/>
                      <a:pt x="34340" y="5955"/>
                      <a:pt x="17769" y="506"/>
                    </a:cubicBezTo>
                    <a:cubicBezTo>
                      <a:pt x="3803" y="-4083"/>
                      <a:pt x="25" y="23860"/>
                      <a:pt x="0" y="31579"/>
                    </a:cubicBezTo>
                    <a:cubicBezTo>
                      <a:pt x="-50" y="44621"/>
                      <a:pt x="13928" y="54821"/>
                      <a:pt x="22869" y="30457"/>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49" name="Freeform: Shape 2148">
              <a:extLst>
                <a:ext uri="{FF2B5EF4-FFF2-40B4-BE49-F238E27FC236}">
                  <a16:creationId xmlns:a16="http://schemas.microsoft.com/office/drawing/2014/main" id="{1B750964-71D9-926C-9143-4C143F279ABB}"/>
                </a:ext>
              </a:extLst>
            </p:cNvPr>
            <p:cNvSpPr/>
            <p:nvPr/>
          </p:nvSpPr>
          <p:spPr>
            <a:xfrm>
              <a:off x="3869306" y="2546472"/>
              <a:ext cx="128229" cy="123302"/>
            </a:xfrm>
            <a:custGeom>
              <a:avLst/>
              <a:gdLst>
                <a:gd name="connsiteX0" fmla="*/ 154651 w 154650"/>
                <a:gd name="connsiteY0" fmla="*/ 63627 h 148708"/>
                <a:gd name="connsiteX1" fmla="*/ 154476 w 154650"/>
                <a:gd name="connsiteY1" fmla="*/ 63802 h 148708"/>
                <a:gd name="connsiteX2" fmla="*/ 130448 w 154650"/>
                <a:gd name="connsiteY2" fmla="*/ 58839 h 148708"/>
                <a:gd name="connsiteX3" fmla="*/ 94251 w 154650"/>
                <a:gd name="connsiteY3" fmla="*/ 61096 h 148708"/>
                <a:gd name="connsiteX4" fmla="*/ 47491 w 154650"/>
                <a:gd name="connsiteY4" fmla="*/ 117058 h 148708"/>
                <a:gd name="connsiteX5" fmla="*/ 7652 w 154650"/>
                <a:gd name="connsiteY5" fmla="*/ 147806 h 148708"/>
                <a:gd name="connsiteX6" fmla="*/ 4049 w 154650"/>
                <a:gd name="connsiteY6" fmla="*/ 130324 h 148708"/>
                <a:gd name="connsiteX7" fmla="*/ 121 w 154650"/>
                <a:gd name="connsiteY7" fmla="*/ 90810 h 148708"/>
                <a:gd name="connsiteX8" fmla="*/ 45371 w 154650"/>
                <a:gd name="connsiteY8" fmla="*/ 8152 h 148708"/>
                <a:gd name="connsiteX9" fmla="*/ 120186 w 154650"/>
                <a:gd name="connsiteY9" fmla="*/ 10571 h 148708"/>
                <a:gd name="connsiteX10" fmla="*/ 154651 w 154650"/>
                <a:gd name="connsiteY10" fmla="*/ 63627 h 14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50" h="148708">
                  <a:moveTo>
                    <a:pt x="154651" y="63627"/>
                  </a:moveTo>
                  <a:cubicBezTo>
                    <a:pt x="154651" y="63727"/>
                    <a:pt x="154576" y="63815"/>
                    <a:pt x="154476" y="63802"/>
                  </a:cubicBezTo>
                  <a:cubicBezTo>
                    <a:pt x="152917" y="63665"/>
                    <a:pt x="141783" y="62617"/>
                    <a:pt x="130448" y="58839"/>
                  </a:cubicBezTo>
                  <a:cubicBezTo>
                    <a:pt x="118229" y="54762"/>
                    <a:pt x="101034" y="52954"/>
                    <a:pt x="94251" y="61096"/>
                  </a:cubicBezTo>
                  <a:cubicBezTo>
                    <a:pt x="87467" y="69238"/>
                    <a:pt x="65384" y="108104"/>
                    <a:pt x="47491" y="117058"/>
                  </a:cubicBezTo>
                  <a:cubicBezTo>
                    <a:pt x="25770" y="127918"/>
                    <a:pt x="10022" y="144028"/>
                    <a:pt x="7652" y="147806"/>
                  </a:cubicBezTo>
                  <a:cubicBezTo>
                    <a:pt x="5271" y="151597"/>
                    <a:pt x="5857" y="142993"/>
                    <a:pt x="4049" y="130324"/>
                  </a:cubicBezTo>
                  <a:cubicBezTo>
                    <a:pt x="3051" y="123317"/>
                    <a:pt x="745" y="106184"/>
                    <a:pt x="121" y="90810"/>
                  </a:cubicBezTo>
                  <a:cubicBezTo>
                    <a:pt x="-1687" y="46158"/>
                    <a:pt x="16867" y="23539"/>
                    <a:pt x="45371" y="8152"/>
                  </a:cubicBezTo>
                  <a:cubicBezTo>
                    <a:pt x="73876" y="-7234"/>
                    <a:pt x="106158" y="2417"/>
                    <a:pt x="120186" y="10571"/>
                  </a:cubicBezTo>
                  <a:cubicBezTo>
                    <a:pt x="134189" y="18701"/>
                    <a:pt x="153890" y="33440"/>
                    <a:pt x="154651" y="63627"/>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54" name="Graphic 525">
              <a:extLst>
                <a:ext uri="{FF2B5EF4-FFF2-40B4-BE49-F238E27FC236}">
                  <a16:creationId xmlns:a16="http://schemas.microsoft.com/office/drawing/2014/main" id="{2F62CA7E-C162-1D50-FAD5-B1A1B741FD7E}"/>
                </a:ext>
              </a:extLst>
            </p:cNvPr>
            <p:cNvGrpSpPr/>
            <p:nvPr/>
          </p:nvGrpSpPr>
          <p:grpSpPr>
            <a:xfrm>
              <a:off x="3899166" y="2615585"/>
              <a:ext cx="20258" cy="35484"/>
              <a:chOff x="7419761" y="2589879"/>
              <a:chExt cx="24432" cy="42795"/>
            </a:xfrm>
          </p:grpSpPr>
          <p:sp>
            <p:nvSpPr>
              <p:cNvPr id="2155" name="Freeform: Shape 2154">
                <a:extLst>
                  <a:ext uri="{FF2B5EF4-FFF2-40B4-BE49-F238E27FC236}">
                    <a16:creationId xmlns:a16="http://schemas.microsoft.com/office/drawing/2014/main" id="{9F0548BE-2F35-18BC-4F9F-629CC5C3734E}"/>
                  </a:ext>
                </a:extLst>
              </p:cNvPr>
              <p:cNvSpPr/>
              <p:nvPr/>
            </p:nvSpPr>
            <p:spPr>
              <a:xfrm>
                <a:off x="7419761" y="2589879"/>
                <a:ext cx="24432" cy="42795"/>
              </a:xfrm>
              <a:custGeom>
                <a:avLst/>
                <a:gdLst>
                  <a:gd name="connsiteX0" fmla="*/ 21865 w 24432"/>
                  <a:gd name="connsiteY0" fmla="*/ 29053 h 42795"/>
                  <a:gd name="connsiteX1" fmla="*/ 16578 w 24432"/>
                  <a:gd name="connsiteY1" fmla="*/ 661 h 42795"/>
                  <a:gd name="connsiteX2" fmla="*/ 19 w 24432"/>
                  <a:gd name="connsiteY2" fmla="*/ 30612 h 42795"/>
                  <a:gd name="connsiteX3" fmla="*/ 21852 w 24432"/>
                  <a:gd name="connsiteY3" fmla="*/ 29066 h 42795"/>
                </a:gdLst>
                <a:ahLst/>
                <a:cxnLst>
                  <a:cxn ang="0">
                    <a:pos x="connsiteX0" y="connsiteY0"/>
                  </a:cxn>
                  <a:cxn ang="0">
                    <a:pos x="connsiteX1" y="connsiteY1"/>
                  </a:cxn>
                  <a:cxn ang="0">
                    <a:pos x="connsiteX2" y="connsiteY2"/>
                  </a:cxn>
                  <a:cxn ang="0">
                    <a:pos x="connsiteX3" y="connsiteY3"/>
                  </a:cxn>
                </a:cxnLst>
                <a:rect l="l" t="t" r="r" b="b"/>
                <a:pathLst>
                  <a:path w="24432" h="42795">
                    <a:moveTo>
                      <a:pt x="21865" y="29053"/>
                    </a:moveTo>
                    <a:cubicBezTo>
                      <a:pt x="21865" y="29053"/>
                      <a:pt x="30306" y="5911"/>
                      <a:pt x="16578" y="661"/>
                    </a:cubicBezTo>
                    <a:cubicBezTo>
                      <a:pt x="2862" y="-4588"/>
                      <a:pt x="-280" y="22906"/>
                      <a:pt x="19" y="30612"/>
                    </a:cubicBezTo>
                    <a:cubicBezTo>
                      <a:pt x="368" y="39777"/>
                      <a:pt x="12912" y="53430"/>
                      <a:pt x="21852" y="2906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56" name="Graphic 525">
                <a:extLst>
                  <a:ext uri="{FF2B5EF4-FFF2-40B4-BE49-F238E27FC236}">
                    <a16:creationId xmlns:a16="http://schemas.microsoft.com/office/drawing/2014/main" id="{7CCAE231-2575-5629-DBB3-93DE80001B12}"/>
                  </a:ext>
                </a:extLst>
              </p:cNvPr>
              <p:cNvGrpSpPr/>
              <p:nvPr/>
            </p:nvGrpSpPr>
            <p:grpSpPr>
              <a:xfrm>
                <a:off x="7427221" y="2600484"/>
                <a:ext cx="10567" cy="22767"/>
                <a:chOff x="7427221" y="2600484"/>
                <a:chExt cx="10567" cy="22767"/>
              </a:xfrm>
              <a:solidFill>
                <a:srgbClr val="723333"/>
              </a:solidFill>
            </p:grpSpPr>
            <p:sp>
              <p:nvSpPr>
                <p:cNvPr id="2157" name="Freeform: Shape 2156">
                  <a:extLst>
                    <a:ext uri="{FF2B5EF4-FFF2-40B4-BE49-F238E27FC236}">
                      <a16:creationId xmlns:a16="http://schemas.microsoft.com/office/drawing/2014/main" id="{9B6C0780-6E2D-592E-E81E-20E5B2E89170}"/>
                    </a:ext>
                  </a:extLst>
                </p:cNvPr>
                <p:cNvSpPr/>
                <p:nvPr/>
              </p:nvSpPr>
              <p:spPr>
                <a:xfrm>
                  <a:off x="7429371" y="2600484"/>
                  <a:ext cx="8416" cy="22767"/>
                </a:xfrm>
                <a:custGeom>
                  <a:avLst/>
                  <a:gdLst>
                    <a:gd name="connsiteX0" fmla="*/ 509 w 8416"/>
                    <a:gd name="connsiteY0" fmla="*/ 22414 h 22767"/>
                    <a:gd name="connsiteX1" fmla="*/ 335 w 8416"/>
                    <a:gd name="connsiteY1" fmla="*/ 20356 h 22767"/>
                    <a:gd name="connsiteX2" fmla="*/ 3639 w 8416"/>
                    <a:gd name="connsiteY2" fmla="*/ 2376 h 22767"/>
                    <a:gd name="connsiteX3" fmla="*/ 3926 w 8416"/>
                    <a:gd name="connsiteY3" fmla="*/ 306 h 22767"/>
                    <a:gd name="connsiteX4" fmla="*/ 5995 w 8416"/>
                    <a:gd name="connsiteY4" fmla="*/ 580 h 22767"/>
                    <a:gd name="connsiteX5" fmla="*/ 2629 w 8416"/>
                    <a:gd name="connsiteY5" fmla="*/ 22227 h 22767"/>
                    <a:gd name="connsiteX6" fmla="*/ 547 w 8416"/>
                    <a:gd name="connsiteY6" fmla="*/ 22426 h 22767"/>
                    <a:gd name="connsiteX7" fmla="*/ 509 w 8416"/>
                    <a:gd name="connsiteY7" fmla="*/ 22401 h 2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16" h="22767">
                      <a:moveTo>
                        <a:pt x="509" y="22414"/>
                      </a:moveTo>
                      <a:cubicBezTo>
                        <a:pt x="-89" y="21890"/>
                        <a:pt x="-177" y="20980"/>
                        <a:pt x="335" y="20356"/>
                      </a:cubicBezTo>
                      <a:cubicBezTo>
                        <a:pt x="422" y="20244"/>
                        <a:pt x="9076" y="9496"/>
                        <a:pt x="3639" y="2376"/>
                      </a:cubicBezTo>
                      <a:cubicBezTo>
                        <a:pt x="3140" y="1727"/>
                        <a:pt x="3265" y="805"/>
                        <a:pt x="3926" y="306"/>
                      </a:cubicBezTo>
                      <a:cubicBezTo>
                        <a:pt x="4574" y="-193"/>
                        <a:pt x="5497" y="-68"/>
                        <a:pt x="5995" y="580"/>
                      </a:cubicBezTo>
                      <a:cubicBezTo>
                        <a:pt x="12841" y="9571"/>
                        <a:pt x="3040" y="21715"/>
                        <a:pt x="2629" y="22227"/>
                      </a:cubicBezTo>
                      <a:cubicBezTo>
                        <a:pt x="2105" y="22862"/>
                        <a:pt x="1183" y="22950"/>
                        <a:pt x="547" y="22426"/>
                      </a:cubicBezTo>
                      <a:cubicBezTo>
                        <a:pt x="547" y="22426"/>
                        <a:pt x="522" y="22414"/>
                        <a:pt x="509" y="2240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58" name="Freeform: Shape 2157">
                  <a:extLst>
                    <a:ext uri="{FF2B5EF4-FFF2-40B4-BE49-F238E27FC236}">
                      <a16:creationId xmlns:a16="http://schemas.microsoft.com/office/drawing/2014/main" id="{ADE5057D-2426-D732-A7E0-D0135467A55E}"/>
                    </a:ext>
                  </a:extLst>
                </p:cNvPr>
                <p:cNvSpPr/>
                <p:nvPr/>
              </p:nvSpPr>
              <p:spPr>
                <a:xfrm>
                  <a:off x="7427221" y="2605524"/>
                  <a:ext cx="8509" cy="11464"/>
                </a:xfrm>
                <a:custGeom>
                  <a:avLst/>
                  <a:gdLst>
                    <a:gd name="connsiteX0" fmla="*/ 6064 w 8509"/>
                    <a:gd name="connsiteY0" fmla="*/ 11101 h 11464"/>
                    <a:gd name="connsiteX1" fmla="*/ 5565 w 8509"/>
                    <a:gd name="connsiteY1" fmla="*/ 10179 h 11464"/>
                    <a:gd name="connsiteX2" fmla="*/ 889 w 8509"/>
                    <a:gd name="connsiteY2" fmla="*/ 2835 h 11464"/>
                    <a:gd name="connsiteX3" fmla="*/ 129 w 8509"/>
                    <a:gd name="connsiteY3" fmla="*/ 889 h 11464"/>
                    <a:gd name="connsiteX4" fmla="*/ 2074 w 8509"/>
                    <a:gd name="connsiteY4" fmla="*/ 129 h 11464"/>
                    <a:gd name="connsiteX5" fmla="*/ 8495 w 8509"/>
                    <a:gd name="connsiteY5" fmla="*/ 9792 h 11464"/>
                    <a:gd name="connsiteX6" fmla="*/ 7223 w 8509"/>
                    <a:gd name="connsiteY6" fmla="*/ 11451 h 11464"/>
                    <a:gd name="connsiteX7" fmla="*/ 6064 w 8509"/>
                    <a:gd name="connsiteY7" fmla="*/ 11101 h 1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09" h="11464">
                      <a:moveTo>
                        <a:pt x="6064" y="11101"/>
                      </a:moveTo>
                      <a:cubicBezTo>
                        <a:pt x="5802" y="10877"/>
                        <a:pt x="5615" y="10553"/>
                        <a:pt x="5565" y="10179"/>
                      </a:cubicBezTo>
                      <a:cubicBezTo>
                        <a:pt x="5565" y="10116"/>
                        <a:pt x="4742" y="4518"/>
                        <a:pt x="889" y="2835"/>
                      </a:cubicBezTo>
                      <a:cubicBezTo>
                        <a:pt x="141" y="2510"/>
                        <a:pt x="-208" y="1637"/>
                        <a:pt x="129" y="889"/>
                      </a:cubicBezTo>
                      <a:cubicBezTo>
                        <a:pt x="453" y="141"/>
                        <a:pt x="1326" y="-208"/>
                        <a:pt x="2074" y="129"/>
                      </a:cubicBezTo>
                      <a:cubicBezTo>
                        <a:pt x="7473" y="2473"/>
                        <a:pt x="8458" y="9493"/>
                        <a:pt x="8495" y="9792"/>
                      </a:cubicBezTo>
                      <a:cubicBezTo>
                        <a:pt x="8608" y="10603"/>
                        <a:pt x="8034" y="11351"/>
                        <a:pt x="7223" y="11451"/>
                      </a:cubicBezTo>
                      <a:cubicBezTo>
                        <a:pt x="6787" y="11513"/>
                        <a:pt x="6363" y="11363"/>
                        <a:pt x="6064" y="11101"/>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163" name="Graphic 525">
              <a:extLst>
                <a:ext uri="{FF2B5EF4-FFF2-40B4-BE49-F238E27FC236}">
                  <a16:creationId xmlns:a16="http://schemas.microsoft.com/office/drawing/2014/main" id="{61D6F127-A04E-4C1A-399E-D762076A38B1}"/>
                </a:ext>
              </a:extLst>
            </p:cNvPr>
            <p:cNvGrpSpPr/>
            <p:nvPr/>
          </p:nvGrpSpPr>
          <p:grpSpPr>
            <a:xfrm>
              <a:off x="3895439" y="2996426"/>
              <a:ext cx="263673" cy="259311"/>
              <a:chOff x="7415265" y="3049191"/>
              <a:chExt cx="318001" cy="312740"/>
            </a:xfrm>
          </p:grpSpPr>
          <p:grpSp>
            <p:nvGrpSpPr>
              <p:cNvPr id="2164" name="Graphic 525">
                <a:extLst>
                  <a:ext uri="{FF2B5EF4-FFF2-40B4-BE49-F238E27FC236}">
                    <a16:creationId xmlns:a16="http://schemas.microsoft.com/office/drawing/2014/main" id="{3ABFECC8-5E2B-EECD-58DB-75C13CAF89DD}"/>
                  </a:ext>
                </a:extLst>
              </p:cNvPr>
              <p:cNvGrpSpPr/>
              <p:nvPr/>
            </p:nvGrpSpPr>
            <p:grpSpPr>
              <a:xfrm>
                <a:off x="7476957" y="3049191"/>
                <a:ext cx="256310" cy="198323"/>
                <a:chOff x="7476957" y="3049191"/>
                <a:chExt cx="256310" cy="198323"/>
              </a:xfrm>
            </p:grpSpPr>
            <p:grpSp>
              <p:nvGrpSpPr>
                <p:cNvPr id="2165" name="Graphic 525">
                  <a:extLst>
                    <a:ext uri="{FF2B5EF4-FFF2-40B4-BE49-F238E27FC236}">
                      <a16:creationId xmlns:a16="http://schemas.microsoft.com/office/drawing/2014/main" id="{20D70B29-7AF6-F6D8-6D31-1AAC938D1318}"/>
                    </a:ext>
                  </a:extLst>
                </p:cNvPr>
                <p:cNvGrpSpPr/>
                <p:nvPr/>
              </p:nvGrpSpPr>
              <p:grpSpPr>
                <a:xfrm>
                  <a:off x="7476957" y="3049191"/>
                  <a:ext cx="165239" cy="70935"/>
                  <a:chOff x="7476957" y="3049191"/>
                  <a:chExt cx="165239" cy="70935"/>
                </a:xfrm>
              </p:grpSpPr>
              <p:sp>
                <p:nvSpPr>
                  <p:cNvPr id="2166" name="Freeform: Shape 2165">
                    <a:extLst>
                      <a:ext uri="{FF2B5EF4-FFF2-40B4-BE49-F238E27FC236}">
                        <a16:creationId xmlns:a16="http://schemas.microsoft.com/office/drawing/2014/main" id="{7536C2E4-8535-3249-100C-8669BDA13056}"/>
                      </a:ext>
                    </a:extLst>
                  </p:cNvPr>
                  <p:cNvSpPr/>
                  <p:nvPr/>
                </p:nvSpPr>
                <p:spPr>
                  <a:xfrm>
                    <a:off x="7476957" y="3049191"/>
                    <a:ext cx="165239" cy="70935"/>
                  </a:xfrm>
                  <a:custGeom>
                    <a:avLst/>
                    <a:gdLst>
                      <a:gd name="connsiteX0" fmla="*/ 34995 w 165239"/>
                      <a:gd name="connsiteY0" fmla="*/ 0 h 70935"/>
                      <a:gd name="connsiteX1" fmla="*/ 131556 w 165239"/>
                      <a:gd name="connsiteY1" fmla="*/ 4701 h 70935"/>
                      <a:gd name="connsiteX2" fmla="*/ 164026 w 165239"/>
                      <a:gd name="connsiteY2" fmla="*/ 38455 h 70935"/>
                      <a:gd name="connsiteX3" fmla="*/ 68737 w 165239"/>
                      <a:gd name="connsiteY3" fmla="*/ 70500 h 70935"/>
                      <a:gd name="connsiteX4" fmla="*/ 2077 w 165239"/>
                      <a:gd name="connsiteY4" fmla="*/ 49141 h 70935"/>
                      <a:gd name="connsiteX5" fmla="*/ 34983 w 165239"/>
                      <a:gd name="connsiteY5" fmla="*/ 0 h 7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239" h="70935">
                        <a:moveTo>
                          <a:pt x="34995" y="0"/>
                        </a:moveTo>
                        <a:cubicBezTo>
                          <a:pt x="34995" y="0"/>
                          <a:pt x="108426" y="3379"/>
                          <a:pt x="131556" y="4701"/>
                        </a:cubicBezTo>
                        <a:cubicBezTo>
                          <a:pt x="161469" y="6409"/>
                          <a:pt x="168452" y="20300"/>
                          <a:pt x="164026" y="38455"/>
                        </a:cubicBezTo>
                        <a:cubicBezTo>
                          <a:pt x="159749" y="55974"/>
                          <a:pt x="100782" y="68792"/>
                          <a:pt x="68737" y="70500"/>
                        </a:cubicBezTo>
                        <a:cubicBezTo>
                          <a:pt x="36691" y="72209"/>
                          <a:pt x="10194" y="69640"/>
                          <a:pt x="2077" y="49141"/>
                        </a:cubicBezTo>
                        <a:cubicBezTo>
                          <a:pt x="-6041" y="28629"/>
                          <a:pt x="10618" y="1708"/>
                          <a:pt x="34983" y="0"/>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67" name="Graphic 525">
                    <a:extLst>
                      <a:ext uri="{FF2B5EF4-FFF2-40B4-BE49-F238E27FC236}">
                        <a16:creationId xmlns:a16="http://schemas.microsoft.com/office/drawing/2014/main" id="{E9EA5703-867B-324C-19BB-59D2EBD2A3D3}"/>
                      </a:ext>
                    </a:extLst>
                  </p:cNvPr>
                  <p:cNvGrpSpPr/>
                  <p:nvPr/>
                </p:nvGrpSpPr>
                <p:grpSpPr>
                  <a:xfrm>
                    <a:off x="7489844" y="3049453"/>
                    <a:ext cx="120588" cy="70673"/>
                    <a:chOff x="7489844" y="3049453"/>
                    <a:chExt cx="120588" cy="70673"/>
                  </a:xfrm>
                  <a:solidFill>
                    <a:srgbClr val="723333"/>
                  </a:solidFill>
                </p:grpSpPr>
                <p:sp>
                  <p:nvSpPr>
                    <p:cNvPr id="2168" name="Freeform: Shape 2167">
                      <a:extLst>
                        <a:ext uri="{FF2B5EF4-FFF2-40B4-BE49-F238E27FC236}">
                          <a16:creationId xmlns:a16="http://schemas.microsoft.com/office/drawing/2014/main" id="{9471CEEA-1583-5B88-C088-A2EDD6F91B6C}"/>
                        </a:ext>
                      </a:extLst>
                    </p:cNvPr>
                    <p:cNvSpPr/>
                    <p:nvPr/>
                  </p:nvSpPr>
                  <p:spPr>
                    <a:xfrm>
                      <a:off x="7510019" y="3049453"/>
                      <a:ext cx="24838" cy="38816"/>
                    </a:xfrm>
                    <a:custGeom>
                      <a:avLst/>
                      <a:gdLst>
                        <a:gd name="connsiteX0" fmla="*/ 7419 w 24838"/>
                        <a:gd name="connsiteY0" fmla="*/ 0 h 38816"/>
                        <a:gd name="connsiteX1" fmla="*/ 0 w 24838"/>
                        <a:gd name="connsiteY1" fmla="*/ 38816 h 38816"/>
                        <a:gd name="connsiteX2" fmla="*/ 16995 w 24838"/>
                        <a:gd name="connsiteY2" fmla="*/ 15673 h 38816"/>
                        <a:gd name="connsiteX3" fmla="*/ 24838 w 24838"/>
                        <a:gd name="connsiteY3" fmla="*/ 810 h 38816"/>
                        <a:gd name="connsiteX4" fmla="*/ 7419 w 24838"/>
                        <a:gd name="connsiteY4" fmla="*/ 0 h 3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38" h="38816">
                          <a:moveTo>
                            <a:pt x="7419" y="0"/>
                          </a:moveTo>
                          <a:lnTo>
                            <a:pt x="0" y="38816"/>
                          </a:lnTo>
                          <a:cubicBezTo>
                            <a:pt x="0" y="38816"/>
                            <a:pt x="12469" y="32781"/>
                            <a:pt x="16995" y="15673"/>
                          </a:cubicBezTo>
                          <a:cubicBezTo>
                            <a:pt x="19327" y="6833"/>
                            <a:pt x="22656" y="3154"/>
                            <a:pt x="24838" y="810"/>
                          </a:cubicBezTo>
                          <a:cubicBezTo>
                            <a:pt x="17619" y="474"/>
                            <a:pt x="11509" y="187"/>
                            <a:pt x="7419" y="0"/>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69" name="Freeform: Shape 2168">
                      <a:extLst>
                        <a:ext uri="{FF2B5EF4-FFF2-40B4-BE49-F238E27FC236}">
                          <a16:creationId xmlns:a16="http://schemas.microsoft.com/office/drawing/2014/main" id="{D201ECD3-6E9F-3DF9-3F55-3C91B1C1CA73}"/>
                        </a:ext>
                      </a:extLst>
                    </p:cNvPr>
                    <p:cNvSpPr/>
                    <p:nvPr/>
                  </p:nvSpPr>
                  <p:spPr>
                    <a:xfrm>
                      <a:off x="7595404" y="3086000"/>
                      <a:ext cx="15028" cy="25761"/>
                    </a:xfrm>
                    <a:custGeom>
                      <a:avLst/>
                      <a:gdLst>
                        <a:gd name="connsiteX0" fmla="*/ 2235 w 15028"/>
                        <a:gd name="connsiteY0" fmla="*/ 0 h 25761"/>
                        <a:gd name="connsiteX1" fmla="*/ 390 w 15028"/>
                        <a:gd name="connsiteY1" fmla="*/ 25761 h 25761"/>
                        <a:gd name="connsiteX2" fmla="*/ 15029 w 15028"/>
                        <a:gd name="connsiteY2" fmla="*/ 21534 h 25761"/>
                        <a:gd name="connsiteX3" fmla="*/ 2248 w 15028"/>
                        <a:gd name="connsiteY3" fmla="*/ 0 h 25761"/>
                      </a:gdLst>
                      <a:ahLst/>
                      <a:cxnLst>
                        <a:cxn ang="0">
                          <a:pos x="connsiteX0" y="connsiteY0"/>
                        </a:cxn>
                        <a:cxn ang="0">
                          <a:pos x="connsiteX1" y="connsiteY1"/>
                        </a:cxn>
                        <a:cxn ang="0">
                          <a:pos x="connsiteX2" y="connsiteY2"/>
                        </a:cxn>
                        <a:cxn ang="0">
                          <a:pos x="connsiteX3" y="connsiteY3"/>
                        </a:cxn>
                      </a:cxnLst>
                      <a:rect l="l" t="t" r="r" b="b"/>
                      <a:pathLst>
                        <a:path w="15028" h="25761">
                          <a:moveTo>
                            <a:pt x="2235" y="0"/>
                          </a:moveTo>
                          <a:cubicBezTo>
                            <a:pt x="2235" y="0"/>
                            <a:pt x="-1119" y="6384"/>
                            <a:pt x="390" y="25761"/>
                          </a:cubicBezTo>
                          <a:cubicBezTo>
                            <a:pt x="5453" y="24477"/>
                            <a:pt x="10390" y="23068"/>
                            <a:pt x="15029" y="21534"/>
                          </a:cubicBezTo>
                          <a:lnTo>
                            <a:pt x="2248" y="0"/>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0" name="Freeform: Shape 2169">
                      <a:extLst>
                        <a:ext uri="{FF2B5EF4-FFF2-40B4-BE49-F238E27FC236}">
                          <a16:creationId xmlns:a16="http://schemas.microsoft.com/office/drawing/2014/main" id="{A1E7594D-E27F-6311-B674-DEECF87AE4A6}"/>
                        </a:ext>
                      </a:extLst>
                    </p:cNvPr>
                    <p:cNvSpPr/>
                    <p:nvPr/>
                  </p:nvSpPr>
                  <p:spPr>
                    <a:xfrm>
                      <a:off x="7489844" y="3068381"/>
                      <a:ext cx="44314" cy="51745"/>
                    </a:xfrm>
                    <a:custGeom>
                      <a:avLst/>
                      <a:gdLst>
                        <a:gd name="connsiteX0" fmla="*/ 44315 w 44314"/>
                        <a:gd name="connsiteY0" fmla="*/ 51722 h 51745"/>
                        <a:gd name="connsiteX1" fmla="*/ 349 w 44314"/>
                        <a:gd name="connsiteY1" fmla="*/ 0 h 51745"/>
                        <a:gd name="connsiteX2" fmla="*/ 8541 w 44314"/>
                        <a:gd name="connsiteY2" fmla="*/ 47420 h 51745"/>
                        <a:gd name="connsiteX3" fmla="*/ 44315 w 44314"/>
                        <a:gd name="connsiteY3" fmla="*/ 51722 h 51745"/>
                      </a:gdLst>
                      <a:ahLst/>
                      <a:cxnLst>
                        <a:cxn ang="0">
                          <a:pos x="connsiteX0" y="connsiteY0"/>
                        </a:cxn>
                        <a:cxn ang="0">
                          <a:pos x="connsiteX1" y="connsiteY1"/>
                        </a:cxn>
                        <a:cxn ang="0">
                          <a:pos x="connsiteX2" y="connsiteY2"/>
                        </a:cxn>
                        <a:cxn ang="0">
                          <a:pos x="connsiteX3" y="connsiteY3"/>
                        </a:cxn>
                      </a:cxnLst>
                      <a:rect l="l" t="t" r="r" b="b"/>
                      <a:pathLst>
                        <a:path w="44314" h="51745">
                          <a:moveTo>
                            <a:pt x="44315" y="51722"/>
                          </a:moveTo>
                          <a:lnTo>
                            <a:pt x="349" y="0"/>
                          </a:lnTo>
                          <a:cubicBezTo>
                            <a:pt x="-1309" y="8130"/>
                            <a:pt x="3192" y="29838"/>
                            <a:pt x="8541" y="47420"/>
                          </a:cubicBezTo>
                          <a:cubicBezTo>
                            <a:pt x="18217" y="50911"/>
                            <a:pt x="30537" y="51921"/>
                            <a:pt x="44315" y="51722"/>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171" name="Graphic 525">
                  <a:extLst>
                    <a:ext uri="{FF2B5EF4-FFF2-40B4-BE49-F238E27FC236}">
                      <a16:creationId xmlns:a16="http://schemas.microsoft.com/office/drawing/2014/main" id="{FFFEE94D-3F18-8817-D94B-D3D08FA54E88}"/>
                    </a:ext>
                  </a:extLst>
                </p:cNvPr>
                <p:cNvGrpSpPr/>
                <p:nvPr/>
              </p:nvGrpSpPr>
              <p:grpSpPr>
                <a:xfrm>
                  <a:off x="7642796" y="3181607"/>
                  <a:ext cx="90470" cy="65907"/>
                  <a:chOff x="7642796" y="3181607"/>
                  <a:chExt cx="90470" cy="65907"/>
                </a:xfrm>
              </p:grpSpPr>
              <p:sp>
                <p:nvSpPr>
                  <p:cNvPr id="2172" name="Freeform: Shape 2171">
                    <a:extLst>
                      <a:ext uri="{FF2B5EF4-FFF2-40B4-BE49-F238E27FC236}">
                        <a16:creationId xmlns:a16="http://schemas.microsoft.com/office/drawing/2014/main" id="{0FF02C8D-0878-19FE-1515-73D6BFE0760F}"/>
                      </a:ext>
                    </a:extLst>
                  </p:cNvPr>
                  <p:cNvSpPr/>
                  <p:nvPr/>
                </p:nvSpPr>
                <p:spPr>
                  <a:xfrm>
                    <a:off x="7642796" y="3181607"/>
                    <a:ext cx="89667" cy="59852"/>
                  </a:xfrm>
                  <a:custGeom>
                    <a:avLst/>
                    <a:gdLst>
                      <a:gd name="connsiteX0" fmla="*/ 2014 w 89667"/>
                      <a:gd name="connsiteY0" fmla="*/ 18685 h 59852"/>
                      <a:gd name="connsiteX1" fmla="*/ 8024 w 89667"/>
                      <a:gd name="connsiteY1" fmla="*/ 38922 h 59852"/>
                      <a:gd name="connsiteX2" fmla="*/ 25967 w 89667"/>
                      <a:gd name="connsiteY2" fmla="*/ 59434 h 59852"/>
                      <a:gd name="connsiteX3" fmla="*/ 70831 w 89667"/>
                      <a:gd name="connsiteY3" fmla="*/ 51316 h 59852"/>
                      <a:gd name="connsiteX4" fmla="*/ 89634 w 89667"/>
                      <a:gd name="connsiteY4" fmla="*/ 35929 h 59852"/>
                      <a:gd name="connsiteX5" fmla="*/ 56304 w 89667"/>
                      <a:gd name="connsiteY5" fmla="*/ 30805 h 59852"/>
                      <a:gd name="connsiteX6" fmla="*/ 29371 w 89667"/>
                      <a:gd name="connsiteY6" fmla="*/ 15193 h 59852"/>
                      <a:gd name="connsiteX7" fmla="*/ 2014 w 89667"/>
                      <a:gd name="connsiteY7" fmla="*/ 18685 h 5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67" h="59852">
                        <a:moveTo>
                          <a:pt x="2014" y="18685"/>
                        </a:moveTo>
                        <a:cubicBezTo>
                          <a:pt x="2014" y="18685"/>
                          <a:pt x="8448" y="29096"/>
                          <a:pt x="8024" y="38922"/>
                        </a:cubicBezTo>
                        <a:cubicBezTo>
                          <a:pt x="7600" y="48748"/>
                          <a:pt x="11864" y="62426"/>
                          <a:pt x="25967" y="59434"/>
                        </a:cubicBezTo>
                        <a:cubicBezTo>
                          <a:pt x="40069" y="56441"/>
                          <a:pt x="56304" y="53025"/>
                          <a:pt x="70831" y="51316"/>
                        </a:cubicBezTo>
                        <a:cubicBezTo>
                          <a:pt x="85357" y="49608"/>
                          <a:pt x="90120" y="40605"/>
                          <a:pt x="89634" y="35929"/>
                        </a:cubicBezTo>
                        <a:cubicBezTo>
                          <a:pt x="88774" y="27812"/>
                          <a:pt x="63137" y="31653"/>
                          <a:pt x="56304" y="30805"/>
                        </a:cubicBezTo>
                        <a:cubicBezTo>
                          <a:pt x="49471" y="29945"/>
                          <a:pt x="32825" y="29234"/>
                          <a:pt x="29371" y="15193"/>
                        </a:cubicBezTo>
                        <a:cubicBezTo>
                          <a:pt x="23373" y="-9159"/>
                          <a:pt x="-8186" y="-1440"/>
                          <a:pt x="2014" y="18685"/>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73" name="Graphic 525">
                    <a:extLst>
                      <a:ext uri="{FF2B5EF4-FFF2-40B4-BE49-F238E27FC236}">
                        <a16:creationId xmlns:a16="http://schemas.microsoft.com/office/drawing/2014/main" id="{263CE380-07F0-80FA-E6D6-4C1B83A56480}"/>
                      </a:ext>
                    </a:extLst>
                  </p:cNvPr>
                  <p:cNvGrpSpPr/>
                  <p:nvPr/>
                </p:nvGrpSpPr>
                <p:grpSpPr>
                  <a:xfrm>
                    <a:off x="7649214" y="3207231"/>
                    <a:ext cx="84052" cy="40283"/>
                    <a:chOff x="7649214" y="3207231"/>
                    <a:chExt cx="84052" cy="40283"/>
                  </a:xfrm>
                </p:grpSpPr>
                <p:sp>
                  <p:nvSpPr>
                    <p:cNvPr id="2174" name="Freeform: Shape 2173">
                      <a:extLst>
                        <a:ext uri="{FF2B5EF4-FFF2-40B4-BE49-F238E27FC236}">
                          <a16:creationId xmlns:a16="http://schemas.microsoft.com/office/drawing/2014/main" id="{DF7F516A-B947-15D5-50A4-1CE3C7F41860}"/>
                        </a:ext>
                      </a:extLst>
                    </p:cNvPr>
                    <p:cNvSpPr/>
                    <p:nvPr/>
                  </p:nvSpPr>
                  <p:spPr>
                    <a:xfrm>
                      <a:off x="7655425" y="3216551"/>
                      <a:ext cx="77841" cy="30962"/>
                    </a:xfrm>
                    <a:custGeom>
                      <a:avLst/>
                      <a:gdLst>
                        <a:gd name="connsiteX0" fmla="*/ 3587 w 77841"/>
                        <a:gd name="connsiteY0" fmla="*/ 23005 h 30962"/>
                        <a:gd name="connsiteX1" fmla="*/ 3176 w 77841"/>
                        <a:gd name="connsiteY1" fmla="*/ 23105 h 30962"/>
                        <a:gd name="connsiteX2" fmla="*/ 283 w 77841"/>
                        <a:gd name="connsiteY2" fmla="*/ 28641 h 30962"/>
                        <a:gd name="connsiteX3" fmla="*/ 1330 w 77841"/>
                        <a:gd name="connsiteY3" fmla="*/ 30412 h 30962"/>
                        <a:gd name="connsiteX4" fmla="*/ 18064 w 77841"/>
                        <a:gd name="connsiteY4" fmla="*/ 28666 h 30962"/>
                        <a:gd name="connsiteX5" fmla="*/ 55546 w 77841"/>
                        <a:gd name="connsiteY5" fmla="*/ 21085 h 30962"/>
                        <a:gd name="connsiteX6" fmla="*/ 76432 w 77841"/>
                        <a:gd name="connsiteY6" fmla="*/ 10362 h 30962"/>
                        <a:gd name="connsiteX7" fmla="*/ 76906 w 77841"/>
                        <a:gd name="connsiteY7" fmla="*/ 0 h 30962"/>
                        <a:gd name="connsiteX8" fmla="*/ 66706 w 77841"/>
                        <a:gd name="connsiteY8" fmla="*/ 12033 h 30962"/>
                        <a:gd name="connsiteX9" fmla="*/ 37254 w 77841"/>
                        <a:gd name="connsiteY9" fmla="*/ 17781 h 30962"/>
                        <a:gd name="connsiteX10" fmla="*/ 3612 w 77841"/>
                        <a:gd name="connsiteY10" fmla="*/ 23005 h 3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41" h="30962">
                          <a:moveTo>
                            <a:pt x="3587" y="23005"/>
                          </a:moveTo>
                          <a:cubicBezTo>
                            <a:pt x="3587" y="23005"/>
                            <a:pt x="3425" y="23043"/>
                            <a:pt x="3176" y="23105"/>
                          </a:cubicBezTo>
                          <a:cubicBezTo>
                            <a:pt x="744" y="23703"/>
                            <a:pt x="-627" y="26310"/>
                            <a:pt x="283" y="28641"/>
                          </a:cubicBezTo>
                          <a:cubicBezTo>
                            <a:pt x="570" y="29364"/>
                            <a:pt x="906" y="30013"/>
                            <a:pt x="1330" y="30412"/>
                          </a:cubicBezTo>
                          <a:cubicBezTo>
                            <a:pt x="2901" y="31896"/>
                            <a:pt x="11268" y="30063"/>
                            <a:pt x="18064" y="28666"/>
                          </a:cubicBezTo>
                          <a:cubicBezTo>
                            <a:pt x="24860" y="27270"/>
                            <a:pt x="47952" y="22307"/>
                            <a:pt x="55546" y="21085"/>
                          </a:cubicBezTo>
                          <a:cubicBezTo>
                            <a:pt x="63140" y="19863"/>
                            <a:pt x="73127" y="19564"/>
                            <a:pt x="76432" y="10362"/>
                          </a:cubicBezTo>
                          <a:cubicBezTo>
                            <a:pt x="79299" y="2394"/>
                            <a:pt x="76906" y="0"/>
                            <a:pt x="76906" y="0"/>
                          </a:cubicBezTo>
                          <a:cubicBezTo>
                            <a:pt x="76906" y="0"/>
                            <a:pt x="76906" y="7232"/>
                            <a:pt x="66706" y="12033"/>
                          </a:cubicBezTo>
                          <a:cubicBezTo>
                            <a:pt x="57890" y="16185"/>
                            <a:pt x="46394" y="16384"/>
                            <a:pt x="37254" y="17781"/>
                          </a:cubicBezTo>
                          <a:cubicBezTo>
                            <a:pt x="28101" y="19177"/>
                            <a:pt x="14248" y="20574"/>
                            <a:pt x="3612" y="23005"/>
                          </a:cubicBezTo>
                          <a:close/>
                        </a:path>
                      </a:pathLst>
                    </a:custGeom>
                    <a:solidFill>
                      <a:srgbClr val="C658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75" name="Graphic 525">
                      <a:extLst>
                        <a:ext uri="{FF2B5EF4-FFF2-40B4-BE49-F238E27FC236}">
                          <a16:creationId xmlns:a16="http://schemas.microsoft.com/office/drawing/2014/main" id="{D1882FC9-5D07-B848-EBED-4AFC0F77F73A}"/>
                        </a:ext>
                      </a:extLst>
                    </p:cNvPr>
                    <p:cNvGrpSpPr/>
                    <p:nvPr/>
                  </p:nvGrpSpPr>
                  <p:grpSpPr>
                    <a:xfrm>
                      <a:off x="7649214" y="3207231"/>
                      <a:ext cx="83092" cy="27736"/>
                      <a:chOff x="7649214" y="3207231"/>
                      <a:chExt cx="83092" cy="27736"/>
                    </a:xfrm>
                    <a:solidFill>
                      <a:srgbClr val="DE694E"/>
                    </a:solidFill>
                  </p:grpSpPr>
                  <p:sp>
                    <p:nvSpPr>
                      <p:cNvPr id="2176" name="Freeform: Shape 2175">
                        <a:extLst>
                          <a:ext uri="{FF2B5EF4-FFF2-40B4-BE49-F238E27FC236}">
                            <a16:creationId xmlns:a16="http://schemas.microsoft.com/office/drawing/2014/main" id="{9351EB77-9CD1-7CD2-E8CC-EEB4115013CA}"/>
                          </a:ext>
                        </a:extLst>
                      </p:cNvPr>
                      <p:cNvSpPr/>
                      <p:nvPr/>
                    </p:nvSpPr>
                    <p:spPr>
                      <a:xfrm>
                        <a:off x="7649214" y="3217394"/>
                        <a:ext cx="40771" cy="8259"/>
                      </a:xfrm>
                      <a:custGeom>
                        <a:avLst/>
                        <a:gdLst>
                          <a:gd name="connsiteX0" fmla="*/ 40772 w 40771"/>
                          <a:gd name="connsiteY0" fmla="*/ 2523 h 8259"/>
                          <a:gd name="connsiteX1" fmla="*/ 1855 w 40771"/>
                          <a:gd name="connsiteY1" fmla="*/ 30 h 8259"/>
                          <a:gd name="connsiteX2" fmla="*/ 758 w 40771"/>
                          <a:gd name="connsiteY2" fmla="*/ 765 h 8259"/>
                          <a:gd name="connsiteX3" fmla="*/ 958 w 40771"/>
                          <a:gd name="connsiteY3" fmla="*/ 7037 h 8259"/>
                          <a:gd name="connsiteX4" fmla="*/ 2180 w 40771"/>
                          <a:gd name="connsiteY4" fmla="*/ 7760 h 8259"/>
                          <a:gd name="connsiteX5" fmla="*/ 40086 w 40771"/>
                          <a:gd name="connsiteY5" fmla="*/ 7037 h 8259"/>
                          <a:gd name="connsiteX6" fmla="*/ 40759 w 40771"/>
                          <a:gd name="connsiteY6" fmla="*/ 2511 h 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71" h="8259">
                            <a:moveTo>
                              <a:pt x="40772" y="2523"/>
                            </a:moveTo>
                            <a:cubicBezTo>
                              <a:pt x="40772" y="2523"/>
                              <a:pt x="12978" y="2124"/>
                              <a:pt x="1855" y="30"/>
                            </a:cubicBezTo>
                            <a:cubicBezTo>
                              <a:pt x="1207" y="-95"/>
                              <a:pt x="1070" y="179"/>
                              <a:pt x="758" y="765"/>
                            </a:cubicBezTo>
                            <a:cubicBezTo>
                              <a:pt x="97" y="1987"/>
                              <a:pt x="-639" y="4294"/>
                              <a:pt x="958" y="7037"/>
                            </a:cubicBezTo>
                            <a:cubicBezTo>
                              <a:pt x="1207" y="7474"/>
                              <a:pt x="1681" y="7735"/>
                              <a:pt x="2180" y="7760"/>
                            </a:cubicBezTo>
                            <a:cubicBezTo>
                              <a:pt x="6880" y="7997"/>
                              <a:pt x="31507" y="9082"/>
                              <a:pt x="40086" y="7037"/>
                            </a:cubicBezTo>
                            <a:lnTo>
                              <a:pt x="40759" y="2511"/>
                            </a:lnTo>
                            <a:close/>
                          </a:path>
                        </a:pathLst>
                      </a:custGeom>
                      <a:solidFill>
                        <a:srgbClr val="DE694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7" name="Freeform: Shape 2176">
                        <a:extLst>
                          <a:ext uri="{FF2B5EF4-FFF2-40B4-BE49-F238E27FC236}">
                            <a16:creationId xmlns:a16="http://schemas.microsoft.com/office/drawing/2014/main" id="{C35733C7-9B47-8EB4-F658-8ECC3FB41899}"/>
                          </a:ext>
                        </a:extLst>
                      </p:cNvPr>
                      <p:cNvSpPr/>
                      <p:nvPr/>
                    </p:nvSpPr>
                    <p:spPr>
                      <a:xfrm>
                        <a:off x="7687464" y="3207231"/>
                        <a:ext cx="44842" cy="27736"/>
                      </a:xfrm>
                      <a:custGeom>
                        <a:avLst/>
                        <a:gdLst>
                          <a:gd name="connsiteX0" fmla="*/ 5190 w 44842"/>
                          <a:gd name="connsiteY0" fmla="*/ 27101 h 27736"/>
                          <a:gd name="connsiteX1" fmla="*/ 34642 w 44842"/>
                          <a:gd name="connsiteY1" fmla="*/ 21353 h 27736"/>
                          <a:gd name="connsiteX2" fmla="*/ 44842 w 44842"/>
                          <a:gd name="connsiteY2" fmla="*/ 9320 h 27736"/>
                          <a:gd name="connsiteX3" fmla="*/ 33520 w 44842"/>
                          <a:gd name="connsiteY3" fmla="*/ 1166 h 27736"/>
                          <a:gd name="connsiteX4" fmla="*/ 6400 w 44842"/>
                          <a:gd name="connsiteY4" fmla="*/ 68 h 27736"/>
                          <a:gd name="connsiteX5" fmla="*/ 140 w 44842"/>
                          <a:gd name="connsiteY5" fmla="*/ 4844 h 27736"/>
                          <a:gd name="connsiteX6" fmla="*/ 103 w 44842"/>
                          <a:gd name="connsiteY6" fmla="*/ 5430 h 27736"/>
                          <a:gd name="connsiteX7" fmla="*/ 776 w 44842"/>
                          <a:gd name="connsiteY7" fmla="*/ 27737 h 27736"/>
                          <a:gd name="connsiteX8" fmla="*/ 5178 w 44842"/>
                          <a:gd name="connsiteY8" fmla="*/ 27101 h 2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42" h="27736">
                            <a:moveTo>
                              <a:pt x="5190" y="27101"/>
                            </a:moveTo>
                            <a:cubicBezTo>
                              <a:pt x="14342" y="25705"/>
                              <a:pt x="25826" y="25493"/>
                              <a:pt x="34642" y="21353"/>
                            </a:cubicBezTo>
                            <a:cubicBezTo>
                              <a:pt x="44842" y="16565"/>
                              <a:pt x="44842" y="9320"/>
                              <a:pt x="44842" y="9320"/>
                            </a:cubicBezTo>
                            <a:cubicBezTo>
                              <a:pt x="44892" y="5929"/>
                              <a:pt x="42772" y="1963"/>
                              <a:pt x="33520" y="1166"/>
                            </a:cubicBezTo>
                            <a:cubicBezTo>
                              <a:pt x="24879" y="430"/>
                              <a:pt x="14779" y="1390"/>
                              <a:pt x="6400" y="68"/>
                            </a:cubicBezTo>
                            <a:cubicBezTo>
                              <a:pt x="3332" y="-418"/>
                              <a:pt x="452" y="1752"/>
                              <a:pt x="140" y="4844"/>
                            </a:cubicBezTo>
                            <a:cubicBezTo>
                              <a:pt x="115" y="5031"/>
                              <a:pt x="103" y="5218"/>
                              <a:pt x="103" y="5430"/>
                            </a:cubicBezTo>
                            <a:cubicBezTo>
                              <a:pt x="-84" y="10156"/>
                              <a:pt x="-97" y="22737"/>
                              <a:pt x="776" y="27737"/>
                            </a:cubicBezTo>
                            <a:cubicBezTo>
                              <a:pt x="2335" y="27525"/>
                              <a:pt x="3806" y="27313"/>
                              <a:pt x="5178" y="27101"/>
                            </a:cubicBezTo>
                            <a:close/>
                          </a:path>
                        </a:pathLst>
                      </a:custGeom>
                      <a:solidFill>
                        <a:srgbClr val="DE694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178" name="Graphic 525">
                  <a:extLst>
                    <a:ext uri="{FF2B5EF4-FFF2-40B4-BE49-F238E27FC236}">
                      <a16:creationId xmlns:a16="http://schemas.microsoft.com/office/drawing/2014/main" id="{0D3AEE1F-33E9-6B90-D8FF-05AF12310759}"/>
                    </a:ext>
                  </a:extLst>
                </p:cNvPr>
                <p:cNvGrpSpPr/>
                <p:nvPr/>
              </p:nvGrpSpPr>
              <p:grpSpPr>
                <a:xfrm>
                  <a:off x="7580145" y="3052433"/>
                  <a:ext cx="92350" cy="159669"/>
                  <a:chOff x="7580145" y="3052433"/>
                  <a:chExt cx="92350" cy="159669"/>
                </a:xfrm>
              </p:grpSpPr>
              <p:sp>
                <p:nvSpPr>
                  <p:cNvPr id="2179" name="Freeform: Shape 2178">
                    <a:extLst>
                      <a:ext uri="{FF2B5EF4-FFF2-40B4-BE49-F238E27FC236}">
                        <a16:creationId xmlns:a16="http://schemas.microsoft.com/office/drawing/2014/main" id="{61037EC0-8E1F-9654-6C84-99E17C31CA2B}"/>
                      </a:ext>
                    </a:extLst>
                  </p:cNvPr>
                  <p:cNvSpPr/>
                  <p:nvPr/>
                </p:nvSpPr>
                <p:spPr>
                  <a:xfrm>
                    <a:off x="7597588" y="3059267"/>
                    <a:ext cx="74907" cy="152835"/>
                  </a:xfrm>
                  <a:custGeom>
                    <a:avLst/>
                    <a:gdLst>
                      <a:gd name="connsiteX0" fmla="*/ 41262 w 74907"/>
                      <a:gd name="connsiteY0" fmla="*/ 7443 h 152835"/>
                      <a:gd name="connsiteX1" fmla="*/ 58357 w 74907"/>
                      <a:gd name="connsiteY1" fmla="*/ 61285 h 152835"/>
                      <a:gd name="connsiteX2" fmla="*/ 74592 w 74907"/>
                      <a:gd name="connsiteY2" fmla="*/ 138194 h 152835"/>
                      <a:gd name="connsiteX3" fmla="*/ 66475 w 74907"/>
                      <a:gd name="connsiteY3" fmla="*/ 151873 h 152835"/>
                      <a:gd name="connsiteX4" fmla="*/ 42546 w 74907"/>
                      <a:gd name="connsiteY4" fmla="*/ 133506 h 152835"/>
                      <a:gd name="connsiteX5" fmla="*/ 1448 w 74907"/>
                      <a:gd name="connsiteY5" fmla="*/ 40299 h 152835"/>
                      <a:gd name="connsiteX6" fmla="*/ 41262 w 74907"/>
                      <a:gd name="connsiteY6" fmla="*/ 7456 h 1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07" h="152835">
                        <a:moveTo>
                          <a:pt x="41262" y="7443"/>
                        </a:moveTo>
                        <a:cubicBezTo>
                          <a:pt x="41262" y="7443"/>
                          <a:pt x="50240" y="22830"/>
                          <a:pt x="58357" y="61285"/>
                        </a:cubicBezTo>
                        <a:cubicBezTo>
                          <a:pt x="66475" y="99739"/>
                          <a:pt x="72884" y="129653"/>
                          <a:pt x="74592" y="138194"/>
                        </a:cubicBezTo>
                        <a:cubicBezTo>
                          <a:pt x="76300" y="146735"/>
                          <a:pt x="70726" y="150115"/>
                          <a:pt x="66475" y="151873"/>
                        </a:cubicBezTo>
                        <a:cubicBezTo>
                          <a:pt x="59205" y="154865"/>
                          <a:pt x="52796" y="151449"/>
                          <a:pt x="42546" y="133506"/>
                        </a:cubicBezTo>
                        <a:cubicBezTo>
                          <a:pt x="33344" y="117408"/>
                          <a:pt x="7333" y="62469"/>
                          <a:pt x="1448" y="40299"/>
                        </a:cubicBezTo>
                        <a:cubicBezTo>
                          <a:pt x="-7255" y="7518"/>
                          <a:pt x="25464" y="-11335"/>
                          <a:pt x="41262" y="745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80" name="Freeform: Shape 2179">
                    <a:extLst>
                      <a:ext uri="{FF2B5EF4-FFF2-40B4-BE49-F238E27FC236}">
                        <a16:creationId xmlns:a16="http://schemas.microsoft.com/office/drawing/2014/main" id="{CE2861F8-B7B6-1737-A23E-726206EDED53}"/>
                      </a:ext>
                    </a:extLst>
                  </p:cNvPr>
                  <p:cNvSpPr/>
                  <p:nvPr/>
                </p:nvSpPr>
                <p:spPr>
                  <a:xfrm>
                    <a:off x="7580145" y="3052433"/>
                    <a:ext cx="63704" cy="30198"/>
                  </a:xfrm>
                  <a:custGeom>
                    <a:avLst/>
                    <a:gdLst>
                      <a:gd name="connsiteX0" fmla="*/ 63705 w 63704"/>
                      <a:gd name="connsiteY0" fmla="*/ 25462 h 30198"/>
                      <a:gd name="connsiteX1" fmla="*/ 61236 w 63704"/>
                      <a:gd name="connsiteY1" fmla="*/ 19489 h 30198"/>
                      <a:gd name="connsiteX2" fmla="*/ 28367 w 63704"/>
                      <a:gd name="connsiteY2" fmla="*/ 1471 h 30198"/>
                      <a:gd name="connsiteX3" fmla="*/ 0 w 63704"/>
                      <a:gd name="connsiteY3" fmla="*/ 0 h 30198"/>
                      <a:gd name="connsiteX4" fmla="*/ 12930 w 63704"/>
                      <a:gd name="connsiteY4" fmla="*/ 7831 h 30198"/>
                      <a:gd name="connsiteX5" fmla="*/ 33891 w 63704"/>
                      <a:gd name="connsiteY5" fmla="*/ 27744 h 30198"/>
                      <a:gd name="connsiteX6" fmla="*/ 37058 w 63704"/>
                      <a:gd name="connsiteY6" fmla="*/ 14626 h 30198"/>
                      <a:gd name="connsiteX7" fmla="*/ 35549 w 63704"/>
                      <a:gd name="connsiteY7" fmla="*/ 9502 h 30198"/>
                      <a:gd name="connsiteX8" fmla="*/ 44303 w 63704"/>
                      <a:gd name="connsiteY8" fmla="*/ 16896 h 30198"/>
                      <a:gd name="connsiteX9" fmla="*/ 58480 w 63704"/>
                      <a:gd name="connsiteY9" fmla="*/ 26846 h 30198"/>
                      <a:gd name="connsiteX10" fmla="*/ 63705 w 63704"/>
                      <a:gd name="connsiteY10" fmla="*/ 25474 h 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704" h="30198">
                        <a:moveTo>
                          <a:pt x="63705" y="25462"/>
                        </a:moveTo>
                        <a:cubicBezTo>
                          <a:pt x="62782" y="23068"/>
                          <a:pt x="61946" y="21085"/>
                          <a:pt x="61236" y="19489"/>
                        </a:cubicBezTo>
                        <a:cubicBezTo>
                          <a:pt x="58517" y="9477"/>
                          <a:pt x="48791" y="2631"/>
                          <a:pt x="28367" y="1471"/>
                        </a:cubicBezTo>
                        <a:cubicBezTo>
                          <a:pt x="21921" y="1097"/>
                          <a:pt x="11571" y="574"/>
                          <a:pt x="0" y="0"/>
                        </a:cubicBezTo>
                        <a:cubicBezTo>
                          <a:pt x="2594" y="1048"/>
                          <a:pt x="10773" y="4539"/>
                          <a:pt x="12930" y="7831"/>
                        </a:cubicBezTo>
                        <a:cubicBezTo>
                          <a:pt x="15499" y="11758"/>
                          <a:pt x="27869" y="29701"/>
                          <a:pt x="33891" y="27744"/>
                        </a:cubicBezTo>
                        <a:cubicBezTo>
                          <a:pt x="39926" y="25786"/>
                          <a:pt x="39165" y="18841"/>
                          <a:pt x="37058" y="14626"/>
                        </a:cubicBezTo>
                        <a:cubicBezTo>
                          <a:pt x="34951" y="10399"/>
                          <a:pt x="34340" y="9801"/>
                          <a:pt x="35549" y="9502"/>
                        </a:cubicBezTo>
                        <a:cubicBezTo>
                          <a:pt x="36759" y="9202"/>
                          <a:pt x="42033" y="11921"/>
                          <a:pt x="44303" y="16896"/>
                        </a:cubicBezTo>
                        <a:cubicBezTo>
                          <a:pt x="46560" y="21871"/>
                          <a:pt x="52744" y="36809"/>
                          <a:pt x="58480" y="26846"/>
                        </a:cubicBezTo>
                        <a:cubicBezTo>
                          <a:pt x="58480" y="26846"/>
                          <a:pt x="61360" y="27906"/>
                          <a:pt x="63705" y="25474"/>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181" name="Graphic 525">
                <a:extLst>
                  <a:ext uri="{FF2B5EF4-FFF2-40B4-BE49-F238E27FC236}">
                    <a16:creationId xmlns:a16="http://schemas.microsoft.com/office/drawing/2014/main" id="{08635C5E-0F6B-A95B-B366-DB543898E628}"/>
                  </a:ext>
                </a:extLst>
              </p:cNvPr>
              <p:cNvGrpSpPr/>
              <p:nvPr/>
            </p:nvGrpSpPr>
            <p:grpSpPr>
              <a:xfrm>
                <a:off x="7415265" y="3053420"/>
                <a:ext cx="127347" cy="308511"/>
                <a:chOff x="7415265" y="3053420"/>
                <a:chExt cx="127347" cy="308511"/>
              </a:xfrm>
            </p:grpSpPr>
            <p:sp>
              <p:nvSpPr>
                <p:cNvPr id="2182" name="Freeform: Shape 2181">
                  <a:extLst>
                    <a:ext uri="{FF2B5EF4-FFF2-40B4-BE49-F238E27FC236}">
                      <a16:creationId xmlns:a16="http://schemas.microsoft.com/office/drawing/2014/main" id="{68A87131-A8B9-FA8B-EB81-9BBB5EDE3AD8}"/>
                    </a:ext>
                  </a:extLst>
                </p:cNvPr>
                <p:cNvSpPr/>
                <p:nvPr/>
              </p:nvSpPr>
              <p:spPr>
                <a:xfrm>
                  <a:off x="7415265" y="3053420"/>
                  <a:ext cx="118107" cy="134430"/>
                </a:xfrm>
                <a:custGeom>
                  <a:avLst/>
                  <a:gdLst>
                    <a:gd name="connsiteX0" fmla="*/ 276 w 118107"/>
                    <a:gd name="connsiteY0" fmla="*/ 38366 h 134430"/>
                    <a:gd name="connsiteX1" fmla="*/ 37745 w 118107"/>
                    <a:gd name="connsiteY1" fmla="*/ 98566 h 134430"/>
                    <a:gd name="connsiteX2" fmla="*/ 102472 w 118107"/>
                    <a:gd name="connsiteY2" fmla="*/ 133181 h 134430"/>
                    <a:gd name="connsiteX3" fmla="*/ 113358 w 118107"/>
                    <a:gd name="connsiteY3" fmla="*/ 84439 h 134430"/>
                    <a:gd name="connsiteX4" fmla="*/ 76836 w 118107"/>
                    <a:gd name="connsiteY4" fmla="*/ 17817 h 134430"/>
                    <a:gd name="connsiteX5" fmla="*/ 276 w 118107"/>
                    <a:gd name="connsiteY5" fmla="*/ 38366 h 13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07" h="134430">
                      <a:moveTo>
                        <a:pt x="276" y="38366"/>
                      </a:moveTo>
                      <a:cubicBezTo>
                        <a:pt x="276" y="38366"/>
                        <a:pt x="10188" y="71658"/>
                        <a:pt x="37745" y="98566"/>
                      </a:cubicBezTo>
                      <a:cubicBezTo>
                        <a:pt x="60115" y="120412"/>
                        <a:pt x="83245" y="139577"/>
                        <a:pt x="102472" y="133181"/>
                      </a:cubicBezTo>
                      <a:cubicBezTo>
                        <a:pt x="121699" y="126771"/>
                        <a:pt x="120403" y="106871"/>
                        <a:pt x="113358" y="84439"/>
                      </a:cubicBezTo>
                      <a:cubicBezTo>
                        <a:pt x="106313" y="62007"/>
                        <a:pt x="85651" y="32929"/>
                        <a:pt x="76836" y="17817"/>
                      </a:cubicBezTo>
                      <a:cubicBezTo>
                        <a:pt x="63382" y="-5251"/>
                        <a:pt x="-4862" y="-12907"/>
                        <a:pt x="276" y="3836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83" name="Graphic 525">
                  <a:extLst>
                    <a:ext uri="{FF2B5EF4-FFF2-40B4-BE49-F238E27FC236}">
                      <a16:creationId xmlns:a16="http://schemas.microsoft.com/office/drawing/2014/main" id="{49F33587-A92D-C159-4371-F0E39A7C6915}"/>
                    </a:ext>
                  </a:extLst>
                </p:cNvPr>
                <p:cNvGrpSpPr/>
                <p:nvPr/>
              </p:nvGrpSpPr>
              <p:grpSpPr>
                <a:xfrm>
                  <a:off x="7496284" y="3264187"/>
                  <a:ext cx="46329" cy="97744"/>
                  <a:chOff x="7496284" y="3264187"/>
                  <a:chExt cx="46329" cy="97744"/>
                </a:xfrm>
              </p:grpSpPr>
              <p:sp>
                <p:nvSpPr>
                  <p:cNvPr id="2184" name="Freeform: Shape 2183">
                    <a:extLst>
                      <a:ext uri="{FF2B5EF4-FFF2-40B4-BE49-F238E27FC236}">
                        <a16:creationId xmlns:a16="http://schemas.microsoft.com/office/drawing/2014/main" id="{C15E1F2F-ADDE-77BD-4D57-3F56CFF36B56}"/>
                      </a:ext>
                    </a:extLst>
                  </p:cNvPr>
                  <p:cNvSpPr/>
                  <p:nvPr/>
                </p:nvSpPr>
                <p:spPr>
                  <a:xfrm>
                    <a:off x="7498905" y="3264187"/>
                    <a:ext cx="42374" cy="96149"/>
                  </a:xfrm>
                  <a:custGeom>
                    <a:avLst/>
                    <a:gdLst>
                      <a:gd name="connsiteX0" fmla="*/ 3508 w 42374"/>
                      <a:gd name="connsiteY0" fmla="*/ 19872 h 96149"/>
                      <a:gd name="connsiteX1" fmla="*/ 3221 w 42374"/>
                      <a:gd name="connsiteY1" fmla="*/ 37528 h 96149"/>
                      <a:gd name="connsiteX2" fmla="*/ 1800 w 42374"/>
                      <a:gd name="connsiteY2" fmla="*/ 60882 h 96149"/>
                      <a:gd name="connsiteX3" fmla="*/ 8072 w 42374"/>
                      <a:gd name="connsiteY3" fmla="*/ 89088 h 96149"/>
                      <a:gd name="connsiteX4" fmla="*/ 41402 w 42374"/>
                      <a:gd name="connsiteY4" fmla="*/ 87953 h 96149"/>
                      <a:gd name="connsiteX5" fmla="*/ 36564 w 42374"/>
                      <a:gd name="connsiteY5" fmla="*/ 47790 h 96149"/>
                      <a:gd name="connsiteX6" fmla="*/ 31439 w 42374"/>
                      <a:gd name="connsiteY6" fmla="*/ 12178 h 96149"/>
                      <a:gd name="connsiteX7" fmla="*/ 3521 w 42374"/>
                      <a:gd name="connsiteY7" fmla="*/ 19872 h 9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74" h="96149">
                        <a:moveTo>
                          <a:pt x="3508" y="19872"/>
                        </a:moveTo>
                        <a:cubicBezTo>
                          <a:pt x="3508" y="19872"/>
                          <a:pt x="4082" y="32116"/>
                          <a:pt x="3221" y="37528"/>
                        </a:cubicBezTo>
                        <a:cubicBezTo>
                          <a:pt x="2361" y="42940"/>
                          <a:pt x="2935" y="52628"/>
                          <a:pt x="1800" y="60882"/>
                        </a:cubicBezTo>
                        <a:cubicBezTo>
                          <a:pt x="665" y="69137"/>
                          <a:pt x="-3898" y="81681"/>
                          <a:pt x="8072" y="89088"/>
                        </a:cubicBezTo>
                        <a:cubicBezTo>
                          <a:pt x="20030" y="96494"/>
                          <a:pt x="37985" y="100771"/>
                          <a:pt x="41402" y="87953"/>
                        </a:cubicBezTo>
                        <a:cubicBezTo>
                          <a:pt x="44818" y="75135"/>
                          <a:pt x="38272" y="58326"/>
                          <a:pt x="36564" y="47790"/>
                        </a:cubicBezTo>
                        <a:cubicBezTo>
                          <a:pt x="34856" y="37254"/>
                          <a:pt x="31589" y="19311"/>
                          <a:pt x="31439" y="12178"/>
                        </a:cubicBezTo>
                        <a:cubicBezTo>
                          <a:pt x="31152" y="-1213"/>
                          <a:pt x="3807" y="-9468"/>
                          <a:pt x="3521" y="19872"/>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85" name="Graphic 525">
                    <a:extLst>
                      <a:ext uri="{FF2B5EF4-FFF2-40B4-BE49-F238E27FC236}">
                        <a16:creationId xmlns:a16="http://schemas.microsoft.com/office/drawing/2014/main" id="{F8B8241C-6820-5818-3134-A97F83301164}"/>
                      </a:ext>
                    </a:extLst>
                  </p:cNvPr>
                  <p:cNvGrpSpPr/>
                  <p:nvPr/>
                </p:nvGrpSpPr>
                <p:grpSpPr>
                  <a:xfrm>
                    <a:off x="7496284" y="3302540"/>
                    <a:ext cx="46329" cy="59391"/>
                    <a:chOff x="7496284" y="3302540"/>
                    <a:chExt cx="46329" cy="59391"/>
                  </a:xfrm>
                </p:grpSpPr>
                <p:sp>
                  <p:nvSpPr>
                    <p:cNvPr id="2186" name="Freeform: Shape 2185">
                      <a:extLst>
                        <a:ext uri="{FF2B5EF4-FFF2-40B4-BE49-F238E27FC236}">
                          <a16:creationId xmlns:a16="http://schemas.microsoft.com/office/drawing/2014/main" id="{60B48B6C-5170-7B66-7877-3788977222E1}"/>
                        </a:ext>
                      </a:extLst>
                    </p:cNvPr>
                    <p:cNvSpPr/>
                    <p:nvPr/>
                  </p:nvSpPr>
                  <p:spPr>
                    <a:xfrm>
                      <a:off x="7498385" y="3335344"/>
                      <a:ext cx="43860" cy="26587"/>
                    </a:xfrm>
                    <a:custGeom>
                      <a:avLst/>
                      <a:gdLst>
                        <a:gd name="connsiteX0" fmla="*/ 674 w 43860"/>
                        <a:gd name="connsiteY0" fmla="*/ 0 h 26587"/>
                        <a:gd name="connsiteX1" fmla="*/ 6285 w 43860"/>
                        <a:gd name="connsiteY1" fmla="*/ 22095 h 26587"/>
                        <a:gd name="connsiteX2" fmla="*/ 39627 w 43860"/>
                        <a:gd name="connsiteY2" fmla="*/ 22457 h 26587"/>
                        <a:gd name="connsiteX3" fmla="*/ 42420 w 43860"/>
                        <a:gd name="connsiteY3" fmla="*/ 1833 h 26587"/>
                        <a:gd name="connsiteX4" fmla="*/ 23542 w 43860"/>
                        <a:gd name="connsiteY4" fmla="*/ 16996 h 26587"/>
                        <a:gd name="connsiteX5" fmla="*/ 686 w 43860"/>
                        <a:gd name="connsiteY5" fmla="*/ 0 h 2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60" h="26587">
                          <a:moveTo>
                            <a:pt x="674" y="0"/>
                          </a:moveTo>
                          <a:cubicBezTo>
                            <a:pt x="674" y="0"/>
                            <a:pt x="-2867" y="16085"/>
                            <a:pt x="6285" y="22095"/>
                          </a:cubicBezTo>
                          <a:cubicBezTo>
                            <a:pt x="15437" y="28105"/>
                            <a:pt x="32171" y="27943"/>
                            <a:pt x="39627" y="22457"/>
                          </a:cubicBezTo>
                          <a:cubicBezTo>
                            <a:pt x="47084" y="16971"/>
                            <a:pt x="42420" y="1833"/>
                            <a:pt x="42420" y="1833"/>
                          </a:cubicBezTo>
                          <a:cubicBezTo>
                            <a:pt x="42420" y="1833"/>
                            <a:pt x="44590" y="16996"/>
                            <a:pt x="23542" y="16996"/>
                          </a:cubicBezTo>
                          <a:cubicBezTo>
                            <a:pt x="-1558" y="16996"/>
                            <a:pt x="686" y="0"/>
                            <a:pt x="686" y="0"/>
                          </a:cubicBezTo>
                          <a:close/>
                        </a:path>
                      </a:pathLst>
                    </a:custGeom>
                    <a:solidFill>
                      <a:srgbClr val="C6584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87" name="Freeform: Shape 2186">
                      <a:extLst>
                        <a:ext uri="{FF2B5EF4-FFF2-40B4-BE49-F238E27FC236}">
                          <a16:creationId xmlns:a16="http://schemas.microsoft.com/office/drawing/2014/main" id="{74391ECA-3785-BD3F-18ED-171459775C96}"/>
                        </a:ext>
                      </a:extLst>
                    </p:cNvPr>
                    <p:cNvSpPr/>
                    <p:nvPr/>
                  </p:nvSpPr>
                  <p:spPr>
                    <a:xfrm>
                      <a:off x="7496284" y="3302540"/>
                      <a:ext cx="46329" cy="52421"/>
                    </a:xfrm>
                    <a:custGeom>
                      <a:avLst/>
                      <a:gdLst>
                        <a:gd name="connsiteX0" fmla="*/ 5743 w 46329"/>
                        <a:gd name="connsiteY0" fmla="*/ 3314 h 52421"/>
                        <a:gd name="connsiteX1" fmla="*/ 5282 w 46329"/>
                        <a:gd name="connsiteY1" fmla="*/ 3402 h 52421"/>
                        <a:gd name="connsiteX2" fmla="*/ 2214 w 46329"/>
                        <a:gd name="connsiteY2" fmla="*/ 19649 h 52421"/>
                        <a:gd name="connsiteX3" fmla="*/ 15182 w 46329"/>
                        <a:gd name="connsiteY3" fmla="*/ 50946 h 52421"/>
                        <a:gd name="connsiteX4" fmla="*/ 46105 w 46329"/>
                        <a:gd name="connsiteY4" fmla="*/ 38203 h 52421"/>
                        <a:gd name="connsiteX5" fmla="*/ 43387 w 46329"/>
                        <a:gd name="connsiteY5" fmla="*/ 18365 h 52421"/>
                        <a:gd name="connsiteX6" fmla="*/ 38000 w 46329"/>
                        <a:gd name="connsiteY6" fmla="*/ 172 h 52421"/>
                        <a:gd name="connsiteX7" fmla="*/ 37514 w 46329"/>
                        <a:gd name="connsiteY7" fmla="*/ 234 h 52421"/>
                        <a:gd name="connsiteX8" fmla="*/ 34484 w 46329"/>
                        <a:gd name="connsiteY8" fmla="*/ 7953 h 52421"/>
                        <a:gd name="connsiteX9" fmla="*/ 21205 w 46329"/>
                        <a:gd name="connsiteY9" fmla="*/ 110 h 52421"/>
                        <a:gd name="connsiteX10" fmla="*/ 5718 w 46329"/>
                        <a:gd name="connsiteY10" fmla="*/ 3314 h 5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29" h="52421">
                          <a:moveTo>
                            <a:pt x="5743" y="3314"/>
                          </a:moveTo>
                          <a:cubicBezTo>
                            <a:pt x="5618" y="3115"/>
                            <a:pt x="5319" y="3165"/>
                            <a:pt x="5282" y="3402"/>
                          </a:cubicBezTo>
                          <a:cubicBezTo>
                            <a:pt x="4945" y="5908"/>
                            <a:pt x="3748" y="14300"/>
                            <a:pt x="2214" y="19649"/>
                          </a:cubicBezTo>
                          <a:cubicBezTo>
                            <a:pt x="406" y="25983"/>
                            <a:pt x="-5629" y="45747"/>
                            <a:pt x="15182" y="50946"/>
                          </a:cubicBezTo>
                          <a:cubicBezTo>
                            <a:pt x="35993" y="56146"/>
                            <a:pt x="44297" y="46569"/>
                            <a:pt x="46105" y="38203"/>
                          </a:cubicBezTo>
                          <a:cubicBezTo>
                            <a:pt x="47053" y="33851"/>
                            <a:pt x="44771" y="24424"/>
                            <a:pt x="43387" y="18365"/>
                          </a:cubicBezTo>
                          <a:cubicBezTo>
                            <a:pt x="42165" y="12990"/>
                            <a:pt x="39123" y="3576"/>
                            <a:pt x="38000" y="172"/>
                          </a:cubicBezTo>
                          <a:cubicBezTo>
                            <a:pt x="37913" y="-90"/>
                            <a:pt x="37539" y="-40"/>
                            <a:pt x="37514" y="234"/>
                          </a:cubicBezTo>
                          <a:cubicBezTo>
                            <a:pt x="37340" y="2791"/>
                            <a:pt x="36729" y="8127"/>
                            <a:pt x="34484" y="7953"/>
                          </a:cubicBezTo>
                          <a:cubicBezTo>
                            <a:pt x="31542" y="7728"/>
                            <a:pt x="30444" y="110"/>
                            <a:pt x="21205" y="110"/>
                          </a:cubicBezTo>
                          <a:cubicBezTo>
                            <a:pt x="11965" y="110"/>
                            <a:pt x="11554" y="13290"/>
                            <a:pt x="5718" y="3314"/>
                          </a:cubicBezTo>
                          <a:close/>
                        </a:path>
                      </a:pathLst>
                    </a:custGeom>
                    <a:solidFill>
                      <a:srgbClr val="DE694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188" name="Graphic 525">
                  <a:extLst>
                    <a:ext uri="{FF2B5EF4-FFF2-40B4-BE49-F238E27FC236}">
                      <a16:creationId xmlns:a16="http://schemas.microsoft.com/office/drawing/2014/main" id="{D8CCCDEE-0A23-4755-C2CB-682DEA42066B}"/>
                    </a:ext>
                  </a:extLst>
                </p:cNvPr>
                <p:cNvGrpSpPr/>
                <p:nvPr/>
              </p:nvGrpSpPr>
              <p:grpSpPr>
                <a:xfrm>
                  <a:off x="7450130" y="3144249"/>
                  <a:ext cx="84230" cy="151958"/>
                  <a:chOff x="7450130" y="3144249"/>
                  <a:chExt cx="84230" cy="151958"/>
                </a:xfrm>
              </p:grpSpPr>
              <p:sp>
                <p:nvSpPr>
                  <p:cNvPr id="2189" name="Freeform: Shape 2188">
                    <a:extLst>
                      <a:ext uri="{FF2B5EF4-FFF2-40B4-BE49-F238E27FC236}">
                        <a16:creationId xmlns:a16="http://schemas.microsoft.com/office/drawing/2014/main" id="{CBFBA63E-DB2E-A804-BB1C-5D6DB68DE897}"/>
                      </a:ext>
                    </a:extLst>
                  </p:cNvPr>
                  <p:cNvSpPr/>
                  <p:nvPr/>
                </p:nvSpPr>
                <p:spPr>
                  <a:xfrm>
                    <a:off x="7485552" y="3146801"/>
                    <a:ext cx="48808" cy="149406"/>
                  </a:xfrm>
                  <a:custGeom>
                    <a:avLst/>
                    <a:gdLst>
                      <a:gd name="connsiteX0" fmla="*/ 36026 w 48808"/>
                      <a:gd name="connsiteY0" fmla="*/ 185 h 149406"/>
                      <a:gd name="connsiteX1" fmla="*/ 127 w 48808"/>
                      <a:gd name="connsiteY1" fmla="*/ 35809 h 149406"/>
                      <a:gd name="connsiteX2" fmla="*/ 1424 w 48808"/>
                      <a:gd name="connsiteY2" fmla="*/ 62219 h 149406"/>
                      <a:gd name="connsiteX3" fmla="*/ 15053 w 48808"/>
                      <a:gd name="connsiteY3" fmla="*/ 126959 h 149406"/>
                      <a:gd name="connsiteX4" fmla="*/ 27061 w 48808"/>
                      <a:gd name="connsiteY4" fmla="*/ 149378 h 149406"/>
                      <a:gd name="connsiteX5" fmla="*/ 44692 w 48808"/>
                      <a:gd name="connsiteY5" fmla="*/ 128766 h 149406"/>
                      <a:gd name="connsiteX6" fmla="*/ 45602 w 48808"/>
                      <a:gd name="connsiteY6" fmla="*/ 113155 h 149406"/>
                      <a:gd name="connsiteX7" fmla="*/ 47572 w 48808"/>
                      <a:gd name="connsiteY7" fmla="*/ 13515 h 149406"/>
                      <a:gd name="connsiteX8" fmla="*/ 36026 w 48808"/>
                      <a:gd name="connsiteY8" fmla="*/ 185 h 1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08" h="149406">
                        <a:moveTo>
                          <a:pt x="36026" y="185"/>
                        </a:moveTo>
                        <a:cubicBezTo>
                          <a:pt x="10389" y="-2072"/>
                          <a:pt x="975" y="16657"/>
                          <a:pt x="127" y="35809"/>
                        </a:cubicBezTo>
                        <a:cubicBezTo>
                          <a:pt x="-185" y="42917"/>
                          <a:pt x="15" y="51832"/>
                          <a:pt x="1424" y="62219"/>
                        </a:cubicBezTo>
                        <a:cubicBezTo>
                          <a:pt x="3793" y="79588"/>
                          <a:pt x="9105" y="107182"/>
                          <a:pt x="15053" y="126959"/>
                        </a:cubicBezTo>
                        <a:cubicBezTo>
                          <a:pt x="18756" y="139278"/>
                          <a:pt x="16187" y="150039"/>
                          <a:pt x="27061" y="149378"/>
                        </a:cubicBezTo>
                        <a:cubicBezTo>
                          <a:pt x="40477" y="148568"/>
                          <a:pt x="45602" y="140999"/>
                          <a:pt x="44692" y="128766"/>
                        </a:cubicBezTo>
                        <a:cubicBezTo>
                          <a:pt x="44243" y="122657"/>
                          <a:pt x="45353" y="115761"/>
                          <a:pt x="45602" y="113155"/>
                        </a:cubicBezTo>
                        <a:cubicBezTo>
                          <a:pt x="46886" y="99701"/>
                          <a:pt x="50777" y="23764"/>
                          <a:pt x="47572" y="13515"/>
                        </a:cubicBezTo>
                        <a:cubicBezTo>
                          <a:pt x="46575" y="10310"/>
                          <a:pt x="44654" y="946"/>
                          <a:pt x="36026" y="185"/>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90" name="Freeform: Shape 2189">
                    <a:extLst>
                      <a:ext uri="{FF2B5EF4-FFF2-40B4-BE49-F238E27FC236}">
                        <a16:creationId xmlns:a16="http://schemas.microsoft.com/office/drawing/2014/main" id="{15F50BC0-DCD0-6D4F-6DC2-83875893D273}"/>
                      </a:ext>
                    </a:extLst>
                  </p:cNvPr>
                  <p:cNvSpPr/>
                  <p:nvPr/>
                </p:nvSpPr>
                <p:spPr>
                  <a:xfrm>
                    <a:off x="7450130" y="3144249"/>
                    <a:ext cx="73774" cy="72536"/>
                  </a:xfrm>
                  <a:custGeom>
                    <a:avLst/>
                    <a:gdLst>
                      <a:gd name="connsiteX0" fmla="*/ 36684 w 73774"/>
                      <a:gd name="connsiteY0" fmla="*/ 15941 h 72536"/>
                      <a:gd name="connsiteX1" fmla="*/ 19938 w 73774"/>
                      <a:gd name="connsiteY1" fmla="*/ 106 h 72536"/>
                      <a:gd name="connsiteX2" fmla="*/ 0 w 73774"/>
                      <a:gd name="connsiteY2" fmla="*/ 4844 h 72536"/>
                      <a:gd name="connsiteX3" fmla="*/ 2880 w 73774"/>
                      <a:gd name="connsiteY3" fmla="*/ 7749 h 72536"/>
                      <a:gd name="connsiteX4" fmla="*/ 35761 w 73774"/>
                      <a:gd name="connsiteY4" fmla="*/ 35243 h 72536"/>
                      <a:gd name="connsiteX5" fmla="*/ 35537 w 73774"/>
                      <a:gd name="connsiteY5" fmla="*/ 38373 h 72536"/>
                      <a:gd name="connsiteX6" fmla="*/ 36834 w 73774"/>
                      <a:gd name="connsiteY6" fmla="*/ 64783 h 72536"/>
                      <a:gd name="connsiteX7" fmla="*/ 37607 w 73774"/>
                      <a:gd name="connsiteY7" fmla="*/ 70144 h 72536"/>
                      <a:gd name="connsiteX8" fmla="*/ 59066 w 73774"/>
                      <a:gd name="connsiteY8" fmla="*/ 65942 h 72536"/>
                      <a:gd name="connsiteX9" fmla="*/ 64952 w 73774"/>
                      <a:gd name="connsiteY9" fmla="*/ 62327 h 72536"/>
                      <a:gd name="connsiteX10" fmla="*/ 65400 w 73774"/>
                      <a:gd name="connsiteY10" fmla="*/ 56441 h 72536"/>
                      <a:gd name="connsiteX11" fmla="*/ 70151 w 73774"/>
                      <a:gd name="connsiteY11" fmla="*/ 51241 h 72536"/>
                      <a:gd name="connsiteX12" fmla="*/ 69241 w 73774"/>
                      <a:gd name="connsiteY12" fmla="*/ 44458 h 72536"/>
                      <a:gd name="connsiteX13" fmla="*/ 73767 w 73774"/>
                      <a:gd name="connsiteY13" fmla="*/ 38124 h 72536"/>
                      <a:gd name="connsiteX14" fmla="*/ 36659 w 73774"/>
                      <a:gd name="connsiteY14" fmla="*/ 15954 h 7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74" h="72536">
                        <a:moveTo>
                          <a:pt x="36684" y="15941"/>
                        </a:moveTo>
                        <a:cubicBezTo>
                          <a:pt x="26497" y="10966"/>
                          <a:pt x="19938" y="106"/>
                          <a:pt x="19938" y="106"/>
                        </a:cubicBezTo>
                        <a:cubicBezTo>
                          <a:pt x="19938" y="106"/>
                          <a:pt x="7170" y="-1129"/>
                          <a:pt x="0" y="4844"/>
                        </a:cubicBezTo>
                        <a:cubicBezTo>
                          <a:pt x="935" y="5817"/>
                          <a:pt x="1895" y="6789"/>
                          <a:pt x="2880" y="7749"/>
                        </a:cubicBezTo>
                        <a:cubicBezTo>
                          <a:pt x="13841" y="18460"/>
                          <a:pt x="24988" y="28510"/>
                          <a:pt x="35761" y="35243"/>
                        </a:cubicBezTo>
                        <a:cubicBezTo>
                          <a:pt x="35662" y="36291"/>
                          <a:pt x="35587" y="37326"/>
                          <a:pt x="35537" y="38373"/>
                        </a:cubicBezTo>
                        <a:cubicBezTo>
                          <a:pt x="35225" y="45481"/>
                          <a:pt x="35425" y="54396"/>
                          <a:pt x="36834" y="64783"/>
                        </a:cubicBezTo>
                        <a:cubicBezTo>
                          <a:pt x="37071" y="66479"/>
                          <a:pt x="37320" y="68274"/>
                          <a:pt x="37607" y="70144"/>
                        </a:cubicBezTo>
                        <a:cubicBezTo>
                          <a:pt x="63505" y="77364"/>
                          <a:pt x="59066" y="65942"/>
                          <a:pt x="59066" y="65942"/>
                        </a:cubicBezTo>
                        <a:cubicBezTo>
                          <a:pt x="59066" y="65942"/>
                          <a:pt x="63368" y="67302"/>
                          <a:pt x="64952" y="62327"/>
                        </a:cubicBezTo>
                        <a:cubicBezTo>
                          <a:pt x="66535" y="57351"/>
                          <a:pt x="65400" y="56441"/>
                          <a:pt x="65400" y="56441"/>
                        </a:cubicBezTo>
                        <a:cubicBezTo>
                          <a:pt x="65400" y="56441"/>
                          <a:pt x="69241" y="55531"/>
                          <a:pt x="70151" y="51241"/>
                        </a:cubicBezTo>
                        <a:cubicBezTo>
                          <a:pt x="71061" y="46940"/>
                          <a:pt x="69241" y="44458"/>
                          <a:pt x="69241" y="44458"/>
                        </a:cubicBezTo>
                        <a:cubicBezTo>
                          <a:pt x="69241" y="44458"/>
                          <a:pt x="73992" y="44009"/>
                          <a:pt x="73767" y="38124"/>
                        </a:cubicBezTo>
                        <a:cubicBezTo>
                          <a:pt x="73318" y="29296"/>
                          <a:pt x="46846" y="20929"/>
                          <a:pt x="36659" y="15954"/>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193" name="Graphic 525">
              <a:extLst>
                <a:ext uri="{FF2B5EF4-FFF2-40B4-BE49-F238E27FC236}">
                  <a16:creationId xmlns:a16="http://schemas.microsoft.com/office/drawing/2014/main" id="{38B16316-F28B-0249-8160-AE202ECC174A}"/>
                </a:ext>
              </a:extLst>
            </p:cNvPr>
            <p:cNvGrpSpPr/>
            <p:nvPr/>
          </p:nvGrpSpPr>
          <p:grpSpPr>
            <a:xfrm>
              <a:off x="3957489" y="2863606"/>
              <a:ext cx="60452" cy="116091"/>
              <a:chOff x="7490101" y="2889004"/>
              <a:chExt cx="72908" cy="140011"/>
            </a:xfrm>
          </p:grpSpPr>
          <p:grpSp>
            <p:nvGrpSpPr>
              <p:cNvPr id="2194" name="Graphic 525">
                <a:extLst>
                  <a:ext uri="{FF2B5EF4-FFF2-40B4-BE49-F238E27FC236}">
                    <a16:creationId xmlns:a16="http://schemas.microsoft.com/office/drawing/2014/main" id="{6398B7D4-FD9B-C2E8-82B7-1C61106B5ED0}"/>
                  </a:ext>
                </a:extLst>
              </p:cNvPr>
              <p:cNvGrpSpPr/>
              <p:nvPr/>
            </p:nvGrpSpPr>
            <p:grpSpPr>
              <a:xfrm>
                <a:off x="7500977" y="2890704"/>
                <a:ext cx="62032" cy="138312"/>
                <a:chOff x="7500977" y="2890704"/>
                <a:chExt cx="62032" cy="138312"/>
              </a:xfrm>
            </p:grpSpPr>
            <p:sp>
              <p:nvSpPr>
                <p:cNvPr id="2195" name="Freeform: Shape 2194">
                  <a:extLst>
                    <a:ext uri="{FF2B5EF4-FFF2-40B4-BE49-F238E27FC236}">
                      <a16:creationId xmlns:a16="http://schemas.microsoft.com/office/drawing/2014/main" id="{EA741DAF-1B5B-6119-A331-B469BDCA1B27}"/>
                    </a:ext>
                  </a:extLst>
                </p:cNvPr>
                <p:cNvSpPr/>
                <p:nvPr/>
              </p:nvSpPr>
              <p:spPr>
                <a:xfrm>
                  <a:off x="7500977" y="2890704"/>
                  <a:ext cx="62032" cy="137749"/>
                </a:xfrm>
                <a:custGeom>
                  <a:avLst/>
                  <a:gdLst>
                    <a:gd name="connsiteX0" fmla="*/ 11399 w 62032"/>
                    <a:gd name="connsiteY0" fmla="*/ 167 h 137749"/>
                    <a:gd name="connsiteX1" fmla="*/ 39455 w 62032"/>
                    <a:gd name="connsiteY1" fmla="*/ 37874 h 137749"/>
                    <a:gd name="connsiteX2" fmla="*/ 61176 w 62032"/>
                    <a:gd name="connsiteY2" fmla="*/ 114796 h 137749"/>
                    <a:gd name="connsiteX3" fmla="*/ 46699 w 62032"/>
                    <a:gd name="connsiteY3" fmla="*/ 137726 h 137749"/>
                    <a:gd name="connsiteX4" fmla="*/ 20751 w 62032"/>
                    <a:gd name="connsiteY4" fmla="*/ 100020 h 137749"/>
                    <a:gd name="connsiteX5" fmla="*/ 11399 w 62032"/>
                    <a:gd name="connsiteY5" fmla="*/ 167 h 13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32" h="137749">
                      <a:moveTo>
                        <a:pt x="11399" y="167"/>
                      </a:moveTo>
                      <a:cubicBezTo>
                        <a:pt x="11399" y="167"/>
                        <a:pt x="31612" y="6502"/>
                        <a:pt x="39455" y="37874"/>
                      </a:cubicBezTo>
                      <a:cubicBezTo>
                        <a:pt x="47298" y="69246"/>
                        <a:pt x="57859" y="102127"/>
                        <a:pt x="61176" y="114796"/>
                      </a:cubicBezTo>
                      <a:cubicBezTo>
                        <a:pt x="64493" y="127464"/>
                        <a:pt x="57859" y="138325"/>
                        <a:pt x="46699" y="137726"/>
                      </a:cubicBezTo>
                      <a:cubicBezTo>
                        <a:pt x="35539" y="137128"/>
                        <a:pt x="25577" y="115706"/>
                        <a:pt x="20751" y="100020"/>
                      </a:cubicBezTo>
                      <a:cubicBezTo>
                        <a:pt x="15926" y="84334"/>
                        <a:pt x="-16956" y="-4359"/>
                        <a:pt x="11399" y="16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96" name="Freeform: Shape 2195">
                  <a:extLst>
                    <a:ext uri="{FF2B5EF4-FFF2-40B4-BE49-F238E27FC236}">
                      <a16:creationId xmlns:a16="http://schemas.microsoft.com/office/drawing/2014/main" id="{163813D5-77E0-C0CB-5523-9A7F7CA67A9B}"/>
                    </a:ext>
                  </a:extLst>
                </p:cNvPr>
                <p:cNvSpPr/>
                <p:nvPr/>
              </p:nvSpPr>
              <p:spPr>
                <a:xfrm>
                  <a:off x="7530967" y="2936689"/>
                  <a:ext cx="26409" cy="92326"/>
                </a:xfrm>
                <a:custGeom>
                  <a:avLst/>
                  <a:gdLst>
                    <a:gd name="connsiteX0" fmla="*/ 0 w 26409"/>
                    <a:gd name="connsiteY0" fmla="*/ 76192 h 92326"/>
                    <a:gd name="connsiteX1" fmla="*/ 4988 w 26409"/>
                    <a:gd name="connsiteY1" fmla="*/ 83835 h 92326"/>
                    <a:gd name="connsiteX2" fmla="*/ 12831 w 26409"/>
                    <a:gd name="connsiteY2" fmla="*/ 92326 h 92326"/>
                    <a:gd name="connsiteX3" fmla="*/ 11883 w 26409"/>
                    <a:gd name="connsiteY3" fmla="*/ 55842 h 92326"/>
                    <a:gd name="connsiteX4" fmla="*/ 26409 w 26409"/>
                    <a:gd name="connsiteY4" fmla="*/ 52189 h 92326"/>
                    <a:gd name="connsiteX5" fmla="*/ 11608 w 26409"/>
                    <a:gd name="connsiteY5" fmla="*/ 230 h 92326"/>
                    <a:gd name="connsiteX6" fmla="*/ 2718 w 26409"/>
                    <a:gd name="connsiteY6" fmla="*/ 404 h 92326"/>
                    <a:gd name="connsiteX7" fmla="*/ 0 w 26409"/>
                    <a:gd name="connsiteY7" fmla="*/ 76179 h 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09" h="92326">
                      <a:moveTo>
                        <a:pt x="0" y="76192"/>
                      </a:moveTo>
                      <a:cubicBezTo>
                        <a:pt x="1559" y="78997"/>
                        <a:pt x="3229" y="81603"/>
                        <a:pt x="4988" y="83835"/>
                      </a:cubicBezTo>
                      <a:cubicBezTo>
                        <a:pt x="7344" y="86915"/>
                        <a:pt x="9988" y="89733"/>
                        <a:pt x="12831" y="92326"/>
                      </a:cubicBezTo>
                      <a:cubicBezTo>
                        <a:pt x="18055" y="78211"/>
                        <a:pt x="11883" y="55842"/>
                        <a:pt x="11883" y="55842"/>
                      </a:cubicBezTo>
                      <a:cubicBezTo>
                        <a:pt x="16434" y="55218"/>
                        <a:pt x="22843" y="53323"/>
                        <a:pt x="26409" y="52189"/>
                      </a:cubicBezTo>
                      <a:cubicBezTo>
                        <a:pt x="22282" y="38248"/>
                        <a:pt x="16609" y="19320"/>
                        <a:pt x="11608" y="230"/>
                      </a:cubicBezTo>
                      <a:cubicBezTo>
                        <a:pt x="8903" y="-144"/>
                        <a:pt x="5885" y="-45"/>
                        <a:pt x="2718" y="404"/>
                      </a:cubicBezTo>
                      <a:cubicBezTo>
                        <a:pt x="2456" y="9993"/>
                        <a:pt x="1870" y="46316"/>
                        <a:pt x="0" y="76179"/>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97" name="Freeform: Shape 2196">
                <a:extLst>
                  <a:ext uri="{FF2B5EF4-FFF2-40B4-BE49-F238E27FC236}">
                    <a16:creationId xmlns:a16="http://schemas.microsoft.com/office/drawing/2014/main" id="{9E9E136F-CDA1-B5FF-4797-A2FEF7A88FB1}"/>
                  </a:ext>
                </a:extLst>
              </p:cNvPr>
              <p:cNvSpPr/>
              <p:nvPr/>
            </p:nvSpPr>
            <p:spPr>
              <a:xfrm>
                <a:off x="7490101" y="2889004"/>
                <a:ext cx="64058" cy="91482"/>
              </a:xfrm>
              <a:custGeom>
                <a:avLst/>
                <a:gdLst>
                  <a:gd name="connsiteX0" fmla="*/ 28011 w 64058"/>
                  <a:gd name="connsiteY0" fmla="*/ 2465 h 91482"/>
                  <a:gd name="connsiteX1" fmla="*/ 49882 w 64058"/>
                  <a:gd name="connsiteY1" fmla="*/ 32778 h 91482"/>
                  <a:gd name="connsiteX2" fmla="*/ 64059 w 64058"/>
                  <a:gd name="connsiteY2" fmla="*/ 76669 h 91482"/>
                  <a:gd name="connsiteX3" fmla="*/ 15043 w 64058"/>
                  <a:gd name="connsiteY3" fmla="*/ 91445 h 91482"/>
                  <a:gd name="connsiteX4" fmla="*/ 866 w 64058"/>
                  <a:gd name="connsiteY4" fmla="*/ 7727 h 91482"/>
                  <a:gd name="connsiteX5" fmla="*/ 28011 w 64058"/>
                  <a:gd name="connsiteY5" fmla="*/ 2453 h 9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58" h="91482">
                    <a:moveTo>
                      <a:pt x="28011" y="2465"/>
                    </a:moveTo>
                    <a:cubicBezTo>
                      <a:pt x="28011" y="2465"/>
                      <a:pt x="43547" y="13924"/>
                      <a:pt x="49882" y="32778"/>
                    </a:cubicBezTo>
                    <a:cubicBezTo>
                      <a:pt x="56216" y="51631"/>
                      <a:pt x="64059" y="76669"/>
                      <a:pt x="64059" y="76669"/>
                    </a:cubicBezTo>
                    <a:cubicBezTo>
                      <a:pt x="64059" y="76669"/>
                      <a:pt x="47014" y="92355"/>
                      <a:pt x="15043" y="91445"/>
                    </a:cubicBezTo>
                    <a:cubicBezTo>
                      <a:pt x="15043" y="91445"/>
                      <a:pt x="-4259" y="21156"/>
                      <a:pt x="866" y="7727"/>
                    </a:cubicBezTo>
                    <a:cubicBezTo>
                      <a:pt x="5991" y="-5702"/>
                      <a:pt x="28011" y="2453"/>
                      <a:pt x="28011" y="2453"/>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98" name="Graphic 525">
              <a:extLst>
                <a:ext uri="{FF2B5EF4-FFF2-40B4-BE49-F238E27FC236}">
                  <a16:creationId xmlns:a16="http://schemas.microsoft.com/office/drawing/2014/main" id="{FC443631-8BC8-3C23-C2AE-522D34BCB743}"/>
                </a:ext>
              </a:extLst>
            </p:cNvPr>
            <p:cNvGrpSpPr/>
            <p:nvPr/>
          </p:nvGrpSpPr>
          <p:grpSpPr>
            <a:xfrm>
              <a:off x="3890111" y="2816350"/>
              <a:ext cx="137886" cy="268779"/>
              <a:chOff x="7408840" y="2832011"/>
              <a:chExt cx="166296" cy="324160"/>
            </a:xfrm>
          </p:grpSpPr>
          <p:grpSp>
            <p:nvGrpSpPr>
              <p:cNvPr id="2199" name="Graphic 525">
                <a:extLst>
                  <a:ext uri="{FF2B5EF4-FFF2-40B4-BE49-F238E27FC236}">
                    <a16:creationId xmlns:a16="http://schemas.microsoft.com/office/drawing/2014/main" id="{AA7134C2-195C-92D2-7AAE-3C088F7993FE}"/>
                  </a:ext>
                </a:extLst>
              </p:cNvPr>
              <p:cNvGrpSpPr/>
              <p:nvPr/>
            </p:nvGrpSpPr>
            <p:grpSpPr>
              <a:xfrm>
                <a:off x="7412506" y="2832011"/>
                <a:ext cx="120929" cy="295488"/>
                <a:chOff x="7412506" y="2832011"/>
                <a:chExt cx="120929" cy="295488"/>
              </a:xfrm>
            </p:grpSpPr>
            <p:grpSp>
              <p:nvGrpSpPr>
                <p:cNvPr id="2200" name="Graphic 525">
                  <a:extLst>
                    <a:ext uri="{FF2B5EF4-FFF2-40B4-BE49-F238E27FC236}">
                      <a16:creationId xmlns:a16="http://schemas.microsoft.com/office/drawing/2014/main" id="{88218057-FEBE-F37A-587C-E312C3B53CFD}"/>
                    </a:ext>
                  </a:extLst>
                </p:cNvPr>
                <p:cNvGrpSpPr/>
                <p:nvPr/>
              </p:nvGrpSpPr>
              <p:grpSpPr>
                <a:xfrm>
                  <a:off x="7412506" y="2832011"/>
                  <a:ext cx="119615" cy="295488"/>
                  <a:chOff x="7412506" y="2832011"/>
                  <a:chExt cx="119615" cy="295488"/>
                </a:xfrm>
              </p:grpSpPr>
              <p:sp>
                <p:nvSpPr>
                  <p:cNvPr id="2201" name="Freeform: Shape 2200">
                    <a:extLst>
                      <a:ext uri="{FF2B5EF4-FFF2-40B4-BE49-F238E27FC236}">
                        <a16:creationId xmlns:a16="http://schemas.microsoft.com/office/drawing/2014/main" id="{6A7D1040-62D0-2FDD-987E-32217C63B74A}"/>
                      </a:ext>
                    </a:extLst>
                  </p:cNvPr>
                  <p:cNvSpPr/>
                  <p:nvPr/>
                </p:nvSpPr>
                <p:spPr>
                  <a:xfrm>
                    <a:off x="7412506" y="3029951"/>
                    <a:ext cx="113446" cy="97548"/>
                  </a:xfrm>
                  <a:custGeom>
                    <a:avLst/>
                    <a:gdLst>
                      <a:gd name="connsiteX0" fmla="*/ 4307 w 113446"/>
                      <a:gd name="connsiteY0" fmla="*/ 3142 h 97548"/>
                      <a:gd name="connsiteX1" fmla="*/ 1950 w 113446"/>
                      <a:gd name="connsiteY1" fmla="*/ 20138 h 97548"/>
                      <a:gd name="connsiteX2" fmla="*/ 28098 w 113446"/>
                      <a:gd name="connsiteY2" fmla="*/ 91773 h 97548"/>
                      <a:gd name="connsiteX3" fmla="*/ 108361 w 113446"/>
                      <a:gd name="connsiteY3" fmla="*/ 53991 h 97548"/>
                      <a:gd name="connsiteX4" fmla="*/ 113324 w 113446"/>
                      <a:gd name="connsiteY4" fmla="*/ 17519 h 97548"/>
                      <a:gd name="connsiteX5" fmla="*/ 112538 w 113446"/>
                      <a:gd name="connsiteY5" fmla="*/ 0 h 97548"/>
                      <a:gd name="connsiteX6" fmla="*/ 4294 w 113446"/>
                      <a:gd name="connsiteY6" fmla="*/ 3142 h 9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46" h="97548">
                        <a:moveTo>
                          <a:pt x="4307" y="3142"/>
                        </a:moveTo>
                        <a:cubicBezTo>
                          <a:pt x="4307" y="3142"/>
                          <a:pt x="3521" y="13604"/>
                          <a:pt x="1950" y="20138"/>
                        </a:cubicBezTo>
                        <a:cubicBezTo>
                          <a:pt x="379" y="26672"/>
                          <a:pt x="-7988" y="78181"/>
                          <a:pt x="28098" y="91773"/>
                        </a:cubicBezTo>
                        <a:cubicBezTo>
                          <a:pt x="64183" y="105364"/>
                          <a:pt x="97126" y="95825"/>
                          <a:pt x="108361" y="53991"/>
                        </a:cubicBezTo>
                        <a:cubicBezTo>
                          <a:pt x="110980" y="42619"/>
                          <a:pt x="114110" y="30724"/>
                          <a:pt x="113324" y="17519"/>
                        </a:cubicBezTo>
                        <a:cubicBezTo>
                          <a:pt x="112700" y="7033"/>
                          <a:pt x="112538" y="0"/>
                          <a:pt x="112538" y="0"/>
                        </a:cubicBezTo>
                        <a:cubicBezTo>
                          <a:pt x="112538" y="0"/>
                          <a:pt x="73061" y="19614"/>
                          <a:pt x="4294" y="3142"/>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02" name="Graphic 525">
                    <a:extLst>
                      <a:ext uri="{FF2B5EF4-FFF2-40B4-BE49-F238E27FC236}">
                        <a16:creationId xmlns:a16="http://schemas.microsoft.com/office/drawing/2014/main" id="{2E5F59AD-F894-FB5D-F4B7-C8C5DB13608B}"/>
                      </a:ext>
                    </a:extLst>
                  </p:cNvPr>
                  <p:cNvGrpSpPr/>
                  <p:nvPr/>
                </p:nvGrpSpPr>
                <p:grpSpPr>
                  <a:xfrm>
                    <a:off x="7414388" y="2832011"/>
                    <a:ext cx="117733" cy="250486"/>
                    <a:chOff x="7414388" y="2832011"/>
                    <a:chExt cx="117733" cy="250486"/>
                  </a:xfrm>
                </p:grpSpPr>
                <p:sp>
                  <p:nvSpPr>
                    <p:cNvPr id="2203" name="Freeform: Shape 2202">
                      <a:extLst>
                        <a:ext uri="{FF2B5EF4-FFF2-40B4-BE49-F238E27FC236}">
                          <a16:creationId xmlns:a16="http://schemas.microsoft.com/office/drawing/2014/main" id="{B9F16CF3-9EFC-C531-4337-8AC71950E92B}"/>
                        </a:ext>
                      </a:extLst>
                    </p:cNvPr>
                    <p:cNvSpPr/>
                    <p:nvPr/>
                  </p:nvSpPr>
                  <p:spPr>
                    <a:xfrm>
                      <a:off x="7414388" y="2877022"/>
                      <a:ext cx="117733" cy="205475"/>
                    </a:xfrm>
                    <a:custGeom>
                      <a:avLst/>
                      <a:gdLst>
                        <a:gd name="connsiteX0" fmla="*/ 59782 w 117733"/>
                        <a:gd name="connsiteY0" fmla="*/ 21 h 205475"/>
                        <a:gd name="connsiteX1" fmla="*/ 6190 w 117733"/>
                        <a:gd name="connsiteY1" fmla="*/ 16867 h 205475"/>
                        <a:gd name="connsiteX2" fmla="*/ 1913 w 117733"/>
                        <a:gd name="connsiteY2" fmla="*/ 83651 h 205475"/>
                        <a:gd name="connsiteX3" fmla="*/ 3384 w 117733"/>
                        <a:gd name="connsiteY3" fmla="*/ 174987 h 205475"/>
                        <a:gd name="connsiteX4" fmla="*/ 73885 w 117733"/>
                        <a:gd name="connsiteY4" fmla="*/ 202544 h 205475"/>
                        <a:gd name="connsiteX5" fmla="*/ 109135 w 117733"/>
                        <a:gd name="connsiteY5" fmla="*/ 163453 h 205475"/>
                        <a:gd name="connsiteX6" fmla="*/ 113474 w 117733"/>
                        <a:gd name="connsiteY6" fmla="*/ 100036 h 205475"/>
                        <a:gd name="connsiteX7" fmla="*/ 102327 w 117733"/>
                        <a:gd name="connsiteY7" fmla="*/ 16655 h 205475"/>
                        <a:gd name="connsiteX8" fmla="*/ 59782 w 117733"/>
                        <a:gd name="connsiteY8" fmla="*/ 21 h 20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33" h="205475">
                          <a:moveTo>
                            <a:pt x="59782" y="21"/>
                          </a:moveTo>
                          <a:cubicBezTo>
                            <a:pt x="59782" y="21"/>
                            <a:pt x="25417" y="-228"/>
                            <a:pt x="6190" y="16867"/>
                          </a:cubicBezTo>
                          <a:cubicBezTo>
                            <a:pt x="-855" y="23912"/>
                            <a:pt x="-1291" y="55446"/>
                            <a:pt x="1913" y="83651"/>
                          </a:cubicBezTo>
                          <a:cubicBezTo>
                            <a:pt x="5118" y="111856"/>
                            <a:pt x="2749" y="158329"/>
                            <a:pt x="3384" y="174987"/>
                          </a:cubicBezTo>
                          <a:cubicBezTo>
                            <a:pt x="4020" y="191646"/>
                            <a:pt x="41191" y="213442"/>
                            <a:pt x="73885" y="202544"/>
                          </a:cubicBezTo>
                          <a:cubicBezTo>
                            <a:pt x="106566" y="191646"/>
                            <a:pt x="109135" y="163453"/>
                            <a:pt x="109135" y="163453"/>
                          </a:cubicBezTo>
                          <a:cubicBezTo>
                            <a:pt x="109135" y="163453"/>
                            <a:pt x="109546" y="125248"/>
                            <a:pt x="113474" y="100036"/>
                          </a:cubicBezTo>
                          <a:cubicBezTo>
                            <a:pt x="118200" y="69673"/>
                            <a:pt x="123474" y="34598"/>
                            <a:pt x="102327" y="16655"/>
                          </a:cubicBezTo>
                          <a:cubicBezTo>
                            <a:pt x="81179" y="-1288"/>
                            <a:pt x="59782" y="21"/>
                            <a:pt x="59782" y="2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04" name="Graphic 525">
                      <a:extLst>
                        <a:ext uri="{FF2B5EF4-FFF2-40B4-BE49-F238E27FC236}">
                          <a16:creationId xmlns:a16="http://schemas.microsoft.com/office/drawing/2014/main" id="{3F35413D-D5DB-3BAB-7343-D2153542B4BC}"/>
                        </a:ext>
                      </a:extLst>
                    </p:cNvPr>
                    <p:cNvGrpSpPr/>
                    <p:nvPr/>
                  </p:nvGrpSpPr>
                  <p:grpSpPr>
                    <a:xfrm>
                      <a:off x="7454139" y="2832011"/>
                      <a:ext cx="47444" cy="67769"/>
                      <a:chOff x="7454139" y="2832011"/>
                      <a:chExt cx="47444" cy="67769"/>
                    </a:xfrm>
                  </p:grpSpPr>
                  <p:sp>
                    <p:nvSpPr>
                      <p:cNvPr id="2205" name="Freeform: Shape 2204">
                        <a:extLst>
                          <a:ext uri="{FF2B5EF4-FFF2-40B4-BE49-F238E27FC236}">
                            <a16:creationId xmlns:a16="http://schemas.microsoft.com/office/drawing/2014/main" id="{0BA21AE3-E13A-6EFF-4010-F0A4AD4C73CB}"/>
                          </a:ext>
                        </a:extLst>
                      </p:cNvPr>
                      <p:cNvSpPr/>
                      <p:nvPr/>
                    </p:nvSpPr>
                    <p:spPr>
                      <a:xfrm>
                        <a:off x="7454139" y="2832011"/>
                        <a:ext cx="47431" cy="67769"/>
                      </a:xfrm>
                      <a:custGeom>
                        <a:avLst/>
                        <a:gdLst>
                          <a:gd name="connsiteX0" fmla="*/ 6827 w 47431"/>
                          <a:gd name="connsiteY0" fmla="*/ 15293 h 67769"/>
                          <a:gd name="connsiteX1" fmla="*/ 2213 w 47431"/>
                          <a:gd name="connsiteY1" fmla="*/ 46429 h 67769"/>
                          <a:gd name="connsiteX2" fmla="*/ 26428 w 47431"/>
                          <a:gd name="connsiteY2" fmla="*/ 67763 h 67769"/>
                          <a:gd name="connsiteX3" fmla="*/ 46603 w 47431"/>
                          <a:gd name="connsiteY3" fmla="*/ 54209 h 67769"/>
                          <a:gd name="connsiteX4" fmla="*/ 46603 w 47431"/>
                          <a:gd name="connsiteY4" fmla="*/ 38935 h 67769"/>
                          <a:gd name="connsiteX5" fmla="*/ 29308 w 47431"/>
                          <a:gd name="connsiteY5" fmla="*/ 305 h 67769"/>
                          <a:gd name="connsiteX6" fmla="*/ 6827 w 47431"/>
                          <a:gd name="connsiteY6" fmla="*/ 15293 h 6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31" h="67769">
                            <a:moveTo>
                              <a:pt x="6827" y="15293"/>
                            </a:moveTo>
                            <a:cubicBezTo>
                              <a:pt x="6827" y="15293"/>
                              <a:pt x="7113" y="36341"/>
                              <a:pt x="2213" y="46429"/>
                            </a:cubicBezTo>
                            <a:cubicBezTo>
                              <a:pt x="-4346" y="57962"/>
                              <a:pt x="3659" y="68050"/>
                              <a:pt x="26428" y="67763"/>
                            </a:cubicBezTo>
                            <a:cubicBezTo>
                              <a:pt x="49209" y="67477"/>
                              <a:pt x="46603" y="54209"/>
                              <a:pt x="46603" y="54209"/>
                            </a:cubicBezTo>
                            <a:cubicBezTo>
                              <a:pt x="46603" y="54209"/>
                              <a:pt x="45481" y="50182"/>
                              <a:pt x="46603" y="38935"/>
                            </a:cubicBezTo>
                            <a:cubicBezTo>
                              <a:pt x="48623" y="18760"/>
                              <a:pt x="48336" y="2039"/>
                              <a:pt x="29308" y="305"/>
                            </a:cubicBezTo>
                            <a:cubicBezTo>
                              <a:pt x="12500" y="-1228"/>
                              <a:pt x="7687" y="2899"/>
                              <a:pt x="6827" y="1529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06" name="Freeform: Shape 2205">
                        <a:extLst>
                          <a:ext uri="{FF2B5EF4-FFF2-40B4-BE49-F238E27FC236}">
                            <a16:creationId xmlns:a16="http://schemas.microsoft.com/office/drawing/2014/main" id="{74A38AAB-7F6A-E26A-9006-F6508D2CBE8D}"/>
                          </a:ext>
                        </a:extLst>
                      </p:cNvPr>
                      <p:cNvSpPr/>
                      <p:nvPr/>
                    </p:nvSpPr>
                    <p:spPr>
                      <a:xfrm>
                        <a:off x="7460916" y="2832011"/>
                        <a:ext cx="40667" cy="51079"/>
                      </a:xfrm>
                      <a:custGeom>
                        <a:avLst/>
                        <a:gdLst>
                          <a:gd name="connsiteX0" fmla="*/ 22532 w 40667"/>
                          <a:gd name="connsiteY0" fmla="*/ 305 h 51079"/>
                          <a:gd name="connsiteX1" fmla="*/ 50 w 40667"/>
                          <a:gd name="connsiteY1" fmla="*/ 15293 h 51079"/>
                          <a:gd name="connsiteX2" fmla="*/ 0 w 40667"/>
                          <a:gd name="connsiteY2" fmla="*/ 19583 h 51079"/>
                          <a:gd name="connsiteX3" fmla="*/ 39427 w 40667"/>
                          <a:gd name="connsiteY3" fmla="*/ 51080 h 51079"/>
                          <a:gd name="connsiteX4" fmla="*/ 39839 w 40667"/>
                          <a:gd name="connsiteY4" fmla="*/ 38922 h 51079"/>
                          <a:gd name="connsiteX5" fmla="*/ 22544 w 40667"/>
                          <a:gd name="connsiteY5" fmla="*/ 293 h 5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7" h="51079">
                            <a:moveTo>
                              <a:pt x="22532" y="305"/>
                            </a:moveTo>
                            <a:cubicBezTo>
                              <a:pt x="5723" y="-1228"/>
                              <a:pt x="911" y="2899"/>
                              <a:pt x="50" y="15293"/>
                            </a:cubicBezTo>
                            <a:cubicBezTo>
                              <a:pt x="50" y="15293"/>
                              <a:pt x="75" y="16964"/>
                              <a:pt x="0" y="19583"/>
                            </a:cubicBezTo>
                            <a:cubicBezTo>
                              <a:pt x="12432" y="39059"/>
                              <a:pt x="26771" y="47788"/>
                              <a:pt x="39427" y="51080"/>
                            </a:cubicBezTo>
                            <a:cubicBezTo>
                              <a:pt x="39265" y="48686"/>
                              <a:pt x="39240" y="44783"/>
                              <a:pt x="39839" y="38922"/>
                            </a:cubicBezTo>
                            <a:cubicBezTo>
                              <a:pt x="41859" y="18747"/>
                              <a:pt x="41572" y="2026"/>
                              <a:pt x="22544" y="293"/>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207" name="Graphic 525">
                  <a:extLst>
                    <a:ext uri="{FF2B5EF4-FFF2-40B4-BE49-F238E27FC236}">
                      <a16:creationId xmlns:a16="http://schemas.microsoft.com/office/drawing/2014/main" id="{5CF76632-D83E-FBB2-0D22-53A7BA085388}"/>
                    </a:ext>
                  </a:extLst>
                </p:cNvPr>
                <p:cNvGrpSpPr/>
                <p:nvPr/>
              </p:nvGrpSpPr>
              <p:grpSpPr>
                <a:xfrm>
                  <a:off x="7413097" y="2879724"/>
                  <a:ext cx="120338" cy="201691"/>
                  <a:chOff x="7413097" y="2879724"/>
                  <a:chExt cx="120338" cy="201691"/>
                </a:xfrm>
              </p:grpSpPr>
              <p:sp>
                <p:nvSpPr>
                  <p:cNvPr id="2208" name="Freeform: Shape 2207">
                    <a:extLst>
                      <a:ext uri="{FF2B5EF4-FFF2-40B4-BE49-F238E27FC236}">
                        <a16:creationId xmlns:a16="http://schemas.microsoft.com/office/drawing/2014/main" id="{9C4ED6A7-18DC-B798-8F40-1026D12AA393}"/>
                      </a:ext>
                    </a:extLst>
                  </p:cNvPr>
                  <p:cNvSpPr/>
                  <p:nvPr/>
                </p:nvSpPr>
                <p:spPr>
                  <a:xfrm>
                    <a:off x="7413097" y="2879724"/>
                    <a:ext cx="120338" cy="201679"/>
                  </a:xfrm>
                  <a:custGeom>
                    <a:avLst/>
                    <a:gdLst>
                      <a:gd name="connsiteX0" fmla="*/ 103693 w 120338"/>
                      <a:gd name="connsiteY0" fmla="*/ 12357 h 201679"/>
                      <a:gd name="connsiteX1" fmla="*/ 88057 w 120338"/>
                      <a:gd name="connsiteY1" fmla="*/ 3803 h 201679"/>
                      <a:gd name="connsiteX2" fmla="*/ 73331 w 120338"/>
                      <a:gd name="connsiteY2" fmla="*/ 20200 h 201679"/>
                      <a:gd name="connsiteX3" fmla="*/ 38218 w 120338"/>
                      <a:gd name="connsiteY3" fmla="*/ 0 h 201679"/>
                      <a:gd name="connsiteX4" fmla="*/ 7457 w 120338"/>
                      <a:gd name="connsiteY4" fmla="*/ 14165 h 201679"/>
                      <a:gd name="connsiteX5" fmla="*/ 1447 w 120338"/>
                      <a:gd name="connsiteY5" fmla="*/ 81922 h 201679"/>
                      <a:gd name="connsiteX6" fmla="*/ 3704 w 120338"/>
                      <a:gd name="connsiteY6" fmla="*/ 153632 h 201679"/>
                      <a:gd name="connsiteX7" fmla="*/ 75152 w 120338"/>
                      <a:gd name="connsiteY7" fmla="*/ 199842 h 201679"/>
                      <a:gd name="connsiteX8" fmla="*/ 111948 w 120338"/>
                      <a:gd name="connsiteY8" fmla="*/ 150228 h 201679"/>
                      <a:gd name="connsiteX9" fmla="*/ 116811 w 120338"/>
                      <a:gd name="connsiteY9" fmla="*/ 97296 h 201679"/>
                      <a:gd name="connsiteX10" fmla="*/ 120315 w 120338"/>
                      <a:gd name="connsiteY10" fmla="*/ 63243 h 201679"/>
                      <a:gd name="connsiteX11" fmla="*/ 103681 w 120338"/>
                      <a:gd name="connsiteY11" fmla="*/ 12344 h 20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338" h="201679">
                        <a:moveTo>
                          <a:pt x="103693" y="12357"/>
                        </a:moveTo>
                        <a:cubicBezTo>
                          <a:pt x="98419" y="7881"/>
                          <a:pt x="93244" y="5499"/>
                          <a:pt x="88057" y="3803"/>
                        </a:cubicBezTo>
                        <a:cubicBezTo>
                          <a:pt x="87359" y="9040"/>
                          <a:pt x="86985" y="19564"/>
                          <a:pt x="73331" y="20200"/>
                        </a:cubicBezTo>
                        <a:cubicBezTo>
                          <a:pt x="59652" y="20836"/>
                          <a:pt x="47233" y="5574"/>
                          <a:pt x="38218" y="0"/>
                        </a:cubicBezTo>
                        <a:cubicBezTo>
                          <a:pt x="27918" y="2269"/>
                          <a:pt x="16148" y="6446"/>
                          <a:pt x="7457" y="14165"/>
                        </a:cubicBezTo>
                        <a:cubicBezTo>
                          <a:pt x="412" y="21210"/>
                          <a:pt x="-1758" y="53717"/>
                          <a:pt x="1447" y="81922"/>
                        </a:cubicBezTo>
                        <a:cubicBezTo>
                          <a:pt x="4651" y="110127"/>
                          <a:pt x="3055" y="136973"/>
                          <a:pt x="3704" y="153632"/>
                        </a:cubicBezTo>
                        <a:cubicBezTo>
                          <a:pt x="4340" y="170290"/>
                          <a:pt x="42470" y="210740"/>
                          <a:pt x="75152" y="199842"/>
                        </a:cubicBezTo>
                        <a:cubicBezTo>
                          <a:pt x="107833" y="188944"/>
                          <a:pt x="111948" y="150228"/>
                          <a:pt x="111948" y="150228"/>
                        </a:cubicBezTo>
                        <a:cubicBezTo>
                          <a:pt x="111948" y="150228"/>
                          <a:pt x="112883" y="122509"/>
                          <a:pt x="116811" y="97296"/>
                        </a:cubicBezTo>
                        <a:cubicBezTo>
                          <a:pt x="118532" y="86224"/>
                          <a:pt x="120103" y="74515"/>
                          <a:pt x="120315" y="63243"/>
                        </a:cubicBezTo>
                        <a:cubicBezTo>
                          <a:pt x="120676" y="43629"/>
                          <a:pt x="117110" y="23741"/>
                          <a:pt x="103681" y="12344"/>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09" name="Freeform: Shape 2208">
                    <a:extLst>
                      <a:ext uri="{FF2B5EF4-FFF2-40B4-BE49-F238E27FC236}">
                        <a16:creationId xmlns:a16="http://schemas.microsoft.com/office/drawing/2014/main" id="{D0FD0EFB-06CB-B39C-0D8F-141D5A2EA124}"/>
                      </a:ext>
                    </a:extLst>
                  </p:cNvPr>
                  <p:cNvSpPr/>
                  <p:nvPr/>
                </p:nvSpPr>
                <p:spPr>
                  <a:xfrm>
                    <a:off x="7413111" y="2908614"/>
                    <a:ext cx="66907" cy="172800"/>
                  </a:xfrm>
                  <a:custGeom>
                    <a:avLst/>
                    <a:gdLst>
                      <a:gd name="connsiteX0" fmla="*/ 66097 w 66907"/>
                      <a:gd name="connsiteY0" fmla="*/ 172709 h 172800"/>
                      <a:gd name="connsiteX1" fmla="*/ 63516 w 66907"/>
                      <a:gd name="connsiteY1" fmla="*/ 169218 h 172800"/>
                      <a:gd name="connsiteX2" fmla="*/ 66907 w 66907"/>
                      <a:gd name="connsiteY2" fmla="*/ 164692 h 172800"/>
                      <a:gd name="connsiteX3" fmla="*/ 46770 w 66907"/>
                      <a:gd name="connsiteY3" fmla="*/ 153607 h 172800"/>
                      <a:gd name="connsiteX4" fmla="*/ 37493 w 66907"/>
                      <a:gd name="connsiteY4" fmla="*/ 137547 h 172800"/>
                      <a:gd name="connsiteX5" fmla="*/ 16682 w 66907"/>
                      <a:gd name="connsiteY5" fmla="*/ 105651 h 172800"/>
                      <a:gd name="connsiteX6" fmla="*/ 28902 w 66907"/>
                      <a:gd name="connsiteY6" fmla="*/ 52258 h 172800"/>
                      <a:gd name="connsiteX7" fmla="*/ 34563 w 66907"/>
                      <a:gd name="connsiteY7" fmla="*/ 53168 h 172800"/>
                      <a:gd name="connsiteX8" fmla="*/ 37505 w 66907"/>
                      <a:gd name="connsiteY8" fmla="*/ 0 h 172800"/>
                      <a:gd name="connsiteX9" fmla="*/ 1744 w 66907"/>
                      <a:gd name="connsiteY9" fmla="*/ 1546 h 172800"/>
                      <a:gd name="connsiteX10" fmla="*/ 1445 w 66907"/>
                      <a:gd name="connsiteY10" fmla="*/ 53044 h 172800"/>
                      <a:gd name="connsiteX11" fmla="*/ 3702 w 66907"/>
                      <a:gd name="connsiteY11" fmla="*/ 124753 h 172800"/>
                      <a:gd name="connsiteX12" fmla="*/ 66097 w 66907"/>
                      <a:gd name="connsiteY12" fmla="*/ 172722 h 1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907" h="172800">
                        <a:moveTo>
                          <a:pt x="66097" y="172709"/>
                        </a:moveTo>
                        <a:cubicBezTo>
                          <a:pt x="64563" y="170565"/>
                          <a:pt x="63516" y="169218"/>
                          <a:pt x="63516" y="169218"/>
                        </a:cubicBezTo>
                        <a:cubicBezTo>
                          <a:pt x="63516" y="169218"/>
                          <a:pt x="66907" y="168994"/>
                          <a:pt x="66907" y="164692"/>
                        </a:cubicBezTo>
                        <a:cubicBezTo>
                          <a:pt x="66907" y="160390"/>
                          <a:pt x="51745" y="154280"/>
                          <a:pt x="46770" y="153607"/>
                        </a:cubicBezTo>
                        <a:cubicBezTo>
                          <a:pt x="41795" y="152934"/>
                          <a:pt x="44276" y="149305"/>
                          <a:pt x="37493" y="137547"/>
                        </a:cubicBezTo>
                        <a:cubicBezTo>
                          <a:pt x="30710" y="125776"/>
                          <a:pt x="16682" y="105651"/>
                          <a:pt x="16682" y="105651"/>
                        </a:cubicBezTo>
                        <a:cubicBezTo>
                          <a:pt x="21433" y="92758"/>
                          <a:pt x="28902" y="52258"/>
                          <a:pt x="28902" y="52258"/>
                        </a:cubicBezTo>
                        <a:lnTo>
                          <a:pt x="34563" y="53168"/>
                        </a:lnTo>
                        <a:cubicBezTo>
                          <a:pt x="42929" y="10175"/>
                          <a:pt x="37505" y="0"/>
                          <a:pt x="37505" y="0"/>
                        </a:cubicBezTo>
                        <a:lnTo>
                          <a:pt x="1744" y="1546"/>
                        </a:lnTo>
                        <a:cubicBezTo>
                          <a:pt x="-451" y="15312"/>
                          <a:pt x="-600" y="35051"/>
                          <a:pt x="1445" y="53044"/>
                        </a:cubicBezTo>
                        <a:cubicBezTo>
                          <a:pt x="4649" y="81249"/>
                          <a:pt x="3053" y="108095"/>
                          <a:pt x="3702" y="124753"/>
                        </a:cubicBezTo>
                        <a:cubicBezTo>
                          <a:pt x="4288" y="139891"/>
                          <a:pt x="35822" y="174667"/>
                          <a:pt x="66097" y="172722"/>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210" name="Graphic 525">
                <a:extLst>
                  <a:ext uri="{FF2B5EF4-FFF2-40B4-BE49-F238E27FC236}">
                    <a16:creationId xmlns:a16="http://schemas.microsoft.com/office/drawing/2014/main" id="{DDC050FA-AB32-A0E6-E357-35C448C39726}"/>
                  </a:ext>
                </a:extLst>
              </p:cNvPr>
              <p:cNvGrpSpPr/>
              <p:nvPr/>
            </p:nvGrpSpPr>
            <p:grpSpPr>
              <a:xfrm>
                <a:off x="7408840" y="2880272"/>
                <a:ext cx="166296" cy="275899"/>
                <a:chOff x="7408840" y="2880272"/>
                <a:chExt cx="166296" cy="275899"/>
              </a:xfrm>
            </p:grpSpPr>
            <p:sp>
              <p:nvSpPr>
                <p:cNvPr id="2211" name="Freeform: Shape 2210">
                  <a:extLst>
                    <a:ext uri="{FF2B5EF4-FFF2-40B4-BE49-F238E27FC236}">
                      <a16:creationId xmlns:a16="http://schemas.microsoft.com/office/drawing/2014/main" id="{0509C08F-262A-DE30-2914-D105CCC50832}"/>
                    </a:ext>
                  </a:extLst>
                </p:cNvPr>
                <p:cNvSpPr/>
                <p:nvPr/>
              </p:nvSpPr>
              <p:spPr>
                <a:xfrm>
                  <a:off x="7408840" y="2880272"/>
                  <a:ext cx="166296" cy="275899"/>
                </a:xfrm>
                <a:custGeom>
                  <a:avLst/>
                  <a:gdLst>
                    <a:gd name="connsiteX0" fmla="*/ 36290 w 166296"/>
                    <a:gd name="connsiteY0" fmla="*/ 37 h 275899"/>
                    <a:gd name="connsiteX1" fmla="*/ 55280 w 166296"/>
                    <a:gd name="connsiteY1" fmla="*/ 24165 h 275899"/>
                    <a:gd name="connsiteX2" fmla="*/ 61315 w 166296"/>
                    <a:gd name="connsiteY2" fmla="*/ 59465 h 275899"/>
                    <a:gd name="connsiteX3" fmla="*/ 106304 w 166296"/>
                    <a:gd name="connsiteY3" fmla="*/ 55425 h 275899"/>
                    <a:gd name="connsiteX4" fmla="*/ 99321 w 166296"/>
                    <a:gd name="connsiteY4" fmla="*/ 6060 h 275899"/>
                    <a:gd name="connsiteX5" fmla="*/ 109284 w 166296"/>
                    <a:gd name="connsiteY5" fmla="*/ 11185 h 275899"/>
                    <a:gd name="connsiteX6" fmla="*/ 117127 w 166296"/>
                    <a:gd name="connsiteY6" fmla="*/ 54777 h 275899"/>
                    <a:gd name="connsiteX7" fmla="*/ 124272 w 166296"/>
                    <a:gd name="connsiteY7" fmla="*/ 54602 h 275899"/>
                    <a:gd name="connsiteX8" fmla="*/ 124908 w 166296"/>
                    <a:gd name="connsiteY8" fmla="*/ 55251 h 275899"/>
                    <a:gd name="connsiteX9" fmla="*/ 120743 w 166296"/>
                    <a:gd name="connsiteY9" fmla="*/ 150564 h 275899"/>
                    <a:gd name="connsiteX10" fmla="*/ 128885 w 166296"/>
                    <a:gd name="connsiteY10" fmla="*/ 160515 h 275899"/>
                    <a:gd name="connsiteX11" fmla="*/ 165993 w 166296"/>
                    <a:gd name="connsiteY11" fmla="*/ 171375 h 275899"/>
                    <a:gd name="connsiteX12" fmla="*/ 153026 w 166296"/>
                    <a:gd name="connsiteY12" fmla="*/ 188869 h 275899"/>
                    <a:gd name="connsiteX13" fmla="*/ 123760 w 166296"/>
                    <a:gd name="connsiteY13" fmla="*/ 242561 h 275899"/>
                    <a:gd name="connsiteX14" fmla="*/ 48846 w 166296"/>
                    <a:gd name="connsiteY14" fmla="*/ 275168 h 275899"/>
                    <a:gd name="connsiteX15" fmla="*/ 45455 w 166296"/>
                    <a:gd name="connsiteY15" fmla="*/ 275218 h 275899"/>
                    <a:gd name="connsiteX16" fmla="*/ 6489 w 166296"/>
                    <a:gd name="connsiteY16" fmla="*/ 222424 h 275899"/>
                    <a:gd name="connsiteX17" fmla="*/ 3546 w 166296"/>
                    <a:gd name="connsiteY17" fmla="*/ 152959 h 275899"/>
                    <a:gd name="connsiteX18" fmla="*/ 3546 w 166296"/>
                    <a:gd name="connsiteY18" fmla="*/ 68842 h 275899"/>
                    <a:gd name="connsiteX19" fmla="*/ 6052 w 166296"/>
                    <a:gd name="connsiteY19" fmla="*/ 66722 h 275899"/>
                    <a:gd name="connsiteX20" fmla="*/ 46315 w 166296"/>
                    <a:gd name="connsiteY20" fmla="*/ 63580 h 275899"/>
                    <a:gd name="connsiteX21" fmla="*/ 25841 w 166296"/>
                    <a:gd name="connsiteY21" fmla="*/ 4751 h 275899"/>
                    <a:gd name="connsiteX22" fmla="*/ 36302 w 166296"/>
                    <a:gd name="connsiteY22" fmla="*/ 0 h 27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6296" h="275899">
                      <a:moveTo>
                        <a:pt x="36290" y="37"/>
                      </a:moveTo>
                      <a:cubicBezTo>
                        <a:pt x="36290" y="37"/>
                        <a:pt x="48759" y="-411"/>
                        <a:pt x="55280" y="24165"/>
                      </a:cubicBezTo>
                      <a:cubicBezTo>
                        <a:pt x="60218" y="42794"/>
                        <a:pt x="61315" y="59465"/>
                        <a:pt x="61315" y="59465"/>
                      </a:cubicBezTo>
                      <a:cubicBezTo>
                        <a:pt x="61315" y="59465"/>
                        <a:pt x="82887" y="60213"/>
                        <a:pt x="106304" y="55425"/>
                      </a:cubicBezTo>
                      <a:cubicBezTo>
                        <a:pt x="106304" y="55425"/>
                        <a:pt x="105356" y="19639"/>
                        <a:pt x="99321" y="6060"/>
                      </a:cubicBezTo>
                      <a:cubicBezTo>
                        <a:pt x="99321" y="6060"/>
                        <a:pt x="104683" y="7320"/>
                        <a:pt x="109284" y="11185"/>
                      </a:cubicBezTo>
                      <a:cubicBezTo>
                        <a:pt x="109284" y="11185"/>
                        <a:pt x="115020" y="25587"/>
                        <a:pt x="117127" y="54777"/>
                      </a:cubicBezTo>
                      <a:lnTo>
                        <a:pt x="124272" y="54602"/>
                      </a:lnTo>
                      <a:cubicBezTo>
                        <a:pt x="124633" y="54602"/>
                        <a:pt x="124920" y="54889"/>
                        <a:pt x="124908" y="55251"/>
                      </a:cubicBezTo>
                      <a:cubicBezTo>
                        <a:pt x="124608" y="62757"/>
                        <a:pt x="123910" y="117795"/>
                        <a:pt x="120743" y="150564"/>
                      </a:cubicBezTo>
                      <a:cubicBezTo>
                        <a:pt x="124359" y="151163"/>
                        <a:pt x="128885" y="155988"/>
                        <a:pt x="128885" y="160515"/>
                      </a:cubicBezTo>
                      <a:cubicBezTo>
                        <a:pt x="128885" y="160515"/>
                        <a:pt x="152564" y="163233"/>
                        <a:pt x="165993" y="171375"/>
                      </a:cubicBezTo>
                      <a:cubicBezTo>
                        <a:pt x="168100" y="172286"/>
                        <a:pt x="158749" y="173183"/>
                        <a:pt x="153026" y="188869"/>
                      </a:cubicBezTo>
                      <a:cubicBezTo>
                        <a:pt x="147290" y="204556"/>
                        <a:pt x="151516" y="234718"/>
                        <a:pt x="123760" y="242561"/>
                      </a:cubicBezTo>
                      <a:cubicBezTo>
                        <a:pt x="96890" y="250155"/>
                        <a:pt x="63797" y="259519"/>
                        <a:pt x="48846" y="275168"/>
                      </a:cubicBezTo>
                      <a:cubicBezTo>
                        <a:pt x="47936" y="276128"/>
                        <a:pt x="46402" y="276140"/>
                        <a:pt x="45455" y="275218"/>
                      </a:cubicBezTo>
                      <a:cubicBezTo>
                        <a:pt x="38322" y="268335"/>
                        <a:pt x="14494" y="239631"/>
                        <a:pt x="6489" y="222424"/>
                      </a:cubicBezTo>
                      <a:cubicBezTo>
                        <a:pt x="-5731" y="196176"/>
                        <a:pt x="2947" y="176500"/>
                        <a:pt x="3546" y="152959"/>
                      </a:cubicBezTo>
                      <a:cubicBezTo>
                        <a:pt x="4094" y="131350"/>
                        <a:pt x="4020" y="82521"/>
                        <a:pt x="3546" y="68842"/>
                      </a:cubicBezTo>
                      <a:cubicBezTo>
                        <a:pt x="3496" y="67483"/>
                        <a:pt x="4730" y="66448"/>
                        <a:pt x="6052" y="66722"/>
                      </a:cubicBezTo>
                      <a:cubicBezTo>
                        <a:pt x="12611" y="68106"/>
                        <a:pt x="29120" y="72408"/>
                        <a:pt x="46315" y="63580"/>
                      </a:cubicBezTo>
                      <a:cubicBezTo>
                        <a:pt x="46315" y="63580"/>
                        <a:pt x="54195" y="15013"/>
                        <a:pt x="25841" y="4751"/>
                      </a:cubicBezTo>
                      <a:cubicBezTo>
                        <a:pt x="25841" y="4751"/>
                        <a:pt x="30080" y="-12"/>
                        <a:pt x="36302" y="0"/>
                      </a:cubicBezTo>
                      <a:close/>
                    </a:path>
                  </a:pathLst>
                </a:custGeom>
                <a:solidFill>
                  <a:srgbClr val="DE694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12" name="Graphic 525">
                  <a:extLst>
                    <a:ext uri="{FF2B5EF4-FFF2-40B4-BE49-F238E27FC236}">
                      <a16:creationId xmlns:a16="http://schemas.microsoft.com/office/drawing/2014/main" id="{DEC62158-7DA0-92BF-6D8F-1BB746D5C8D9}"/>
                    </a:ext>
                  </a:extLst>
                </p:cNvPr>
                <p:cNvGrpSpPr/>
                <p:nvPr/>
              </p:nvGrpSpPr>
              <p:grpSpPr>
                <a:xfrm>
                  <a:off x="7408895" y="2946146"/>
                  <a:ext cx="137908" cy="177559"/>
                  <a:chOff x="7408895" y="2946146"/>
                  <a:chExt cx="137908" cy="177559"/>
                </a:xfrm>
                <a:solidFill>
                  <a:srgbClr val="D4644A"/>
                </a:solidFill>
              </p:grpSpPr>
              <p:sp>
                <p:nvSpPr>
                  <p:cNvPr id="2213" name="Freeform: Shape 2212">
                    <a:extLst>
                      <a:ext uri="{FF2B5EF4-FFF2-40B4-BE49-F238E27FC236}">
                        <a16:creationId xmlns:a16="http://schemas.microsoft.com/office/drawing/2014/main" id="{B70FD724-7287-B373-BCD3-9441F31FBBD8}"/>
                      </a:ext>
                    </a:extLst>
                  </p:cNvPr>
                  <p:cNvSpPr/>
                  <p:nvPr/>
                </p:nvSpPr>
                <p:spPr>
                  <a:xfrm>
                    <a:off x="7512313" y="3090929"/>
                    <a:ext cx="34490" cy="32777"/>
                  </a:xfrm>
                  <a:custGeom>
                    <a:avLst/>
                    <a:gdLst>
                      <a:gd name="connsiteX0" fmla="*/ 34490 w 34490"/>
                      <a:gd name="connsiteY0" fmla="*/ 23799 h 32777"/>
                      <a:gd name="connsiteX1" fmla="*/ 63 w 34490"/>
                      <a:gd name="connsiteY1" fmla="*/ 245 h 32777"/>
                      <a:gd name="connsiteX2" fmla="*/ 17233 w 34490"/>
                      <a:gd name="connsiteY2" fmla="*/ 32777 h 32777"/>
                      <a:gd name="connsiteX3" fmla="*/ 20276 w 34490"/>
                      <a:gd name="connsiteY3" fmla="*/ 31929 h 32777"/>
                      <a:gd name="connsiteX4" fmla="*/ 34490 w 34490"/>
                      <a:gd name="connsiteY4" fmla="*/ 23812 h 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 h="32777">
                        <a:moveTo>
                          <a:pt x="34490" y="23799"/>
                        </a:moveTo>
                        <a:cubicBezTo>
                          <a:pt x="26722" y="17602"/>
                          <a:pt x="1223" y="-2436"/>
                          <a:pt x="63" y="245"/>
                        </a:cubicBezTo>
                        <a:cubicBezTo>
                          <a:pt x="-1009" y="2764"/>
                          <a:pt x="11871" y="24074"/>
                          <a:pt x="17233" y="32777"/>
                        </a:cubicBezTo>
                        <a:cubicBezTo>
                          <a:pt x="18243" y="32490"/>
                          <a:pt x="19266" y="32204"/>
                          <a:pt x="20276" y="31929"/>
                        </a:cubicBezTo>
                        <a:cubicBezTo>
                          <a:pt x="26435" y="30184"/>
                          <a:pt x="31024" y="27341"/>
                          <a:pt x="34490" y="23812"/>
                        </a:cubicBezTo>
                        <a:close/>
                      </a:path>
                    </a:pathLst>
                  </a:custGeom>
                  <a:solidFill>
                    <a:srgbClr val="D4644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14" name="Graphic 525">
                    <a:extLst>
                      <a:ext uri="{FF2B5EF4-FFF2-40B4-BE49-F238E27FC236}">
                        <a16:creationId xmlns:a16="http://schemas.microsoft.com/office/drawing/2014/main" id="{64EB10DA-2AD3-E560-4FE9-28DBF5579BF4}"/>
                      </a:ext>
                    </a:extLst>
                  </p:cNvPr>
                  <p:cNvGrpSpPr/>
                  <p:nvPr/>
                </p:nvGrpSpPr>
                <p:grpSpPr>
                  <a:xfrm>
                    <a:off x="7514319" y="3029702"/>
                    <a:ext cx="23541" cy="17107"/>
                    <a:chOff x="7514319" y="3029702"/>
                    <a:chExt cx="23541" cy="17107"/>
                  </a:xfrm>
                  <a:solidFill>
                    <a:srgbClr val="D4644A"/>
                  </a:solidFill>
                </p:grpSpPr>
                <p:sp>
                  <p:nvSpPr>
                    <p:cNvPr id="2215" name="Freeform: Shape 2214">
                      <a:extLst>
                        <a:ext uri="{FF2B5EF4-FFF2-40B4-BE49-F238E27FC236}">
                          <a16:creationId xmlns:a16="http://schemas.microsoft.com/office/drawing/2014/main" id="{E00FC716-3245-DC72-C885-8A5CE03E62E8}"/>
                        </a:ext>
                      </a:extLst>
                    </p:cNvPr>
                    <p:cNvSpPr/>
                    <p:nvPr/>
                  </p:nvSpPr>
                  <p:spPr>
                    <a:xfrm>
                      <a:off x="7514319" y="3029702"/>
                      <a:ext cx="15366" cy="3028"/>
                    </a:xfrm>
                    <a:custGeom>
                      <a:avLst/>
                      <a:gdLst>
                        <a:gd name="connsiteX0" fmla="*/ 15239 w 15366"/>
                        <a:gd name="connsiteY0" fmla="*/ 1284 h 3028"/>
                        <a:gd name="connsiteX1" fmla="*/ 11423 w 15366"/>
                        <a:gd name="connsiteY1" fmla="*/ 1634 h 3028"/>
                        <a:gd name="connsiteX2" fmla="*/ 9541 w 15366"/>
                        <a:gd name="connsiteY2" fmla="*/ 1895 h 3028"/>
                        <a:gd name="connsiteX3" fmla="*/ 7683 w 15366"/>
                        <a:gd name="connsiteY3" fmla="*/ 2207 h 3028"/>
                        <a:gd name="connsiteX4" fmla="*/ 5862 w 15366"/>
                        <a:gd name="connsiteY4" fmla="*/ 2668 h 3028"/>
                        <a:gd name="connsiteX5" fmla="*/ 4965 w 15366"/>
                        <a:gd name="connsiteY5" fmla="*/ 2880 h 3028"/>
                        <a:gd name="connsiteX6" fmla="*/ 4054 w 15366"/>
                        <a:gd name="connsiteY6" fmla="*/ 2992 h 3028"/>
                        <a:gd name="connsiteX7" fmla="*/ 127 w 15366"/>
                        <a:gd name="connsiteY7" fmla="*/ 2768 h 3028"/>
                        <a:gd name="connsiteX8" fmla="*/ 2 w 15366"/>
                        <a:gd name="connsiteY8" fmla="*/ 2581 h 3028"/>
                        <a:gd name="connsiteX9" fmla="*/ 39 w 15366"/>
                        <a:gd name="connsiteY9" fmla="*/ 2506 h 3028"/>
                        <a:gd name="connsiteX10" fmla="*/ 1673 w 15366"/>
                        <a:gd name="connsiteY10" fmla="*/ 1160 h 3028"/>
                        <a:gd name="connsiteX11" fmla="*/ 2583 w 15366"/>
                        <a:gd name="connsiteY11" fmla="*/ 686 h 3028"/>
                        <a:gd name="connsiteX12" fmla="*/ 3531 w 15366"/>
                        <a:gd name="connsiteY12" fmla="*/ 324 h 3028"/>
                        <a:gd name="connsiteX13" fmla="*/ 5501 w 15366"/>
                        <a:gd name="connsiteY13" fmla="*/ 0 h 3028"/>
                        <a:gd name="connsiteX14" fmla="*/ 7496 w 15366"/>
                        <a:gd name="connsiteY14" fmla="*/ 25 h 3028"/>
                        <a:gd name="connsiteX15" fmla="*/ 9466 w 15366"/>
                        <a:gd name="connsiteY15" fmla="*/ 75 h 3028"/>
                        <a:gd name="connsiteX16" fmla="*/ 11423 w 15366"/>
                        <a:gd name="connsiteY16" fmla="*/ 249 h 3028"/>
                        <a:gd name="connsiteX17" fmla="*/ 15264 w 15366"/>
                        <a:gd name="connsiteY17" fmla="*/ 985 h 3028"/>
                        <a:gd name="connsiteX18" fmla="*/ 15364 w 15366"/>
                        <a:gd name="connsiteY18" fmla="*/ 1160 h 3028"/>
                        <a:gd name="connsiteX19" fmla="*/ 15239 w 15366"/>
                        <a:gd name="connsiteY19" fmla="*/ 1259 h 3028"/>
                        <a:gd name="connsiteX20" fmla="*/ 15239 w 15366"/>
                        <a:gd name="connsiteY20" fmla="*/ 1259 h 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 h="3028">
                          <a:moveTo>
                            <a:pt x="15239" y="1284"/>
                          </a:moveTo>
                          <a:cubicBezTo>
                            <a:pt x="13955" y="1359"/>
                            <a:pt x="12683" y="1471"/>
                            <a:pt x="11423" y="1634"/>
                          </a:cubicBezTo>
                          <a:cubicBezTo>
                            <a:pt x="10800" y="1708"/>
                            <a:pt x="10164" y="1795"/>
                            <a:pt x="9541" y="1895"/>
                          </a:cubicBezTo>
                          <a:cubicBezTo>
                            <a:pt x="8917" y="1995"/>
                            <a:pt x="8294" y="2082"/>
                            <a:pt x="7683" y="2207"/>
                          </a:cubicBezTo>
                          <a:cubicBezTo>
                            <a:pt x="7072" y="2319"/>
                            <a:pt x="6461" y="2506"/>
                            <a:pt x="5862" y="2668"/>
                          </a:cubicBezTo>
                          <a:cubicBezTo>
                            <a:pt x="5563" y="2743"/>
                            <a:pt x="5264" y="2843"/>
                            <a:pt x="4965" y="2880"/>
                          </a:cubicBezTo>
                          <a:cubicBezTo>
                            <a:pt x="4665" y="2930"/>
                            <a:pt x="4354" y="2955"/>
                            <a:pt x="4054" y="2992"/>
                          </a:cubicBezTo>
                          <a:cubicBezTo>
                            <a:pt x="2807" y="3042"/>
                            <a:pt x="1585" y="3092"/>
                            <a:pt x="127" y="2768"/>
                          </a:cubicBezTo>
                          <a:cubicBezTo>
                            <a:pt x="39" y="2743"/>
                            <a:pt x="-11" y="2668"/>
                            <a:pt x="2" y="2581"/>
                          </a:cubicBezTo>
                          <a:cubicBezTo>
                            <a:pt x="2" y="2556"/>
                            <a:pt x="14" y="2531"/>
                            <a:pt x="39" y="2506"/>
                          </a:cubicBezTo>
                          <a:cubicBezTo>
                            <a:pt x="526" y="1958"/>
                            <a:pt x="1087" y="1496"/>
                            <a:pt x="1673" y="1160"/>
                          </a:cubicBezTo>
                          <a:cubicBezTo>
                            <a:pt x="1972" y="985"/>
                            <a:pt x="2271" y="823"/>
                            <a:pt x="2583" y="686"/>
                          </a:cubicBezTo>
                          <a:cubicBezTo>
                            <a:pt x="2895" y="549"/>
                            <a:pt x="3207" y="437"/>
                            <a:pt x="3531" y="324"/>
                          </a:cubicBezTo>
                          <a:cubicBezTo>
                            <a:pt x="4167" y="100"/>
                            <a:pt x="4828" y="12"/>
                            <a:pt x="5501" y="0"/>
                          </a:cubicBezTo>
                          <a:lnTo>
                            <a:pt x="7496" y="25"/>
                          </a:lnTo>
                          <a:cubicBezTo>
                            <a:pt x="8157" y="25"/>
                            <a:pt x="8818" y="50"/>
                            <a:pt x="9466" y="75"/>
                          </a:cubicBezTo>
                          <a:cubicBezTo>
                            <a:pt x="10127" y="125"/>
                            <a:pt x="10775" y="187"/>
                            <a:pt x="11423" y="249"/>
                          </a:cubicBezTo>
                          <a:cubicBezTo>
                            <a:pt x="12720" y="424"/>
                            <a:pt x="14005" y="636"/>
                            <a:pt x="15264" y="985"/>
                          </a:cubicBezTo>
                          <a:cubicBezTo>
                            <a:pt x="15339" y="1010"/>
                            <a:pt x="15376" y="1085"/>
                            <a:pt x="15364" y="1160"/>
                          </a:cubicBezTo>
                          <a:cubicBezTo>
                            <a:pt x="15351" y="1222"/>
                            <a:pt x="15301" y="1259"/>
                            <a:pt x="15239" y="1259"/>
                          </a:cubicBezTo>
                          <a:lnTo>
                            <a:pt x="15239" y="1259"/>
                          </a:lnTo>
                          <a:close/>
                        </a:path>
                      </a:pathLst>
                    </a:custGeom>
                    <a:solidFill>
                      <a:srgbClr val="D4644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16" name="Freeform: Shape 2215">
                      <a:extLst>
                        <a:ext uri="{FF2B5EF4-FFF2-40B4-BE49-F238E27FC236}">
                          <a16:creationId xmlns:a16="http://schemas.microsoft.com/office/drawing/2014/main" id="{9E1AFFCC-FC1D-BFE8-C159-66EA37482DE4}"/>
                        </a:ext>
                      </a:extLst>
                    </p:cNvPr>
                    <p:cNvSpPr/>
                    <p:nvPr/>
                  </p:nvSpPr>
                  <p:spPr>
                    <a:xfrm>
                      <a:off x="7526329" y="3040685"/>
                      <a:ext cx="11531" cy="6124"/>
                    </a:xfrm>
                    <a:custGeom>
                      <a:avLst/>
                      <a:gdLst>
                        <a:gd name="connsiteX0" fmla="*/ 11472 w 11531"/>
                        <a:gd name="connsiteY0" fmla="*/ 227 h 6124"/>
                        <a:gd name="connsiteX1" fmla="*/ 9065 w 11531"/>
                        <a:gd name="connsiteY1" fmla="*/ 2396 h 6124"/>
                        <a:gd name="connsiteX2" fmla="*/ 7781 w 11531"/>
                        <a:gd name="connsiteY2" fmla="*/ 3381 h 6124"/>
                        <a:gd name="connsiteX3" fmla="*/ 6434 w 11531"/>
                        <a:gd name="connsiteY3" fmla="*/ 4304 h 6124"/>
                        <a:gd name="connsiteX4" fmla="*/ 5075 w 11531"/>
                        <a:gd name="connsiteY4" fmla="*/ 5239 h 6124"/>
                        <a:gd name="connsiteX5" fmla="*/ 3579 w 11531"/>
                        <a:gd name="connsiteY5" fmla="*/ 5913 h 6124"/>
                        <a:gd name="connsiteX6" fmla="*/ 1895 w 11531"/>
                        <a:gd name="connsiteY6" fmla="*/ 6124 h 6124"/>
                        <a:gd name="connsiteX7" fmla="*/ 112 w 11531"/>
                        <a:gd name="connsiteY7" fmla="*/ 5838 h 6124"/>
                        <a:gd name="connsiteX8" fmla="*/ 13 w 11531"/>
                        <a:gd name="connsiteY8" fmla="*/ 5626 h 6124"/>
                        <a:gd name="connsiteX9" fmla="*/ 2556 w 11531"/>
                        <a:gd name="connsiteY9" fmla="*/ 3406 h 6124"/>
                        <a:gd name="connsiteX10" fmla="*/ 3965 w 11531"/>
                        <a:gd name="connsiteY10" fmla="*/ 2808 h 6124"/>
                        <a:gd name="connsiteX11" fmla="*/ 5461 w 11531"/>
                        <a:gd name="connsiteY11" fmla="*/ 2371 h 6124"/>
                        <a:gd name="connsiteX12" fmla="*/ 6920 w 11531"/>
                        <a:gd name="connsiteY12" fmla="*/ 1810 h 6124"/>
                        <a:gd name="connsiteX13" fmla="*/ 8392 w 11531"/>
                        <a:gd name="connsiteY13" fmla="*/ 1237 h 6124"/>
                        <a:gd name="connsiteX14" fmla="*/ 11334 w 11531"/>
                        <a:gd name="connsiteY14" fmla="*/ 15 h 6124"/>
                        <a:gd name="connsiteX15" fmla="*/ 11522 w 11531"/>
                        <a:gd name="connsiteY15" fmla="*/ 89 h 6124"/>
                        <a:gd name="connsiteX16" fmla="*/ 11497 w 11531"/>
                        <a:gd name="connsiteY16" fmla="*/ 239 h 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31" h="6124">
                          <a:moveTo>
                            <a:pt x="11472" y="227"/>
                          </a:moveTo>
                          <a:cubicBezTo>
                            <a:pt x="10723" y="1012"/>
                            <a:pt x="9900" y="1710"/>
                            <a:pt x="9065" y="2396"/>
                          </a:cubicBezTo>
                          <a:cubicBezTo>
                            <a:pt x="8641" y="2733"/>
                            <a:pt x="8217" y="3057"/>
                            <a:pt x="7781" y="3381"/>
                          </a:cubicBezTo>
                          <a:cubicBezTo>
                            <a:pt x="7344" y="3693"/>
                            <a:pt x="6895" y="3992"/>
                            <a:pt x="6434" y="4304"/>
                          </a:cubicBezTo>
                          <a:cubicBezTo>
                            <a:pt x="5973" y="4603"/>
                            <a:pt x="5536" y="4940"/>
                            <a:pt x="5075" y="5239"/>
                          </a:cubicBezTo>
                          <a:cubicBezTo>
                            <a:pt x="4614" y="5551"/>
                            <a:pt x="4115" y="5775"/>
                            <a:pt x="3579" y="5913"/>
                          </a:cubicBezTo>
                          <a:cubicBezTo>
                            <a:pt x="3042" y="6037"/>
                            <a:pt x="2481" y="6124"/>
                            <a:pt x="1895" y="6124"/>
                          </a:cubicBezTo>
                          <a:cubicBezTo>
                            <a:pt x="1322" y="6124"/>
                            <a:pt x="723" y="6050"/>
                            <a:pt x="112" y="5838"/>
                          </a:cubicBezTo>
                          <a:cubicBezTo>
                            <a:pt x="25" y="5813"/>
                            <a:pt x="-25" y="5713"/>
                            <a:pt x="13" y="5626"/>
                          </a:cubicBezTo>
                          <a:cubicBezTo>
                            <a:pt x="835" y="4553"/>
                            <a:pt x="1671" y="3955"/>
                            <a:pt x="2556" y="3406"/>
                          </a:cubicBezTo>
                          <a:cubicBezTo>
                            <a:pt x="2993" y="3132"/>
                            <a:pt x="3466" y="2945"/>
                            <a:pt x="3965" y="2808"/>
                          </a:cubicBezTo>
                          <a:cubicBezTo>
                            <a:pt x="4464" y="2683"/>
                            <a:pt x="4975" y="2558"/>
                            <a:pt x="5461" y="2371"/>
                          </a:cubicBezTo>
                          <a:cubicBezTo>
                            <a:pt x="5948" y="2197"/>
                            <a:pt x="6434" y="2010"/>
                            <a:pt x="6920" y="1810"/>
                          </a:cubicBezTo>
                          <a:cubicBezTo>
                            <a:pt x="7407" y="1623"/>
                            <a:pt x="7893" y="1436"/>
                            <a:pt x="8392" y="1237"/>
                          </a:cubicBezTo>
                          <a:cubicBezTo>
                            <a:pt x="9377" y="850"/>
                            <a:pt x="10349" y="426"/>
                            <a:pt x="11334" y="15"/>
                          </a:cubicBezTo>
                          <a:cubicBezTo>
                            <a:pt x="11409" y="-23"/>
                            <a:pt x="11484" y="15"/>
                            <a:pt x="11522" y="89"/>
                          </a:cubicBezTo>
                          <a:cubicBezTo>
                            <a:pt x="11546" y="139"/>
                            <a:pt x="11522" y="202"/>
                            <a:pt x="11497" y="239"/>
                          </a:cubicBezTo>
                          <a:close/>
                        </a:path>
                      </a:pathLst>
                    </a:custGeom>
                    <a:solidFill>
                      <a:srgbClr val="D4644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217" name="Freeform: Shape 2216">
                    <a:extLst>
                      <a:ext uri="{FF2B5EF4-FFF2-40B4-BE49-F238E27FC236}">
                        <a16:creationId xmlns:a16="http://schemas.microsoft.com/office/drawing/2014/main" id="{1A475956-5522-127B-89CD-0E59E1AEE4AE}"/>
                      </a:ext>
                    </a:extLst>
                  </p:cNvPr>
                  <p:cNvSpPr/>
                  <p:nvPr/>
                </p:nvSpPr>
                <p:spPr>
                  <a:xfrm>
                    <a:off x="7408895" y="2946146"/>
                    <a:ext cx="82888" cy="174246"/>
                  </a:xfrm>
                  <a:custGeom>
                    <a:avLst/>
                    <a:gdLst>
                      <a:gd name="connsiteX0" fmla="*/ 54914 w 82888"/>
                      <a:gd name="connsiteY0" fmla="*/ 171575 h 174246"/>
                      <a:gd name="connsiteX1" fmla="*/ 65475 w 82888"/>
                      <a:gd name="connsiteY1" fmla="*/ 172485 h 174246"/>
                      <a:gd name="connsiteX2" fmla="*/ 72408 w 82888"/>
                      <a:gd name="connsiteY2" fmla="*/ 168557 h 174246"/>
                      <a:gd name="connsiteX3" fmla="*/ 79042 w 82888"/>
                      <a:gd name="connsiteY3" fmla="*/ 164330 h 174246"/>
                      <a:gd name="connsiteX4" fmla="*/ 82658 w 82888"/>
                      <a:gd name="connsiteY4" fmla="*/ 161612 h 174246"/>
                      <a:gd name="connsiteX5" fmla="*/ 67720 w 82888"/>
                      <a:gd name="connsiteY5" fmla="*/ 131674 h 174246"/>
                      <a:gd name="connsiteX6" fmla="*/ 71111 w 82888"/>
                      <a:gd name="connsiteY6" fmla="*/ 127147 h 174246"/>
                      <a:gd name="connsiteX7" fmla="*/ 48567 w 82888"/>
                      <a:gd name="connsiteY7" fmla="*/ 112134 h 174246"/>
                      <a:gd name="connsiteX8" fmla="*/ 20811 w 82888"/>
                      <a:gd name="connsiteY8" fmla="*/ 69603 h 174246"/>
                      <a:gd name="connsiteX9" fmla="*/ 31372 w 82888"/>
                      <a:gd name="connsiteY9" fmla="*/ 24951 h 174246"/>
                      <a:gd name="connsiteX10" fmla="*/ 35599 w 82888"/>
                      <a:gd name="connsiteY10" fmla="*/ 25250 h 174246"/>
                      <a:gd name="connsiteX11" fmla="*/ 41086 w 82888"/>
                      <a:gd name="connsiteY11" fmla="*/ 0 h 174246"/>
                      <a:gd name="connsiteX12" fmla="*/ 5973 w 82888"/>
                      <a:gd name="connsiteY12" fmla="*/ 860 h 174246"/>
                      <a:gd name="connsiteX13" fmla="*/ 3466 w 82888"/>
                      <a:gd name="connsiteY13" fmla="*/ 2980 h 174246"/>
                      <a:gd name="connsiteX14" fmla="*/ 3466 w 82888"/>
                      <a:gd name="connsiteY14" fmla="*/ 87097 h 174246"/>
                      <a:gd name="connsiteX15" fmla="*/ 0 w 82888"/>
                      <a:gd name="connsiteY15" fmla="*/ 123170 h 174246"/>
                      <a:gd name="connsiteX16" fmla="*/ 23829 w 82888"/>
                      <a:gd name="connsiteY16" fmla="*/ 140190 h 174246"/>
                      <a:gd name="connsiteX17" fmla="*/ 37108 w 82888"/>
                      <a:gd name="connsiteY17" fmla="*/ 155577 h 174246"/>
                      <a:gd name="connsiteX18" fmla="*/ 54901 w 82888"/>
                      <a:gd name="connsiteY18" fmla="*/ 171562 h 17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888" h="174246">
                        <a:moveTo>
                          <a:pt x="54914" y="171575"/>
                        </a:moveTo>
                        <a:cubicBezTo>
                          <a:pt x="59740" y="176999"/>
                          <a:pt x="65475" y="172485"/>
                          <a:pt x="65475" y="172485"/>
                        </a:cubicBezTo>
                        <a:cubicBezTo>
                          <a:pt x="72408" y="176712"/>
                          <a:pt x="72408" y="168557"/>
                          <a:pt x="72408" y="168557"/>
                        </a:cubicBezTo>
                        <a:cubicBezTo>
                          <a:pt x="78443" y="172784"/>
                          <a:pt x="79042" y="164330"/>
                          <a:pt x="79042" y="164330"/>
                        </a:cubicBezTo>
                        <a:cubicBezTo>
                          <a:pt x="79042" y="164330"/>
                          <a:pt x="82059" y="165240"/>
                          <a:pt x="82658" y="161612"/>
                        </a:cubicBezTo>
                        <a:cubicBezTo>
                          <a:pt x="85077" y="154068"/>
                          <a:pt x="67720" y="131674"/>
                          <a:pt x="67720" y="131674"/>
                        </a:cubicBezTo>
                        <a:cubicBezTo>
                          <a:pt x="67720" y="131674"/>
                          <a:pt x="74204" y="133856"/>
                          <a:pt x="71111" y="127147"/>
                        </a:cubicBezTo>
                        <a:cubicBezTo>
                          <a:pt x="68019" y="120439"/>
                          <a:pt x="52782" y="118170"/>
                          <a:pt x="48567" y="112134"/>
                        </a:cubicBezTo>
                        <a:cubicBezTo>
                          <a:pt x="44340" y="106100"/>
                          <a:pt x="20811" y="69603"/>
                          <a:pt x="20811" y="69603"/>
                        </a:cubicBezTo>
                        <a:cubicBezTo>
                          <a:pt x="24427" y="58442"/>
                          <a:pt x="31372" y="24951"/>
                          <a:pt x="31372" y="24951"/>
                        </a:cubicBezTo>
                        <a:lnTo>
                          <a:pt x="35599" y="25250"/>
                        </a:lnTo>
                        <a:cubicBezTo>
                          <a:pt x="37844" y="19502"/>
                          <a:pt x="40300" y="4850"/>
                          <a:pt x="41086" y="0"/>
                        </a:cubicBezTo>
                        <a:cubicBezTo>
                          <a:pt x="25823" y="5711"/>
                          <a:pt x="11871" y="2107"/>
                          <a:pt x="5973" y="860"/>
                        </a:cubicBezTo>
                        <a:cubicBezTo>
                          <a:pt x="4651" y="586"/>
                          <a:pt x="3417" y="1621"/>
                          <a:pt x="3466" y="2980"/>
                        </a:cubicBezTo>
                        <a:cubicBezTo>
                          <a:pt x="3953" y="16646"/>
                          <a:pt x="4027" y="65488"/>
                          <a:pt x="3466" y="87097"/>
                        </a:cubicBezTo>
                        <a:cubicBezTo>
                          <a:pt x="3142" y="99690"/>
                          <a:pt x="511" y="111187"/>
                          <a:pt x="0" y="123170"/>
                        </a:cubicBezTo>
                        <a:cubicBezTo>
                          <a:pt x="8105" y="128332"/>
                          <a:pt x="21734" y="137247"/>
                          <a:pt x="23829" y="140190"/>
                        </a:cubicBezTo>
                        <a:cubicBezTo>
                          <a:pt x="26846" y="144417"/>
                          <a:pt x="28654" y="149542"/>
                          <a:pt x="37108" y="155577"/>
                        </a:cubicBezTo>
                        <a:cubicBezTo>
                          <a:pt x="45550" y="161612"/>
                          <a:pt x="50076" y="166138"/>
                          <a:pt x="54901" y="171562"/>
                        </a:cubicBezTo>
                        <a:close/>
                      </a:path>
                    </a:pathLst>
                  </a:custGeom>
                  <a:solidFill>
                    <a:srgbClr val="D4644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18" name="Freeform: Shape 2217">
                    <a:extLst>
                      <a:ext uri="{FF2B5EF4-FFF2-40B4-BE49-F238E27FC236}">
                        <a16:creationId xmlns:a16="http://schemas.microsoft.com/office/drawing/2014/main" id="{3F8F734D-70DF-A535-D193-A7DBDCFFB89B}"/>
                      </a:ext>
                    </a:extLst>
                  </p:cNvPr>
                  <p:cNvSpPr/>
                  <p:nvPr/>
                </p:nvSpPr>
                <p:spPr>
                  <a:xfrm>
                    <a:off x="7464024" y="2956585"/>
                    <a:ext cx="56420" cy="55924"/>
                  </a:xfrm>
                  <a:custGeom>
                    <a:avLst/>
                    <a:gdLst>
                      <a:gd name="connsiteX0" fmla="*/ 4810 w 56420"/>
                      <a:gd name="connsiteY0" fmla="*/ 4998 h 55924"/>
                      <a:gd name="connsiteX1" fmla="*/ 54063 w 56420"/>
                      <a:gd name="connsiteY1" fmla="*/ 35 h 55924"/>
                      <a:gd name="connsiteX2" fmla="*/ 56419 w 56420"/>
                      <a:gd name="connsiteY2" fmla="*/ 2068 h 55924"/>
                      <a:gd name="connsiteX3" fmla="*/ 53489 w 56420"/>
                      <a:gd name="connsiteY3" fmla="*/ 46208 h 55924"/>
                      <a:gd name="connsiteX4" fmla="*/ 2204 w 56420"/>
                      <a:gd name="connsiteY4" fmla="*/ 54961 h 55924"/>
                      <a:gd name="connsiteX5" fmla="*/ 2254 w 56420"/>
                      <a:gd name="connsiteY5" fmla="*/ 7491 h 55924"/>
                      <a:gd name="connsiteX6" fmla="*/ 4810 w 56420"/>
                      <a:gd name="connsiteY6" fmla="*/ 5010 h 5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20" h="55924">
                        <a:moveTo>
                          <a:pt x="4810" y="4998"/>
                        </a:moveTo>
                        <a:cubicBezTo>
                          <a:pt x="13501" y="4325"/>
                          <a:pt x="44287" y="1856"/>
                          <a:pt x="54063" y="35"/>
                        </a:cubicBezTo>
                        <a:cubicBezTo>
                          <a:pt x="55322" y="-202"/>
                          <a:pt x="56469" y="796"/>
                          <a:pt x="56419" y="2068"/>
                        </a:cubicBezTo>
                        <a:cubicBezTo>
                          <a:pt x="56108" y="10858"/>
                          <a:pt x="55010" y="39101"/>
                          <a:pt x="53489" y="46208"/>
                        </a:cubicBezTo>
                        <a:cubicBezTo>
                          <a:pt x="51681" y="54650"/>
                          <a:pt x="12154" y="57667"/>
                          <a:pt x="2204" y="54961"/>
                        </a:cubicBezTo>
                        <a:cubicBezTo>
                          <a:pt x="-2248" y="53390"/>
                          <a:pt x="1256" y="17093"/>
                          <a:pt x="2254" y="7491"/>
                        </a:cubicBezTo>
                        <a:cubicBezTo>
                          <a:pt x="2391" y="6157"/>
                          <a:pt x="3463" y="5110"/>
                          <a:pt x="4810" y="5010"/>
                        </a:cubicBezTo>
                        <a:close/>
                      </a:path>
                    </a:pathLst>
                  </a:custGeom>
                  <a:solidFill>
                    <a:srgbClr val="D4644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220" name="Freeform: Shape 2219">
              <a:extLst>
                <a:ext uri="{FF2B5EF4-FFF2-40B4-BE49-F238E27FC236}">
                  <a16:creationId xmlns:a16="http://schemas.microsoft.com/office/drawing/2014/main" id="{C2D25BFD-8DDE-CEF1-72D8-ACA215D0E4D7}"/>
                </a:ext>
              </a:extLst>
            </p:cNvPr>
            <p:cNvSpPr/>
            <p:nvPr/>
          </p:nvSpPr>
          <p:spPr>
            <a:xfrm>
              <a:off x="3918211" y="2760515"/>
              <a:ext cx="78638" cy="93740"/>
            </a:xfrm>
            <a:custGeom>
              <a:avLst/>
              <a:gdLst>
                <a:gd name="connsiteX0" fmla="*/ 19009 w 94841"/>
                <a:gd name="connsiteY0" fmla="*/ 7406 h 113054"/>
                <a:gd name="connsiteX1" fmla="*/ 10318 w 94841"/>
                <a:gd name="connsiteY1" fmla="*/ 76460 h 113054"/>
                <a:gd name="connsiteX2" fmla="*/ 83960 w 94841"/>
                <a:gd name="connsiteY2" fmla="*/ 108929 h 113054"/>
                <a:gd name="connsiteX3" fmla="*/ 84135 w 94841"/>
                <a:gd name="connsiteY3" fmla="*/ 32269 h 113054"/>
                <a:gd name="connsiteX4" fmla="*/ 18996 w 94841"/>
                <a:gd name="connsiteY4" fmla="*/ 7406 h 113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41" h="113054">
                  <a:moveTo>
                    <a:pt x="19009" y="7406"/>
                  </a:moveTo>
                  <a:cubicBezTo>
                    <a:pt x="19009" y="7406"/>
                    <a:pt x="-17189" y="29801"/>
                    <a:pt x="10318" y="76460"/>
                  </a:cubicBezTo>
                  <a:cubicBezTo>
                    <a:pt x="37824" y="123119"/>
                    <a:pt x="76005" y="113692"/>
                    <a:pt x="83960" y="108929"/>
                  </a:cubicBezTo>
                  <a:cubicBezTo>
                    <a:pt x="92651" y="103730"/>
                    <a:pt x="103250" y="78779"/>
                    <a:pt x="84135" y="32269"/>
                  </a:cubicBezTo>
                  <a:cubicBezTo>
                    <a:pt x="65032" y="-14253"/>
                    <a:pt x="27101" y="1446"/>
                    <a:pt x="18996" y="740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22" name="Freeform: Shape 2221">
              <a:extLst>
                <a:ext uri="{FF2B5EF4-FFF2-40B4-BE49-F238E27FC236}">
                  <a16:creationId xmlns:a16="http://schemas.microsoft.com/office/drawing/2014/main" id="{5E17B365-6F1A-14C3-F282-E940E192C5D2}"/>
                </a:ext>
              </a:extLst>
            </p:cNvPr>
            <p:cNvSpPr/>
            <p:nvPr/>
          </p:nvSpPr>
          <p:spPr>
            <a:xfrm>
              <a:off x="3906190" y="2758462"/>
              <a:ext cx="76583" cy="89382"/>
            </a:xfrm>
            <a:custGeom>
              <a:avLst/>
              <a:gdLst>
                <a:gd name="connsiteX0" fmla="*/ 92099 w 92363"/>
                <a:gd name="connsiteY0" fmla="*/ 16939 h 107798"/>
                <a:gd name="connsiteX1" fmla="*/ 91002 w 92363"/>
                <a:gd name="connsiteY1" fmla="*/ 19819 h 107798"/>
                <a:gd name="connsiteX2" fmla="*/ 81425 w 92363"/>
                <a:gd name="connsiteY2" fmla="*/ 21279 h 107798"/>
                <a:gd name="connsiteX3" fmla="*/ 67847 w 92363"/>
                <a:gd name="connsiteY3" fmla="*/ 19919 h 107798"/>
                <a:gd name="connsiteX4" fmla="*/ 65590 w 92363"/>
                <a:gd name="connsiteY4" fmla="*/ 35306 h 107798"/>
                <a:gd name="connsiteX5" fmla="*/ 57447 w 92363"/>
                <a:gd name="connsiteY5" fmla="*/ 38473 h 107798"/>
                <a:gd name="connsiteX6" fmla="*/ 54729 w 92363"/>
                <a:gd name="connsiteY6" fmla="*/ 69546 h 107798"/>
                <a:gd name="connsiteX7" fmla="*/ 44779 w 92363"/>
                <a:gd name="connsiteY7" fmla="*/ 99560 h 107798"/>
                <a:gd name="connsiteX8" fmla="*/ 28943 w 92363"/>
                <a:gd name="connsiteY8" fmla="*/ 107253 h 107798"/>
                <a:gd name="connsiteX9" fmla="*/ 15364 w 92363"/>
                <a:gd name="connsiteY9" fmla="*/ 89609 h 107798"/>
                <a:gd name="connsiteX10" fmla="*/ 888 w 92363"/>
                <a:gd name="connsiteY10" fmla="*/ 38473 h 107798"/>
                <a:gd name="connsiteX11" fmla="*/ 23058 w 92363"/>
                <a:gd name="connsiteY11" fmla="*/ 11328 h 107798"/>
                <a:gd name="connsiteX12" fmla="*/ 45689 w 92363"/>
                <a:gd name="connsiteY12" fmla="*/ 1378 h 107798"/>
                <a:gd name="connsiteX13" fmla="*/ 92099 w 92363"/>
                <a:gd name="connsiteY13" fmla="*/ 16939 h 10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363" h="107798">
                  <a:moveTo>
                    <a:pt x="92099" y="16939"/>
                  </a:moveTo>
                  <a:cubicBezTo>
                    <a:pt x="92723" y="18036"/>
                    <a:pt x="92199" y="19421"/>
                    <a:pt x="91002" y="19819"/>
                  </a:cubicBezTo>
                  <a:cubicBezTo>
                    <a:pt x="88421" y="20693"/>
                    <a:pt x="84131" y="21877"/>
                    <a:pt x="81425" y="21279"/>
                  </a:cubicBezTo>
                  <a:cubicBezTo>
                    <a:pt x="77348" y="20368"/>
                    <a:pt x="69655" y="23536"/>
                    <a:pt x="67847" y="19919"/>
                  </a:cubicBezTo>
                  <a:cubicBezTo>
                    <a:pt x="67847" y="19919"/>
                    <a:pt x="71924" y="30780"/>
                    <a:pt x="65590" y="35306"/>
                  </a:cubicBezTo>
                  <a:cubicBezTo>
                    <a:pt x="59255" y="39832"/>
                    <a:pt x="57447" y="38473"/>
                    <a:pt x="57447" y="38473"/>
                  </a:cubicBezTo>
                  <a:cubicBezTo>
                    <a:pt x="57447" y="38473"/>
                    <a:pt x="63333" y="61853"/>
                    <a:pt x="54729" y="69546"/>
                  </a:cubicBezTo>
                  <a:cubicBezTo>
                    <a:pt x="46125" y="77240"/>
                    <a:pt x="48844" y="92776"/>
                    <a:pt x="44779" y="99560"/>
                  </a:cubicBezTo>
                  <a:cubicBezTo>
                    <a:pt x="40702" y="106343"/>
                    <a:pt x="32110" y="109061"/>
                    <a:pt x="28943" y="107253"/>
                  </a:cubicBezTo>
                  <a:cubicBezTo>
                    <a:pt x="25776" y="105445"/>
                    <a:pt x="23070" y="98138"/>
                    <a:pt x="15364" y="89609"/>
                  </a:cubicBezTo>
                  <a:cubicBezTo>
                    <a:pt x="7671" y="81080"/>
                    <a:pt x="-3190" y="56579"/>
                    <a:pt x="888" y="38473"/>
                  </a:cubicBezTo>
                  <a:cubicBezTo>
                    <a:pt x="4965" y="20368"/>
                    <a:pt x="20576" y="15518"/>
                    <a:pt x="23058" y="11328"/>
                  </a:cubicBezTo>
                  <a:cubicBezTo>
                    <a:pt x="28793" y="1677"/>
                    <a:pt x="37996" y="2276"/>
                    <a:pt x="45689" y="1378"/>
                  </a:cubicBezTo>
                  <a:cubicBezTo>
                    <a:pt x="53158" y="505"/>
                    <a:pt x="79406" y="-5505"/>
                    <a:pt x="92099" y="16939"/>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23" name="Freeform: Shape 2222">
              <a:extLst>
                <a:ext uri="{FF2B5EF4-FFF2-40B4-BE49-F238E27FC236}">
                  <a16:creationId xmlns:a16="http://schemas.microsoft.com/office/drawing/2014/main" id="{C4B19695-BF70-ABC9-9F3F-38121DA98589}"/>
                </a:ext>
              </a:extLst>
            </p:cNvPr>
            <p:cNvSpPr/>
            <p:nvPr/>
          </p:nvSpPr>
          <p:spPr>
            <a:xfrm>
              <a:off x="3906195" y="2794035"/>
              <a:ext cx="10737" cy="32803"/>
            </a:xfrm>
            <a:custGeom>
              <a:avLst/>
              <a:gdLst>
                <a:gd name="connsiteX0" fmla="*/ 10084 w 12949"/>
                <a:gd name="connsiteY0" fmla="*/ 1307 h 39562"/>
                <a:gd name="connsiteX1" fmla="*/ 121 w 12949"/>
                <a:gd name="connsiteY1" fmla="*/ 796 h 39562"/>
                <a:gd name="connsiteX2" fmla="*/ 10346 w 12949"/>
                <a:gd name="connsiteY2" fmla="*/ 39562 h 39562"/>
                <a:gd name="connsiteX3" fmla="*/ 10844 w 12949"/>
                <a:gd name="connsiteY3" fmla="*/ 16544 h 39562"/>
                <a:gd name="connsiteX4" fmla="*/ 10096 w 12949"/>
                <a:gd name="connsiteY4" fmla="*/ 1307 h 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49" h="39562">
                  <a:moveTo>
                    <a:pt x="10084" y="1307"/>
                  </a:moveTo>
                  <a:cubicBezTo>
                    <a:pt x="6892" y="-339"/>
                    <a:pt x="3463" y="-339"/>
                    <a:pt x="121" y="796"/>
                  </a:cubicBezTo>
                  <a:cubicBezTo>
                    <a:pt x="-889" y="14163"/>
                    <a:pt x="4585" y="29637"/>
                    <a:pt x="10346" y="39562"/>
                  </a:cubicBezTo>
                  <a:cubicBezTo>
                    <a:pt x="14498" y="34026"/>
                    <a:pt x="12927" y="22529"/>
                    <a:pt x="10844" y="16544"/>
                  </a:cubicBezTo>
                  <a:cubicBezTo>
                    <a:pt x="8588" y="10060"/>
                    <a:pt x="10096" y="1307"/>
                    <a:pt x="10096" y="1307"/>
                  </a:cubicBezTo>
                  <a:close/>
                </a:path>
              </a:pathLst>
            </a:custGeom>
            <a:solidFill>
              <a:srgbClr val="1C24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24" name="Graphic 525">
              <a:extLst>
                <a:ext uri="{FF2B5EF4-FFF2-40B4-BE49-F238E27FC236}">
                  <a16:creationId xmlns:a16="http://schemas.microsoft.com/office/drawing/2014/main" id="{2067F4E4-BE54-CF1B-0DD5-5E00D3DAAEBC}"/>
                </a:ext>
              </a:extLst>
            </p:cNvPr>
            <p:cNvGrpSpPr/>
            <p:nvPr/>
          </p:nvGrpSpPr>
          <p:grpSpPr>
            <a:xfrm>
              <a:off x="3937904" y="2811118"/>
              <a:ext cx="16361" cy="19434"/>
              <a:chOff x="7466480" y="2825701"/>
              <a:chExt cx="19732" cy="23438"/>
            </a:xfrm>
          </p:grpSpPr>
          <p:sp>
            <p:nvSpPr>
              <p:cNvPr id="2225" name="Freeform: Shape 2224">
                <a:extLst>
                  <a:ext uri="{FF2B5EF4-FFF2-40B4-BE49-F238E27FC236}">
                    <a16:creationId xmlns:a16="http://schemas.microsoft.com/office/drawing/2014/main" id="{07D38725-25BE-AE4F-D9AA-A96854638871}"/>
                  </a:ext>
                </a:extLst>
              </p:cNvPr>
              <p:cNvSpPr/>
              <p:nvPr/>
            </p:nvSpPr>
            <p:spPr>
              <a:xfrm>
                <a:off x="7466480" y="2825701"/>
                <a:ext cx="19732" cy="23438"/>
              </a:xfrm>
              <a:custGeom>
                <a:avLst/>
                <a:gdLst>
                  <a:gd name="connsiteX0" fmla="*/ 12404 w 19732"/>
                  <a:gd name="connsiteY0" fmla="*/ 1528 h 23438"/>
                  <a:gd name="connsiteX1" fmla="*/ 1830 w 19732"/>
                  <a:gd name="connsiteY1" fmla="*/ 1515 h 23438"/>
                  <a:gd name="connsiteX2" fmla="*/ 13576 w 19732"/>
                  <a:gd name="connsiteY2" fmla="*/ 23436 h 23438"/>
                  <a:gd name="connsiteX3" fmla="*/ 12404 w 19732"/>
                  <a:gd name="connsiteY3" fmla="*/ 1528 h 23438"/>
                </a:gdLst>
                <a:ahLst/>
                <a:cxnLst>
                  <a:cxn ang="0">
                    <a:pos x="connsiteX0" y="connsiteY0"/>
                  </a:cxn>
                  <a:cxn ang="0">
                    <a:pos x="connsiteX1" y="connsiteY1"/>
                  </a:cxn>
                  <a:cxn ang="0">
                    <a:pos x="connsiteX2" y="connsiteY2"/>
                  </a:cxn>
                  <a:cxn ang="0">
                    <a:pos x="connsiteX3" y="connsiteY3"/>
                  </a:cxn>
                </a:cxnLst>
                <a:rect l="l" t="t" r="r" b="b"/>
                <a:pathLst>
                  <a:path w="19732" h="23438">
                    <a:moveTo>
                      <a:pt x="12404" y="1528"/>
                    </a:moveTo>
                    <a:cubicBezTo>
                      <a:pt x="12404" y="1528"/>
                      <a:pt x="7341" y="-1901"/>
                      <a:pt x="1830" y="1515"/>
                    </a:cubicBezTo>
                    <a:cubicBezTo>
                      <a:pt x="-3682" y="4932"/>
                      <a:pt x="4137" y="23199"/>
                      <a:pt x="13576" y="23436"/>
                    </a:cubicBezTo>
                    <a:cubicBezTo>
                      <a:pt x="23015" y="23673"/>
                      <a:pt x="20783" y="8423"/>
                      <a:pt x="12404" y="152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26" name="Graphic 525">
                <a:extLst>
                  <a:ext uri="{FF2B5EF4-FFF2-40B4-BE49-F238E27FC236}">
                    <a16:creationId xmlns:a16="http://schemas.microsoft.com/office/drawing/2014/main" id="{B8A2683D-4B7F-4B77-5A85-4D92A54C7994}"/>
                  </a:ext>
                </a:extLst>
              </p:cNvPr>
              <p:cNvGrpSpPr/>
              <p:nvPr/>
            </p:nvGrpSpPr>
            <p:grpSpPr>
              <a:xfrm>
                <a:off x="7472241" y="2831680"/>
                <a:ext cx="9116" cy="8573"/>
                <a:chOff x="7472241" y="2831680"/>
                <a:chExt cx="9116" cy="8573"/>
              </a:xfrm>
              <a:solidFill>
                <a:srgbClr val="723333"/>
              </a:solidFill>
            </p:grpSpPr>
            <p:sp>
              <p:nvSpPr>
                <p:cNvPr id="2227" name="Freeform: Shape 2226">
                  <a:extLst>
                    <a:ext uri="{FF2B5EF4-FFF2-40B4-BE49-F238E27FC236}">
                      <a16:creationId xmlns:a16="http://schemas.microsoft.com/office/drawing/2014/main" id="{C5F1240E-B7F5-6C4B-7295-10085D417628}"/>
                    </a:ext>
                  </a:extLst>
                </p:cNvPr>
                <p:cNvSpPr/>
                <p:nvPr/>
              </p:nvSpPr>
              <p:spPr>
                <a:xfrm>
                  <a:off x="7472241" y="2831680"/>
                  <a:ext cx="9116" cy="8573"/>
                </a:xfrm>
                <a:custGeom>
                  <a:avLst/>
                  <a:gdLst>
                    <a:gd name="connsiteX0" fmla="*/ 8662 w 9116"/>
                    <a:gd name="connsiteY0" fmla="*/ 8566 h 8573"/>
                    <a:gd name="connsiteX1" fmla="*/ 7977 w 9116"/>
                    <a:gd name="connsiteY1" fmla="*/ 8080 h 8573"/>
                    <a:gd name="connsiteX2" fmla="*/ 4909 w 9116"/>
                    <a:gd name="connsiteY2" fmla="*/ 2032 h 8573"/>
                    <a:gd name="connsiteX3" fmla="*/ 732 w 9116"/>
                    <a:gd name="connsiteY3" fmla="*/ 1284 h 8573"/>
                    <a:gd name="connsiteX4" fmla="*/ 21 w 9116"/>
                    <a:gd name="connsiteY4" fmla="*/ 873 h 8573"/>
                    <a:gd name="connsiteX5" fmla="*/ 433 w 9116"/>
                    <a:gd name="connsiteY5" fmla="*/ 162 h 8573"/>
                    <a:gd name="connsiteX6" fmla="*/ 5545 w 9116"/>
                    <a:gd name="connsiteY6" fmla="*/ 1060 h 8573"/>
                    <a:gd name="connsiteX7" fmla="*/ 9112 w 9116"/>
                    <a:gd name="connsiteY7" fmla="*/ 7918 h 8573"/>
                    <a:gd name="connsiteX8" fmla="*/ 8650 w 9116"/>
                    <a:gd name="connsiteY8" fmla="*/ 8566 h 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16" h="8573">
                      <a:moveTo>
                        <a:pt x="8662" y="8566"/>
                      </a:moveTo>
                      <a:cubicBezTo>
                        <a:pt x="8313" y="8616"/>
                        <a:pt x="8027" y="8391"/>
                        <a:pt x="7977" y="8080"/>
                      </a:cubicBezTo>
                      <a:cubicBezTo>
                        <a:pt x="7565" y="5150"/>
                        <a:pt x="6543" y="3105"/>
                        <a:pt x="4909" y="2032"/>
                      </a:cubicBezTo>
                      <a:cubicBezTo>
                        <a:pt x="2939" y="723"/>
                        <a:pt x="757" y="1284"/>
                        <a:pt x="732" y="1284"/>
                      </a:cubicBezTo>
                      <a:cubicBezTo>
                        <a:pt x="446" y="1359"/>
                        <a:pt x="109" y="1184"/>
                        <a:pt x="21" y="873"/>
                      </a:cubicBezTo>
                      <a:cubicBezTo>
                        <a:pt x="-66" y="561"/>
                        <a:pt x="121" y="249"/>
                        <a:pt x="433" y="162"/>
                      </a:cubicBezTo>
                      <a:cubicBezTo>
                        <a:pt x="545" y="137"/>
                        <a:pt x="3151" y="-536"/>
                        <a:pt x="5545" y="1060"/>
                      </a:cubicBezTo>
                      <a:cubicBezTo>
                        <a:pt x="7453" y="2332"/>
                        <a:pt x="8662" y="4638"/>
                        <a:pt x="9112" y="7918"/>
                      </a:cubicBezTo>
                      <a:cubicBezTo>
                        <a:pt x="9149" y="8217"/>
                        <a:pt x="8949" y="8504"/>
                        <a:pt x="8650" y="8566"/>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28" name="Freeform: Shape 2227">
                  <a:extLst>
                    <a:ext uri="{FF2B5EF4-FFF2-40B4-BE49-F238E27FC236}">
                      <a16:creationId xmlns:a16="http://schemas.microsoft.com/office/drawing/2014/main" id="{37684C5C-D400-BC4E-0FD5-7E54E20CB0CD}"/>
                    </a:ext>
                  </a:extLst>
                </p:cNvPr>
                <p:cNvSpPr/>
                <p:nvPr/>
              </p:nvSpPr>
              <p:spPr>
                <a:xfrm>
                  <a:off x="7474039" y="2835598"/>
                  <a:ext cx="6448" cy="2523"/>
                </a:xfrm>
                <a:custGeom>
                  <a:avLst/>
                  <a:gdLst>
                    <a:gd name="connsiteX0" fmla="*/ 5980 w 6448"/>
                    <a:gd name="connsiteY0" fmla="*/ 1593 h 2523"/>
                    <a:gd name="connsiteX1" fmla="*/ 5593 w 6448"/>
                    <a:gd name="connsiteY1" fmla="*/ 1531 h 2523"/>
                    <a:gd name="connsiteX2" fmla="*/ 955 w 6448"/>
                    <a:gd name="connsiteY2" fmla="*/ 2379 h 2523"/>
                    <a:gd name="connsiteX3" fmla="*/ 145 w 6448"/>
                    <a:gd name="connsiteY3" fmla="*/ 2329 h 2523"/>
                    <a:gd name="connsiteX4" fmla="*/ 195 w 6448"/>
                    <a:gd name="connsiteY4" fmla="*/ 1519 h 2523"/>
                    <a:gd name="connsiteX5" fmla="*/ 6155 w 6448"/>
                    <a:gd name="connsiteY5" fmla="*/ 521 h 2523"/>
                    <a:gd name="connsiteX6" fmla="*/ 6379 w 6448"/>
                    <a:gd name="connsiteY6" fmla="*/ 1307 h 2523"/>
                    <a:gd name="connsiteX7" fmla="*/ 5980 w 6448"/>
                    <a:gd name="connsiteY7" fmla="*/ 1593 h 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8" h="2523">
                      <a:moveTo>
                        <a:pt x="5980" y="1593"/>
                      </a:moveTo>
                      <a:cubicBezTo>
                        <a:pt x="5856" y="1618"/>
                        <a:pt x="5718" y="1593"/>
                        <a:pt x="5593" y="1531"/>
                      </a:cubicBezTo>
                      <a:cubicBezTo>
                        <a:pt x="5494" y="1481"/>
                        <a:pt x="3262" y="322"/>
                        <a:pt x="955" y="2379"/>
                      </a:cubicBezTo>
                      <a:cubicBezTo>
                        <a:pt x="718" y="2591"/>
                        <a:pt x="356" y="2566"/>
                        <a:pt x="145" y="2329"/>
                      </a:cubicBezTo>
                      <a:cubicBezTo>
                        <a:pt x="-67" y="2092"/>
                        <a:pt x="-43" y="1731"/>
                        <a:pt x="195" y="1519"/>
                      </a:cubicBezTo>
                      <a:cubicBezTo>
                        <a:pt x="3137" y="-1100"/>
                        <a:pt x="6030" y="446"/>
                        <a:pt x="6155" y="521"/>
                      </a:cubicBezTo>
                      <a:cubicBezTo>
                        <a:pt x="6429" y="671"/>
                        <a:pt x="6529" y="1020"/>
                        <a:pt x="6379" y="1307"/>
                      </a:cubicBezTo>
                      <a:cubicBezTo>
                        <a:pt x="6292" y="1469"/>
                        <a:pt x="6142" y="1569"/>
                        <a:pt x="5980" y="1593"/>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229" name="Freeform: Shape 2228">
              <a:extLst>
                <a:ext uri="{FF2B5EF4-FFF2-40B4-BE49-F238E27FC236}">
                  <a16:creationId xmlns:a16="http://schemas.microsoft.com/office/drawing/2014/main" id="{13E9F11C-AB0A-159A-ADC9-C605563FA25F}"/>
                </a:ext>
              </a:extLst>
            </p:cNvPr>
            <p:cNvSpPr/>
            <p:nvPr/>
          </p:nvSpPr>
          <p:spPr>
            <a:xfrm>
              <a:off x="3906815" y="2782926"/>
              <a:ext cx="12308" cy="15393"/>
            </a:xfrm>
            <a:custGeom>
              <a:avLst/>
              <a:gdLst>
                <a:gd name="connsiteX0" fmla="*/ 134 w 14844"/>
                <a:gd name="connsiteY0" fmla="*/ 3844 h 18565"/>
                <a:gd name="connsiteX1" fmla="*/ 4062 w 14844"/>
                <a:gd name="connsiteY1" fmla="*/ 228 h 18565"/>
                <a:gd name="connsiteX2" fmla="*/ 14474 w 14844"/>
                <a:gd name="connsiteY2" fmla="*/ 8071 h 18565"/>
                <a:gd name="connsiteX3" fmla="*/ 5122 w 14844"/>
                <a:gd name="connsiteY3" fmla="*/ 18021 h 18565"/>
                <a:gd name="connsiteX4" fmla="*/ 147 w 14844"/>
                <a:gd name="connsiteY4" fmla="*/ 3844 h 1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4" h="18565">
                  <a:moveTo>
                    <a:pt x="134" y="3844"/>
                  </a:moveTo>
                  <a:cubicBezTo>
                    <a:pt x="134" y="3844"/>
                    <a:pt x="583" y="1126"/>
                    <a:pt x="4062" y="228"/>
                  </a:cubicBezTo>
                  <a:cubicBezTo>
                    <a:pt x="7529" y="-682"/>
                    <a:pt x="12504" y="976"/>
                    <a:pt x="14474" y="8071"/>
                  </a:cubicBezTo>
                  <a:cubicBezTo>
                    <a:pt x="16432" y="15166"/>
                    <a:pt x="10247" y="20291"/>
                    <a:pt x="5122" y="18021"/>
                  </a:cubicBezTo>
                  <a:cubicBezTo>
                    <a:pt x="-3" y="15764"/>
                    <a:pt x="-302" y="6861"/>
                    <a:pt x="147" y="3844"/>
                  </a:cubicBezTo>
                  <a:close/>
                </a:path>
              </a:pathLst>
            </a:custGeom>
            <a:solidFill>
              <a:srgbClr val="5371B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30" name="Freeform: Shape 2229">
              <a:extLst>
                <a:ext uri="{FF2B5EF4-FFF2-40B4-BE49-F238E27FC236}">
                  <a16:creationId xmlns:a16="http://schemas.microsoft.com/office/drawing/2014/main" id="{F3CD8170-7283-D913-2473-4BD0E1D57BFC}"/>
                </a:ext>
              </a:extLst>
            </p:cNvPr>
            <p:cNvSpPr/>
            <p:nvPr/>
          </p:nvSpPr>
          <p:spPr>
            <a:xfrm>
              <a:off x="3874412" y="2785368"/>
              <a:ext cx="40794" cy="49900"/>
            </a:xfrm>
            <a:custGeom>
              <a:avLst/>
              <a:gdLst>
                <a:gd name="connsiteX0" fmla="*/ 46907 w 49200"/>
                <a:gd name="connsiteY0" fmla="*/ 1947 h 60181"/>
                <a:gd name="connsiteX1" fmla="*/ 17941 w 49200"/>
                <a:gd name="connsiteY1" fmla="*/ 6922 h 60181"/>
                <a:gd name="connsiteX2" fmla="*/ 298 w 49200"/>
                <a:gd name="connsiteY2" fmla="*/ 52172 h 60181"/>
                <a:gd name="connsiteX3" fmla="*/ 11158 w 49200"/>
                <a:gd name="connsiteY3" fmla="*/ 55788 h 60181"/>
                <a:gd name="connsiteX4" fmla="*/ 24737 w 49200"/>
                <a:gd name="connsiteY4" fmla="*/ 58045 h 60181"/>
                <a:gd name="connsiteX5" fmla="*/ 38316 w 49200"/>
                <a:gd name="connsiteY5" fmla="*/ 54429 h 60181"/>
                <a:gd name="connsiteX6" fmla="*/ 46458 w 49200"/>
                <a:gd name="connsiteY6" fmla="*/ 43120 h 60181"/>
                <a:gd name="connsiteX7" fmla="*/ 48266 w 49200"/>
                <a:gd name="connsiteY7" fmla="*/ 12346 h 60181"/>
                <a:gd name="connsiteX8" fmla="*/ 46907 w 49200"/>
                <a:gd name="connsiteY8" fmla="*/ 1934 h 6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00" h="60181">
                  <a:moveTo>
                    <a:pt x="46907" y="1947"/>
                  </a:moveTo>
                  <a:cubicBezTo>
                    <a:pt x="46907" y="1947"/>
                    <a:pt x="26545" y="-4837"/>
                    <a:pt x="17941" y="6922"/>
                  </a:cubicBezTo>
                  <a:cubicBezTo>
                    <a:pt x="9338" y="18680"/>
                    <a:pt x="12056" y="39952"/>
                    <a:pt x="298" y="52172"/>
                  </a:cubicBezTo>
                  <a:cubicBezTo>
                    <a:pt x="-1510" y="56698"/>
                    <a:pt x="5273" y="58506"/>
                    <a:pt x="11158" y="55788"/>
                  </a:cubicBezTo>
                  <a:cubicBezTo>
                    <a:pt x="11158" y="55788"/>
                    <a:pt x="18852" y="63930"/>
                    <a:pt x="24737" y="58045"/>
                  </a:cubicBezTo>
                  <a:cubicBezTo>
                    <a:pt x="24737" y="58045"/>
                    <a:pt x="34687" y="60763"/>
                    <a:pt x="38316" y="54429"/>
                  </a:cubicBezTo>
                  <a:cubicBezTo>
                    <a:pt x="41932" y="48095"/>
                    <a:pt x="46458" y="50813"/>
                    <a:pt x="46458" y="43120"/>
                  </a:cubicBezTo>
                  <a:cubicBezTo>
                    <a:pt x="46458" y="35426"/>
                    <a:pt x="45548" y="19590"/>
                    <a:pt x="48266" y="12346"/>
                  </a:cubicBezTo>
                  <a:cubicBezTo>
                    <a:pt x="50985" y="5101"/>
                    <a:pt x="46907" y="1934"/>
                    <a:pt x="46907" y="1934"/>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32" name="Graphic 525">
              <a:extLst>
                <a:ext uri="{FF2B5EF4-FFF2-40B4-BE49-F238E27FC236}">
                  <a16:creationId xmlns:a16="http://schemas.microsoft.com/office/drawing/2014/main" id="{75E19666-0055-E715-BAA6-BC6D66FD4DB4}"/>
                </a:ext>
              </a:extLst>
            </p:cNvPr>
            <p:cNvGrpSpPr/>
            <p:nvPr/>
          </p:nvGrpSpPr>
          <p:grpSpPr>
            <a:xfrm>
              <a:off x="3991751" y="2953866"/>
              <a:ext cx="94102" cy="66825"/>
              <a:chOff x="7531421" y="2997861"/>
              <a:chExt cx="113491" cy="80594"/>
            </a:xfrm>
          </p:grpSpPr>
          <p:sp>
            <p:nvSpPr>
              <p:cNvPr id="2233" name="Freeform: Shape 2232">
                <a:extLst>
                  <a:ext uri="{FF2B5EF4-FFF2-40B4-BE49-F238E27FC236}">
                    <a16:creationId xmlns:a16="http://schemas.microsoft.com/office/drawing/2014/main" id="{11B21ABE-B634-0098-38A5-F75747346C38}"/>
                  </a:ext>
                </a:extLst>
              </p:cNvPr>
              <p:cNvSpPr/>
              <p:nvPr/>
            </p:nvSpPr>
            <p:spPr>
              <a:xfrm>
                <a:off x="7531421" y="2997861"/>
                <a:ext cx="79900" cy="56882"/>
              </a:xfrm>
              <a:custGeom>
                <a:avLst/>
                <a:gdLst>
                  <a:gd name="connsiteX0" fmla="*/ 26355 w 79900"/>
                  <a:gd name="connsiteY0" fmla="*/ 1616 h 56882"/>
                  <a:gd name="connsiteX1" fmla="*/ 58488 w 79900"/>
                  <a:gd name="connsiteY1" fmla="*/ 29971 h 56882"/>
                  <a:gd name="connsiteX2" fmla="*/ 77790 w 79900"/>
                  <a:gd name="connsiteY2" fmla="*/ 45956 h 56882"/>
                  <a:gd name="connsiteX3" fmla="*/ 69947 w 79900"/>
                  <a:gd name="connsiteY3" fmla="*/ 56817 h 56882"/>
                  <a:gd name="connsiteX4" fmla="*/ 357 w 79900"/>
                  <a:gd name="connsiteY4" fmla="*/ 16392 h 56882"/>
                  <a:gd name="connsiteX5" fmla="*/ 26355 w 79900"/>
                  <a:gd name="connsiteY5" fmla="*/ 1616 h 5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00" h="56882">
                    <a:moveTo>
                      <a:pt x="26355" y="1616"/>
                    </a:moveTo>
                    <a:cubicBezTo>
                      <a:pt x="26355" y="1616"/>
                      <a:pt x="46418" y="19410"/>
                      <a:pt x="58488" y="29971"/>
                    </a:cubicBezTo>
                    <a:cubicBezTo>
                      <a:pt x="70558" y="40532"/>
                      <a:pt x="72665" y="42939"/>
                      <a:pt x="77790" y="45956"/>
                    </a:cubicBezTo>
                    <a:cubicBezTo>
                      <a:pt x="82915" y="48974"/>
                      <a:pt x="78089" y="57727"/>
                      <a:pt x="69947" y="56817"/>
                    </a:cubicBezTo>
                    <a:cubicBezTo>
                      <a:pt x="61805" y="55907"/>
                      <a:pt x="17552" y="46555"/>
                      <a:pt x="357" y="16392"/>
                    </a:cubicBezTo>
                    <a:cubicBezTo>
                      <a:pt x="-2062" y="13674"/>
                      <a:pt x="7951" y="-5629"/>
                      <a:pt x="26355" y="161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34" name="Graphic 525">
                <a:extLst>
                  <a:ext uri="{FF2B5EF4-FFF2-40B4-BE49-F238E27FC236}">
                    <a16:creationId xmlns:a16="http://schemas.microsoft.com/office/drawing/2014/main" id="{11A02997-4B0E-5763-8B52-A0F4FB2EAB8F}"/>
                  </a:ext>
                </a:extLst>
              </p:cNvPr>
              <p:cNvGrpSpPr/>
              <p:nvPr/>
            </p:nvGrpSpPr>
            <p:grpSpPr>
              <a:xfrm>
                <a:off x="7581449" y="3035300"/>
                <a:ext cx="63462" cy="43154"/>
                <a:chOff x="7581449" y="3035300"/>
                <a:chExt cx="63462" cy="43154"/>
              </a:xfrm>
            </p:grpSpPr>
            <p:sp>
              <p:nvSpPr>
                <p:cNvPr id="2235" name="Freeform: Shape 2234">
                  <a:extLst>
                    <a:ext uri="{FF2B5EF4-FFF2-40B4-BE49-F238E27FC236}">
                      <a16:creationId xmlns:a16="http://schemas.microsoft.com/office/drawing/2014/main" id="{96F2FF76-3B33-7340-36C0-3A975959F5B9}"/>
                    </a:ext>
                  </a:extLst>
                </p:cNvPr>
                <p:cNvSpPr/>
                <p:nvPr/>
              </p:nvSpPr>
              <p:spPr>
                <a:xfrm>
                  <a:off x="7581449" y="3035300"/>
                  <a:ext cx="63462" cy="43154"/>
                </a:xfrm>
                <a:custGeom>
                  <a:avLst/>
                  <a:gdLst>
                    <a:gd name="connsiteX0" fmla="*/ 4157 w 63462"/>
                    <a:gd name="connsiteY0" fmla="*/ 15836 h 43154"/>
                    <a:gd name="connsiteX1" fmla="*/ 18335 w 63462"/>
                    <a:gd name="connsiteY1" fmla="*/ 24813 h 43154"/>
                    <a:gd name="connsiteX2" fmla="*/ 31689 w 63462"/>
                    <a:gd name="connsiteY2" fmla="*/ 40500 h 43154"/>
                    <a:gd name="connsiteX3" fmla="*/ 32599 w 63462"/>
                    <a:gd name="connsiteY3" fmla="*/ 31447 h 43154"/>
                    <a:gd name="connsiteX4" fmla="*/ 30492 w 63462"/>
                    <a:gd name="connsiteY4" fmla="*/ 23005 h 43154"/>
                    <a:gd name="connsiteX5" fmla="*/ 44071 w 63462"/>
                    <a:gd name="connsiteY5" fmla="*/ 29938 h 43154"/>
                    <a:gd name="connsiteX6" fmla="*/ 51615 w 63462"/>
                    <a:gd name="connsiteY6" fmla="*/ 42607 h 43154"/>
                    <a:gd name="connsiteX7" fmla="*/ 56141 w 63462"/>
                    <a:gd name="connsiteY7" fmla="*/ 38679 h 43154"/>
                    <a:gd name="connsiteX8" fmla="*/ 61266 w 63462"/>
                    <a:gd name="connsiteY8" fmla="*/ 35961 h 43154"/>
                    <a:gd name="connsiteX9" fmla="*/ 63373 w 63462"/>
                    <a:gd name="connsiteY9" fmla="*/ 31435 h 43154"/>
                    <a:gd name="connsiteX10" fmla="*/ 53722 w 63462"/>
                    <a:gd name="connsiteY10" fmla="*/ 10624 h 43154"/>
                    <a:gd name="connsiteX11" fmla="*/ 19033 w 63462"/>
                    <a:gd name="connsiteY11" fmla="*/ 1870 h 43154"/>
                    <a:gd name="connsiteX12" fmla="*/ 4170 w 63462"/>
                    <a:gd name="connsiteY12" fmla="*/ 15823 h 4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62" h="43154">
                      <a:moveTo>
                        <a:pt x="4157" y="15836"/>
                      </a:moveTo>
                      <a:cubicBezTo>
                        <a:pt x="4157" y="15836"/>
                        <a:pt x="16078" y="19003"/>
                        <a:pt x="18335" y="24813"/>
                      </a:cubicBezTo>
                      <a:cubicBezTo>
                        <a:pt x="20392" y="30100"/>
                        <a:pt x="28360" y="40200"/>
                        <a:pt x="31689" y="40500"/>
                      </a:cubicBezTo>
                      <a:cubicBezTo>
                        <a:pt x="35006" y="40799"/>
                        <a:pt x="33796" y="34764"/>
                        <a:pt x="32599" y="31447"/>
                      </a:cubicBezTo>
                      <a:cubicBezTo>
                        <a:pt x="31402" y="28130"/>
                        <a:pt x="29283" y="26622"/>
                        <a:pt x="30492" y="23005"/>
                      </a:cubicBezTo>
                      <a:cubicBezTo>
                        <a:pt x="31702" y="19390"/>
                        <a:pt x="40143" y="25724"/>
                        <a:pt x="44071" y="29938"/>
                      </a:cubicBezTo>
                      <a:cubicBezTo>
                        <a:pt x="47999" y="34153"/>
                        <a:pt x="48897" y="40799"/>
                        <a:pt x="51615" y="42607"/>
                      </a:cubicBezTo>
                      <a:cubicBezTo>
                        <a:pt x="54333" y="44415"/>
                        <a:pt x="56141" y="41397"/>
                        <a:pt x="56141" y="38679"/>
                      </a:cubicBezTo>
                      <a:cubicBezTo>
                        <a:pt x="56141" y="38679"/>
                        <a:pt x="61565" y="42906"/>
                        <a:pt x="61266" y="35961"/>
                      </a:cubicBezTo>
                      <a:cubicBezTo>
                        <a:pt x="61266" y="35961"/>
                        <a:pt x="63984" y="37470"/>
                        <a:pt x="63373" y="31435"/>
                      </a:cubicBezTo>
                      <a:cubicBezTo>
                        <a:pt x="62774" y="25399"/>
                        <a:pt x="59757" y="17856"/>
                        <a:pt x="53722" y="10624"/>
                      </a:cubicBezTo>
                      <a:cubicBezTo>
                        <a:pt x="47687" y="3379"/>
                        <a:pt x="28722" y="7843"/>
                        <a:pt x="19033" y="1870"/>
                      </a:cubicBezTo>
                      <a:cubicBezTo>
                        <a:pt x="7262" y="-5374"/>
                        <a:pt x="-7289" y="10387"/>
                        <a:pt x="4170" y="1582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36" name="Freeform: Shape 2235">
                  <a:extLst>
                    <a:ext uri="{FF2B5EF4-FFF2-40B4-BE49-F238E27FC236}">
                      <a16:creationId xmlns:a16="http://schemas.microsoft.com/office/drawing/2014/main" id="{CE64529E-7DB9-9230-2C88-0E1BB1DD8641}"/>
                    </a:ext>
                  </a:extLst>
                </p:cNvPr>
                <p:cNvSpPr/>
                <p:nvPr/>
              </p:nvSpPr>
              <p:spPr>
                <a:xfrm>
                  <a:off x="7623943" y="3052939"/>
                  <a:ext cx="13750" cy="21152"/>
                </a:xfrm>
                <a:custGeom>
                  <a:avLst/>
                  <a:gdLst>
                    <a:gd name="connsiteX0" fmla="*/ 13547 w 13750"/>
                    <a:gd name="connsiteY0" fmla="*/ 21078 h 21152"/>
                    <a:gd name="connsiteX1" fmla="*/ 11054 w 13750"/>
                    <a:gd name="connsiteY1" fmla="*/ 15080 h 21152"/>
                    <a:gd name="connsiteX2" fmla="*/ 9769 w 13750"/>
                    <a:gd name="connsiteY2" fmla="*/ 12112 h 21152"/>
                    <a:gd name="connsiteX3" fmla="*/ 8410 w 13750"/>
                    <a:gd name="connsiteY3" fmla="*/ 9207 h 21152"/>
                    <a:gd name="connsiteX4" fmla="*/ 8036 w 13750"/>
                    <a:gd name="connsiteY4" fmla="*/ 8509 h 21152"/>
                    <a:gd name="connsiteX5" fmla="*/ 7650 w 13750"/>
                    <a:gd name="connsiteY5" fmla="*/ 7835 h 21152"/>
                    <a:gd name="connsiteX6" fmla="*/ 6777 w 13750"/>
                    <a:gd name="connsiteY6" fmla="*/ 6563 h 21152"/>
                    <a:gd name="connsiteX7" fmla="*/ 4857 w 13750"/>
                    <a:gd name="connsiteY7" fmla="*/ 4169 h 21152"/>
                    <a:gd name="connsiteX8" fmla="*/ 2649 w 13750"/>
                    <a:gd name="connsiteY8" fmla="*/ 2025 h 21152"/>
                    <a:gd name="connsiteX9" fmla="*/ 43 w 13750"/>
                    <a:gd name="connsiteY9" fmla="*/ 167 h 21152"/>
                    <a:gd name="connsiteX10" fmla="*/ 18 w 13750"/>
                    <a:gd name="connsiteY10" fmla="*/ 42 h 21152"/>
                    <a:gd name="connsiteX11" fmla="*/ 106 w 13750"/>
                    <a:gd name="connsiteY11" fmla="*/ 5 h 21152"/>
                    <a:gd name="connsiteX12" fmla="*/ 6141 w 13750"/>
                    <a:gd name="connsiteY12" fmla="*/ 2923 h 21152"/>
                    <a:gd name="connsiteX13" fmla="*/ 8298 w 13750"/>
                    <a:gd name="connsiteY13" fmla="*/ 5566 h 21152"/>
                    <a:gd name="connsiteX14" fmla="*/ 9769 w 13750"/>
                    <a:gd name="connsiteY14" fmla="*/ 8609 h 21152"/>
                    <a:gd name="connsiteX15" fmla="*/ 11939 w 13750"/>
                    <a:gd name="connsiteY15" fmla="*/ 14781 h 21152"/>
                    <a:gd name="connsiteX16" fmla="*/ 13747 w 13750"/>
                    <a:gd name="connsiteY16" fmla="*/ 21040 h 21152"/>
                    <a:gd name="connsiteX17" fmla="*/ 13685 w 13750"/>
                    <a:gd name="connsiteY17" fmla="*/ 21153 h 21152"/>
                    <a:gd name="connsiteX18" fmla="*/ 13572 w 13750"/>
                    <a:gd name="connsiteY18" fmla="*/ 21103 h 2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750" h="21152">
                      <a:moveTo>
                        <a:pt x="13547" y="21078"/>
                      </a:moveTo>
                      <a:cubicBezTo>
                        <a:pt x="12725" y="19070"/>
                        <a:pt x="11914" y="17063"/>
                        <a:pt x="11054" y="15080"/>
                      </a:cubicBezTo>
                      <a:cubicBezTo>
                        <a:pt x="10630" y="14082"/>
                        <a:pt x="10206" y="13097"/>
                        <a:pt x="9769" y="12112"/>
                      </a:cubicBezTo>
                      <a:cubicBezTo>
                        <a:pt x="9333" y="11127"/>
                        <a:pt x="8897" y="10142"/>
                        <a:pt x="8410" y="9207"/>
                      </a:cubicBezTo>
                      <a:cubicBezTo>
                        <a:pt x="8286" y="8970"/>
                        <a:pt x="8161" y="8733"/>
                        <a:pt x="8036" y="8509"/>
                      </a:cubicBezTo>
                      <a:cubicBezTo>
                        <a:pt x="7911" y="8284"/>
                        <a:pt x="7787" y="8047"/>
                        <a:pt x="7650" y="7835"/>
                      </a:cubicBezTo>
                      <a:cubicBezTo>
                        <a:pt x="7388" y="7412"/>
                        <a:pt x="7076" y="6975"/>
                        <a:pt x="6777" y="6563"/>
                      </a:cubicBezTo>
                      <a:cubicBezTo>
                        <a:pt x="6166" y="5728"/>
                        <a:pt x="5530" y="4930"/>
                        <a:pt x="4857" y="4169"/>
                      </a:cubicBezTo>
                      <a:cubicBezTo>
                        <a:pt x="4183" y="3409"/>
                        <a:pt x="3447" y="2686"/>
                        <a:pt x="2649" y="2025"/>
                      </a:cubicBezTo>
                      <a:cubicBezTo>
                        <a:pt x="1839" y="1364"/>
                        <a:pt x="979" y="765"/>
                        <a:pt x="43" y="167"/>
                      </a:cubicBezTo>
                      <a:cubicBezTo>
                        <a:pt x="6" y="142"/>
                        <a:pt x="-19" y="80"/>
                        <a:pt x="18" y="42"/>
                      </a:cubicBezTo>
                      <a:cubicBezTo>
                        <a:pt x="43" y="5"/>
                        <a:pt x="68" y="-8"/>
                        <a:pt x="106" y="5"/>
                      </a:cubicBezTo>
                      <a:cubicBezTo>
                        <a:pt x="2325" y="254"/>
                        <a:pt x="4457" y="1364"/>
                        <a:pt x="6141" y="2923"/>
                      </a:cubicBezTo>
                      <a:cubicBezTo>
                        <a:pt x="6989" y="3696"/>
                        <a:pt x="7712" y="4594"/>
                        <a:pt x="8298" y="5566"/>
                      </a:cubicBezTo>
                      <a:cubicBezTo>
                        <a:pt x="8884" y="6526"/>
                        <a:pt x="9370" y="7598"/>
                        <a:pt x="9769" y="8609"/>
                      </a:cubicBezTo>
                      <a:cubicBezTo>
                        <a:pt x="10605" y="10653"/>
                        <a:pt x="11290" y="12711"/>
                        <a:pt x="11939" y="14781"/>
                      </a:cubicBezTo>
                      <a:cubicBezTo>
                        <a:pt x="12575" y="16863"/>
                        <a:pt x="13198" y="18933"/>
                        <a:pt x="13747" y="21040"/>
                      </a:cubicBezTo>
                      <a:cubicBezTo>
                        <a:pt x="13759" y="21090"/>
                        <a:pt x="13734" y="21140"/>
                        <a:pt x="13685" y="21153"/>
                      </a:cubicBezTo>
                      <a:cubicBezTo>
                        <a:pt x="13635" y="21153"/>
                        <a:pt x="13597" y="21153"/>
                        <a:pt x="13572" y="21103"/>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37" name="Freeform: Shape 2236">
                  <a:extLst>
                    <a:ext uri="{FF2B5EF4-FFF2-40B4-BE49-F238E27FC236}">
                      <a16:creationId xmlns:a16="http://schemas.microsoft.com/office/drawing/2014/main" id="{73CE17C1-ECB0-577B-6CD8-487E503C5210}"/>
                    </a:ext>
                  </a:extLst>
                </p:cNvPr>
                <p:cNvSpPr/>
                <p:nvPr/>
              </p:nvSpPr>
              <p:spPr>
                <a:xfrm>
                  <a:off x="7629726" y="3048876"/>
                  <a:ext cx="13055" cy="22510"/>
                </a:xfrm>
                <a:custGeom>
                  <a:avLst/>
                  <a:gdLst>
                    <a:gd name="connsiteX0" fmla="*/ 12890 w 13055"/>
                    <a:gd name="connsiteY0" fmla="*/ 22423 h 22510"/>
                    <a:gd name="connsiteX1" fmla="*/ 10371 w 13055"/>
                    <a:gd name="connsiteY1" fmla="*/ 16263 h 22510"/>
                    <a:gd name="connsiteX2" fmla="*/ 9099 w 13055"/>
                    <a:gd name="connsiteY2" fmla="*/ 13196 h 22510"/>
                    <a:gd name="connsiteX3" fmla="*/ 7802 w 13055"/>
                    <a:gd name="connsiteY3" fmla="*/ 10153 h 22510"/>
                    <a:gd name="connsiteX4" fmla="*/ 6344 w 13055"/>
                    <a:gd name="connsiteY4" fmla="*/ 7248 h 22510"/>
                    <a:gd name="connsiteX5" fmla="*/ 4610 w 13055"/>
                    <a:gd name="connsiteY5" fmla="*/ 4667 h 22510"/>
                    <a:gd name="connsiteX6" fmla="*/ 2528 w 13055"/>
                    <a:gd name="connsiteY6" fmla="*/ 2273 h 22510"/>
                    <a:gd name="connsiteX7" fmla="*/ 47 w 13055"/>
                    <a:gd name="connsiteY7" fmla="*/ 166 h 22510"/>
                    <a:gd name="connsiteX8" fmla="*/ 22 w 13055"/>
                    <a:gd name="connsiteY8" fmla="*/ 41 h 22510"/>
                    <a:gd name="connsiteX9" fmla="*/ 109 w 13055"/>
                    <a:gd name="connsiteY9" fmla="*/ 3 h 22510"/>
                    <a:gd name="connsiteX10" fmla="*/ 3313 w 13055"/>
                    <a:gd name="connsiteY10" fmla="*/ 1288 h 22510"/>
                    <a:gd name="connsiteX11" fmla="*/ 5995 w 13055"/>
                    <a:gd name="connsiteY11" fmla="*/ 3520 h 22510"/>
                    <a:gd name="connsiteX12" fmla="*/ 7952 w 13055"/>
                    <a:gd name="connsiteY12" fmla="*/ 6450 h 22510"/>
                    <a:gd name="connsiteX13" fmla="*/ 9149 w 13055"/>
                    <a:gd name="connsiteY13" fmla="*/ 9642 h 22510"/>
                    <a:gd name="connsiteX14" fmla="*/ 11219 w 13055"/>
                    <a:gd name="connsiteY14" fmla="*/ 15989 h 22510"/>
                    <a:gd name="connsiteX15" fmla="*/ 13052 w 13055"/>
                    <a:gd name="connsiteY15" fmla="*/ 22398 h 22510"/>
                    <a:gd name="connsiteX16" fmla="*/ 12990 w 13055"/>
                    <a:gd name="connsiteY16" fmla="*/ 22510 h 22510"/>
                    <a:gd name="connsiteX17" fmla="*/ 12877 w 13055"/>
                    <a:gd name="connsiteY17" fmla="*/ 22460 h 2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55" h="22510">
                      <a:moveTo>
                        <a:pt x="12890" y="22423"/>
                      </a:moveTo>
                      <a:lnTo>
                        <a:pt x="10371" y="16263"/>
                      </a:lnTo>
                      <a:lnTo>
                        <a:pt x="9099" y="13196"/>
                      </a:lnTo>
                      <a:cubicBezTo>
                        <a:pt x="8675" y="12173"/>
                        <a:pt x="8251" y="11151"/>
                        <a:pt x="7802" y="10153"/>
                      </a:cubicBezTo>
                      <a:cubicBezTo>
                        <a:pt x="7353" y="9156"/>
                        <a:pt x="6880" y="8146"/>
                        <a:pt x="6344" y="7248"/>
                      </a:cubicBezTo>
                      <a:cubicBezTo>
                        <a:pt x="5832" y="6350"/>
                        <a:pt x="5246" y="5502"/>
                        <a:pt x="4610" y="4667"/>
                      </a:cubicBezTo>
                      <a:cubicBezTo>
                        <a:pt x="3974" y="3831"/>
                        <a:pt x="3276" y="3034"/>
                        <a:pt x="2528" y="2273"/>
                      </a:cubicBezTo>
                      <a:cubicBezTo>
                        <a:pt x="1767" y="1525"/>
                        <a:pt x="982" y="777"/>
                        <a:pt x="47" y="166"/>
                      </a:cubicBezTo>
                      <a:cubicBezTo>
                        <a:pt x="-3" y="141"/>
                        <a:pt x="-16" y="78"/>
                        <a:pt x="22" y="41"/>
                      </a:cubicBezTo>
                      <a:cubicBezTo>
                        <a:pt x="47" y="16"/>
                        <a:pt x="72" y="-9"/>
                        <a:pt x="109" y="3"/>
                      </a:cubicBezTo>
                      <a:cubicBezTo>
                        <a:pt x="1269" y="141"/>
                        <a:pt x="2341" y="677"/>
                        <a:pt x="3313" y="1288"/>
                      </a:cubicBezTo>
                      <a:cubicBezTo>
                        <a:pt x="4299" y="1899"/>
                        <a:pt x="5184" y="2659"/>
                        <a:pt x="5995" y="3520"/>
                      </a:cubicBezTo>
                      <a:cubicBezTo>
                        <a:pt x="6792" y="4380"/>
                        <a:pt x="7478" y="5365"/>
                        <a:pt x="7952" y="6450"/>
                      </a:cubicBezTo>
                      <a:cubicBezTo>
                        <a:pt x="8426" y="7535"/>
                        <a:pt x="8775" y="8582"/>
                        <a:pt x="9149" y="9642"/>
                      </a:cubicBezTo>
                      <a:cubicBezTo>
                        <a:pt x="9897" y="11749"/>
                        <a:pt x="10583" y="13857"/>
                        <a:pt x="11219" y="15989"/>
                      </a:cubicBezTo>
                      <a:cubicBezTo>
                        <a:pt x="11842" y="18121"/>
                        <a:pt x="12478" y="20253"/>
                        <a:pt x="13052" y="22398"/>
                      </a:cubicBezTo>
                      <a:cubicBezTo>
                        <a:pt x="13064" y="22448"/>
                        <a:pt x="13039" y="22498"/>
                        <a:pt x="12990" y="22510"/>
                      </a:cubicBezTo>
                      <a:cubicBezTo>
                        <a:pt x="12940" y="22510"/>
                        <a:pt x="12902" y="22510"/>
                        <a:pt x="12877" y="22460"/>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238" name="Freeform: Shape 2237">
                <a:extLst>
                  <a:ext uri="{FF2B5EF4-FFF2-40B4-BE49-F238E27FC236}">
                    <a16:creationId xmlns:a16="http://schemas.microsoft.com/office/drawing/2014/main" id="{84EC601B-7593-8DC0-C574-4646AA8B6EFB}"/>
                  </a:ext>
                </a:extLst>
              </p:cNvPr>
              <p:cNvSpPr/>
              <p:nvPr/>
            </p:nvSpPr>
            <p:spPr>
              <a:xfrm>
                <a:off x="7531425" y="2998741"/>
                <a:ext cx="14454" cy="30237"/>
              </a:xfrm>
              <a:custGeom>
                <a:avLst/>
                <a:gdLst>
                  <a:gd name="connsiteX0" fmla="*/ 12809 w 14454"/>
                  <a:gd name="connsiteY0" fmla="*/ 0 h 30237"/>
                  <a:gd name="connsiteX1" fmla="*/ 353 w 14454"/>
                  <a:gd name="connsiteY1" fmla="*/ 15511 h 30237"/>
                  <a:gd name="connsiteX2" fmla="*/ 12323 w 14454"/>
                  <a:gd name="connsiteY2" fmla="*/ 30238 h 30237"/>
                  <a:gd name="connsiteX3" fmla="*/ 12797 w 14454"/>
                  <a:gd name="connsiteY3" fmla="*/ 0 h 30237"/>
                </a:gdLst>
                <a:ahLst/>
                <a:cxnLst>
                  <a:cxn ang="0">
                    <a:pos x="connsiteX0" y="connsiteY0"/>
                  </a:cxn>
                  <a:cxn ang="0">
                    <a:pos x="connsiteX1" y="connsiteY1"/>
                  </a:cxn>
                  <a:cxn ang="0">
                    <a:pos x="connsiteX2" y="connsiteY2"/>
                  </a:cxn>
                  <a:cxn ang="0">
                    <a:pos x="connsiteX3" y="connsiteY3"/>
                  </a:cxn>
                </a:cxnLst>
                <a:rect l="l" t="t" r="r" b="b"/>
                <a:pathLst>
                  <a:path w="14454" h="30237">
                    <a:moveTo>
                      <a:pt x="12809" y="0"/>
                    </a:moveTo>
                    <a:cubicBezTo>
                      <a:pt x="3271" y="3117"/>
                      <a:pt x="-1368" y="13567"/>
                      <a:pt x="353" y="15511"/>
                    </a:cubicBezTo>
                    <a:cubicBezTo>
                      <a:pt x="3545" y="21110"/>
                      <a:pt x="7672" y="25998"/>
                      <a:pt x="12323" y="30238"/>
                    </a:cubicBezTo>
                    <a:cubicBezTo>
                      <a:pt x="15864" y="20811"/>
                      <a:pt x="14244" y="7656"/>
                      <a:pt x="12797" y="0"/>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239" name="Graphic 525">
              <a:extLst>
                <a:ext uri="{FF2B5EF4-FFF2-40B4-BE49-F238E27FC236}">
                  <a16:creationId xmlns:a16="http://schemas.microsoft.com/office/drawing/2014/main" id="{39B7CB86-D5B9-FB53-9AB3-D1701BD69E39}"/>
                </a:ext>
              </a:extLst>
            </p:cNvPr>
            <p:cNvGrpSpPr/>
            <p:nvPr/>
          </p:nvGrpSpPr>
          <p:grpSpPr>
            <a:xfrm>
              <a:off x="3870881" y="2860336"/>
              <a:ext cx="85860" cy="193705"/>
              <a:chOff x="7385647" y="2885060"/>
              <a:chExt cx="103551" cy="233617"/>
            </a:xfrm>
          </p:grpSpPr>
          <p:sp>
            <p:nvSpPr>
              <p:cNvPr id="2240" name="Freeform: Shape 2239">
                <a:extLst>
                  <a:ext uri="{FF2B5EF4-FFF2-40B4-BE49-F238E27FC236}">
                    <a16:creationId xmlns:a16="http://schemas.microsoft.com/office/drawing/2014/main" id="{DC84ABDB-3EA9-24F1-0142-9F150C5870C5}"/>
                  </a:ext>
                </a:extLst>
              </p:cNvPr>
              <p:cNvSpPr/>
              <p:nvPr/>
            </p:nvSpPr>
            <p:spPr>
              <a:xfrm>
                <a:off x="7385647" y="3008407"/>
                <a:ext cx="73617" cy="78533"/>
              </a:xfrm>
              <a:custGeom>
                <a:avLst/>
                <a:gdLst>
                  <a:gd name="connsiteX0" fmla="*/ 30 w 73617"/>
                  <a:gd name="connsiteY0" fmla="*/ 10820 h 78533"/>
                  <a:gd name="connsiteX1" fmla="*/ 18136 w 73617"/>
                  <a:gd name="connsiteY1" fmla="*/ 41594 h 78533"/>
                  <a:gd name="connsiteX2" fmla="*/ 56378 w 73617"/>
                  <a:gd name="connsiteY2" fmla="*/ 75984 h 78533"/>
                  <a:gd name="connsiteX3" fmla="*/ 72900 w 73617"/>
                  <a:gd name="connsiteY3" fmla="*/ 64213 h 78533"/>
                  <a:gd name="connsiteX4" fmla="*/ 42812 w 73617"/>
                  <a:gd name="connsiteY4" fmla="*/ 20995 h 78533"/>
                  <a:gd name="connsiteX5" fmla="*/ 55 w 73617"/>
                  <a:gd name="connsiteY5" fmla="*/ 10808 h 7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17" h="78533">
                    <a:moveTo>
                      <a:pt x="30" y="10820"/>
                    </a:moveTo>
                    <a:cubicBezTo>
                      <a:pt x="30" y="10820"/>
                      <a:pt x="-1553" y="24175"/>
                      <a:pt x="18136" y="41594"/>
                    </a:cubicBezTo>
                    <a:cubicBezTo>
                      <a:pt x="39333" y="60348"/>
                      <a:pt x="48448" y="68976"/>
                      <a:pt x="56378" y="75984"/>
                    </a:cubicBezTo>
                    <a:cubicBezTo>
                      <a:pt x="64296" y="82991"/>
                      <a:pt x="76740" y="74400"/>
                      <a:pt x="72900" y="64213"/>
                    </a:cubicBezTo>
                    <a:cubicBezTo>
                      <a:pt x="69059" y="54026"/>
                      <a:pt x="51939" y="35285"/>
                      <a:pt x="42812" y="20995"/>
                    </a:cubicBezTo>
                    <a:cubicBezTo>
                      <a:pt x="27201" y="-3444"/>
                      <a:pt x="5031" y="-6150"/>
                      <a:pt x="55" y="1080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41" name="Graphic 525">
                <a:extLst>
                  <a:ext uri="{FF2B5EF4-FFF2-40B4-BE49-F238E27FC236}">
                    <a16:creationId xmlns:a16="http://schemas.microsoft.com/office/drawing/2014/main" id="{752AA599-29DC-539D-B11C-7819316EA592}"/>
                  </a:ext>
                </a:extLst>
              </p:cNvPr>
              <p:cNvGrpSpPr/>
              <p:nvPr/>
            </p:nvGrpSpPr>
            <p:grpSpPr>
              <a:xfrm>
                <a:off x="7427848" y="3056427"/>
                <a:ext cx="61350" cy="62250"/>
                <a:chOff x="7427848" y="3056427"/>
                <a:chExt cx="61350" cy="62250"/>
              </a:xfrm>
            </p:grpSpPr>
            <p:sp>
              <p:nvSpPr>
                <p:cNvPr id="2242" name="Freeform: Shape 2241">
                  <a:extLst>
                    <a:ext uri="{FF2B5EF4-FFF2-40B4-BE49-F238E27FC236}">
                      <a16:creationId xmlns:a16="http://schemas.microsoft.com/office/drawing/2014/main" id="{0EDF39D3-C6E9-DD8C-CC19-2EFD7FA0E4F3}"/>
                    </a:ext>
                  </a:extLst>
                </p:cNvPr>
                <p:cNvSpPr/>
                <p:nvPr/>
              </p:nvSpPr>
              <p:spPr>
                <a:xfrm>
                  <a:off x="7454233" y="3065052"/>
                  <a:ext cx="23880" cy="11658"/>
                </a:xfrm>
                <a:custGeom>
                  <a:avLst/>
                  <a:gdLst>
                    <a:gd name="connsiteX0" fmla="*/ 0 w 23880"/>
                    <a:gd name="connsiteY0" fmla="*/ 0 h 11658"/>
                    <a:gd name="connsiteX1" fmla="*/ 13467 w 23880"/>
                    <a:gd name="connsiteY1" fmla="*/ 3279 h 11658"/>
                    <a:gd name="connsiteX2" fmla="*/ 23878 w 23880"/>
                    <a:gd name="connsiteY2" fmla="*/ 9277 h 11658"/>
                    <a:gd name="connsiteX3" fmla="*/ 10873 w 23880"/>
                    <a:gd name="connsiteY3" fmla="*/ 11658 h 11658"/>
                    <a:gd name="connsiteX4" fmla="*/ 12 w 23880"/>
                    <a:gd name="connsiteY4" fmla="*/ 12 h 11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80" h="11658">
                      <a:moveTo>
                        <a:pt x="0" y="0"/>
                      </a:moveTo>
                      <a:cubicBezTo>
                        <a:pt x="0" y="0"/>
                        <a:pt x="7245" y="2631"/>
                        <a:pt x="13467" y="3279"/>
                      </a:cubicBezTo>
                      <a:cubicBezTo>
                        <a:pt x="19676" y="3928"/>
                        <a:pt x="23729" y="6658"/>
                        <a:pt x="23878" y="9277"/>
                      </a:cubicBezTo>
                      <a:cubicBezTo>
                        <a:pt x="24028" y="11883"/>
                        <a:pt x="16733" y="9514"/>
                        <a:pt x="10873" y="11658"/>
                      </a:cubicBezTo>
                      <a:cubicBezTo>
                        <a:pt x="10873" y="11658"/>
                        <a:pt x="1808" y="4975"/>
                        <a:pt x="12" y="12"/>
                      </a:cubicBezTo>
                      <a:close/>
                    </a:path>
                  </a:pathLst>
                </a:custGeom>
                <a:solidFill>
                  <a:srgbClr val="8744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3" name="Freeform: Shape 2242">
                  <a:extLst>
                    <a:ext uri="{FF2B5EF4-FFF2-40B4-BE49-F238E27FC236}">
                      <a16:creationId xmlns:a16="http://schemas.microsoft.com/office/drawing/2014/main" id="{65B38F18-2AD1-1E7E-22E0-F460169798E3}"/>
                    </a:ext>
                  </a:extLst>
                </p:cNvPr>
                <p:cNvSpPr/>
                <p:nvPr/>
              </p:nvSpPr>
              <p:spPr>
                <a:xfrm>
                  <a:off x="7427848" y="3056427"/>
                  <a:ext cx="61350" cy="62250"/>
                </a:xfrm>
                <a:custGeom>
                  <a:avLst/>
                  <a:gdLst>
                    <a:gd name="connsiteX0" fmla="*/ 4701 w 61350"/>
                    <a:gd name="connsiteY0" fmla="*/ 18213 h 62250"/>
                    <a:gd name="connsiteX1" fmla="*/ 13729 w 61350"/>
                    <a:gd name="connsiteY1" fmla="*/ 32191 h 62250"/>
                    <a:gd name="connsiteX2" fmla="*/ 29165 w 61350"/>
                    <a:gd name="connsiteY2" fmla="*/ 48451 h 62250"/>
                    <a:gd name="connsiteX3" fmla="*/ 41984 w 61350"/>
                    <a:gd name="connsiteY3" fmla="*/ 62241 h 62250"/>
                    <a:gd name="connsiteX4" fmla="*/ 44677 w 61350"/>
                    <a:gd name="connsiteY4" fmla="*/ 57628 h 62250"/>
                    <a:gd name="connsiteX5" fmla="*/ 50188 w 61350"/>
                    <a:gd name="connsiteY5" fmla="*/ 60246 h 62250"/>
                    <a:gd name="connsiteX6" fmla="*/ 50001 w 61350"/>
                    <a:gd name="connsiteY6" fmla="*/ 52964 h 62250"/>
                    <a:gd name="connsiteX7" fmla="*/ 55575 w 61350"/>
                    <a:gd name="connsiteY7" fmla="*/ 56057 h 62250"/>
                    <a:gd name="connsiteX8" fmla="*/ 56173 w 61350"/>
                    <a:gd name="connsiteY8" fmla="*/ 49386 h 62250"/>
                    <a:gd name="connsiteX9" fmla="*/ 60238 w 61350"/>
                    <a:gd name="connsiteY9" fmla="*/ 51717 h 62250"/>
                    <a:gd name="connsiteX10" fmla="*/ 51735 w 61350"/>
                    <a:gd name="connsiteY10" fmla="*/ 30246 h 62250"/>
                    <a:gd name="connsiteX11" fmla="*/ 21547 w 61350"/>
                    <a:gd name="connsiteY11" fmla="*/ 3661 h 62250"/>
                    <a:gd name="connsiteX12" fmla="*/ 2008 w 61350"/>
                    <a:gd name="connsiteY12" fmla="*/ 3948 h 62250"/>
                    <a:gd name="connsiteX13" fmla="*/ 4713 w 61350"/>
                    <a:gd name="connsiteY13" fmla="*/ 18238 h 6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350" h="62250">
                      <a:moveTo>
                        <a:pt x="4701" y="18213"/>
                      </a:moveTo>
                      <a:cubicBezTo>
                        <a:pt x="4701" y="18213"/>
                        <a:pt x="10524" y="25283"/>
                        <a:pt x="13729" y="32191"/>
                      </a:cubicBezTo>
                      <a:cubicBezTo>
                        <a:pt x="16933" y="39111"/>
                        <a:pt x="25375" y="44436"/>
                        <a:pt x="29165" y="48451"/>
                      </a:cubicBezTo>
                      <a:cubicBezTo>
                        <a:pt x="32956" y="52466"/>
                        <a:pt x="39191" y="62590"/>
                        <a:pt x="41984" y="62241"/>
                      </a:cubicBezTo>
                      <a:cubicBezTo>
                        <a:pt x="44777" y="61892"/>
                        <a:pt x="45600" y="61281"/>
                        <a:pt x="44677" y="57628"/>
                      </a:cubicBezTo>
                      <a:cubicBezTo>
                        <a:pt x="44677" y="57628"/>
                        <a:pt x="47595" y="62216"/>
                        <a:pt x="50188" y="60246"/>
                      </a:cubicBezTo>
                      <a:cubicBezTo>
                        <a:pt x="52782" y="58276"/>
                        <a:pt x="50001" y="52964"/>
                        <a:pt x="50001" y="52964"/>
                      </a:cubicBezTo>
                      <a:cubicBezTo>
                        <a:pt x="50001" y="52964"/>
                        <a:pt x="53156" y="57528"/>
                        <a:pt x="55575" y="56057"/>
                      </a:cubicBezTo>
                      <a:cubicBezTo>
                        <a:pt x="57982" y="54585"/>
                        <a:pt x="56173" y="49386"/>
                        <a:pt x="56173" y="49386"/>
                      </a:cubicBezTo>
                      <a:cubicBezTo>
                        <a:pt x="56173" y="49386"/>
                        <a:pt x="58144" y="53288"/>
                        <a:pt x="60238" y="51717"/>
                      </a:cubicBezTo>
                      <a:cubicBezTo>
                        <a:pt x="63830" y="49024"/>
                        <a:pt x="58119" y="39435"/>
                        <a:pt x="51735" y="30246"/>
                      </a:cubicBezTo>
                      <a:cubicBezTo>
                        <a:pt x="45163" y="20782"/>
                        <a:pt x="26185" y="8749"/>
                        <a:pt x="21547" y="3661"/>
                      </a:cubicBezTo>
                      <a:cubicBezTo>
                        <a:pt x="16908" y="-1426"/>
                        <a:pt x="6571" y="-1102"/>
                        <a:pt x="2008" y="3948"/>
                      </a:cubicBezTo>
                      <a:cubicBezTo>
                        <a:pt x="-2556" y="8986"/>
                        <a:pt x="1671" y="14597"/>
                        <a:pt x="4713" y="1823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4" name="Freeform: Shape 2243">
                  <a:extLst>
                    <a:ext uri="{FF2B5EF4-FFF2-40B4-BE49-F238E27FC236}">
                      <a16:creationId xmlns:a16="http://schemas.microsoft.com/office/drawing/2014/main" id="{39EEE57A-DC09-C108-9F02-F4A78CE3B987}"/>
                    </a:ext>
                  </a:extLst>
                </p:cNvPr>
                <p:cNvSpPr/>
                <p:nvPr/>
              </p:nvSpPr>
              <p:spPr>
                <a:xfrm>
                  <a:off x="7467949" y="3094117"/>
                  <a:ext cx="10052" cy="15397"/>
                </a:xfrm>
                <a:custGeom>
                  <a:avLst/>
                  <a:gdLst>
                    <a:gd name="connsiteX0" fmla="*/ 9900 w 10052"/>
                    <a:gd name="connsiteY0" fmla="*/ 15387 h 15397"/>
                    <a:gd name="connsiteX1" fmla="*/ 7444 w 10052"/>
                    <a:gd name="connsiteY1" fmla="*/ 11546 h 15397"/>
                    <a:gd name="connsiteX2" fmla="*/ 6160 w 10052"/>
                    <a:gd name="connsiteY2" fmla="*/ 9676 h 15397"/>
                    <a:gd name="connsiteX3" fmla="*/ 4838 w 10052"/>
                    <a:gd name="connsiteY3" fmla="*/ 7831 h 15397"/>
                    <a:gd name="connsiteX4" fmla="*/ 3429 w 10052"/>
                    <a:gd name="connsiteY4" fmla="*/ 6060 h 15397"/>
                    <a:gd name="connsiteX5" fmla="*/ 2107 w 10052"/>
                    <a:gd name="connsiteY5" fmla="*/ 4227 h 15397"/>
                    <a:gd name="connsiteX6" fmla="*/ 973 w 10052"/>
                    <a:gd name="connsiteY6" fmla="*/ 2257 h 15397"/>
                    <a:gd name="connsiteX7" fmla="*/ 0 w 10052"/>
                    <a:gd name="connsiteY7" fmla="*/ 125 h 15397"/>
                    <a:gd name="connsiteX8" fmla="*/ 149 w 10052"/>
                    <a:gd name="connsiteY8" fmla="*/ 0 h 15397"/>
                    <a:gd name="connsiteX9" fmla="*/ 3616 w 10052"/>
                    <a:gd name="connsiteY9" fmla="*/ 3117 h 15397"/>
                    <a:gd name="connsiteX10" fmla="*/ 6085 w 10052"/>
                    <a:gd name="connsiteY10" fmla="*/ 7008 h 15397"/>
                    <a:gd name="connsiteX11" fmla="*/ 8242 w 10052"/>
                    <a:gd name="connsiteY11" fmla="*/ 11073 h 15397"/>
                    <a:gd name="connsiteX12" fmla="*/ 10050 w 10052"/>
                    <a:gd name="connsiteY12" fmla="*/ 15300 h 15397"/>
                    <a:gd name="connsiteX13" fmla="*/ 9875 w 10052"/>
                    <a:gd name="connsiteY13" fmla="*/ 15374 h 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52" h="15397">
                      <a:moveTo>
                        <a:pt x="9900" y="15387"/>
                      </a:moveTo>
                      <a:cubicBezTo>
                        <a:pt x="9115" y="14078"/>
                        <a:pt x="8304" y="12793"/>
                        <a:pt x="7444" y="11546"/>
                      </a:cubicBezTo>
                      <a:cubicBezTo>
                        <a:pt x="7020" y="10910"/>
                        <a:pt x="6596" y="10299"/>
                        <a:pt x="6160" y="9676"/>
                      </a:cubicBezTo>
                      <a:cubicBezTo>
                        <a:pt x="5736" y="9053"/>
                        <a:pt x="5287" y="8442"/>
                        <a:pt x="4838" y="7831"/>
                      </a:cubicBezTo>
                      <a:cubicBezTo>
                        <a:pt x="4389" y="7220"/>
                        <a:pt x="3915" y="6634"/>
                        <a:pt x="3429" y="6060"/>
                      </a:cubicBezTo>
                      <a:cubicBezTo>
                        <a:pt x="2955" y="5474"/>
                        <a:pt x="2519" y="4863"/>
                        <a:pt x="2107" y="4227"/>
                      </a:cubicBezTo>
                      <a:cubicBezTo>
                        <a:pt x="1721" y="3579"/>
                        <a:pt x="1322" y="2943"/>
                        <a:pt x="973" y="2257"/>
                      </a:cubicBezTo>
                      <a:cubicBezTo>
                        <a:pt x="611" y="1584"/>
                        <a:pt x="262" y="885"/>
                        <a:pt x="0" y="125"/>
                      </a:cubicBezTo>
                      <a:lnTo>
                        <a:pt x="149" y="0"/>
                      </a:lnTo>
                      <a:cubicBezTo>
                        <a:pt x="1509" y="861"/>
                        <a:pt x="2618" y="1945"/>
                        <a:pt x="3616" y="3117"/>
                      </a:cubicBezTo>
                      <a:cubicBezTo>
                        <a:pt x="4638" y="4277"/>
                        <a:pt x="5312" y="5686"/>
                        <a:pt x="6085" y="7008"/>
                      </a:cubicBezTo>
                      <a:cubicBezTo>
                        <a:pt x="6858" y="8330"/>
                        <a:pt x="7581" y="9689"/>
                        <a:pt x="8242" y="11073"/>
                      </a:cubicBezTo>
                      <a:cubicBezTo>
                        <a:pt x="8890" y="12469"/>
                        <a:pt x="10025" y="15138"/>
                        <a:pt x="10050" y="15300"/>
                      </a:cubicBezTo>
                      <a:cubicBezTo>
                        <a:pt x="10075" y="15462"/>
                        <a:pt x="9875" y="15374"/>
                        <a:pt x="9875" y="15374"/>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5" name="Freeform: Shape 2244">
                  <a:extLst>
                    <a:ext uri="{FF2B5EF4-FFF2-40B4-BE49-F238E27FC236}">
                      <a16:creationId xmlns:a16="http://schemas.microsoft.com/office/drawing/2014/main" id="{4A268E70-1C60-2721-A67C-58E8F4D0E71B}"/>
                    </a:ext>
                  </a:extLst>
                </p:cNvPr>
                <p:cNvSpPr/>
                <p:nvPr/>
              </p:nvSpPr>
              <p:spPr>
                <a:xfrm>
                  <a:off x="7473136" y="3090414"/>
                  <a:ext cx="11016" cy="15601"/>
                </a:xfrm>
                <a:custGeom>
                  <a:avLst/>
                  <a:gdLst>
                    <a:gd name="connsiteX0" fmla="*/ 10836 w 11016"/>
                    <a:gd name="connsiteY0" fmla="*/ 15511 h 15601"/>
                    <a:gd name="connsiteX1" fmla="*/ 8080 w 11016"/>
                    <a:gd name="connsiteY1" fmla="*/ 11684 h 15601"/>
                    <a:gd name="connsiteX2" fmla="*/ 5237 w 11016"/>
                    <a:gd name="connsiteY2" fmla="*/ 7930 h 15601"/>
                    <a:gd name="connsiteX3" fmla="*/ 3728 w 11016"/>
                    <a:gd name="connsiteY3" fmla="*/ 6135 h 15601"/>
                    <a:gd name="connsiteX4" fmla="*/ 2319 w 11016"/>
                    <a:gd name="connsiteY4" fmla="*/ 4277 h 15601"/>
                    <a:gd name="connsiteX5" fmla="*/ 1085 w 11016"/>
                    <a:gd name="connsiteY5" fmla="*/ 2282 h 15601"/>
                    <a:gd name="connsiteX6" fmla="*/ 0 w 11016"/>
                    <a:gd name="connsiteY6" fmla="*/ 125 h 15601"/>
                    <a:gd name="connsiteX7" fmla="*/ 137 w 11016"/>
                    <a:gd name="connsiteY7" fmla="*/ 0 h 15601"/>
                    <a:gd name="connsiteX8" fmla="*/ 2107 w 11016"/>
                    <a:gd name="connsiteY8" fmla="*/ 1447 h 15601"/>
                    <a:gd name="connsiteX9" fmla="*/ 3816 w 11016"/>
                    <a:gd name="connsiteY9" fmla="*/ 3142 h 15601"/>
                    <a:gd name="connsiteX10" fmla="*/ 5237 w 11016"/>
                    <a:gd name="connsiteY10" fmla="*/ 5050 h 15601"/>
                    <a:gd name="connsiteX11" fmla="*/ 6471 w 11016"/>
                    <a:gd name="connsiteY11" fmla="*/ 7095 h 15601"/>
                    <a:gd name="connsiteX12" fmla="*/ 8866 w 11016"/>
                    <a:gd name="connsiteY12" fmla="*/ 11197 h 15601"/>
                    <a:gd name="connsiteX13" fmla="*/ 10998 w 11016"/>
                    <a:gd name="connsiteY13" fmla="*/ 15437 h 15601"/>
                    <a:gd name="connsiteX14" fmla="*/ 10836 w 11016"/>
                    <a:gd name="connsiteY14" fmla="*/ 15524 h 15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016" h="15601">
                      <a:moveTo>
                        <a:pt x="10836" y="15511"/>
                      </a:moveTo>
                      <a:cubicBezTo>
                        <a:pt x="10711" y="15374"/>
                        <a:pt x="9028" y="12943"/>
                        <a:pt x="8080" y="11684"/>
                      </a:cubicBezTo>
                      <a:cubicBezTo>
                        <a:pt x="7145" y="10424"/>
                        <a:pt x="6197" y="9177"/>
                        <a:pt x="5237" y="7930"/>
                      </a:cubicBezTo>
                      <a:cubicBezTo>
                        <a:pt x="4763" y="7307"/>
                        <a:pt x="4240" y="6721"/>
                        <a:pt x="3728" y="6135"/>
                      </a:cubicBezTo>
                      <a:cubicBezTo>
                        <a:pt x="3217" y="5549"/>
                        <a:pt x="2756" y="4925"/>
                        <a:pt x="2319" y="4277"/>
                      </a:cubicBezTo>
                      <a:cubicBezTo>
                        <a:pt x="1883" y="3629"/>
                        <a:pt x="1472" y="2968"/>
                        <a:pt x="1085" y="2282"/>
                      </a:cubicBezTo>
                      <a:cubicBezTo>
                        <a:pt x="698" y="1584"/>
                        <a:pt x="299" y="898"/>
                        <a:pt x="0" y="125"/>
                      </a:cubicBezTo>
                      <a:lnTo>
                        <a:pt x="137" y="0"/>
                      </a:lnTo>
                      <a:cubicBezTo>
                        <a:pt x="848" y="424"/>
                        <a:pt x="1509" y="910"/>
                        <a:pt x="2107" y="1447"/>
                      </a:cubicBezTo>
                      <a:cubicBezTo>
                        <a:pt x="2718" y="1970"/>
                        <a:pt x="3280" y="2544"/>
                        <a:pt x="3816" y="3142"/>
                      </a:cubicBezTo>
                      <a:cubicBezTo>
                        <a:pt x="4352" y="3741"/>
                        <a:pt x="4813" y="4377"/>
                        <a:pt x="5237" y="5050"/>
                      </a:cubicBezTo>
                      <a:lnTo>
                        <a:pt x="6471" y="7095"/>
                      </a:lnTo>
                      <a:cubicBezTo>
                        <a:pt x="7307" y="8442"/>
                        <a:pt x="8117" y="9801"/>
                        <a:pt x="8866" y="11197"/>
                      </a:cubicBezTo>
                      <a:cubicBezTo>
                        <a:pt x="9601" y="12594"/>
                        <a:pt x="10935" y="15287"/>
                        <a:pt x="10998" y="15437"/>
                      </a:cubicBezTo>
                      <a:cubicBezTo>
                        <a:pt x="11060" y="15586"/>
                        <a:pt x="10960" y="15674"/>
                        <a:pt x="10836" y="15524"/>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6" name="Freeform: Shape 2245">
                  <a:extLst>
                    <a:ext uri="{FF2B5EF4-FFF2-40B4-BE49-F238E27FC236}">
                      <a16:creationId xmlns:a16="http://schemas.microsoft.com/office/drawing/2014/main" id="{1616CFFC-1AE5-418B-EF9C-07B233AD233D}"/>
                    </a:ext>
                  </a:extLst>
                </p:cNvPr>
                <p:cNvSpPr/>
                <p:nvPr/>
              </p:nvSpPr>
              <p:spPr>
                <a:xfrm>
                  <a:off x="7456153" y="3104018"/>
                  <a:ext cx="22995" cy="14659"/>
                </a:xfrm>
                <a:custGeom>
                  <a:avLst/>
                  <a:gdLst>
                    <a:gd name="connsiteX0" fmla="*/ 873 w 22995"/>
                    <a:gd name="connsiteY0" fmla="*/ 860 h 14659"/>
                    <a:gd name="connsiteX1" fmla="*/ 13691 w 22995"/>
                    <a:gd name="connsiteY1" fmla="*/ 14651 h 14659"/>
                    <a:gd name="connsiteX2" fmla="*/ 16384 w 22995"/>
                    <a:gd name="connsiteY2" fmla="*/ 10037 h 14659"/>
                    <a:gd name="connsiteX3" fmla="*/ 21895 w 22995"/>
                    <a:gd name="connsiteY3" fmla="*/ 12656 h 14659"/>
                    <a:gd name="connsiteX4" fmla="*/ 22943 w 22995"/>
                    <a:gd name="connsiteY4" fmla="*/ 9239 h 14659"/>
                    <a:gd name="connsiteX5" fmla="*/ 0 w 22995"/>
                    <a:gd name="connsiteY5" fmla="*/ 0 h 14659"/>
                    <a:gd name="connsiteX6" fmla="*/ 860 w 22995"/>
                    <a:gd name="connsiteY6" fmla="*/ 860 h 14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95" h="14659">
                      <a:moveTo>
                        <a:pt x="873" y="860"/>
                      </a:moveTo>
                      <a:cubicBezTo>
                        <a:pt x="4663" y="4875"/>
                        <a:pt x="10898" y="15000"/>
                        <a:pt x="13691" y="14651"/>
                      </a:cubicBezTo>
                      <a:cubicBezTo>
                        <a:pt x="16484" y="14302"/>
                        <a:pt x="17307" y="13691"/>
                        <a:pt x="16384" y="10037"/>
                      </a:cubicBezTo>
                      <a:cubicBezTo>
                        <a:pt x="16384" y="10037"/>
                        <a:pt x="19302" y="14626"/>
                        <a:pt x="21895" y="12656"/>
                      </a:cubicBezTo>
                      <a:cubicBezTo>
                        <a:pt x="22931" y="11870"/>
                        <a:pt x="23105" y="10536"/>
                        <a:pt x="22943" y="9239"/>
                      </a:cubicBezTo>
                      <a:cubicBezTo>
                        <a:pt x="15337" y="4551"/>
                        <a:pt x="5150" y="1409"/>
                        <a:pt x="0" y="0"/>
                      </a:cubicBezTo>
                      <a:cubicBezTo>
                        <a:pt x="312" y="299"/>
                        <a:pt x="598" y="586"/>
                        <a:pt x="860" y="860"/>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7" name="Freeform: Shape 2246">
                  <a:extLst>
                    <a:ext uri="{FF2B5EF4-FFF2-40B4-BE49-F238E27FC236}">
                      <a16:creationId xmlns:a16="http://schemas.microsoft.com/office/drawing/2014/main" id="{28254D38-4BC1-3455-8E63-C251972E764A}"/>
                    </a:ext>
                  </a:extLst>
                </p:cNvPr>
                <p:cNvSpPr/>
                <p:nvPr/>
              </p:nvSpPr>
              <p:spPr>
                <a:xfrm>
                  <a:off x="7461614" y="3098581"/>
                  <a:ext cx="11019" cy="15587"/>
                </a:xfrm>
                <a:custGeom>
                  <a:avLst/>
                  <a:gdLst>
                    <a:gd name="connsiteX0" fmla="*/ 10836 w 11019"/>
                    <a:gd name="connsiteY0" fmla="*/ 15511 h 15587"/>
                    <a:gd name="connsiteX1" fmla="*/ 8217 w 11019"/>
                    <a:gd name="connsiteY1" fmla="*/ 11584 h 15587"/>
                    <a:gd name="connsiteX2" fmla="*/ 5424 w 11019"/>
                    <a:gd name="connsiteY2" fmla="*/ 7806 h 15587"/>
                    <a:gd name="connsiteX3" fmla="*/ 2469 w 11019"/>
                    <a:gd name="connsiteY3" fmla="*/ 4190 h 15587"/>
                    <a:gd name="connsiteX4" fmla="*/ 0 w 11019"/>
                    <a:gd name="connsiteY4" fmla="*/ 125 h 15587"/>
                    <a:gd name="connsiteX5" fmla="*/ 137 w 11019"/>
                    <a:gd name="connsiteY5" fmla="*/ 0 h 15587"/>
                    <a:gd name="connsiteX6" fmla="*/ 2170 w 11019"/>
                    <a:gd name="connsiteY6" fmla="*/ 1372 h 15587"/>
                    <a:gd name="connsiteX7" fmla="*/ 3080 w 11019"/>
                    <a:gd name="connsiteY7" fmla="*/ 2170 h 15587"/>
                    <a:gd name="connsiteX8" fmla="*/ 3928 w 11019"/>
                    <a:gd name="connsiteY8" fmla="*/ 3030 h 15587"/>
                    <a:gd name="connsiteX9" fmla="*/ 5399 w 11019"/>
                    <a:gd name="connsiteY9" fmla="*/ 4925 h 15587"/>
                    <a:gd name="connsiteX10" fmla="*/ 6659 w 11019"/>
                    <a:gd name="connsiteY10" fmla="*/ 6970 h 15587"/>
                    <a:gd name="connsiteX11" fmla="*/ 7893 w 11019"/>
                    <a:gd name="connsiteY11" fmla="*/ 9015 h 15587"/>
                    <a:gd name="connsiteX12" fmla="*/ 9028 w 11019"/>
                    <a:gd name="connsiteY12" fmla="*/ 11110 h 15587"/>
                    <a:gd name="connsiteX13" fmla="*/ 11010 w 11019"/>
                    <a:gd name="connsiteY13" fmla="*/ 15437 h 15587"/>
                    <a:gd name="connsiteX14" fmla="*/ 10836 w 11019"/>
                    <a:gd name="connsiteY14" fmla="*/ 15524 h 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019" h="15587">
                      <a:moveTo>
                        <a:pt x="10836" y="15511"/>
                      </a:moveTo>
                      <a:cubicBezTo>
                        <a:pt x="10699" y="15362"/>
                        <a:pt x="9140" y="12856"/>
                        <a:pt x="8217" y="11584"/>
                      </a:cubicBezTo>
                      <a:cubicBezTo>
                        <a:pt x="7320" y="10299"/>
                        <a:pt x="6384" y="9040"/>
                        <a:pt x="5424" y="7806"/>
                      </a:cubicBezTo>
                      <a:cubicBezTo>
                        <a:pt x="4464" y="6571"/>
                        <a:pt x="3342" y="5474"/>
                        <a:pt x="2469" y="4190"/>
                      </a:cubicBezTo>
                      <a:cubicBezTo>
                        <a:pt x="1596" y="2893"/>
                        <a:pt x="711" y="1621"/>
                        <a:pt x="0" y="125"/>
                      </a:cubicBezTo>
                      <a:lnTo>
                        <a:pt x="137" y="0"/>
                      </a:lnTo>
                      <a:cubicBezTo>
                        <a:pt x="860" y="399"/>
                        <a:pt x="1546" y="848"/>
                        <a:pt x="2170" y="1372"/>
                      </a:cubicBezTo>
                      <a:cubicBezTo>
                        <a:pt x="2481" y="1621"/>
                        <a:pt x="2781" y="1895"/>
                        <a:pt x="3080" y="2170"/>
                      </a:cubicBezTo>
                      <a:cubicBezTo>
                        <a:pt x="3367" y="2444"/>
                        <a:pt x="3653" y="2731"/>
                        <a:pt x="3928" y="3030"/>
                      </a:cubicBezTo>
                      <a:cubicBezTo>
                        <a:pt x="4489" y="3603"/>
                        <a:pt x="4963" y="4252"/>
                        <a:pt x="5399" y="4925"/>
                      </a:cubicBezTo>
                      <a:lnTo>
                        <a:pt x="6659" y="6970"/>
                      </a:lnTo>
                      <a:cubicBezTo>
                        <a:pt x="7082" y="7643"/>
                        <a:pt x="7481" y="8329"/>
                        <a:pt x="7893" y="9015"/>
                      </a:cubicBezTo>
                      <a:cubicBezTo>
                        <a:pt x="8280" y="9713"/>
                        <a:pt x="8666" y="10412"/>
                        <a:pt x="9028" y="11110"/>
                      </a:cubicBezTo>
                      <a:cubicBezTo>
                        <a:pt x="9738" y="12531"/>
                        <a:pt x="10973" y="15325"/>
                        <a:pt x="11010" y="15437"/>
                      </a:cubicBezTo>
                      <a:cubicBezTo>
                        <a:pt x="11048" y="15549"/>
                        <a:pt x="10973" y="15661"/>
                        <a:pt x="10836" y="15524"/>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248" name="Graphic 525">
                <a:extLst>
                  <a:ext uri="{FF2B5EF4-FFF2-40B4-BE49-F238E27FC236}">
                    <a16:creationId xmlns:a16="http://schemas.microsoft.com/office/drawing/2014/main" id="{E606F9A7-6CB7-4B0C-F407-1B047C5E1CDF}"/>
                  </a:ext>
                </a:extLst>
              </p:cNvPr>
              <p:cNvGrpSpPr/>
              <p:nvPr/>
            </p:nvGrpSpPr>
            <p:grpSpPr>
              <a:xfrm>
                <a:off x="7385677" y="2885060"/>
                <a:ext cx="66033" cy="152344"/>
                <a:chOff x="7385677" y="2885060"/>
                <a:chExt cx="66033" cy="152344"/>
              </a:xfrm>
            </p:grpSpPr>
            <p:sp>
              <p:nvSpPr>
                <p:cNvPr id="2249" name="Freeform: Shape 2248">
                  <a:extLst>
                    <a:ext uri="{FF2B5EF4-FFF2-40B4-BE49-F238E27FC236}">
                      <a16:creationId xmlns:a16="http://schemas.microsoft.com/office/drawing/2014/main" id="{77C399D2-12FA-442B-39FD-59E5BB5D0CD0}"/>
                    </a:ext>
                  </a:extLst>
                </p:cNvPr>
                <p:cNvSpPr/>
                <p:nvPr/>
              </p:nvSpPr>
              <p:spPr>
                <a:xfrm>
                  <a:off x="7385677" y="2888510"/>
                  <a:ext cx="65440" cy="148894"/>
                </a:xfrm>
                <a:custGeom>
                  <a:avLst/>
                  <a:gdLst>
                    <a:gd name="connsiteX0" fmla="*/ 46835 w 65440"/>
                    <a:gd name="connsiteY0" fmla="*/ 178 h 148894"/>
                    <a:gd name="connsiteX1" fmla="*/ 19914 w 65440"/>
                    <a:gd name="connsiteY1" fmla="*/ 33895 h 148894"/>
                    <a:gd name="connsiteX2" fmla="*/ 1809 w 65440"/>
                    <a:gd name="connsiteY2" fmla="*/ 112637 h 148894"/>
                    <a:gd name="connsiteX3" fmla="*/ 12669 w 65440"/>
                    <a:gd name="connsiteY3" fmla="*/ 148835 h 148894"/>
                    <a:gd name="connsiteX4" fmla="*/ 45251 w 65440"/>
                    <a:gd name="connsiteY4" fmla="*/ 95891 h 148894"/>
                    <a:gd name="connsiteX5" fmla="*/ 65389 w 65440"/>
                    <a:gd name="connsiteY5" fmla="*/ 22361 h 148894"/>
                    <a:gd name="connsiteX6" fmla="*/ 46835 w 65440"/>
                    <a:gd name="connsiteY6" fmla="*/ 191 h 14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0" h="148894">
                      <a:moveTo>
                        <a:pt x="46835" y="178"/>
                      </a:moveTo>
                      <a:cubicBezTo>
                        <a:pt x="46835" y="178"/>
                        <a:pt x="30313" y="1313"/>
                        <a:pt x="19914" y="33895"/>
                      </a:cubicBezTo>
                      <a:cubicBezTo>
                        <a:pt x="9502" y="66477"/>
                        <a:pt x="4976" y="93622"/>
                        <a:pt x="1809" y="112637"/>
                      </a:cubicBezTo>
                      <a:cubicBezTo>
                        <a:pt x="-1358" y="131640"/>
                        <a:pt x="-1807" y="147476"/>
                        <a:pt x="12669" y="148835"/>
                      </a:cubicBezTo>
                      <a:cubicBezTo>
                        <a:pt x="27146" y="150194"/>
                        <a:pt x="37109" y="128024"/>
                        <a:pt x="45251" y="95891"/>
                      </a:cubicBezTo>
                      <a:cubicBezTo>
                        <a:pt x="51835" y="69906"/>
                        <a:pt x="64479" y="35029"/>
                        <a:pt x="65389" y="22361"/>
                      </a:cubicBezTo>
                      <a:cubicBezTo>
                        <a:pt x="66299" y="9693"/>
                        <a:pt x="54977" y="-1617"/>
                        <a:pt x="46835" y="19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0" name="Freeform: Shape 2249">
                  <a:extLst>
                    <a:ext uri="{FF2B5EF4-FFF2-40B4-BE49-F238E27FC236}">
                      <a16:creationId xmlns:a16="http://schemas.microsoft.com/office/drawing/2014/main" id="{4FB060F2-0EC3-A12D-2FB5-F39181974571}"/>
                    </a:ext>
                  </a:extLst>
                </p:cNvPr>
                <p:cNvSpPr/>
                <p:nvPr/>
              </p:nvSpPr>
              <p:spPr>
                <a:xfrm>
                  <a:off x="7392012" y="2885060"/>
                  <a:ext cx="59698" cy="79922"/>
                </a:xfrm>
                <a:custGeom>
                  <a:avLst/>
                  <a:gdLst>
                    <a:gd name="connsiteX0" fmla="*/ 42645 w 59698"/>
                    <a:gd name="connsiteY0" fmla="*/ 0 h 79922"/>
                    <a:gd name="connsiteX1" fmla="*/ 0 w 59698"/>
                    <a:gd name="connsiteY1" fmla="*/ 74889 h 79922"/>
                    <a:gd name="connsiteX2" fmla="*/ 47969 w 59698"/>
                    <a:gd name="connsiteY2" fmla="*/ 79865 h 79922"/>
                    <a:gd name="connsiteX3" fmla="*/ 42657 w 59698"/>
                    <a:gd name="connsiteY3" fmla="*/ 0 h 79922"/>
                  </a:gdLst>
                  <a:ahLst/>
                  <a:cxnLst>
                    <a:cxn ang="0">
                      <a:pos x="connsiteX0" y="connsiteY0"/>
                    </a:cxn>
                    <a:cxn ang="0">
                      <a:pos x="connsiteX1" y="connsiteY1"/>
                    </a:cxn>
                    <a:cxn ang="0">
                      <a:pos x="connsiteX2" y="connsiteY2"/>
                    </a:cxn>
                    <a:cxn ang="0">
                      <a:pos x="connsiteX3" y="connsiteY3"/>
                    </a:cxn>
                  </a:cxnLst>
                  <a:rect l="l" t="t" r="r" b="b"/>
                  <a:pathLst>
                    <a:path w="59698" h="79922">
                      <a:moveTo>
                        <a:pt x="42645" y="0"/>
                      </a:moveTo>
                      <a:cubicBezTo>
                        <a:pt x="42645" y="0"/>
                        <a:pt x="8591" y="3392"/>
                        <a:pt x="0" y="74889"/>
                      </a:cubicBezTo>
                      <a:cubicBezTo>
                        <a:pt x="0" y="74889"/>
                        <a:pt x="22856" y="80550"/>
                        <a:pt x="47969" y="79865"/>
                      </a:cubicBezTo>
                      <a:cubicBezTo>
                        <a:pt x="47969" y="79865"/>
                        <a:pt x="77608" y="11310"/>
                        <a:pt x="42657" y="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251" name="Graphic 525">
              <a:extLst>
                <a:ext uri="{FF2B5EF4-FFF2-40B4-BE49-F238E27FC236}">
                  <a16:creationId xmlns:a16="http://schemas.microsoft.com/office/drawing/2014/main" id="{7453C4D3-9F32-1F36-EE6B-3993B5B3D68A}"/>
                </a:ext>
              </a:extLst>
            </p:cNvPr>
            <p:cNvGrpSpPr/>
            <p:nvPr/>
          </p:nvGrpSpPr>
          <p:grpSpPr>
            <a:xfrm>
              <a:off x="3946848" y="2945032"/>
              <a:ext cx="51370" cy="70572"/>
              <a:chOff x="7477266" y="2987207"/>
              <a:chExt cx="61954" cy="85113"/>
            </a:xfrm>
          </p:grpSpPr>
          <p:sp>
            <p:nvSpPr>
              <p:cNvPr id="2252" name="Freeform: Shape 2251">
                <a:extLst>
                  <a:ext uri="{FF2B5EF4-FFF2-40B4-BE49-F238E27FC236}">
                    <a16:creationId xmlns:a16="http://schemas.microsoft.com/office/drawing/2014/main" id="{AFC0E578-31D1-7A10-E79E-FDBAFBAA8A87}"/>
                  </a:ext>
                </a:extLst>
              </p:cNvPr>
              <p:cNvSpPr/>
              <p:nvPr/>
            </p:nvSpPr>
            <p:spPr>
              <a:xfrm>
                <a:off x="7477266" y="2987207"/>
                <a:ext cx="61954" cy="85113"/>
              </a:xfrm>
              <a:custGeom>
                <a:avLst/>
                <a:gdLst>
                  <a:gd name="connsiteX0" fmla="*/ 54986 w 61954"/>
                  <a:gd name="connsiteY0" fmla="*/ 12 h 85113"/>
                  <a:gd name="connsiteX1" fmla="*/ 50048 w 61954"/>
                  <a:gd name="connsiteY1" fmla="*/ 20150 h 85113"/>
                  <a:gd name="connsiteX2" fmla="*/ 26444 w 61954"/>
                  <a:gd name="connsiteY2" fmla="*/ 39452 h 85113"/>
                  <a:gd name="connsiteX3" fmla="*/ 1880 w 61954"/>
                  <a:gd name="connsiteY3" fmla="*/ 52682 h 85113"/>
                  <a:gd name="connsiteX4" fmla="*/ 5309 w 61954"/>
                  <a:gd name="connsiteY4" fmla="*/ 61722 h 85113"/>
                  <a:gd name="connsiteX5" fmla="*/ 1306 w 61954"/>
                  <a:gd name="connsiteY5" fmla="*/ 68580 h 85113"/>
                  <a:gd name="connsiteX6" fmla="*/ 8451 w 61954"/>
                  <a:gd name="connsiteY6" fmla="*/ 72869 h 85113"/>
                  <a:gd name="connsiteX7" fmla="*/ 7591 w 61954"/>
                  <a:gd name="connsiteY7" fmla="*/ 79441 h 85113"/>
                  <a:gd name="connsiteX8" fmla="*/ 14162 w 61954"/>
                  <a:gd name="connsiteY8" fmla="*/ 81149 h 85113"/>
                  <a:gd name="connsiteX9" fmla="*/ 20159 w 61954"/>
                  <a:gd name="connsiteY9" fmla="*/ 84865 h 85113"/>
                  <a:gd name="connsiteX10" fmla="*/ 55584 w 61954"/>
                  <a:gd name="connsiteY10" fmla="*/ 63730 h 85113"/>
                  <a:gd name="connsiteX11" fmla="*/ 60347 w 61954"/>
                  <a:gd name="connsiteY11" fmla="*/ 24888 h 85113"/>
                  <a:gd name="connsiteX12" fmla="*/ 54986 w 61954"/>
                  <a:gd name="connsiteY12" fmla="*/ 0 h 8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954" h="85113">
                    <a:moveTo>
                      <a:pt x="54986" y="12"/>
                    </a:moveTo>
                    <a:cubicBezTo>
                      <a:pt x="54986" y="12"/>
                      <a:pt x="52429" y="3067"/>
                      <a:pt x="50048" y="20150"/>
                    </a:cubicBezTo>
                    <a:cubicBezTo>
                      <a:pt x="49449" y="24427"/>
                      <a:pt x="38152" y="31746"/>
                      <a:pt x="26444" y="39452"/>
                    </a:cubicBezTo>
                    <a:cubicBezTo>
                      <a:pt x="14735" y="47171"/>
                      <a:pt x="5022" y="50113"/>
                      <a:pt x="1880" y="52682"/>
                    </a:cubicBezTo>
                    <a:cubicBezTo>
                      <a:pt x="-1263" y="55251"/>
                      <a:pt x="-689" y="61722"/>
                      <a:pt x="5309" y="61722"/>
                    </a:cubicBezTo>
                    <a:cubicBezTo>
                      <a:pt x="5309" y="61722"/>
                      <a:pt x="171" y="64577"/>
                      <a:pt x="1306" y="68580"/>
                    </a:cubicBezTo>
                    <a:cubicBezTo>
                      <a:pt x="2453" y="72583"/>
                      <a:pt x="8451" y="72869"/>
                      <a:pt x="8451" y="72869"/>
                    </a:cubicBezTo>
                    <a:cubicBezTo>
                      <a:pt x="8451" y="72869"/>
                      <a:pt x="5109" y="75463"/>
                      <a:pt x="7591" y="79441"/>
                    </a:cubicBezTo>
                    <a:cubicBezTo>
                      <a:pt x="9498" y="82483"/>
                      <a:pt x="14162" y="81149"/>
                      <a:pt x="14162" y="81149"/>
                    </a:cubicBezTo>
                    <a:cubicBezTo>
                      <a:pt x="14162" y="81149"/>
                      <a:pt x="13875" y="86286"/>
                      <a:pt x="20159" y="84865"/>
                    </a:cubicBezTo>
                    <a:cubicBezTo>
                      <a:pt x="26444" y="83431"/>
                      <a:pt x="48726" y="73730"/>
                      <a:pt x="55584" y="63730"/>
                    </a:cubicBezTo>
                    <a:cubicBezTo>
                      <a:pt x="62442" y="53729"/>
                      <a:pt x="63302" y="35325"/>
                      <a:pt x="60347" y="24888"/>
                    </a:cubicBezTo>
                    <a:cubicBezTo>
                      <a:pt x="57043" y="13192"/>
                      <a:pt x="55272" y="4576"/>
                      <a:pt x="54986" y="0"/>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3" name="Freeform: Shape 2252">
                <a:extLst>
                  <a:ext uri="{FF2B5EF4-FFF2-40B4-BE49-F238E27FC236}">
                    <a16:creationId xmlns:a16="http://schemas.microsoft.com/office/drawing/2014/main" id="{BC105CEA-AD4D-2DC3-3088-6DF347404FAF}"/>
                  </a:ext>
                </a:extLst>
              </p:cNvPr>
              <p:cNvSpPr/>
              <p:nvPr/>
            </p:nvSpPr>
            <p:spPr>
              <a:xfrm>
                <a:off x="7482525" y="3033867"/>
                <a:ext cx="30237" cy="15174"/>
              </a:xfrm>
              <a:custGeom>
                <a:avLst/>
                <a:gdLst>
                  <a:gd name="connsiteX0" fmla="*/ 0 w 30237"/>
                  <a:gd name="connsiteY0" fmla="*/ 14975 h 15174"/>
                  <a:gd name="connsiteX1" fmla="*/ 7581 w 30237"/>
                  <a:gd name="connsiteY1" fmla="*/ 11309 h 15174"/>
                  <a:gd name="connsiteX2" fmla="*/ 15088 w 30237"/>
                  <a:gd name="connsiteY2" fmla="*/ 7506 h 15174"/>
                  <a:gd name="connsiteX3" fmla="*/ 18766 w 30237"/>
                  <a:gd name="connsiteY3" fmla="*/ 5474 h 15174"/>
                  <a:gd name="connsiteX4" fmla="*/ 22469 w 30237"/>
                  <a:gd name="connsiteY4" fmla="*/ 3516 h 15174"/>
                  <a:gd name="connsiteX5" fmla="*/ 24352 w 30237"/>
                  <a:gd name="connsiteY5" fmla="*/ 2606 h 15174"/>
                  <a:gd name="connsiteX6" fmla="*/ 26247 w 30237"/>
                  <a:gd name="connsiteY6" fmla="*/ 1708 h 15174"/>
                  <a:gd name="connsiteX7" fmla="*/ 28168 w 30237"/>
                  <a:gd name="connsiteY7" fmla="*/ 835 h 15174"/>
                  <a:gd name="connsiteX8" fmla="*/ 30125 w 30237"/>
                  <a:gd name="connsiteY8" fmla="*/ 0 h 15174"/>
                  <a:gd name="connsiteX9" fmla="*/ 30238 w 30237"/>
                  <a:gd name="connsiteY9" fmla="*/ 162 h 15174"/>
                  <a:gd name="connsiteX10" fmla="*/ 28654 w 30237"/>
                  <a:gd name="connsiteY10" fmla="*/ 1608 h 15174"/>
                  <a:gd name="connsiteX11" fmla="*/ 26971 w 30237"/>
                  <a:gd name="connsiteY11" fmla="*/ 2918 h 15174"/>
                  <a:gd name="connsiteX12" fmla="*/ 23429 w 30237"/>
                  <a:gd name="connsiteY12" fmla="*/ 5274 h 15174"/>
                  <a:gd name="connsiteX13" fmla="*/ 15798 w 30237"/>
                  <a:gd name="connsiteY13" fmla="*/ 8953 h 15174"/>
                  <a:gd name="connsiteX14" fmla="*/ 8005 w 30237"/>
                  <a:gd name="connsiteY14" fmla="*/ 12232 h 15174"/>
                  <a:gd name="connsiteX15" fmla="*/ 87 w 30237"/>
                  <a:gd name="connsiteY15" fmla="*/ 15175 h 15174"/>
                  <a:gd name="connsiteX16" fmla="*/ 12 w 30237"/>
                  <a:gd name="connsiteY16" fmla="*/ 14988 h 1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237" h="15174">
                    <a:moveTo>
                      <a:pt x="0" y="14975"/>
                    </a:moveTo>
                    <a:cubicBezTo>
                      <a:pt x="2544" y="13766"/>
                      <a:pt x="5075" y="12569"/>
                      <a:pt x="7581" y="11309"/>
                    </a:cubicBezTo>
                    <a:cubicBezTo>
                      <a:pt x="10100" y="10075"/>
                      <a:pt x="12606" y="8815"/>
                      <a:pt x="15088" y="7506"/>
                    </a:cubicBezTo>
                    <a:cubicBezTo>
                      <a:pt x="16322" y="6846"/>
                      <a:pt x="17557" y="6172"/>
                      <a:pt x="18766" y="5474"/>
                    </a:cubicBezTo>
                    <a:cubicBezTo>
                      <a:pt x="19988" y="4788"/>
                      <a:pt x="21210" y="4127"/>
                      <a:pt x="22469" y="3516"/>
                    </a:cubicBezTo>
                    <a:cubicBezTo>
                      <a:pt x="23105" y="3229"/>
                      <a:pt x="23716" y="2905"/>
                      <a:pt x="24352" y="2606"/>
                    </a:cubicBezTo>
                    <a:lnTo>
                      <a:pt x="26247" y="1708"/>
                    </a:lnTo>
                    <a:cubicBezTo>
                      <a:pt x="26871" y="1396"/>
                      <a:pt x="27532" y="1135"/>
                      <a:pt x="28168" y="835"/>
                    </a:cubicBezTo>
                    <a:cubicBezTo>
                      <a:pt x="28804" y="549"/>
                      <a:pt x="29452" y="249"/>
                      <a:pt x="30125" y="0"/>
                    </a:cubicBezTo>
                    <a:lnTo>
                      <a:pt x="30238" y="162"/>
                    </a:lnTo>
                    <a:cubicBezTo>
                      <a:pt x="29726" y="673"/>
                      <a:pt x="29190" y="1135"/>
                      <a:pt x="28654" y="1608"/>
                    </a:cubicBezTo>
                    <a:cubicBezTo>
                      <a:pt x="28105" y="2070"/>
                      <a:pt x="27544" y="2494"/>
                      <a:pt x="26971" y="2918"/>
                    </a:cubicBezTo>
                    <a:cubicBezTo>
                      <a:pt x="25836" y="3778"/>
                      <a:pt x="24626" y="4526"/>
                      <a:pt x="23429" y="5274"/>
                    </a:cubicBezTo>
                    <a:cubicBezTo>
                      <a:pt x="21011" y="6758"/>
                      <a:pt x="18367" y="7793"/>
                      <a:pt x="15798" y="8953"/>
                    </a:cubicBezTo>
                    <a:cubicBezTo>
                      <a:pt x="13217" y="10100"/>
                      <a:pt x="10611" y="11172"/>
                      <a:pt x="8005" y="12232"/>
                    </a:cubicBezTo>
                    <a:cubicBezTo>
                      <a:pt x="5374" y="13254"/>
                      <a:pt x="2756" y="14265"/>
                      <a:pt x="87" y="15175"/>
                    </a:cubicBezTo>
                    <a:lnTo>
                      <a:pt x="12" y="14988"/>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4" name="Freeform: Shape 2253">
                <a:extLst>
                  <a:ext uri="{FF2B5EF4-FFF2-40B4-BE49-F238E27FC236}">
                    <a16:creationId xmlns:a16="http://schemas.microsoft.com/office/drawing/2014/main" id="{D2A27C56-8E19-A76B-C171-210668F3BB2B}"/>
                  </a:ext>
                </a:extLst>
              </p:cNvPr>
              <p:cNvSpPr/>
              <p:nvPr/>
            </p:nvSpPr>
            <p:spPr>
              <a:xfrm>
                <a:off x="7485680" y="3043717"/>
                <a:ext cx="33230" cy="16446"/>
              </a:xfrm>
              <a:custGeom>
                <a:avLst/>
                <a:gdLst>
                  <a:gd name="connsiteX0" fmla="*/ 0 w 33230"/>
                  <a:gd name="connsiteY0" fmla="*/ 16272 h 16446"/>
                  <a:gd name="connsiteX1" fmla="*/ 8479 w 33230"/>
                  <a:gd name="connsiteY1" fmla="*/ 12569 h 16446"/>
                  <a:gd name="connsiteX2" fmla="*/ 16783 w 33230"/>
                  <a:gd name="connsiteY2" fmla="*/ 8554 h 16446"/>
                  <a:gd name="connsiteX3" fmla="*/ 20823 w 33230"/>
                  <a:gd name="connsiteY3" fmla="*/ 6334 h 16446"/>
                  <a:gd name="connsiteX4" fmla="*/ 24863 w 33230"/>
                  <a:gd name="connsiteY4" fmla="*/ 4152 h 16446"/>
                  <a:gd name="connsiteX5" fmla="*/ 28953 w 33230"/>
                  <a:gd name="connsiteY5" fmla="*/ 2057 h 16446"/>
                  <a:gd name="connsiteX6" fmla="*/ 33118 w 33230"/>
                  <a:gd name="connsiteY6" fmla="*/ 0 h 16446"/>
                  <a:gd name="connsiteX7" fmla="*/ 33230 w 33230"/>
                  <a:gd name="connsiteY7" fmla="*/ 162 h 16446"/>
                  <a:gd name="connsiteX8" fmla="*/ 29701 w 33230"/>
                  <a:gd name="connsiteY8" fmla="*/ 3242 h 16446"/>
                  <a:gd name="connsiteX9" fmla="*/ 25848 w 33230"/>
                  <a:gd name="connsiteY9" fmla="*/ 5898 h 16446"/>
                  <a:gd name="connsiteX10" fmla="*/ 17482 w 33230"/>
                  <a:gd name="connsiteY10" fmla="*/ 9988 h 16446"/>
                  <a:gd name="connsiteX11" fmla="*/ 8866 w 33230"/>
                  <a:gd name="connsiteY11" fmla="*/ 13479 h 16446"/>
                  <a:gd name="connsiteX12" fmla="*/ 75 w 33230"/>
                  <a:gd name="connsiteY12" fmla="*/ 16447 h 16446"/>
                  <a:gd name="connsiteX13" fmla="*/ 12 w 33230"/>
                  <a:gd name="connsiteY13" fmla="*/ 16260 h 1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30" h="16446">
                    <a:moveTo>
                      <a:pt x="0" y="16272"/>
                    </a:moveTo>
                    <a:cubicBezTo>
                      <a:pt x="2855" y="15088"/>
                      <a:pt x="5686" y="13865"/>
                      <a:pt x="8479" y="12569"/>
                    </a:cubicBezTo>
                    <a:cubicBezTo>
                      <a:pt x="11285" y="11297"/>
                      <a:pt x="14053" y="9950"/>
                      <a:pt x="16783" y="8554"/>
                    </a:cubicBezTo>
                    <a:cubicBezTo>
                      <a:pt x="18143" y="7831"/>
                      <a:pt x="19502" y="7120"/>
                      <a:pt x="20823" y="6334"/>
                    </a:cubicBezTo>
                    <a:cubicBezTo>
                      <a:pt x="22170" y="5586"/>
                      <a:pt x="23492" y="4838"/>
                      <a:pt x="24863" y="4152"/>
                    </a:cubicBezTo>
                    <a:lnTo>
                      <a:pt x="28953" y="2057"/>
                    </a:lnTo>
                    <a:cubicBezTo>
                      <a:pt x="30337" y="1384"/>
                      <a:pt x="31684" y="636"/>
                      <a:pt x="33118" y="0"/>
                    </a:cubicBezTo>
                    <a:lnTo>
                      <a:pt x="33230" y="162"/>
                    </a:lnTo>
                    <a:cubicBezTo>
                      <a:pt x="32120" y="1272"/>
                      <a:pt x="30948" y="2319"/>
                      <a:pt x="29701" y="3242"/>
                    </a:cubicBezTo>
                    <a:cubicBezTo>
                      <a:pt x="28480" y="4214"/>
                      <a:pt x="27158" y="5038"/>
                      <a:pt x="25848" y="5898"/>
                    </a:cubicBezTo>
                    <a:cubicBezTo>
                      <a:pt x="23193" y="7544"/>
                      <a:pt x="20312" y="8741"/>
                      <a:pt x="17482" y="9988"/>
                    </a:cubicBezTo>
                    <a:cubicBezTo>
                      <a:pt x="14639" y="11222"/>
                      <a:pt x="11771" y="12394"/>
                      <a:pt x="8866" y="13479"/>
                    </a:cubicBezTo>
                    <a:cubicBezTo>
                      <a:pt x="5960" y="14539"/>
                      <a:pt x="3042" y="15574"/>
                      <a:pt x="75" y="16447"/>
                    </a:cubicBezTo>
                    <a:lnTo>
                      <a:pt x="12" y="16260"/>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5" name="Freeform: Shape 2254">
                <a:extLst>
                  <a:ext uri="{FF2B5EF4-FFF2-40B4-BE49-F238E27FC236}">
                    <a16:creationId xmlns:a16="http://schemas.microsoft.com/office/drawing/2014/main" id="{2B47EDDA-D290-E8B0-94DD-607D75812722}"/>
                  </a:ext>
                </a:extLst>
              </p:cNvPr>
              <p:cNvSpPr/>
              <p:nvPr/>
            </p:nvSpPr>
            <p:spPr>
              <a:xfrm>
                <a:off x="7491366" y="3050874"/>
                <a:ext cx="33679" cy="17594"/>
              </a:xfrm>
              <a:custGeom>
                <a:avLst/>
                <a:gdLst>
                  <a:gd name="connsiteX0" fmla="*/ 25 w 33679"/>
                  <a:gd name="connsiteY0" fmla="*/ 17394 h 17594"/>
                  <a:gd name="connsiteX1" fmla="*/ 8641 w 33679"/>
                  <a:gd name="connsiteY1" fmla="*/ 13429 h 17594"/>
                  <a:gd name="connsiteX2" fmla="*/ 17133 w 33679"/>
                  <a:gd name="connsiteY2" fmla="*/ 9227 h 17594"/>
                  <a:gd name="connsiteX3" fmla="*/ 19215 w 33679"/>
                  <a:gd name="connsiteY3" fmla="*/ 8117 h 17594"/>
                  <a:gd name="connsiteX4" fmla="*/ 21260 w 33679"/>
                  <a:gd name="connsiteY4" fmla="*/ 6945 h 17594"/>
                  <a:gd name="connsiteX5" fmla="*/ 23305 w 33679"/>
                  <a:gd name="connsiteY5" fmla="*/ 5786 h 17594"/>
                  <a:gd name="connsiteX6" fmla="*/ 25374 w 33679"/>
                  <a:gd name="connsiteY6" fmla="*/ 4663 h 17594"/>
                  <a:gd name="connsiteX7" fmla="*/ 27444 w 33679"/>
                  <a:gd name="connsiteY7" fmla="*/ 3566 h 17594"/>
                  <a:gd name="connsiteX8" fmla="*/ 29502 w 33679"/>
                  <a:gd name="connsiteY8" fmla="*/ 2444 h 17594"/>
                  <a:gd name="connsiteX9" fmla="*/ 31534 w 33679"/>
                  <a:gd name="connsiteY9" fmla="*/ 1259 h 17594"/>
                  <a:gd name="connsiteX10" fmla="*/ 33542 w 33679"/>
                  <a:gd name="connsiteY10" fmla="*/ 0 h 17594"/>
                  <a:gd name="connsiteX11" fmla="*/ 33679 w 33679"/>
                  <a:gd name="connsiteY11" fmla="*/ 137 h 17594"/>
                  <a:gd name="connsiteX12" fmla="*/ 32095 w 33679"/>
                  <a:gd name="connsiteY12" fmla="*/ 1983 h 17594"/>
                  <a:gd name="connsiteX13" fmla="*/ 30300 w 33679"/>
                  <a:gd name="connsiteY13" fmla="*/ 3603 h 17594"/>
                  <a:gd name="connsiteX14" fmla="*/ 28380 w 33679"/>
                  <a:gd name="connsiteY14" fmla="*/ 5063 h 17594"/>
                  <a:gd name="connsiteX15" fmla="*/ 26372 w 33679"/>
                  <a:gd name="connsiteY15" fmla="*/ 6396 h 17594"/>
                  <a:gd name="connsiteX16" fmla="*/ 17818 w 33679"/>
                  <a:gd name="connsiteY16" fmla="*/ 10674 h 17594"/>
                  <a:gd name="connsiteX17" fmla="*/ 9028 w 33679"/>
                  <a:gd name="connsiteY17" fmla="*/ 14352 h 17594"/>
                  <a:gd name="connsiteX18" fmla="*/ 75 w 33679"/>
                  <a:gd name="connsiteY18" fmla="*/ 17594 h 17594"/>
                  <a:gd name="connsiteX19" fmla="*/ 0 w 33679"/>
                  <a:gd name="connsiteY19" fmla="*/ 17407 h 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679" h="17594">
                    <a:moveTo>
                      <a:pt x="25" y="17394"/>
                    </a:moveTo>
                    <a:cubicBezTo>
                      <a:pt x="2918" y="16110"/>
                      <a:pt x="5798" y="14801"/>
                      <a:pt x="8641" y="13429"/>
                    </a:cubicBezTo>
                    <a:cubicBezTo>
                      <a:pt x="11509" y="12082"/>
                      <a:pt x="14339" y="10686"/>
                      <a:pt x="17133" y="9227"/>
                    </a:cubicBezTo>
                    <a:lnTo>
                      <a:pt x="19215" y="8117"/>
                    </a:lnTo>
                    <a:lnTo>
                      <a:pt x="21260" y="6945"/>
                    </a:lnTo>
                    <a:lnTo>
                      <a:pt x="23305" y="5786"/>
                    </a:lnTo>
                    <a:cubicBezTo>
                      <a:pt x="23991" y="5412"/>
                      <a:pt x="24689" y="5050"/>
                      <a:pt x="25374" y="4663"/>
                    </a:cubicBezTo>
                    <a:cubicBezTo>
                      <a:pt x="26060" y="4289"/>
                      <a:pt x="26771" y="3940"/>
                      <a:pt x="27444" y="3566"/>
                    </a:cubicBezTo>
                    <a:cubicBezTo>
                      <a:pt x="28130" y="3192"/>
                      <a:pt x="28803" y="2806"/>
                      <a:pt x="29502" y="2444"/>
                    </a:cubicBezTo>
                    <a:cubicBezTo>
                      <a:pt x="30163" y="2045"/>
                      <a:pt x="30849" y="1646"/>
                      <a:pt x="31534" y="1259"/>
                    </a:cubicBezTo>
                    <a:cubicBezTo>
                      <a:pt x="32207" y="848"/>
                      <a:pt x="32843" y="399"/>
                      <a:pt x="33542" y="0"/>
                    </a:cubicBezTo>
                    <a:lnTo>
                      <a:pt x="33679" y="137"/>
                    </a:lnTo>
                    <a:cubicBezTo>
                      <a:pt x="33180" y="761"/>
                      <a:pt x="32656" y="1384"/>
                      <a:pt x="32095" y="1983"/>
                    </a:cubicBezTo>
                    <a:cubicBezTo>
                      <a:pt x="31509" y="2531"/>
                      <a:pt x="30911" y="3080"/>
                      <a:pt x="30300" y="3603"/>
                    </a:cubicBezTo>
                    <a:cubicBezTo>
                      <a:pt x="29676" y="4102"/>
                      <a:pt x="29016" y="4576"/>
                      <a:pt x="28380" y="5063"/>
                    </a:cubicBezTo>
                    <a:cubicBezTo>
                      <a:pt x="27731" y="5536"/>
                      <a:pt x="27045" y="5948"/>
                      <a:pt x="26372" y="6396"/>
                    </a:cubicBezTo>
                    <a:cubicBezTo>
                      <a:pt x="23666" y="8117"/>
                      <a:pt x="20711" y="9377"/>
                      <a:pt x="17818" y="10674"/>
                    </a:cubicBezTo>
                    <a:cubicBezTo>
                      <a:pt x="14913" y="11958"/>
                      <a:pt x="11983" y="13192"/>
                      <a:pt x="9028" y="14352"/>
                    </a:cubicBezTo>
                    <a:cubicBezTo>
                      <a:pt x="6060" y="15487"/>
                      <a:pt x="3092" y="16596"/>
                      <a:pt x="75" y="17594"/>
                    </a:cubicBezTo>
                    <a:lnTo>
                      <a:pt x="0" y="17407"/>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257" name="Freeform: Shape 2256">
              <a:extLst>
                <a:ext uri="{FF2B5EF4-FFF2-40B4-BE49-F238E27FC236}">
                  <a16:creationId xmlns:a16="http://schemas.microsoft.com/office/drawing/2014/main" id="{8615E98C-E2F5-C85A-5C8D-76FC8EF794BE}"/>
                </a:ext>
              </a:extLst>
            </p:cNvPr>
            <p:cNvSpPr/>
            <p:nvPr/>
          </p:nvSpPr>
          <p:spPr>
            <a:xfrm>
              <a:off x="3776165" y="2709523"/>
              <a:ext cx="74535" cy="274016"/>
            </a:xfrm>
            <a:custGeom>
              <a:avLst/>
              <a:gdLst>
                <a:gd name="connsiteX0" fmla="*/ 52627 w 89892"/>
                <a:gd name="connsiteY0" fmla="*/ 51 h 330476"/>
                <a:gd name="connsiteX1" fmla="*/ 2501 w 89892"/>
                <a:gd name="connsiteY1" fmla="*/ 56773 h 330476"/>
                <a:gd name="connsiteX2" fmla="*/ 19646 w 89892"/>
                <a:gd name="connsiteY2" fmla="*/ 320020 h 330476"/>
                <a:gd name="connsiteX3" fmla="*/ 80320 w 89892"/>
                <a:gd name="connsiteY3" fmla="*/ 269895 h 330476"/>
                <a:gd name="connsiteX4" fmla="*/ 89822 w 89892"/>
                <a:gd name="connsiteY4" fmla="*/ 69441 h 330476"/>
                <a:gd name="connsiteX5" fmla="*/ 52614 w 89892"/>
                <a:gd name="connsiteY5" fmla="*/ 51 h 33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892" h="330476">
                  <a:moveTo>
                    <a:pt x="52627" y="51"/>
                  </a:moveTo>
                  <a:cubicBezTo>
                    <a:pt x="52627" y="51"/>
                    <a:pt x="7775" y="51"/>
                    <a:pt x="2501" y="56773"/>
                  </a:cubicBezTo>
                  <a:cubicBezTo>
                    <a:pt x="-1914" y="104218"/>
                    <a:pt x="-2774" y="300232"/>
                    <a:pt x="19646" y="320020"/>
                  </a:cubicBezTo>
                  <a:cubicBezTo>
                    <a:pt x="42065" y="339808"/>
                    <a:pt x="73724" y="335843"/>
                    <a:pt x="80320" y="269895"/>
                  </a:cubicBezTo>
                  <a:cubicBezTo>
                    <a:pt x="86917" y="203945"/>
                    <a:pt x="88512" y="115602"/>
                    <a:pt x="89822" y="69441"/>
                  </a:cubicBezTo>
                  <a:cubicBezTo>
                    <a:pt x="91143" y="23281"/>
                    <a:pt x="73724" y="-1271"/>
                    <a:pt x="52614" y="5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58" name="Graphic 525">
              <a:extLst>
                <a:ext uri="{FF2B5EF4-FFF2-40B4-BE49-F238E27FC236}">
                  <a16:creationId xmlns:a16="http://schemas.microsoft.com/office/drawing/2014/main" id="{BB465621-3B59-E661-8B36-FC492DCCF187}"/>
                </a:ext>
              </a:extLst>
            </p:cNvPr>
            <p:cNvGrpSpPr/>
            <p:nvPr/>
          </p:nvGrpSpPr>
          <p:grpSpPr>
            <a:xfrm>
              <a:off x="3787499" y="2931520"/>
              <a:ext cx="194622" cy="201368"/>
              <a:chOff x="7285085" y="2970911"/>
              <a:chExt cx="234722" cy="242859"/>
            </a:xfrm>
          </p:grpSpPr>
          <p:sp>
            <p:nvSpPr>
              <p:cNvPr id="2259" name="Freeform: Shape 2258">
                <a:extLst>
                  <a:ext uri="{FF2B5EF4-FFF2-40B4-BE49-F238E27FC236}">
                    <a16:creationId xmlns:a16="http://schemas.microsoft.com/office/drawing/2014/main" id="{DCE0116D-1324-8CFF-47E8-4D4DC9C11F01}"/>
                  </a:ext>
                </a:extLst>
              </p:cNvPr>
              <p:cNvSpPr/>
              <p:nvPr/>
            </p:nvSpPr>
            <p:spPr>
              <a:xfrm>
                <a:off x="7285085" y="2970911"/>
                <a:ext cx="173986" cy="186428"/>
              </a:xfrm>
              <a:custGeom>
                <a:avLst/>
                <a:gdLst>
                  <a:gd name="connsiteX0" fmla="*/ 3670 w 173986"/>
                  <a:gd name="connsiteY0" fmla="*/ 49314 h 186428"/>
                  <a:gd name="connsiteX1" fmla="*/ 71240 w 173986"/>
                  <a:gd name="connsiteY1" fmla="*/ 120214 h 186428"/>
                  <a:gd name="connsiteX2" fmla="*/ 153099 w 173986"/>
                  <a:gd name="connsiteY2" fmla="*/ 185340 h 186428"/>
                  <a:gd name="connsiteX3" fmla="*/ 170581 w 173986"/>
                  <a:gd name="connsiteY3" fmla="*/ 159953 h 186428"/>
                  <a:gd name="connsiteX4" fmla="*/ 104570 w 173986"/>
                  <a:gd name="connsiteY4" fmla="*/ 65101 h 186428"/>
                  <a:gd name="connsiteX5" fmla="*/ 26763 w 173986"/>
                  <a:gd name="connsiteY5" fmla="*/ 847 h 186428"/>
                  <a:gd name="connsiteX6" fmla="*/ 3682 w 173986"/>
                  <a:gd name="connsiteY6" fmla="*/ 49327 h 18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986" h="186428">
                    <a:moveTo>
                      <a:pt x="3670" y="49314"/>
                    </a:moveTo>
                    <a:cubicBezTo>
                      <a:pt x="3670" y="49314"/>
                      <a:pt x="7884" y="66459"/>
                      <a:pt x="71240" y="120214"/>
                    </a:cubicBezTo>
                    <a:cubicBezTo>
                      <a:pt x="113535" y="156100"/>
                      <a:pt x="142164" y="182298"/>
                      <a:pt x="153099" y="185340"/>
                    </a:cubicBezTo>
                    <a:cubicBezTo>
                      <a:pt x="170905" y="190290"/>
                      <a:pt x="179148" y="177759"/>
                      <a:pt x="170581" y="159953"/>
                    </a:cubicBezTo>
                    <a:cubicBezTo>
                      <a:pt x="162077" y="142284"/>
                      <a:pt x="141179" y="116573"/>
                      <a:pt x="104570" y="65101"/>
                    </a:cubicBezTo>
                    <a:cubicBezTo>
                      <a:pt x="63559" y="7418"/>
                      <a:pt x="48172" y="-3479"/>
                      <a:pt x="26763" y="847"/>
                    </a:cubicBezTo>
                    <a:cubicBezTo>
                      <a:pt x="-3537" y="6957"/>
                      <a:pt x="-2914" y="28217"/>
                      <a:pt x="3682" y="4932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60" name="Graphic 525">
                <a:extLst>
                  <a:ext uri="{FF2B5EF4-FFF2-40B4-BE49-F238E27FC236}">
                    <a16:creationId xmlns:a16="http://schemas.microsoft.com/office/drawing/2014/main" id="{BB1F213A-95C9-C570-8522-09294379634D}"/>
                  </a:ext>
                </a:extLst>
              </p:cNvPr>
              <p:cNvGrpSpPr/>
              <p:nvPr/>
            </p:nvGrpSpPr>
            <p:grpSpPr>
              <a:xfrm>
                <a:off x="7389922" y="3088215"/>
                <a:ext cx="129885" cy="125555"/>
                <a:chOff x="7389922" y="3088215"/>
                <a:chExt cx="129885" cy="125555"/>
              </a:xfrm>
            </p:grpSpPr>
            <p:sp>
              <p:nvSpPr>
                <p:cNvPr id="2261" name="Freeform: Shape 2260">
                  <a:extLst>
                    <a:ext uri="{FF2B5EF4-FFF2-40B4-BE49-F238E27FC236}">
                      <a16:creationId xmlns:a16="http://schemas.microsoft.com/office/drawing/2014/main" id="{C8084982-4CAA-A7C9-4244-2D62298FB536}"/>
                    </a:ext>
                  </a:extLst>
                </p:cNvPr>
                <p:cNvSpPr/>
                <p:nvPr/>
              </p:nvSpPr>
              <p:spPr>
                <a:xfrm>
                  <a:off x="7389922" y="3088215"/>
                  <a:ext cx="129885" cy="125555"/>
                </a:xfrm>
                <a:custGeom>
                  <a:avLst/>
                  <a:gdLst>
                    <a:gd name="connsiteX0" fmla="*/ 8324 w 129885"/>
                    <a:gd name="connsiteY0" fmla="*/ 38484 h 125555"/>
                    <a:gd name="connsiteX1" fmla="*/ 32115 w 129885"/>
                    <a:gd name="connsiteY1" fmla="*/ 67848 h 125555"/>
                    <a:gd name="connsiteX2" fmla="*/ 56343 w 129885"/>
                    <a:gd name="connsiteY2" fmla="*/ 103410 h 125555"/>
                    <a:gd name="connsiteX3" fmla="*/ 112117 w 129885"/>
                    <a:gd name="connsiteY3" fmla="*/ 125542 h 125555"/>
                    <a:gd name="connsiteX4" fmla="*/ 114212 w 129885"/>
                    <a:gd name="connsiteY4" fmla="*/ 118485 h 125555"/>
                    <a:gd name="connsiteX5" fmla="*/ 121968 w 129885"/>
                    <a:gd name="connsiteY5" fmla="*/ 115605 h 125555"/>
                    <a:gd name="connsiteX6" fmla="*/ 118127 w 129885"/>
                    <a:gd name="connsiteY6" fmla="*/ 109769 h 125555"/>
                    <a:gd name="connsiteX7" fmla="*/ 126319 w 129885"/>
                    <a:gd name="connsiteY7" fmla="*/ 105754 h 125555"/>
                    <a:gd name="connsiteX8" fmla="*/ 122392 w 129885"/>
                    <a:gd name="connsiteY8" fmla="*/ 98784 h 125555"/>
                    <a:gd name="connsiteX9" fmla="*/ 129886 w 129885"/>
                    <a:gd name="connsiteY9" fmla="*/ 92861 h 125555"/>
                    <a:gd name="connsiteX10" fmla="*/ 90670 w 129885"/>
                    <a:gd name="connsiteY10" fmla="*/ 74120 h 125555"/>
                    <a:gd name="connsiteX11" fmla="*/ 68712 w 129885"/>
                    <a:gd name="connsiteY11" fmla="*/ 45703 h 125555"/>
                    <a:gd name="connsiteX12" fmla="*/ 76730 w 129885"/>
                    <a:gd name="connsiteY12" fmla="*/ 38907 h 125555"/>
                    <a:gd name="connsiteX13" fmla="*/ 108451 w 129885"/>
                    <a:gd name="connsiteY13" fmla="*/ 40129 h 125555"/>
                    <a:gd name="connsiteX14" fmla="*/ 79859 w 129885"/>
                    <a:gd name="connsiteY14" fmla="*/ 24618 h 125555"/>
                    <a:gd name="connsiteX15" fmla="*/ 52365 w 129885"/>
                    <a:gd name="connsiteY15" fmla="*/ 15603 h 125555"/>
                    <a:gd name="connsiteX16" fmla="*/ 9222 w 129885"/>
                    <a:gd name="connsiteY16" fmla="*/ 4231 h 125555"/>
                    <a:gd name="connsiteX17" fmla="*/ 8312 w 129885"/>
                    <a:gd name="connsiteY17" fmla="*/ 38484 h 12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885" h="125555">
                      <a:moveTo>
                        <a:pt x="8324" y="38484"/>
                      </a:moveTo>
                      <a:cubicBezTo>
                        <a:pt x="8324" y="38484"/>
                        <a:pt x="24272" y="54257"/>
                        <a:pt x="32115" y="67848"/>
                      </a:cubicBezTo>
                      <a:cubicBezTo>
                        <a:pt x="39958" y="81439"/>
                        <a:pt x="43475" y="87512"/>
                        <a:pt x="56343" y="103410"/>
                      </a:cubicBezTo>
                      <a:cubicBezTo>
                        <a:pt x="65233" y="114395"/>
                        <a:pt x="104274" y="124844"/>
                        <a:pt x="112117" y="125542"/>
                      </a:cubicBezTo>
                      <a:cubicBezTo>
                        <a:pt x="114735" y="125780"/>
                        <a:pt x="117603" y="122662"/>
                        <a:pt x="114212" y="118485"/>
                      </a:cubicBezTo>
                      <a:cubicBezTo>
                        <a:pt x="114212" y="118485"/>
                        <a:pt x="120484" y="120580"/>
                        <a:pt x="121968" y="115605"/>
                      </a:cubicBezTo>
                      <a:cubicBezTo>
                        <a:pt x="123015" y="112201"/>
                        <a:pt x="118127" y="109769"/>
                        <a:pt x="118127" y="109769"/>
                      </a:cubicBezTo>
                      <a:cubicBezTo>
                        <a:pt x="118127" y="109769"/>
                        <a:pt x="125272" y="111079"/>
                        <a:pt x="126319" y="105754"/>
                      </a:cubicBezTo>
                      <a:cubicBezTo>
                        <a:pt x="127167" y="101465"/>
                        <a:pt x="122392" y="98784"/>
                        <a:pt x="122392" y="98784"/>
                      </a:cubicBezTo>
                      <a:cubicBezTo>
                        <a:pt x="122392" y="98784"/>
                        <a:pt x="129886" y="99133"/>
                        <a:pt x="129886" y="92861"/>
                      </a:cubicBezTo>
                      <a:cubicBezTo>
                        <a:pt x="129886" y="86589"/>
                        <a:pt x="105733" y="83335"/>
                        <a:pt x="90670" y="74120"/>
                      </a:cubicBezTo>
                      <a:cubicBezTo>
                        <a:pt x="81256" y="68372"/>
                        <a:pt x="69959" y="50167"/>
                        <a:pt x="68712" y="45703"/>
                      </a:cubicBezTo>
                      <a:cubicBezTo>
                        <a:pt x="67665" y="41950"/>
                        <a:pt x="66118" y="34294"/>
                        <a:pt x="76730" y="38907"/>
                      </a:cubicBezTo>
                      <a:cubicBezTo>
                        <a:pt x="97989" y="48147"/>
                        <a:pt x="107142" y="45429"/>
                        <a:pt x="108451" y="40129"/>
                      </a:cubicBezTo>
                      <a:cubicBezTo>
                        <a:pt x="109324" y="36638"/>
                        <a:pt x="88401" y="31588"/>
                        <a:pt x="79859" y="24618"/>
                      </a:cubicBezTo>
                      <a:cubicBezTo>
                        <a:pt x="69510" y="16176"/>
                        <a:pt x="66218" y="19780"/>
                        <a:pt x="52365" y="15603"/>
                      </a:cubicBezTo>
                      <a:cubicBezTo>
                        <a:pt x="38512" y="11413"/>
                        <a:pt x="27651" y="-8587"/>
                        <a:pt x="9222" y="4231"/>
                      </a:cubicBezTo>
                      <a:cubicBezTo>
                        <a:pt x="-5566" y="14505"/>
                        <a:pt x="-55" y="31426"/>
                        <a:pt x="8312" y="3848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62" name="Graphic 525">
                  <a:extLst>
                    <a:ext uri="{FF2B5EF4-FFF2-40B4-BE49-F238E27FC236}">
                      <a16:creationId xmlns:a16="http://schemas.microsoft.com/office/drawing/2014/main" id="{28AC3BA4-3CAA-E871-903E-7FD64D08D29A}"/>
                    </a:ext>
                  </a:extLst>
                </p:cNvPr>
                <p:cNvGrpSpPr/>
                <p:nvPr/>
              </p:nvGrpSpPr>
              <p:grpSpPr>
                <a:xfrm>
                  <a:off x="7457549" y="3168770"/>
                  <a:ext cx="54814" cy="38018"/>
                  <a:chOff x="7457549" y="3168770"/>
                  <a:chExt cx="54814" cy="38018"/>
                </a:xfrm>
                <a:solidFill>
                  <a:srgbClr val="723333"/>
                </a:solidFill>
              </p:grpSpPr>
              <p:sp>
                <p:nvSpPr>
                  <p:cNvPr id="2263" name="Freeform: Shape 2262">
                    <a:extLst>
                      <a:ext uri="{FF2B5EF4-FFF2-40B4-BE49-F238E27FC236}">
                        <a16:creationId xmlns:a16="http://schemas.microsoft.com/office/drawing/2014/main" id="{E222789E-B5FE-5A48-E586-CC5D3AE54469}"/>
                      </a:ext>
                    </a:extLst>
                  </p:cNvPr>
                  <p:cNvSpPr/>
                  <p:nvPr/>
                </p:nvSpPr>
                <p:spPr>
                  <a:xfrm>
                    <a:off x="7467724" y="3168770"/>
                    <a:ext cx="44639" cy="18354"/>
                  </a:xfrm>
                  <a:custGeom>
                    <a:avLst/>
                    <a:gdLst>
                      <a:gd name="connsiteX0" fmla="*/ 44589 w 44639"/>
                      <a:gd name="connsiteY0" fmla="*/ 18330 h 18354"/>
                      <a:gd name="connsiteX1" fmla="*/ 32769 w 44639"/>
                      <a:gd name="connsiteY1" fmla="*/ 15350 h 18354"/>
                      <a:gd name="connsiteX2" fmla="*/ 21023 w 44639"/>
                      <a:gd name="connsiteY2" fmla="*/ 12058 h 18354"/>
                      <a:gd name="connsiteX3" fmla="*/ 15162 w 44639"/>
                      <a:gd name="connsiteY3" fmla="*/ 10287 h 18354"/>
                      <a:gd name="connsiteX4" fmla="*/ 12257 w 44639"/>
                      <a:gd name="connsiteY4" fmla="*/ 9277 h 18354"/>
                      <a:gd name="connsiteX5" fmla="*/ 10823 w 44639"/>
                      <a:gd name="connsiteY5" fmla="*/ 8678 h 18354"/>
                      <a:gd name="connsiteX6" fmla="*/ 9414 w 44639"/>
                      <a:gd name="connsiteY6" fmla="*/ 8018 h 18354"/>
                      <a:gd name="connsiteX7" fmla="*/ 4164 w 44639"/>
                      <a:gd name="connsiteY7" fmla="*/ 4688 h 18354"/>
                      <a:gd name="connsiteX8" fmla="*/ 0 w 44639"/>
                      <a:gd name="connsiteY8" fmla="*/ 100 h 18354"/>
                      <a:gd name="connsiteX9" fmla="*/ 149 w 44639"/>
                      <a:gd name="connsiteY9" fmla="*/ 0 h 18354"/>
                      <a:gd name="connsiteX10" fmla="*/ 4900 w 44639"/>
                      <a:gd name="connsiteY10" fmla="*/ 3641 h 18354"/>
                      <a:gd name="connsiteX11" fmla="*/ 10200 w 44639"/>
                      <a:gd name="connsiteY11" fmla="*/ 6372 h 18354"/>
                      <a:gd name="connsiteX12" fmla="*/ 12955 w 44639"/>
                      <a:gd name="connsiteY12" fmla="*/ 7519 h 18354"/>
                      <a:gd name="connsiteX13" fmla="*/ 15773 w 44639"/>
                      <a:gd name="connsiteY13" fmla="*/ 8604 h 18354"/>
                      <a:gd name="connsiteX14" fmla="*/ 21472 w 44639"/>
                      <a:gd name="connsiteY14" fmla="*/ 10686 h 18354"/>
                      <a:gd name="connsiteX15" fmla="*/ 33031 w 44639"/>
                      <a:gd name="connsiteY15" fmla="*/ 14489 h 18354"/>
                      <a:gd name="connsiteX16" fmla="*/ 44639 w 44639"/>
                      <a:gd name="connsiteY16" fmla="*/ 18180 h 18354"/>
                      <a:gd name="connsiteX17" fmla="*/ 44589 w 44639"/>
                      <a:gd name="connsiteY17" fmla="*/ 18354 h 1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639" h="18354">
                        <a:moveTo>
                          <a:pt x="44589" y="18330"/>
                        </a:moveTo>
                        <a:cubicBezTo>
                          <a:pt x="40637" y="17394"/>
                          <a:pt x="36696" y="16372"/>
                          <a:pt x="32769" y="15350"/>
                        </a:cubicBezTo>
                        <a:cubicBezTo>
                          <a:pt x="28841" y="14290"/>
                          <a:pt x="24926" y="13217"/>
                          <a:pt x="21023" y="12058"/>
                        </a:cubicBezTo>
                        <a:cubicBezTo>
                          <a:pt x="19065" y="11484"/>
                          <a:pt x="17120" y="10910"/>
                          <a:pt x="15162" y="10287"/>
                        </a:cubicBezTo>
                        <a:cubicBezTo>
                          <a:pt x="14190" y="9988"/>
                          <a:pt x="13217" y="9626"/>
                          <a:pt x="12257" y="9277"/>
                        </a:cubicBezTo>
                        <a:lnTo>
                          <a:pt x="10823" y="8678"/>
                        </a:lnTo>
                        <a:cubicBezTo>
                          <a:pt x="10349" y="8479"/>
                          <a:pt x="9888" y="8229"/>
                          <a:pt x="9414" y="8018"/>
                        </a:cubicBezTo>
                        <a:cubicBezTo>
                          <a:pt x="7569" y="7070"/>
                          <a:pt x="5786" y="5985"/>
                          <a:pt x="4164" y="4688"/>
                        </a:cubicBezTo>
                        <a:cubicBezTo>
                          <a:pt x="2556" y="3379"/>
                          <a:pt x="1035" y="1908"/>
                          <a:pt x="0" y="100"/>
                        </a:cubicBezTo>
                        <a:lnTo>
                          <a:pt x="149" y="0"/>
                        </a:lnTo>
                        <a:cubicBezTo>
                          <a:pt x="1559" y="1446"/>
                          <a:pt x="3217" y="2581"/>
                          <a:pt x="4900" y="3641"/>
                        </a:cubicBezTo>
                        <a:cubicBezTo>
                          <a:pt x="6608" y="4663"/>
                          <a:pt x="8367" y="5586"/>
                          <a:pt x="10200" y="6372"/>
                        </a:cubicBezTo>
                        <a:cubicBezTo>
                          <a:pt x="11110" y="6783"/>
                          <a:pt x="12033" y="7145"/>
                          <a:pt x="12955" y="7519"/>
                        </a:cubicBezTo>
                        <a:lnTo>
                          <a:pt x="15773" y="8604"/>
                        </a:lnTo>
                        <a:cubicBezTo>
                          <a:pt x="17656" y="9339"/>
                          <a:pt x="19564" y="10025"/>
                          <a:pt x="21472" y="10686"/>
                        </a:cubicBezTo>
                        <a:cubicBezTo>
                          <a:pt x="25300" y="12008"/>
                          <a:pt x="29165" y="13267"/>
                          <a:pt x="33031" y="14489"/>
                        </a:cubicBezTo>
                        <a:cubicBezTo>
                          <a:pt x="36896" y="15748"/>
                          <a:pt x="40774" y="16958"/>
                          <a:pt x="44639" y="18180"/>
                        </a:cubicBezTo>
                        <a:lnTo>
                          <a:pt x="44589" y="18354"/>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4" name="Freeform: Shape 2263">
                    <a:extLst>
                      <a:ext uri="{FF2B5EF4-FFF2-40B4-BE49-F238E27FC236}">
                        <a16:creationId xmlns:a16="http://schemas.microsoft.com/office/drawing/2014/main" id="{DDD9EDFB-EB87-9A35-447A-07F2CFCEC066}"/>
                      </a:ext>
                    </a:extLst>
                  </p:cNvPr>
                  <p:cNvSpPr/>
                  <p:nvPr/>
                </p:nvSpPr>
                <p:spPr>
                  <a:xfrm>
                    <a:off x="7461053" y="3178932"/>
                    <a:ext cx="47020" cy="19140"/>
                  </a:xfrm>
                  <a:custGeom>
                    <a:avLst/>
                    <a:gdLst>
                      <a:gd name="connsiteX0" fmla="*/ 46983 w 47020"/>
                      <a:gd name="connsiteY0" fmla="*/ 19140 h 19140"/>
                      <a:gd name="connsiteX1" fmla="*/ 34440 w 47020"/>
                      <a:gd name="connsiteY1" fmla="*/ 15998 h 19140"/>
                      <a:gd name="connsiteX2" fmla="*/ 21921 w 47020"/>
                      <a:gd name="connsiteY2" fmla="*/ 12768 h 19140"/>
                      <a:gd name="connsiteX3" fmla="*/ 15649 w 47020"/>
                      <a:gd name="connsiteY3" fmla="*/ 11185 h 19140"/>
                      <a:gd name="connsiteX4" fmla="*/ 12531 w 47020"/>
                      <a:gd name="connsiteY4" fmla="*/ 10349 h 19140"/>
                      <a:gd name="connsiteX5" fmla="*/ 11758 w 47020"/>
                      <a:gd name="connsiteY5" fmla="*/ 10125 h 19140"/>
                      <a:gd name="connsiteX6" fmla="*/ 10923 w 47020"/>
                      <a:gd name="connsiteY6" fmla="*/ 9851 h 19140"/>
                      <a:gd name="connsiteX7" fmla="*/ 9364 w 47020"/>
                      <a:gd name="connsiteY7" fmla="*/ 9190 h 19140"/>
                      <a:gd name="connsiteX8" fmla="*/ 6459 w 47020"/>
                      <a:gd name="connsiteY8" fmla="*/ 7519 h 19140"/>
                      <a:gd name="connsiteX9" fmla="*/ 3878 w 47020"/>
                      <a:gd name="connsiteY9" fmla="*/ 5412 h 19140"/>
                      <a:gd name="connsiteX10" fmla="*/ 0 w 47020"/>
                      <a:gd name="connsiteY10" fmla="*/ 100 h 19140"/>
                      <a:gd name="connsiteX11" fmla="*/ 150 w 47020"/>
                      <a:gd name="connsiteY11" fmla="*/ 0 h 19140"/>
                      <a:gd name="connsiteX12" fmla="*/ 10100 w 47020"/>
                      <a:gd name="connsiteY12" fmla="*/ 7519 h 19140"/>
                      <a:gd name="connsiteX13" fmla="*/ 11534 w 47020"/>
                      <a:gd name="connsiteY13" fmla="*/ 8067 h 19140"/>
                      <a:gd name="connsiteX14" fmla="*/ 12245 w 47020"/>
                      <a:gd name="connsiteY14" fmla="*/ 8292 h 19140"/>
                      <a:gd name="connsiteX15" fmla="*/ 13018 w 47020"/>
                      <a:gd name="connsiteY15" fmla="*/ 8504 h 19140"/>
                      <a:gd name="connsiteX16" fmla="*/ 16122 w 47020"/>
                      <a:gd name="connsiteY16" fmla="*/ 9427 h 19140"/>
                      <a:gd name="connsiteX17" fmla="*/ 22307 w 47020"/>
                      <a:gd name="connsiteY17" fmla="*/ 11347 h 19140"/>
                      <a:gd name="connsiteX18" fmla="*/ 34677 w 47020"/>
                      <a:gd name="connsiteY18" fmla="*/ 15113 h 19140"/>
                      <a:gd name="connsiteX19" fmla="*/ 47021 w 47020"/>
                      <a:gd name="connsiteY19" fmla="*/ 18965 h 19140"/>
                      <a:gd name="connsiteX20" fmla="*/ 46971 w 47020"/>
                      <a:gd name="connsiteY20" fmla="*/ 19140 h 1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020" h="19140">
                        <a:moveTo>
                          <a:pt x="46983" y="19140"/>
                        </a:moveTo>
                        <a:cubicBezTo>
                          <a:pt x="42794" y="18118"/>
                          <a:pt x="38617" y="17045"/>
                          <a:pt x="34440" y="15998"/>
                        </a:cubicBezTo>
                        <a:lnTo>
                          <a:pt x="21921" y="12768"/>
                        </a:lnTo>
                        <a:lnTo>
                          <a:pt x="15649" y="11185"/>
                        </a:lnTo>
                        <a:cubicBezTo>
                          <a:pt x="14601" y="10923"/>
                          <a:pt x="13566" y="10649"/>
                          <a:pt x="12531" y="10349"/>
                        </a:cubicBezTo>
                        <a:lnTo>
                          <a:pt x="11758" y="10125"/>
                        </a:lnTo>
                        <a:cubicBezTo>
                          <a:pt x="11459" y="10038"/>
                          <a:pt x="11197" y="9950"/>
                          <a:pt x="10923" y="9851"/>
                        </a:cubicBezTo>
                        <a:cubicBezTo>
                          <a:pt x="10387" y="9651"/>
                          <a:pt x="9875" y="9439"/>
                          <a:pt x="9364" y="9190"/>
                        </a:cubicBezTo>
                        <a:cubicBezTo>
                          <a:pt x="8354" y="8691"/>
                          <a:pt x="7382" y="8142"/>
                          <a:pt x="6459" y="7519"/>
                        </a:cubicBezTo>
                        <a:cubicBezTo>
                          <a:pt x="5549" y="6870"/>
                          <a:pt x="4663" y="6197"/>
                          <a:pt x="3878" y="5412"/>
                        </a:cubicBezTo>
                        <a:cubicBezTo>
                          <a:pt x="2269" y="3878"/>
                          <a:pt x="923" y="2083"/>
                          <a:pt x="0" y="100"/>
                        </a:cubicBezTo>
                        <a:lnTo>
                          <a:pt x="150" y="0"/>
                        </a:lnTo>
                        <a:cubicBezTo>
                          <a:pt x="2843" y="3367"/>
                          <a:pt x="6272" y="5935"/>
                          <a:pt x="10100" y="7519"/>
                        </a:cubicBezTo>
                        <a:cubicBezTo>
                          <a:pt x="10574" y="7731"/>
                          <a:pt x="11060" y="7906"/>
                          <a:pt x="11534" y="8067"/>
                        </a:cubicBezTo>
                        <a:cubicBezTo>
                          <a:pt x="11771" y="8142"/>
                          <a:pt x="12020" y="8230"/>
                          <a:pt x="12245" y="8292"/>
                        </a:cubicBezTo>
                        <a:lnTo>
                          <a:pt x="13018" y="8504"/>
                        </a:lnTo>
                        <a:cubicBezTo>
                          <a:pt x="14053" y="8803"/>
                          <a:pt x="15088" y="9102"/>
                          <a:pt x="16122" y="9427"/>
                        </a:cubicBezTo>
                        <a:lnTo>
                          <a:pt x="22307" y="11347"/>
                        </a:lnTo>
                        <a:lnTo>
                          <a:pt x="34677" y="15113"/>
                        </a:lnTo>
                        <a:cubicBezTo>
                          <a:pt x="38791" y="16397"/>
                          <a:pt x="42919" y="17656"/>
                          <a:pt x="47021" y="18965"/>
                        </a:cubicBezTo>
                        <a:lnTo>
                          <a:pt x="46971" y="19140"/>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5" name="Freeform: Shape 2264">
                    <a:extLst>
                      <a:ext uri="{FF2B5EF4-FFF2-40B4-BE49-F238E27FC236}">
                        <a16:creationId xmlns:a16="http://schemas.microsoft.com/office/drawing/2014/main" id="{0C3AAD40-82BB-B1AC-7796-DDED928A6F14}"/>
                      </a:ext>
                    </a:extLst>
                  </p:cNvPr>
                  <p:cNvSpPr/>
                  <p:nvPr/>
                </p:nvSpPr>
                <p:spPr>
                  <a:xfrm>
                    <a:off x="7457549" y="3189805"/>
                    <a:ext cx="46622" cy="16983"/>
                  </a:xfrm>
                  <a:custGeom>
                    <a:avLst/>
                    <a:gdLst>
                      <a:gd name="connsiteX0" fmla="*/ 46572 w 46622"/>
                      <a:gd name="connsiteY0" fmla="*/ 16983 h 16983"/>
                      <a:gd name="connsiteX1" fmla="*/ 34465 w 46622"/>
                      <a:gd name="connsiteY1" fmla="*/ 14015 h 16983"/>
                      <a:gd name="connsiteX2" fmla="*/ 22407 w 46622"/>
                      <a:gd name="connsiteY2" fmla="*/ 10823 h 16983"/>
                      <a:gd name="connsiteX3" fmla="*/ 10424 w 46622"/>
                      <a:gd name="connsiteY3" fmla="*/ 7170 h 16983"/>
                      <a:gd name="connsiteX4" fmla="*/ 4788 w 46622"/>
                      <a:gd name="connsiteY4" fmla="*/ 4265 h 16983"/>
                      <a:gd name="connsiteX5" fmla="*/ 2220 w 46622"/>
                      <a:gd name="connsiteY5" fmla="*/ 2394 h 16983"/>
                      <a:gd name="connsiteX6" fmla="*/ 0 w 46622"/>
                      <a:gd name="connsiteY6" fmla="*/ 125 h 16983"/>
                      <a:gd name="connsiteX7" fmla="*/ 137 w 46622"/>
                      <a:gd name="connsiteY7" fmla="*/ 0 h 16983"/>
                      <a:gd name="connsiteX8" fmla="*/ 2706 w 46622"/>
                      <a:gd name="connsiteY8" fmla="*/ 1708 h 16983"/>
                      <a:gd name="connsiteX9" fmla="*/ 5424 w 46622"/>
                      <a:gd name="connsiteY9" fmla="*/ 3130 h 16983"/>
                      <a:gd name="connsiteX10" fmla="*/ 11085 w 46622"/>
                      <a:gd name="connsiteY10" fmla="*/ 5449 h 16983"/>
                      <a:gd name="connsiteX11" fmla="*/ 16933 w 46622"/>
                      <a:gd name="connsiteY11" fmla="*/ 7419 h 16983"/>
                      <a:gd name="connsiteX12" fmla="*/ 22831 w 46622"/>
                      <a:gd name="connsiteY12" fmla="*/ 9402 h 16983"/>
                      <a:gd name="connsiteX13" fmla="*/ 34714 w 46622"/>
                      <a:gd name="connsiteY13" fmla="*/ 13118 h 16983"/>
                      <a:gd name="connsiteX14" fmla="*/ 46622 w 46622"/>
                      <a:gd name="connsiteY14" fmla="*/ 16796 h 16983"/>
                      <a:gd name="connsiteX15" fmla="*/ 46572 w 46622"/>
                      <a:gd name="connsiteY15" fmla="*/ 16971 h 1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622" h="16983">
                        <a:moveTo>
                          <a:pt x="46572" y="16983"/>
                        </a:moveTo>
                        <a:cubicBezTo>
                          <a:pt x="42520" y="16035"/>
                          <a:pt x="38492" y="15013"/>
                          <a:pt x="34465" y="14015"/>
                        </a:cubicBezTo>
                        <a:cubicBezTo>
                          <a:pt x="30437" y="12981"/>
                          <a:pt x="26422" y="11921"/>
                          <a:pt x="22407" y="10823"/>
                        </a:cubicBezTo>
                        <a:cubicBezTo>
                          <a:pt x="18392" y="9689"/>
                          <a:pt x="14352" y="8766"/>
                          <a:pt x="10424" y="7170"/>
                        </a:cubicBezTo>
                        <a:cubicBezTo>
                          <a:pt x="8467" y="6359"/>
                          <a:pt x="6571" y="5412"/>
                          <a:pt x="4788" y="4265"/>
                        </a:cubicBezTo>
                        <a:cubicBezTo>
                          <a:pt x="3891" y="3703"/>
                          <a:pt x="3030" y="3080"/>
                          <a:pt x="2220" y="2394"/>
                        </a:cubicBezTo>
                        <a:cubicBezTo>
                          <a:pt x="1409" y="1708"/>
                          <a:pt x="636" y="985"/>
                          <a:pt x="0" y="125"/>
                        </a:cubicBezTo>
                        <a:lnTo>
                          <a:pt x="137" y="0"/>
                        </a:lnTo>
                        <a:cubicBezTo>
                          <a:pt x="948" y="636"/>
                          <a:pt x="1820" y="1197"/>
                          <a:pt x="2706" y="1708"/>
                        </a:cubicBezTo>
                        <a:cubicBezTo>
                          <a:pt x="3591" y="2232"/>
                          <a:pt x="4501" y="2694"/>
                          <a:pt x="5424" y="3130"/>
                        </a:cubicBezTo>
                        <a:cubicBezTo>
                          <a:pt x="7270" y="4003"/>
                          <a:pt x="9165" y="4776"/>
                          <a:pt x="11085" y="5449"/>
                        </a:cubicBezTo>
                        <a:lnTo>
                          <a:pt x="16933" y="7419"/>
                        </a:lnTo>
                        <a:cubicBezTo>
                          <a:pt x="18891" y="8105"/>
                          <a:pt x="20861" y="8753"/>
                          <a:pt x="22831" y="9402"/>
                        </a:cubicBezTo>
                        <a:cubicBezTo>
                          <a:pt x="26784" y="10674"/>
                          <a:pt x="30749" y="11908"/>
                          <a:pt x="34714" y="13118"/>
                        </a:cubicBezTo>
                        <a:lnTo>
                          <a:pt x="46622" y="16796"/>
                        </a:lnTo>
                        <a:lnTo>
                          <a:pt x="46572" y="16971"/>
                        </a:ln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266" name="Freeform: Shape 2265">
              <a:extLst>
                <a:ext uri="{FF2B5EF4-FFF2-40B4-BE49-F238E27FC236}">
                  <a16:creationId xmlns:a16="http://schemas.microsoft.com/office/drawing/2014/main" id="{035B75E0-2293-46CF-98C4-918BD2084BA5}"/>
                </a:ext>
              </a:extLst>
            </p:cNvPr>
            <p:cNvSpPr/>
            <p:nvPr/>
          </p:nvSpPr>
          <p:spPr>
            <a:xfrm>
              <a:off x="3633494" y="2831987"/>
              <a:ext cx="165236" cy="370934"/>
            </a:xfrm>
            <a:custGeom>
              <a:avLst/>
              <a:gdLst>
                <a:gd name="connsiteX0" fmla="*/ 104218 w 199282"/>
                <a:gd name="connsiteY0" fmla="*/ 341204 h 447362"/>
                <a:gd name="connsiteX1" fmla="*/ 24828 w 199282"/>
                <a:gd name="connsiteY1" fmla="*/ 293722 h 447362"/>
                <a:gd name="connsiteX2" fmla="*/ 24828 w 199282"/>
                <a:gd name="connsiteY2" fmla="*/ 68031 h 447362"/>
                <a:gd name="connsiteX3" fmla="*/ 48843 w 199282"/>
                <a:gd name="connsiteY3" fmla="*/ 0 h 447362"/>
                <a:gd name="connsiteX4" fmla="*/ 29080 w 199282"/>
                <a:gd name="connsiteY4" fmla="*/ 0 h 447362"/>
                <a:gd name="connsiteX5" fmla="*/ 2944 w 199282"/>
                <a:gd name="connsiteY5" fmla="*/ 25886 h 447362"/>
                <a:gd name="connsiteX6" fmla="*/ 3219 w 199282"/>
                <a:gd name="connsiteY6" fmla="*/ 180876 h 447362"/>
                <a:gd name="connsiteX7" fmla="*/ 2745 w 199282"/>
                <a:gd name="connsiteY7" fmla="*/ 375444 h 447362"/>
                <a:gd name="connsiteX8" fmla="*/ 30202 w 199282"/>
                <a:gd name="connsiteY8" fmla="*/ 423001 h 447362"/>
                <a:gd name="connsiteX9" fmla="*/ 124855 w 199282"/>
                <a:gd name="connsiteY9" fmla="*/ 445782 h 447362"/>
                <a:gd name="connsiteX10" fmla="*/ 199283 w 199282"/>
                <a:gd name="connsiteY10" fmla="*/ 444922 h 447362"/>
                <a:gd name="connsiteX11" fmla="*/ 104206 w 199282"/>
                <a:gd name="connsiteY11" fmla="*/ 341204 h 44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282" h="447362">
                  <a:moveTo>
                    <a:pt x="104218" y="341204"/>
                  </a:moveTo>
                  <a:cubicBezTo>
                    <a:pt x="15675" y="330792"/>
                    <a:pt x="24828" y="293722"/>
                    <a:pt x="24828" y="293722"/>
                  </a:cubicBezTo>
                  <a:lnTo>
                    <a:pt x="24828" y="68031"/>
                  </a:lnTo>
                  <a:cubicBezTo>
                    <a:pt x="24828" y="5611"/>
                    <a:pt x="48843" y="0"/>
                    <a:pt x="48843" y="0"/>
                  </a:cubicBezTo>
                  <a:lnTo>
                    <a:pt x="29080" y="0"/>
                  </a:lnTo>
                  <a:cubicBezTo>
                    <a:pt x="14740" y="0"/>
                    <a:pt x="3081" y="11546"/>
                    <a:pt x="2944" y="25886"/>
                  </a:cubicBezTo>
                  <a:cubicBezTo>
                    <a:pt x="2570" y="66410"/>
                    <a:pt x="2059" y="143981"/>
                    <a:pt x="3219" y="180876"/>
                  </a:cubicBezTo>
                  <a:cubicBezTo>
                    <a:pt x="4790" y="231027"/>
                    <a:pt x="-4375" y="314146"/>
                    <a:pt x="2745" y="375444"/>
                  </a:cubicBezTo>
                  <a:lnTo>
                    <a:pt x="30202" y="423001"/>
                  </a:lnTo>
                  <a:cubicBezTo>
                    <a:pt x="58245" y="441867"/>
                    <a:pt x="100827" y="443114"/>
                    <a:pt x="124855" y="445782"/>
                  </a:cubicBezTo>
                  <a:cubicBezTo>
                    <a:pt x="160865" y="449785"/>
                    <a:pt x="199283" y="444922"/>
                    <a:pt x="199283" y="444922"/>
                  </a:cubicBezTo>
                  <a:cubicBezTo>
                    <a:pt x="199283" y="372888"/>
                    <a:pt x="194906" y="351878"/>
                    <a:pt x="104206" y="341204"/>
                  </a:cubicBezTo>
                  <a:close/>
                </a:path>
              </a:pathLst>
            </a:custGeom>
            <a:solidFill>
              <a:srgbClr val="DBDB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69" name="Graphic 525">
              <a:extLst>
                <a:ext uri="{FF2B5EF4-FFF2-40B4-BE49-F238E27FC236}">
                  <a16:creationId xmlns:a16="http://schemas.microsoft.com/office/drawing/2014/main" id="{5527CF29-9539-2582-AEFA-1349C7FCDA7E}"/>
                </a:ext>
              </a:extLst>
            </p:cNvPr>
            <p:cNvGrpSpPr/>
            <p:nvPr/>
          </p:nvGrpSpPr>
          <p:grpSpPr>
            <a:xfrm>
              <a:off x="4277616" y="3151003"/>
              <a:ext cx="208968" cy="251368"/>
              <a:chOff x="7876187" y="3235616"/>
              <a:chExt cx="252025" cy="303161"/>
            </a:xfrm>
          </p:grpSpPr>
          <p:sp>
            <p:nvSpPr>
              <p:cNvPr id="2270" name="Freeform: Shape 2269">
                <a:extLst>
                  <a:ext uri="{FF2B5EF4-FFF2-40B4-BE49-F238E27FC236}">
                    <a16:creationId xmlns:a16="http://schemas.microsoft.com/office/drawing/2014/main" id="{AA91CF3E-D076-882C-EEC3-FB5D3CF60853}"/>
                  </a:ext>
                </a:extLst>
              </p:cNvPr>
              <p:cNvSpPr/>
              <p:nvPr/>
            </p:nvSpPr>
            <p:spPr>
              <a:xfrm rot="10800000">
                <a:off x="7999867" y="3326105"/>
                <a:ext cx="32594" cy="136611"/>
              </a:xfrm>
              <a:custGeom>
                <a:avLst/>
                <a:gdLst>
                  <a:gd name="connsiteX0" fmla="*/ 0 w 32594"/>
                  <a:gd name="connsiteY0" fmla="*/ 0 h 136611"/>
                  <a:gd name="connsiteX1" fmla="*/ 32594 w 32594"/>
                  <a:gd name="connsiteY1" fmla="*/ 0 h 136611"/>
                  <a:gd name="connsiteX2" fmla="*/ 32594 w 32594"/>
                  <a:gd name="connsiteY2" fmla="*/ 136611 h 136611"/>
                  <a:gd name="connsiteX3" fmla="*/ 0 w 32594"/>
                  <a:gd name="connsiteY3" fmla="*/ 136611 h 136611"/>
                </a:gdLst>
                <a:ahLst/>
                <a:cxnLst>
                  <a:cxn ang="0">
                    <a:pos x="connsiteX0" y="connsiteY0"/>
                  </a:cxn>
                  <a:cxn ang="0">
                    <a:pos x="connsiteX1" y="connsiteY1"/>
                  </a:cxn>
                  <a:cxn ang="0">
                    <a:pos x="connsiteX2" y="connsiteY2"/>
                  </a:cxn>
                  <a:cxn ang="0">
                    <a:pos x="connsiteX3" y="connsiteY3"/>
                  </a:cxn>
                </a:cxnLst>
                <a:rect l="l" t="t" r="r" b="b"/>
                <a:pathLst>
                  <a:path w="32594" h="136611">
                    <a:moveTo>
                      <a:pt x="0" y="0"/>
                    </a:moveTo>
                    <a:lnTo>
                      <a:pt x="32594" y="0"/>
                    </a:lnTo>
                    <a:lnTo>
                      <a:pt x="32594" y="136611"/>
                    </a:lnTo>
                    <a:lnTo>
                      <a:pt x="0" y="136611"/>
                    </a:ln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1" name="Freeform: Shape 2270">
                <a:extLst>
                  <a:ext uri="{FF2B5EF4-FFF2-40B4-BE49-F238E27FC236}">
                    <a16:creationId xmlns:a16="http://schemas.microsoft.com/office/drawing/2014/main" id="{0F2C0FEF-7EA1-915C-15E0-8B1852F0C18C}"/>
                  </a:ext>
                </a:extLst>
              </p:cNvPr>
              <p:cNvSpPr/>
              <p:nvPr/>
            </p:nvSpPr>
            <p:spPr>
              <a:xfrm>
                <a:off x="7967772" y="3235616"/>
                <a:ext cx="96747" cy="94939"/>
              </a:xfrm>
              <a:custGeom>
                <a:avLst/>
                <a:gdLst>
                  <a:gd name="connsiteX0" fmla="*/ 96748 w 96747"/>
                  <a:gd name="connsiteY0" fmla="*/ 12 h 94939"/>
                  <a:gd name="connsiteX1" fmla="*/ 85900 w 96747"/>
                  <a:gd name="connsiteY1" fmla="*/ 68493 h 94939"/>
                  <a:gd name="connsiteX2" fmla="*/ 56697 w 96747"/>
                  <a:gd name="connsiteY2" fmla="*/ 94940 h 94939"/>
                  <a:gd name="connsiteX3" fmla="*/ 37096 w 96747"/>
                  <a:gd name="connsiteY3" fmla="*/ 94940 h 94939"/>
                  <a:gd name="connsiteX4" fmla="*/ 7831 w 96747"/>
                  <a:gd name="connsiteY4" fmla="*/ 67707 h 94939"/>
                  <a:gd name="connsiteX5" fmla="*/ 0 w 96747"/>
                  <a:gd name="connsiteY5" fmla="*/ 0 h 94939"/>
                  <a:gd name="connsiteX6" fmla="*/ 96748 w 96747"/>
                  <a:gd name="connsiteY6" fmla="*/ 0 h 9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47" h="94939">
                    <a:moveTo>
                      <a:pt x="96748" y="12"/>
                    </a:moveTo>
                    <a:lnTo>
                      <a:pt x="85900" y="68493"/>
                    </a:lnTo>
                    <a:cubicBezTo>
                      <a:pt x="84416" y="83505"/>
                      <a:pt x="71785" y="94940"/>
                      <a:pt x="56697" y="94940"/>
                    </a:cubicBezTo>
                    <a:lnTo>
                      <a:pt x="37096" y="94940"/>
                    </a:lnTo>
                    <a:cubicBezTo>
                      <a:pt x="21709" y="94940"/>
                      <a:pt x="8941" y="83057"/>
                      <a:pt x="7831" y="67707"/>
                    </a:cubicBezTo>
                    <a:lnTo>
                      <a:pt x="0" y="0"/>
                    </a:lnTo>
                    <a:lnTo>
                      <a:pt x="96748" y="0"/>
                    </a:ln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2" name="Freeform: Shape 2271">
                <a:extLst>
                  <a:ext uri="{FF2B5EF4-FFF2-40B4-BE49-F238E27FC236}">
                    <a16:creationId xmlns:a16="http://schemas.microsoft.com/office/drawing/2014/main" id="{1CF4C330-8203-AA72-E8F9-E86A61CCAAAB}"/>
                  </a:ext>
                </a:extLst>
              </p:cNvPr>
              <p:cNvSpPr/>
              <p:nvPr/>
            </p:nvSpPr>
            <p:spPr>
              <a:xfrm>
                <a:off x="7885775" y="3448377"/>
                <a:ext cx="242436" cy="52519"/>
              </a:xfrm>
              <a:custGeom>
                <a:avLst/>
                <a:gdLst>
                  <a:gd name="connsiteX0" fmla="*/ 200939 w 242436"/>
                  <a:gd name="connsiteY0" fmla="*/ 0 h 52519"/>
                  <a:gd name="connsiteX1" fmla="*/ 58916 w 242436"/>
                  <a:gd name="connsiteY1" fmla="*/ 0 h 52519"/>
                  <a:gd name="connsiteX2" fmla="*/ 12182 w 242436"/>
                  <a:gd name="connsiteY2" fmla="*/ 28629 h 52519"/>
                  <a:gd name="connsiteX3" fmla="*/ 0 w 242436"/>
                  <a:gd name="connsiteY3" fmla="*/ 52520 h 52519"/>
                  <a:gd name="connsiteX4" fmla="*/ 25985 w 242436"/>
                  <a:gd name="connsiteY4" fmla="*/ 52520 h 52519"/>
                  <a:gd name="connsiteX5" fmla="*/ 29577 w 242436"/>
                  <a:gd name="connsiteY5" fmla="*/ 45899 h 52519"/>
                  <a:gd name="connsiteX6" fmla="*/ 63480 w 242436"/>
                  <a:gd name="connsiteY6" fmla="*/ 25711 h 52519"/>
                  <a:gd name="connsiteX7" fmla="*/ 196400 w 242436"/>
                  <a:gd name="connsiteY7" fmla="*/ 25711 h 52519"/>
                  <a:gd name="connsiteX8" fmla="*/ 228995 w 242436"/>
                  <a:gd name="connsiteY8" fmla="*/ 43654 h 52519"/>
                  <a:gd name="connsiteX9" fmla="*/ 242436 w 242436"/>
                  <a:gd name="connsiteY9" fmla="*/ 20387 h 52519"/>
                  <a:gd name="connsiteX10" fmla="*/ 200952 w 242436"/>
                  <a:gd name="connsiteY10" fmla="*/ 0 h 5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436" h="52519">
                    <a:moveTo>
                      <a:pt x="200939" y="0"/>
                    </a:moveTo>
                    <a:lnTo>
                      <a:pt x="58916" y="0"/>
                    </a:lnTo>
                    <a:cubicBezTo>
                      <a:pt x="39190" y="0"/>
                      <a:pt x="21135" y="11060"/>
                      <a:pt x="12182" y="28629"/>
                    </a:cubicBezTo>
                    <a:lnTo>
                      <a:pt x="0" y="52520"/>
                    </a:lnTo>
                    <a:lnTo>
                      <a:pt x="25985" y="52520"/>
                    </a:lnTo>
                    <a:lnTo>
                      <a:pt x="29577" y="45899"/>
                    </a:lnTo>
                    <a:cubicBezTo>
                      <a:pt x="36322" y="33455"/>
                      <a:pt x="49340" y="25711"/>
                      <a:pt x="63480" y="25711"/>
                    </a:cubicBezTo>
                    <a:lnTo>
                      <a:pt x="196400" y="25711"/>
                    </a:lnTo>
                    <a:cubicBezTo>
                      <a:pt x="209680" y="25711"/>
                      <a:pt x="221950" y="32532"/>
                      <a:pt x="228995" y="43654"/>
                    </a:cubicBezTo>
                    <a:lnTo>
                      <a:pt x="242436" y="20387"/>
                    </a:lnTo>
                    <a:cubicBezTo>
                      <a:pt x="232611" y="7681"/>
                      <a:pt x="217373" y="0"/>
                      <a:pt x="200952" y="0"/>
                    </a:cubicBez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3" name="Freeform: Shape 2272">
                <a:extLst>
                  <a:ext uri="{FF2B5EF4-FFF2-40B4-BE49-F238E27FC236}">
                    <a16:creationId xmlns:a16="http://schemas.microsoft.com/office/drawing/2014/main" id="{0FBECFBB-B68D-A46D-6DFC-50D85D30A91F}"/>
                  </a:ext>
                </a:extLst>
              </p:cNvPr>
              <p:cNvSpPr/>
              <p:nvPr/>
            </p:nvSpPr>
            <p:spPr>
              <a:xfrm>
                <a:off x="7876187" y="3495285"/>
                <a:ext cx="43492" cy="43492"/>
              </a:xfrm>
              <a:custGeom>
                <a:avLst/>
                <a:gdLst>
                  <a:gd name="connsiteX0" fmla="*/ 43492 w 43492"/>
                  <a:gd name="connsiteY0" fmla="*/ 21746 h 43492"/>
                  <a:gd name="connsiteX1" fmla="*/ 21746 w 43492"/>
                  <a:gd name="connsiteY1" fmla="*/ 43492 h 43492"/>
                  <a:gd name="connsiteX2" fmla="*/ 0 w 43492"/>
                  <a:gd name="connsiteY2" fmla="*/ 21746 h 43492"/>
                  <a:gd name="connsiteX3" fmla="*/ 21746 w 43492"/>
                  <a:gd name="connsiteY3" fmla="*/ 0 h 43492"/>
                  <a:gd name="connsiteX4" fmla="*/ 43492 w 43492"/>
                  <a:gd name="connsiteY4" fmla="*/ 21746 h 43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92" h="43492">
                    <a:moveTo>
                      <a:pt x="43492" y="21746"/>
                    </a:moveTo>
                    <a:cubicBezTo>
                      <a:pt x="43492" y="33756"/>
                      <a:pt x="33756" y="43492"/>
                      <a:pt x="21746" y="43492"/>
                    </a:cubicBezTo>
                    <a:cubicBezTo>
                      <a:pt x="9736" y="43492"/>
                      <a:pt x="0" y="33756"/>
                      <a:pt x="0" y="21746"/>
                    </a:cubicBezTo>
                    <a:cubicBezTo>
                      <a:pt x="0" y="9736"/>
                      <a:pt x="9736" y="0"/>
                      <a:pt x="21746" y="0"/>
                    </a:cubicBezTo>
                    <a:cubicBezTo>
                      <a:pt x="33756" y="0"/>
                      <a:pt x="43492" y="9736"/>
                      <a:pt x="43492" y="21746"/>
                    </a:cubicBez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4" name="Freeform: Shape 2273">
                <a:extLst>
                  <a:ext uri="{FF2B5EF4-FFF2-40B4-BE49-F238E27FC236}">
                    <a16:creationId xmlns:a16="http://schemas.microsoft.com/office/drawing/2014/main" id="{B00EAC84-AEDC-0C51-C6A2-9CE9499AA170}"/>
                  </a:ext>
                </a:extLst>
              </p:cNvPr>
              <p:cNvSpPr/>
              <p:nvPr/>
            </p:nvSpPr>
            <p:spPr>
              <a:xfrm>
                <a:off x="8003907" y="3458514"/>
                <a:ext cx="25748" cy="54701"/>
              </a:xfrm>
              <a:custGeom>
                <a:avLst/>
                <a:gdLst>
                  <a:gd name="connsiteX0" fmla="*/ 0 w 25748"/>
                  <a:gd name="connsiteY0" fmla="*/ 0 h 54701"/>
                  <a:gd name="connsiteX1" fmla="*/ 25749 w 25748"/>
                  <a:gd name="connsiteY1" fmla="*/ 0 h 54701"/>
                  <a:gd name="connsiteX2" fmla="*/ 25749 w 25748"/>
                  <a:gd name="connsiteY2" fmla="*/ 54702 h 54701"/>
                  <a:gd name="connsiteX3" fmla="*/ 0 w 25748"/>
                  <a:gd name="connsiteY3" fmla="*/ 54702 h 54701"/>
                </a:gdLst>
                <a:ahLst/>
                <a:cxnLst>
                  <a:cxn ang="0">
                    <a:pos x="connsiteX0" y="connsiteY0"/>
                  </a:cxn>
                  <a:cxn ang="0">
                    <a:pos x="connsiteX1" y="connsiteY1"/>
                  </a:cxn>
                  <a:cxn ang="0">
                    <a:pos x="connsiteX2" y="connsiteY2"/>
                  </a:cxn>
                  <a:cxn ang="0">
                    <a:pos x="connsiteX3" y="connsiteY3"/>
                  </a:cxn>
                </a:cxnLst>
                <a:rect l="l" t="t" r="r" b="b"/>
                <a:pathLst>
                  <a:path w="25748" h="54701">
                    <a:moveTo>
                      <a:pt x="0" y="0"/>
                    </a:moveTo>
                    <a:lnTo>
                      <a:pt x="25749" y="0"/>
                    </a:lnTo>
                    <a:lnTo>
                      <a:pt x="25749" y="54702"/>
                    </a:lnTo>
                    <a:lnTo>
                      <a:pt x="0" y="54702"/>
                    </a:ln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5" name="Freeform: Shape 2274">
                <a:extLst>
                  <a:ext uri="{FF2B5EF4-FFF2-40B4-BE49-F238E27FC236}">
                    <a16:creationId xmlns:a16="http://schemas.microsoft.com/office/drawing/2014/main" id="{3DDD2900-A015-4FAA-6F6A-D7DDB2E189DD}"/>
                  </a:ext>
                </a:extLst>
              </p:cNvPr>
              <p:cNvSpPr/>
              <p:nvPr/>
            </p:nvSpPr>
            <p:spPr>
              <a:xfrm>
                <a:off x="7995029" y="3495285"/>
                <a:ext cx="43492" cy="43492"/>
              </a:xfrm>
              <a:custGeom>
                <a:avLst/>
                <a:gdLst>
                  <a:gd name="connsiteX0" fmla="*/ 43492 w 43492"/>
                  <a:gd name="connsiteY0" fmla="*/ 21746 h 43492"/>
                  <a:gd name="connsiteX1" fmla="*/ 21746 w 43492"/>
                  <a:gd name="connsiteY1" fmla="*/ 43492 h 43492"/>
                  <a:gd name="connsiteX2" fmla="*/ 0 w 43492"/>
                  <a:gd name="connsiteY2" fmla="*/ 21746 h 43492"/>
                  <a:gd name="connsiteX3" fmla="*/ 21746 w 43492"/>
                  <a:gd name="connsiteY3" fmla="*/ 0 h 43492"/>
                  <a:gd name="connsiteX4" fmla="*/ 43492 w 43492"/>
                  <a:gd name="connsiteY4" fmla="*/ 21746 h 43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92" h="43492">
                    <a:moveTo>
                      <a:pt x="43492" y="21746"/>
                    </a:moveTo>
                    <a:cubicBezTo>
                      <a:pt x="43492" y="33756"/>
                      <a:pt x="33756" y="43492"/>
                      <a:pt x="21746" y="43492"/>
                    </a:cubicBezTo>
                    <a:cubicBezTo>
                      <a:pt x="9736" y="43492"/>
                      <a:pt x="0" y="33756"/>
                      <a:pt x="0" y="21746"/>
                    </a:cubicBezTo>
                    <a:cubicBezTo>
                      <a:pt x="0" y="9736"/>
                      <a:pt x="9736" y="0"/>
                      <a:pt x="21746" y="0"/>
                    </a:cubicBezTo>
                    <a:cubicBezTo>
                      <a:pt x="33756" y="0"/>
                      <a:pt x="43492" y="9736"/>
                      <a:pt x="43492" y="21746"/>
                    </a:cubicBezTo>
                    <a:close/>
                  </a:path>
                </a:pathLst>
              </a:custGeom>
              <a:solidFill>
                <a:srgbClr val="2731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276" name="Graphic 525">
              <a:extLst>
                <a:ext uri="{FF2B5EF4-FFF2-40B4-BE49-F238E27FC236}">
                  <a16:creationId xmlns:a16="http://schemas.microsoft.com/office/drawing/2014/main" id="{34E645C0-68B0-03EC-55C7-3F321FD721DD}"/>
                </a:ext>
              </a:extLst>
            </p:cNvPr>
            <p:cNvGrpSpPr/>
            <p:nvPr/>
          </p:nvGrpSpPr>
          <p:grpSpPr>
            <a:xfrm>
              <a:off x="4220674" y="2799165"/>
              <a:ext cx="360637" cy="386920"/>
              <a:chOff x="7807512" y="2811285"/>
              <a:chExt cx="434944" cy="466642"/>
            </a:xfrm>
          </p:grpSpPr>
          <p:sp>
            <p:nvSpPr>
              <p:cNvPr id="2277" name="Freeform: Shape 2276">
                <a:extLst>
                  <a:ext uri="{FF2B5EF4-FFF2-40B4-BE49-F238E27FC236}">
                    <a16:creationId xmlns:a16="http://schemas.microsoft.com/office/drawing/2014/main" id="{16FFFC95-5EB7-5643-1CD8-99220E9ADC70}"/>
                  </a:ext>
                </a:extLst>
              </p:cNvPr>
              <p:cNvSpPr/>
              <p:nvPr/>
            </p:nvSpPr>
            <p:spPr>
              <a:xfrm>
                <a:off x="7808157" y="3216813"/>
                <a:ext cx="425430" cy="61113"/>
              </a:xfrm>
              <a:custGeom>
                <a:avLst/>
                <a:gdLst>
                  <a:gd name="connsiteX0" fmla="*/ 425431 w 425430"/>
                  <a:gd name="connsiteY0" fmla="*/ 14501 h 61113"/>
                  <a:gd name="connsiteX1" fmla="*/ 366589 w 425430"/>
                  <a:gd name="connsiteY1" fmla="*/ 58031 h 61113"/>
                  <a:gd name="connsiteX2" fmla="*/ 45797 w 425430"/>
                  <a:gd name="connsiteY2" fmla="*/ 49166 h 61113"/>
                  <a:gd name="connsiteX3" fmla="*/ 659 w 425430"/>
                  <a:gd name="connsiteY3" fmla="*/ 0 h 61113"/>
                  <a:gd name="connsiteX4" fmla="*/ 425431 w 425430"/>
                  <a:gd name="connsiteY4" fmla="*/ 14514 h 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30" h="61113">
                    <a:moveTo>
                      <a:pt x="425431" y="14501"/>
                    </a:moveTo>
                    <a:cubicBezTo>
                      <a:pt x="425431" y="14501"/>
                      <a:pt x="420593" y="52383"/>
                      <a:pt x="366589" y="58031"/>
                    </a:cubicBezTo>
                    <a:cubicBezTo>
                      <a:pt x="312586" y="63667"/>
                      <a:pt x="100611" y="62059"/>
                      <a:pt x="45797" y="49166"/>
                    </a:cubicBezTo>
                    <a:cubicBezTo>
                      <a:pt x="-9017" y="36272"/>
                      <a:pt x="659" y="0"/>
                      <a:pt x="659" y="0"/>
                    </a:cubicBezTo>
                    <a:lnTo>
                      <a:pt x="425431" y="14514"/>
                    </a:ln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78" name="Graphic 525">
                <a:extLst>
                  <a:ext uri="{FF2B5EF4-FFF2-40B4-BE49-F238E27FC236}">
                    <a16:creationId xmlns:a16="http://schemas.microsoft.com/office/drawing/2014/main" id="{13BEBDBB-42A0-0D44-EBA7-20841E4C37F7}"/>
                  </a:ext>
                </a:extLst>
              </p:cNvPr>
              <p:cNvGrpSpPr/>
              <p:nvPr/>
            </p:nvGrpSpPr>
            <p:grpSpPr>
              <a:xfrm>
                <a:off x="7807512" y="2811285"/>
                <a:ext cx="434944" cy="448195"/>
                <a:chOff x="7807512" y="2811285"/>
                <a:chExt cx="434944" cy="448195"/>
              </a:xfrm>
            </p:grpSpPr>
            <p:sp>
              <p:nvSpPr>
                <p:cNvPr id="2279" name="Freeform: Shape 2278">
                  <a:extLst>
                    <a:ext uri="{FF2B5EF4-FFF2-40B4-BE49-F238E27FC236}">
                      <a16:creationId xmlns:a16="http://schemas.microsoft.com/office/drawing/2014/main" id="{70340190-9F83-0DDE-55B6-BB156F3EBD5D}"/>
                    </a:ext>
                  </a:extLst>
                </p:cNvPr>
                <p:cNvSpPr/>
                <p:nvPr/>
              </p:nvSpPr>
              <p:spPr>
                <a:xfrm>
                  <a:off x="7808179" y="2811285"/>
                  <a:ext cx="187623" cy="401500"/>
                </a:xfrm>
                <a:custGeom>
                  <a:avLst/>
                  <a:gdLst>
                    <a:gd name="connsiteX0" fmla="*/ 187623 w 187623"/>
                    <a:gd name="connsiteY0" fmla="*/ 108 h 401500"/>
                    <a:gd name="connsiteX1" fmla="*/ 139268 w 187623"/>
                    <a:gd name="connsiteY1" fmla="*/ 37179 h 401500"/>
                    <a:gd name="connsiteX2" fmla="*/ 139268 w 187623"/>
                    <a:gd name="connsiteY2" fmla="*/ 266086 h 401500"/>
                    <a:gd name="connsiteX3" fmla="*/ 70763 w 187623"/>
                    <a:gd name="connsiteY3" fmla="*/ 308806 h 401500"/>
                    <a:gd name="connsiteX4" fmla="*/ 1447 w 187623"/>
                    <a:gd name="connsiteY4" fmla="*/ 401501 h 401500"/>
                    <a:gd name="connsiteX5" fmla="*/ 150553 w 187623"/>
                    <a:gd name="connsiteY5" fmla="*/ 343470 h 401500"/>
                    <a:gd name="connsiteX6" fmla="*/ 152161 w 187623"/>
                    <a:gd name="connsiteY6" fmla="*/ 35570 h 401500"/>
                    <a:gd name="connsiteX7" fmla="*/ 187623 w 187623"/>
                    <a:gd name="connsiteY7" fmla="*/ 108 h 40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23" h="401500">
                      <a:moveTo>
                        <a:pt x="187623" y="108"/>
                      </a:moveTo>
                      <a:cubicBezTo>
                        <a:pt x="187623" y="108"/>
                        <a:pt x="139268" y="-3919"/>
                        <a:pt x="139268" y="37179"/>
                      </a:cubicBezTo>
                      <a:lnTo>
                        <a:pt x="139268" y="266086"/>
                      </a:lnTo>
                      <a:cubicBezTo>
                        <a:pt x="139268" y="266086"/>
                        <a:pt x="146525" y="294292"/>
                        <a:pt x="70763" y="308806"/>
                      </a:cubicBezTo>
                      <a:cubicBezTo>
                        <a:pt x="263" y="322310"/>
                        <a:pt x="-3391" y="351525"/>
                        <a:pt x="1447" y="401501"/>
                      </a:cubicBezTo>
                      <a:lnTo>
                        <a:pt x="150553" y="343470"/>
                      </a:lnTo>
                      <a:lnTo>
                        <a:pt x="152161" y="35570"/>
                      </a:lnTo>
                      <a:cubicBezTo>
                        <a:pt x="152161" y="35570"/>
                        <a:pt x="151351" y="4946"/>
                        <a:pt x="187623" y="108"/>
                      </a:cubicBezTo>
                      <a:close/>
                    </a:path>
                  </a:pathLst>
                </a:custGeom>
                <a:solidFill>
                  <a:srgbClr val="F4D7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80" name="Graphic 525">
                  <a:extLst>
                    <a:ext uri="{FF2B5EF4-FFF2-40B4-BE49-F238E27FC236}">
                      <a16:creationId xmlns:a16="http://schemas.microsoft.com/office/drawing/2014/main" id="{FF397DB1-4B4C-07A0-1C0E-7427742C5F13}"/>
                    </a:ext>
                  </a:extLst>
                </p:cNvPr>
                <p:cNvGrpSpPr/>
                <p:nvPr/>
              </p:nvGrpSpPr>
              <p:grpSpPr>
                <a:xfrm>
                  <a:off x="7807512" y="2811393"/>
                  <a:ext cx="434944" cy="448087"/>
                  <a:chOff x="7807512" y="2811393"/>
                  <a:chExt cx="434944" cy="448087"/>
                </a:xfrm>
                <a:solidFill>
                  <a:srgbClr val="E8E8E8"/>
                </a:solidFill>
              </p:grpSpPr>
              <p:sp>
                <p:nvSpPr>
                  <p:cNvPr id="2281" name="Freeform: Shape 2280">
                    <a:extLst>
                      <a:ext uri="{FF2B5EF4-FFF2-40B4-BE49-F238E27FC236}">
                        <a16:creationId xmlns:a16="http://schemas.microsoft.com/office/drawing/2014/main" id="{A3B91B0D-5615-C2F9-A8BF-63B281715232}"/>
                      </a:ext>
                    </a:extLst>
                  </p:cNvPr>
                  <p:cNvSpPr/>
                  <p:nvPr/>
                </p:nvSpPr>
                <p:spPr>
                  <a:xfrm>
                    <a:off x="7958744" y="2811393"/>
                    <a:ext cx="283709" cy="376404"/>
                  </a:xfrm>
                  <a:custGeom>
                    <a:avLst/>
                    <a:gdLst>
                      <a:gd name="connsiteX0" fmla="*/ 283709 w 283709"/>
                      <a:gd name="connsiteY0" fmla="*/ 35462 h 376404"/>
                      <a:gd name="connsiteX1" fmla="*/ 283709 w 283709"/>
                      <a:gd name="connsiteY1" fmla="*/ 376405 h 376404"/>
                      <a:gd name="connsiteX2" fmla="*/ 0 w 283709"/>
                      <a:gd name="connsiteY2" fmla="*/ 376405 h 376404"/>
                      <a:gd name="connsiteX3" fmla="*/ 0 w 283709"/>
                      <a:gd name="connsiteY3" fmla="*/ 35462 h 376404"/>
                      <a:gd name="connsiteX4" fmla="*/ 35462 w 283709"/>
                      <a:gd name="connsiteY4" fmla="*/ 0 h 376404"/>
                      <a:gd name="connsiteX5" fmla="*/ 248247 w 283709"/>
                      <a:gd name="connsiteY5" fmla="*/ 0 h 376404"/>
                      <a:gd name="connsiteX6" fmla="*/ 283709 w 283709"/>
                      <a:gd name="connsiteY6" fmla="*/ 35462 h 3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709" h="376404">
                        <a:moveTo>
                          <a:pt x="283709" y="35462"/>
                        </a:moveTo>
                        <a:lnTo>
                          <a:pt x="283709" y="376405"/>
                        </a:lnTo>
                        <a:lnTo>
                          <a:pt x="0" y="376405"/>
                        </a:lnTo>
                        <a:lnTo>
                          <a:pt x="0" y="35462"/>
                        </a:lnTo>
                        <a:cubicBezTo>
                          <a:pt x="0" y="15873"/>
                          <a:pt x="15873" y="0"/>
                          <a:pt x="35462" y="0"/>
                        </a:cubicBezTo>
                        <a:lnTo>
                          <a:pt x="248247" y="0"/>
                        </a:lnTo>
                        <a:cubicBezTo>
                          <a:pt x="267836" y="0"/>
                          <a:pt x="283709" y="15873"/>
                          <a:pt x="283709" y="35462"/>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82" name="Freeform: Shape 2281">
                    <a:extLst>
                      <a:ext uri="{FF2B5EF4-FFF2-40B4-BE49-F238E27FC236}">
                        <a16:creationId xmlns:a16="http://schemas.microsoft.com/office/drawing/2014/main" id="{BAD0EA4C-E893-0C80-33D6-588A5EE0B566}"/>
                      </a:ext>
                    </a:extLst>
                  </p:cNvPr>
                  <p:cNvSpPr/>
                  <p:nvPr/>
                </p:nvSpPr>
                <p:spPr>
                  <a:xfrm>
                    <a:off x="7807512" y="3154754"/>
                    <a:ext cx="434944" cy="104725"/>
                  </a:xfrm>
                  <a:custGeom>
                    <a:avLst/>
                    <a:gdLst>
                      <a:gd name="connsiteX0" fmla="*/ 434941 w 434944"/>
                      <a:gd name="connsiteY0" fmla="*/ 33043 h 104725"/>
                      <a:gd name="connsiteX1" fmla="*/ 361598 w 434944"/>
                      <a:gd name="connsiteY1" fmla="*/ 0 h 104725"/>
                      <a:gd name="connsiteX2" fmla="*/ 151220 w 434944"/>
                      <a:gd name="connsiteY2" fmla="*/ 0 h 104725"/>
                      <a:gd name="connsiteX3" fmla="*/ 506 w 434944"/>
                      <a:gd name="connsiteY3" fmla="*/ 58031 h 104725"/>
                      <a:gd name="connsiteX4" fmla="*/ 56118 w 434944"/>
                      <a:gd name="connsiteY4" fmla="*/ 90276 h 104725"/>
                      <a:gd name="connsiteX5" fmla="*/ 269713 w 434944"/>
                      <a:gd name="connsiteY5" fmla="*/ 103980 h 104725"/>
                      <a:gd name="connsiteX6" fmla="*/ 434941 w 434944"/>
                      <a:gd name="connsiteY6" fmla="*/ 33056 h 10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944" h="104725">
                        <a:moveTo>
                          <a:pt x="434941" y="33043"/>
                        </a:moveTo>
                        <a:cubicBezTo>
                          <a:pt x="434941" y="33043"/>
                          <a:pt x="436550" y="0"/>
                          <a:pt x="361598" y="0"/>
                        </a:cubicBezTo>
                        <a:lnTo>
                          <a:pt x="151220" y="0"/>
                        </a:lnTo>
                        <a:lnTo>
                          <a:pt x="506" y="58031"/>
                        </a:lnTo>
                        <a:cubicBezTo>
                          <a:pt x="506" y="58031"/>
                          <a:pt x="-9170" y="78992"/>
                          <a:pt x="56118" y="90276"/>
                        </a:cubicBezTo>
                        <a:cubicBezTo>
                          <a:pt x="121406" y="101561"/>
                          <a:pt x="243067" y="106785"/>
                          <a:pt x="269713" y="103980"/>
                        </a:cubicBezTo>
                        <a:cubicBezTo>
                          <a:pt x="300338" y="100750"/>
                          <a:pt x="434941" y="33056"/>
                          <a:pt x="434941" y="33056"/>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285" name="Graphic 525">
              <a:extLst>
                <a:ext uri="{FF2B5EF4-FFF2-40B4-BE49-F238E27FC236}">
                  <a16:creationId xmlns:a16="http://schemas.microsoft.com/office/drawing/2014/main" id="{ABB6F125-F9A0-720D-CEF5-C1D142CDF989}"/>
                </a:ext>
              </a:extLst>
            </p:cNvPr>
            <p:cNvGrpSpPr/>
            <p:nvPr/>
          </p:nvGrpSpPr>
          <p:grpSpPr>
            <a:xfrm>
              <a:off x="4158826" y="2986601"/>
              <a:ext cx="387753" cy="487749"/>
              <a:chOff x="7732921" y="3037341"/>
              <a:chExt cx="467647" cy="588246"/>
            </a:xfrm>
          </p:grpSpPr>
          <p:grpSp>
            <p:nvGrpSpPr>
              <p:cNvPr id="2286" name="Graphic 525">
                <a:extLst>
                  <a:ext uri="{FF2B5EF4-FFF2-40B4-BE49-F238E27FC236}">
                    <a16:creationId xmlns:a16="http://schemas.microsoft.com/office/drawing/2014/main" id="{081E64BF-A784-1C49-2D08-A8A31C889D7A}"/>
                  </a:ext>
                </a:extLst>
              </p:cNvPr>
              <p:cNvGrpSpPr/>
              <p:nvPr/>
            </p:nvGrpSpPr>
            <p:grpSpPr>
              <a:xfrm>
                <a:off x="7732921" y="3042561"/>
                <a:ext cx="394401" cy="536783"/>
                <a:chOff x="7732921" y="3042561"/>
                <a:chExt cx="394401" cy="536783"/>
              </a:xfrm>
            </p:grpSpPr>
            <p:grpSp>
              <p:nvGrpSpPr>
                <p:cNvPr id="2287" name="Graphic 525">
                  <a:extLst>
                    <a:ext uri="{FF2B5EF4-FFF2-40B4-BE49-F238E27FC236}">
                      <a16:creationId xmlns:a16="http://schemas.microsoft.com/office/drawing/2014/main" id="{5B0C7CB4-032D-FB30-0F13-FF0E8431897F}"/>
                    </a:ext>
                  </a:extLst>
                </p:cNvPr>
                <p:cNvGrpSpPr/>
                <p:nvPr/>
              </p:nvGrpSpPr>
              <p:grpSpPr>
                <a:xfrm>
                  <a:off x="7735845" y="3042561"/>
                  <a:ext cx="391477" cy="148814"/>
                  <a:chOff x="7735845" y="3042561"/>
                  <a:chExt cx="391477" cy="148814"/>
                </a:xfrm>
              </p:grpSpPr>
              <p:sp>
                <p:nvSpPr>
                  <p:cNvPr id="2288" name="Freeform: Shape 2287">
                    <a:extLst>
                      <a:ext uri="{FF2B5EF4-FFF2-40B4-BE49-F238E27FC236}">
                        <a16:creationId xmlns:a16="http://schemas.microsoft.com/office/drawing/2014/main" id="{FF20E8FC-4CFD-6B85-AE5D-D35357355928}"/>
                      </a:ext>
                    </a:extLst>
                  </p:cNvPr>
                  <p:cNvSpPr/>
                  <p:nvPr/>
                </p:nvSpPr>
                <p:spPr>
                  <a:xfrm>
                    <a:off x="7735845" y="3042561"/>
                    <a:ext cx="391477" cy="148814"/>
                  </a:xfrm>
                  <a:custGeom>
                    <a:avLst/>
                    <a:gdLst>
                      <a:gd name="connsiteX0" fmla="*/ 388938 w 391477"/>
                      <a:gd name="connsiteY0" fmla="*/ 37503 h 148814"/>
                      <a:gd name="connsiteX1" fmla="*/ 352266 w 391477"/>
                      <a:gd name="connsiteY1" fmla="*/ 807 h 148814"/>
                      <a:gd name="connsiteX2" fmla="*/ 169170 w 391477"/>
                      <a:gd name="connsiteY2" fmla="*/ 8263 h 148814"/>
                      <a:gd name="connsiteX3" fmla="*/ 463 w 391477"/>
                      <a:gd name="connsiteY3" fmla="*/ 99051 h 148814"/>
                      <a:gd name="connsiteX4" fmla="*/ 101089 w 391477"/>
                      <a:gd name="connsiteY4" fmla="*/ 143640 h 148814"/>
                      <a:gd name="connsiteX5" fmla="*/ 282165 w 391477"/>
                      <a:gd name="connsiteY5" fmla="*/ 146969 h 148814"/>
                      <a:gd name="connsiteX6" fmla="*/ 389773 w 391477"/>
                      <a:gd name="connsiteY6" fmla="*/ 88277 h 148814"/>
                      <a:gd name="connsiteX7" fmla="*/ 388925 w 391477"/>
                      <a:gd name="connsiteY7" fmla="*/ 37515 h 14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1477" h="148814">
                        <a:moveTo>
                          <a:pt x="388938" y="37503"/>
                        </a:moveTo>
                        <a:cubicBezTo>
                          <a:pt x="385197" y="20832"/>
                          <a:pt x="369337" y="1704"/>
                          <a:pt x="352266" y="807"/>
                        </a:cubicBezTo>
                        <a:cubicBezTo>
                          <a:pt x="322814" y="-752"/>
                          <a:pt x="258187" y="-889"/>
                          <a:pt x="169170" y="8263"/>
                        </a:cubicBezTo>
                        <a:cubicBezTo>
                          <a:pt x="50701" y="20445"/>
                          <a:pt x="-5759" y="35521"/>
                          <a:pt x="463" y="99051"/>
                        </a:cubicBezTo>
                        <a:cubicBezTo>
                          <a:pt x="1598" y="111919"/>
                          <a:pt x="19990" y="135211"/>
                          <a:pt x="101089" y="143640"/>
                        </a:cubicBezTo>
                        <a:cubicBezTo>
                          <a:pt x="182188" y="152069"/>
                          <a:pt x="223348" y="147879"/>
                          <a:pt x="282165" y="146969"/>
                        </a:cubicBezTo>
                        <a:cubicBezTo>
                          <a:pt x="340982" y="146059"/>
                          <a:pt x="384075" y="132355"/>
                          <a:pt x="389773" y="88277"/>
                        </a:cubicBezTo>
                        <a:cubicBezTo>
                          <a:pt x="392379" y="68090"/>
                          <a:pt x="391918" y="50820"/>
                          <a:pt x="388925" y="37515"/>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89" name="Freeform: Shape 2288">
                    <a:extLst>
                      <a:ext uri="{FF2B5EF4-FFF2-40B4-BE49-F238E27FC236}">
                        <a16:creationId xmlns:a16="http://schemas.microsoft.com/office/drawing/2014/main" id="{3A9D71F6-C99F-5730-3832-97EA594BF4F1}"/>
                      </a:ext>
                    </a:extLst>
                  </p:cNvPr>
                  <p:cNvSpPr/>
                  <p:nvPr/>
                </p:nvSpPr>
                <p:spPr>
                  <a:xfrm>
                    <a:off x="7836398" y="3125751"/>
                    <a:ext cx="51809" cy="64502"/>
                  </a:xfrm>
                  <a:custGeom>
                    <a:avLst/>
                    <a:gdLst>
                      <a:gd name="connsiteX0" fmla="*/ 51809 w 51809"/>
                      <a:gd name="connsiteY0" fmla="*/ 64503 h 64502"/>
                      <a:gd name="connsiteX1" fmla="*/ 0 w 51809"/>
                      <a:gd name="connsiteY1" fmla="*/ 0 h 64502"/>
                      <a:gd name="connsiteX2" fmla="*/ 9190 w 51809"/>
                      <a:gd name="connsiteY2" fmla="*/ 61310 h 64502"/>
                      <a:gd name="connsiteX3" fmla="*/ 51797 w 51809"/>
                      <a:gd name="connsiteY3" fmla="*/ 64503 h 64502"/>
                    </a:gdLst>
                    <a:ahLst/>
                    <a:cxnLst>
                      <a:cxn ang="0">
                        <a:pos x="connsiteX0" y="connsiteY0"/>
                      </a:cxn>
                      <a:cxn ang="0">
                        <a:pos x="connsiteX1" y="connsiteY1"/>
                      </a:cxn>
                      <a:cxn ang="0">
                        <a:pos x="connsiteX2" y="connsiteY2"/>
                      </a:cxn>
                      <a:cxn ang="0">
                        <a:pos x="connsiteX3" y="connsiteY3"/>
                      </a:cxn>
                    </a:cxnLst>
                    <a:rect l="l" t="t" r="r" b="b"/>
                    <a:pathLst>
                      <a:path w="51809" h="64502">
                        <a:moveTo>
                          <a:pt x="51809" y="64503"/>
                        </a:moveTo>
                        <a:cubicBezTo>
                          <a:pt x="34851" y="18317"/>
                          <a:pt x="0" y="0"/>
                          <a:pt x="0" y="0"/>
                        </a:cubicBezTo>
                        <a:lnTo>
                          <a:pt x="9190" y="61310"/>
                        </a:lnTo>
                        <a:cubicBezTo>
                          <a:pt x="24739" y="62807"/>
                          <a:pt x="38791" y="63829"/>
                          <a:pt x="51797" y="64503"/>
                        </a:cubicBezTo>
                        <a:close/>
                      </a:path>
                    </a:pathLst>
                  </a:custGeom>
                  <a:solidFill>
                    <a:srgbClr val="773A3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290" name="Freeform: Shape 2289">
                  <a:extLst>
                    <a:ext uri="{FF2B5EF4-FFF2-40B4-BE49-F238E27FC236}">
                      <a16:creationId xmlns:a16="http://schemas.microsoft.com/office/drawing/2014/main" id="{FDB31A88-1175-3936-9D2D-500DF2285D41}"/>
                    </a:ext>
                  </a:extLst>
                </p:cNvPr>
                <p:cNvSpPr/>
                <p:nvPr/>
              </p:nvSpPr>
              <p:spPr>
                <a:xfrm>
                  <a:off x="7732921" y="3078965"/>
                  <a:ext cx="196011" cy="420187"/>
                </a:xfrm>
                <a:custGeom>
                  <a:avLst/>
                  <a:gdLst>
                    <a:gd name="connsiteX0" fmla="*/ 114612 w 196011"/>
                    <a:gd name="connsiteY0" fmla="*/ 47746 h 420187"/>
                    <a:gd name="connsiteX1" fmla="*/ 151695 w 196011"/>
                    <a:gd name="connsiteY1" fmla="*/ 164981 h 420187"/>
                    <a:gd name="connsiteX2" fmla="*/ 194127 w 196011"/>
                    <a:gd name="connsiteY2" fmla="*/ 376531 h 420187"/>
                    <a:gd name="connsiteX3" fmla="*/ 181945 w 196011"/>
                    <a:gd name="connsiteY3" fmla="*/ 419836 h 420187"/>
                    <a:gd name="connsiteX4" fmla="*/ 138191 w 196011"/>
                    <a:gd name="connsiteY4" fmla="*/ 360371 h 420187"/>
                    <a:gd name="connsiteX5" fmla="*/ 3487 w 196011"/>
                    <a:gd name="connsiteY5" fmla="*/ 78021 h 420187"/>
                    <a:gd name="connsiteX6" fmla="*/ 114612 w 196011"/>
                    <a:gd name="connsiteY6" fmla="*/ 47746 h 4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011" h="420187">
                      <a:moveTo>
                        <a:pt x="114612" y="47746"/>
                      </a:moveTo>
                      <a:cubicBezTo>
                        <a:pt x="114612" y="47746"/>
                        <a:pt x="127018" y="83508"/>
                        <a:pt x="151695" y="164981"/>
                      </a:cubicBezTo>
                      <a:cubicBezTo>
                        <a:pt x="176371" y="246454"/>
                        <a:pt x="188129" y="343738"/>
                        <a:pt x="194127" y="376531"/>
                      </a:cubicBezTo>
                      <a:cubicBezTo>
                        <a:pt x="200125" y="409325"/>
                        <a:pt x="190648" y="416632"/>
                        <a:pt x="181945" y="419836"/>
                      </a:cubicBezTo>
                      <a:cubicBezTo>
                        <a:pt x="173241" y="423041"/>
                        <a:pt x="161246" y="404400"/>
                        <a:pt x="138191" y="360371"/>
                      </a:cubicBezTo>
                      <a:cubicBezTo>
                        <a:pt x="115135" y="316355"/>
                        <a:pt x="36942" y="187463"/>
                        <a:pt x="3487" y="78021"/>
                      </a:cubicBezTo>
                      <a:cubicBezTo>
                        <a:pt x="-19219" y="16374"/>
                        <a:pt x="74885" y="-45685"/>
                        <a:pt x="114612" y="47746"/>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91" name="Graphic 525">
                  <a:extLst>
                    <a:ext uri="{FF2B5EF4-FFF2-40B4-BE49-F238E27FC236}">
                      <a16:creationId xmlns:a16="http://schemas.microsoft.com/office/drawing/2014/main" id="{98CC3585-DBE4-C399-F87C-D6EFB2855C91}"/>
                    </a:ext>
                  </a:extLst>
                </p:cNvPr>
                <p:cNvGrpSpPr/>
                <p:nvPr/>
              </p:nvGrpSpPr>
              <p:grpSpPr>
                <a:xfrm>
                  <a:off x="7805084" y="3443108"/>
                  <a:ext cx="159396" cy="136236"/>
                  <a:chOff x="7805084" y="3443108"/>
                  <a:chExt cx="159396" cy="136236"/>
                </a:xfrm>
              </p:grpSpPr>
              <p:sp>
                <p:nvSpPr>
                  <p:cNvPr id="2292" name="Freeform: Shape 2291">
                    <a:extLst>
                      <a:ext uri="{FF2B5EF4-FFF2-40B4-BE49-F238E27FC236}">
                        <a16:creationId xmlns:a16="http://schemas.microsoft.com/office/drawing/2014/main" id="{A5E3CFAE-4C4C-61D9-5F30-D2D3DF8976C9}"/>
                      </a:ext>
                    </a:extLst>
                  </p:cNvPr>
                  <p:cNvSpPr/>
                  <p:nvPr/>
                </p:nvSpPr>
                <p:spPr>
                  <a:xfrm>
                    <a:off x="7805804" y="3443108"/>
                    <a:ext cx="151749" cy="129831"/>
                  </a:xfrm>
                  <a:custGeom>
                    <a:avLst/>
                    <a:gdLst>
                      <a:gd name="connsiteX0" fmla="*/ 96954 w 151749"/>
                      <a:gd name="connsiteY0" fmla="*/ 842 h 129831"/>
                      <a:gd name="connsiteX1" fmla="*/ 120047 w 151749"/>
                      <a:gd name="connsiteY1" fmla="*/ 12625 h 129831"/>
                      <a:gd name="connsiteX2" fmla="*/ 143476 w 151749"/>
                      <a:gd name="connsiteY2" fmla="*/ 44584 h 129831"/>
                      <a:gd name="connsiteX3" fmla="*/ 139012 w 151749"/>
                      <a:gd name="connsiteY3" fmla="*/ 84784 h 129831"/>
                      <a:gd name="connsiteX4" fmla="*/ 66280 w 151749"/>
                      <a:gd name="connsiteY4" fmla="*/ 117154 h 129831"/>
                      <a:gd name="connsiteX5" fmla="*/ 892 w 151749"/>
                      <a:gd name="connsiteY5" fmla="*/ 119922 h 129831"/>
                      <a:gd name="connsiteX6" fmla="*/ 40220 w 151749"/>
                      <a:gd name="connsiteY6" fmla="*/ 78038 h 129831"/>
                      <a:gd name="connsiteX7" fmla="*/ 76443 w 151749"/>
                      <a:gd name="connsiteY7" fmla="*/ 42888 h 129831"/>
                      <a:gd name="connsiteX8" fmla="*/ 96954 w 151749"/>
                      <a:gd name="connsiteY8" fmla="*/ 842 h 12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749" h="129831">
                        <a:moveTo>
                          <a:pt x="96954" y="842"/>
                        </a:moveTo>
                        <a:cubicBezTo>
                          <a:pt x="96954" y="842"/>
                          <a:pt x="110633" y="-4694"/>
                          <a:pt x="120047" y="12625"/>
                        </a:cubicBezTo>
                        <a:cubicBezTo>
                          <a:pt x="129474" y="29957"/>
                          <a:pt x="135222" y="35955"/>
                          <a:pt x="143476" y="44584"/>
                        </a:cubicBezTo>
                        <a:cubicBezTo>
                          <a:pt x="151718" y="53212"/>
                          <a:pt x="158726" y="74996"/>
                          <a:pt x="139012" y="84784"/>
                        </a:cubicBezTo>
                        <a:cubicBezTo>
                          <a:pt x="119299" y="94572"/>
                          <a:pt x="85096" y="107677"/>
                          <a:pt x="66280" y="117154"/>
                        </a:cubicBezTo>
                        <a:cubicBezTo>
                          <a:pt x="47464" y="126618"/>
                          <a:pt x="9085" y="138775"/>
                          <a:pt x="892" y="119922"/>
                        </a:cubicBezTo>
                        <a:cubicBezTo>
                          <a:pt x="-5754" y="104610"/>
                          <a:pt x="26454" y="90220"/>
                          <a:pt x="40220" y="78038"/>
                        </a:cubicBezTo>
                        <a:cubicBezTo>
                          <a:pt x="53013" y="66729"/>
                          <a:pt x="71018" y="53474"/>
                          <a:pt x="76443" y="42888"/>
                        </a:cubicBezTo>
                        <a:cubicBezTo>
                          <a:pt x="83824" y="28498"/>
                          <a:pt x="80719" y="6304"/>
                          <a:pt x="96954" y="842"/>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93" name="Graphic 525">
                    <a:extLst>
                      <a:ext uri="{FF2B5EF4-FFF2-40B4-BE49-F238E27FC236}">
                        <a16:creationId xmlns:a16="http://schemas.microsoft.com/office/drawing/2014/main" id="{1C2C0D66-F760-7702-E222-148FA5B93287}"/>
                      </a:ext>
                    </a:extLst>
                  </p:cNvPr>
                  <p:cNvGrpSpPr/>
                  <p:nvPr/>
                </p:nvGrpSpPr>
                <p:grpSpPr>
                  <a:xfrm>
                    <a:off x="7805084" y="3479720"/>
                    <a:ext cx="159396" cy="99624"/>
                    <a:chOff x="7805084" y="3479720"/>
                    <a:chExt cx="159396" cy="99624"/>
                  </a:xfrm>
                </p:grpSpPr>
                <p:sp>
                  <p:nvSpPr>
                    <p:cNvPr id="2294" name="Freeform: Shape 2293">
                      <a:extLst>
                        <a:ext uri="{FF2B5EF4-FFF2-40B4-BE49-F238E27FC236}">
                          <a16:creationId xmlns:a16="http://schemas.microsoft.com/office/drawing/2014/main" id="{E7AA01F6-2C0C-3254-210F-77A172A43FC0}"/>
                        </a:ext>
                      </a:extLst>
                    </p:cNvPr>
                    <p:cNvSpPr/>
                    <p:nvPr/>
                  </p:nvSpPr>
                  <p:spPr>
                    <a:xfrm>
                      <a:off x="7806098" y="3506121"/>
                      <a:ext cx="158382" cy="73223"/>
                    </a:xfrm>
                    <a:custGeom>
                      <a:avLst/>
                      <a:gdLst>
                        <a:gd name="connsiteX0" fmla="*/ 0 w 158382"/>
                        <a:gd name="connsiteY0" fmla="*/ 55799 h 73223"/>
                        <a:gd name="connsiteX1" fmla="*/ 935 w 158382"/>
                        <a:gd name="connsiteY1" fmla="*/ 63480 h 73223"/>
                        <a:gd name="connsiteX2" fmla="*/ 11821 w 158382"/>
                        <a:gd name="connsiteY2" fmla="*/ 72732 h 73223"/>
                        <a:gd name="connsiteX3" fmla="*/ 65076 w 158382"/>
                        <a:gd name="connsiteY3" fmla="*/ 61061 h 73223"/>
                        <a:gd name="connsiteX4" fmla="*/ 136699 w 158382"/>
                        <a:gd name="connsiteY4" fmla="*/ 27793 h 73223"/>
                        <a:gd name="connsiteX5" fmla="*/ 158308 w 158382"/>
                        <a:gd name="connsiteY5" fmla="*/ 13005 h 73223"/>
                        <a:gd name="connsiteX6" fmla="*/ 153046 w 158382"/>
                        <a:gd name="connsiteY6" fmla="*/ 0 h 73223"/>
                        <a:gd name="connsiteX7" fmla="*/ 123182 w 158382"/>
                        <a:gd name="connsiteY7" fmla="*/ 18629 h 73223"/>
                        <a:gd name="connsiteX8" fmla="*/ 18230 w 158382"/>
                        <a:gd name="connsiteY8" fmla="*/ 65001 h 73223"/>
                        <a:gd name="connsiteX9" fmla="*/ 12 w 158382"/>
                        <a:gd name="connsiteY9" fmla="*/ 55787 h 7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382" h="73223">
                          <a:moveTo>
                            <a:pt x="0" y="55799"/>
                          </a:moveTo>
                          <a:cubicBezTo>
                            <a:pt x="0" y="55799"/>
                            <a:pt x="224" y="60936"/>
                            <a:pt x="935" y="63480"/>
                          </a:cubicBezTo>
                          <a:cubicBezTo>
                            <a:pt x="1584" y="65774"/>
                            <a:pt x="4364" y="71572"/>
                            <a:pt x="11821" y="72732"/>
                          </a:cubicBezTo>
                          <a:cubicBezTo>
                            <a:pt x="19277" y="73892"/>
                            <a:pt x="39278" y="74029"/>
                            <a:pt x="65076" y="61061"/>
                          </a:cubicBezTo>
                          <a:cubicBezTo>
                            <a:pt x="90875" y="48081"/>
                            <a:pt x="120576" y="33791"/>
                            <a:pt x="136699" y="27793"/>
                          </a:cubicBezTo>
                          <a:cubicBezTo>
                            <a:pt x="152821" y="21796"/>
                            <a:pt x="159156" y="18305"/>
                            <a:pt x="158308" y="13005"/>
                          </a:cubicBezTo>
                          <a:cubicBezTo>
                            <a:pt x="157460" y="7706"/>
                            <a:pt x="156001" y="3404"/>
                            <a:pt x="153046" y="0"/>
                          </a:cubicBezTo>
                          <a:cubicBezTo>
                            <a:pt x="153046" y="0"/>
                            <a:pt x="146711" y="6870"/>
                            <a:pt x="123182" y="18629"/>
                          </a:cubicBezTo>
                          <a:cubicBezTo>
                            <a:pt x="94690" y="32868"/>
                            <a:pt x="67458" y="59889"/>
                            <a:pt x="18230" y="65001"/>
                          </a:cubicBezTo>
                          <a:cubicBezTo>
                            <a:pt x="8554" y="66011"/>
                            <a:pt x="12" y="55787"/>
                            <a:pt x="12" y="5578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5" name="Freeform: Shape 2294">
                      <a:extLst>
                        <a:ext uri="{FF2B5EF4-FFF2-40B4-BE49-F238E27FC236}">
                          <a16:creationId xmlns:a16="http://schemas.microsoft.com/office/drawing/2014/main" id="{A292ACAC-EA97-BA60-7EB0-74621B9F36ED}"/>
                        </a:ext>
                      </a:extLst>
                    </p:cNvPr>
                    <p:cNvSpPr/>
                    <p:nvPr/>
                  </p:nvSpPr>
                  <p:spPr>
                    <a:xfrm>
                      <a:off x="7805084" y="3479720"/>
                      <a:ext cx="154072" cy="92314"/>
                    </a:xfrm>
                    <a:custGeom>
                      <a:avLst/>
                      <a:gdLst>
                        <a:gd name="connsiteX0" fmla="*/ 2772 w 154072"/>
                        <a:gd name="connsiteY0" fmla="*/ 85467 h 92314"/>
                        <a:gd name="connsiteX1" fmla="*/ 1102 w 154072"/>
                        <a:gd name="connsiteY1" fmla="*/ 72885 h 92314"/>
                        <a:gd name="connsiteX2" fmla="*/ 50454 w 154072"/>
                        <a:gd name="connsiteY2" fmla="*/ 30353 h 92314"/>
                        <a:gd name="connsiteX3" fmla="*/ 72998 w 154072"/>
                        <a:gd name="connsiteY3" fmla="*/ 10154 h 92314"/>
                        <a:gd name="connsiteX4" fmla="*/ 94769 w 154072"/>
                        <a:gd name="connsiteY4" fmla="*/ 30142 h 92314"/>
                        <a:gd name="connsiteX5" fmla="*/ 136852 w 154072"/>
                        <a:gd name="connsiteY5" fmla="*/ 328 h 92314"/>
                        <a:gd name="connsiteX6" fmla="*/ 137676 w 154072"/>
                        <a:gd name="connsiteY6" fmla="*/ 91 h 92314"/>
                        <a:gd name="connsiteX7" fmla="*/ 154060 w 154072"/>
                        <a:gd name="connsiteY7" fmla="*/ 26388 h 92314"/>
                        <a:gd name="connsiteX8" fmla="*/ 138997 w 154072"/>
                        <a:gd name="connsiteY8" fmla="*/ 39506 h 92314"/>
                        <a:gd name="connsiteX9" fmla="*/ 97587 w 154072"/>
                        <a:gd name="connsiteY9" fmla="*/ 63359 h 92314"/>
                        <a:gd name="connsiteX10" fmla="*/ 2772 w 154072"/>
                        <a:gd name="connsiteY10" fmla="*/ 85454 h 9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072" h="92314">
                          <a:moveTo>
                            <a:pt x="2772" y="85467"/>
                          </a:moveTo>
                          <a:cubicBezTo>
                            <a:pt x="2772" y="85467"/>
                            <a:pt x="-2128" y="80828"/>
                            <a:pt x="1102" y="72885"/>
                          </a:cubicBezTo>
                          <a:cubicBezTo>
                            <a:pt x="4331" y="64943"/>
                            <a:pt x="38534" y="39842"/>
                            <a:pt x="50454" y="30353"/>
                          </a:cubicBezTo>
                          <a:cubicBezTo>
                            <a:pt x="62374" y="20864"/>
                            <a:pt x="68746" y="12311"/>
                            <a:pt x="72998" y="10154"/>
                          </a:cubicBezTo>
                          <a:cubicBezTo>
                            <a:pt x="77250" y="8009"/>
                            <a:pt x="88585" y="15029"/>
                            <a:pt x="94769" y="30142"/>
                          </a:cubicBezTo>
                          <a:cubicBezTo>
                            <a:pt x="94769" y="30142"/>
                            <a:pt x="128610" y="16999"/>
                            <a:pt x="136852" y="328"/>
                          </a:cubicBezTo>
                          <a:cubicBezTo>
                            <a:pt x="137002" y="16"/>
                            <a:pt x="137389" y="-96"/>
                            <a:pt x="137676" y="91"/>
                          </a:cubicBezTo>
                          <a:cubicBezTo>
                            <a:pt x="140157" y="1687"/>
                            <a:pt x="150344" y="9144"/>
                            <a:pt x="154060" y="26388"/>
                          </a:cubicBezTo>
                          <a:cubicBezTo>
                            <a:pt x="154459" y="28982"/>
                            <a:pt x="145045" y="36139"/>
                            <a:pt x="138997" y="39506"/>
                          </a:cubicBezTo>
                          <a:cubicBezTo>
                            <a:pt x="132950" y="42885"/>
                            <a:pt x="108510" y="56476"/>
                            <a:pt x="97587" y="63359"/>
                          </a:cubicBezTo>
                          <a:cubicBezTo>
                            <a:pt x="86664" y="70242"/>
                            <a:pt x="20017" y="107413"/>
                            <a:pt x="2772" y="85454"/>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6" name="Freeform: Shape 2295">
                      <a:extLst>
                        <a:ext uri="{FF2B5EF4-FFF2-40B4-BE49-F238E27FC236}">
                          <a16:creationId xmlns:a16="http://schemas.microsoft.com/office/drawing/2014/main" id="{6993E099-6AC3-ADB0-1067-C1B6251AB64F}"/>
                        </a:ext>
                      </a:extLst>
                    </p:cNvPr>
                    <p:cNvSpPr/>
                    <p:nvPr/>
                  </p:nvSpPr>
                  <p:spPr>
                    <a:xfrm>
                      <a:off x="7864390" y="3504922"/>
                      <a:ext cx="12258" cy="11388"/>
                    </a:xfrm>
                    <a:custGeom>
                      <a:avLst/>
                      <a:gdLst>
                        <a:gd name="connsiteX0" fmla="*/ 11722 w 12258"/>
                        <a:gd name="connsiteY0" fmla="*/ 750 h 11388"/>
                        <a:gd name="connsiteX1" fmla="*/ 8629 w 12258"/>
                        <a:gd name="connsiteY1" fmla="*/ 8519 h 11388"/>
                        <a:gd name="connsiteX2" fmla="*/ 537 w 12258"/>
                        <a:gd name="connsiteY2" fmla="*/ 10638 h 11388"/>
                        <a:gd name="connsiteX3" fmla="*/ 3629 w 12258"/>
                        <a:gd name="connsiteY3" fmla="*/ 2870 h 11388"/>
                        <a:gd name="connsiteX4" fmla="*/ 11722 w 12258"/>
                        <a:gd name="connsiteY4" fmla="*/ 750 h 11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58" h="11388">
                          <a:moveTo>
                            <a:pt x="11722" y="750"/>
                          </a:moveTo>
                          <a:cubicBezTo>
                            <a:pt x="13106" y="2309"/>
                            <a:pt x="11722" y="5788"/>
                            <a:pt x="8629" y="8519"/>
                          </a:cubicBezTo>
                          <a:cubicBezTo>
                            <a:pt x="5537" y="11249"/>
                            <a:pt x="1921" y="12197"/>
                            <a:pt x="537" y="10638"/>
                          </a:cubicBezTo>
                          <a:cubicBezTo>
                            <a:pt x="-847" y="9080"/>
                            <a:pt x="537" y="5601"/>
                            <a:pt x="3629" y="2870"/>
                          </a:cubicBezTo>
                          <a:cubicBezTo>
                            <a:pt x="6722" y="139"/>
                            <a:pt x="10338" y="-808"/>
                            <a:pt x="11722" y="750"/>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7" name="Freeform: Shape 2296">
                      <a:extLst>
                        <a:ext uri="{FF2B5EF4-FFF2-40B4-BE49-F238E27FC236}">
                          <a16:creationId xmlns:a16="http://schemas.microsoft.com/office/drawing/2014/main" id="{52FDC58F-83A1-A0B3-754C-22D0E7FCC2AD}"/>
                        </a:ext>
                      </a:extLst>
                    </p:cNvPr>
                    <p:cNvSpPr/>
                    <p:nvPr/>
                  </p:nvSpPr>
                  <p:spPr>
                    <a:xfrm>
                      <a:off x="7839659" y="3523124"/>
                      <a:ext cx="12605" cy="10994"/>
                    </a:xfrm>
                    <a:custGeom>
                      <a:avLst/>
                      <a:gdLst>
                        <a:gd name="connsiteX0" fmla="*/ 12151 w 12605"/>
                        <a:gd name="connsiteY0" fmla="*/ 865 h 10994"/>
                        <a:gd name="connsiteX1" fmla="*/ 8647 w 12605"/>
                        <a:gd name="connsiteY1" fmla="*/ 8459 h 10994"/>
                        <a:gd name="connsiteX2" fmla="*/ 455 w 12605"/>
                        <a:gd name="connsiteY2" fmla="*/ 10130 h 10994"/>
                        <a:gd name="connsiteX3" fmla="*/ 3959 w 12605"/>
                        <a:gd name="connsiteY3" fmla="*/ 2536 h 10994"/>
                        <a:gd name="connsiteX4" fmla="*/ 12151 w 12605"/>
                        <a:gd name="connsiteY4" fmla="*/ 865 h 10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 h="10994">
                          <a:moveTo>
                            <a:pt x="12151" y="865"/>
                          </a:moveTo>
                          <a:cubicBezTo>
                            <a:pt x="13448" y="2498"/>
                            <a:pt x="11876" y="5902"/>
                            <a:pt x="8647" y="8459"/>
                          </a:cubicBezTo>
                          <a:cubicBezTo>
                            <a:pt x="5418" y="11015"/>
                            <a:pt x="1752" y="11763"/>
                            <a:pt x="455" y="10130"/>
                          </a:cubicBezTo>
                          <a:cubicBezTo>
                            <a:pt x="-842" y="8496"/>
                            <a:pt x="729" y="5092"/>
                            <a:pt x="3959" y="2536"/>
                          </a:cubicBezTo>
                          <a:cubicBezTo>
                            <a:pt x="7188" y="-20"/>
                            <a:pt x="10854" y="-768"/>
                            <a:pt x="12151" y="865"/>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8" name="Freeform: Shape 2297">
                      <a:extLst>
                        <a:ext uri="{FF2B5EF4-FFF2-40B4-BE49-F238E27FC236}">
                          <a16:creationId xmlns:a16="http://schemas.microsoft.com/office/drawing/2014/main" id="{E3DAD131-0631-E25D-0805-C01AB96BA2EB}"/>
                        </a:ext>
                      </a:extLst>
                    </p:cNvPr>
                    <p:cNvSpPr/>
                    <p:nvPr/>
                  </p:nvSpPr>
                  <p:spPr>
                    <a:xfrm>
                      <a:off x="7846099" y="3540714"/>
                      <a:ext cx="12754" cy="10828"/>
                    </a:xfrm>
                    <a:custGeom>
                      <a:avLst/>
                      <a:gdLst>
                        <a:gd name="connsiteX0" fmla="*/ 12331 w 12754"/>
                        <a:gd name="connsiteY0" fmla="*/ 919 h 10828"/>
                        <a:gd name="connsiteX1" fmla="*/ 8653 w 12754"/>
                        <a:gd name="connsiteY1" fmla="*/ 8426 h 10828"/>
                        <a:gd name="connsiteX2" fmla="*/ 423 w 12754"/>
                        <a:gd name="connsiteY2" fmla="*/ 9909 h 10828"/>
                        <a:gd name="connsiteX3" fmla="*/ 4102 w 12754"/>
                        <a:gd name="connsiteY3" fmla="*/ 2403 h 10828"/>
                        <a:gd name="connsiteX4" fmla="*/ 12331 w 12754"/>
                        <a:gd name="connsiteY4" fmla="*/ 919 h 10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4" h="10828">
                          <a:moveTo>
                            <a:pt x="12331" y="919"/>
                          </a:moveTo>
                          <a:cubicBezTo>
                            <a:pt x="13591" y="2577"/>
                            <a:pt x="11945" y="5944"/>
                            <a:pt x="8653" y="8426"/>
                          </a:cubicBezTo>
                          <a:cubicBezTo>
                            <a:pt x="5361" y="10907"/>
                            <a:pt x="1683" y="11580"/>
                            <a:pt x="423" y="9909"/>
                          </a:cubicBezTo>
                          <a:cubicBezTo>
                            <a:pt x="-836" y="8251"/>
                            <a:pt x="810" y="4884"/>
                            <a:pt x="4102" y="2403"/>
                          </a:cubicBezTo>
                          <a:cubicBezTo>
                            <a:pt x="7394" y="-78"/>
                            <a:pt x="11072" y="-752"/>
                            <a:pt x="12331" y="91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9" name="Freeform: Shape 2298">
                      <a:extLst>
                        <a:ext uri="{FF2B5EF4-FFF2-40B4-BE49-F238E27FC236}">
                          <a16:creationId xmlns:a16="http://schemas.microsoft.com/office/drawing/2014/main" id="{730F7E4E-A081-5300-4B19-AA33DA20DE5B}"/>
                        </a:ext>
                      </a:extLst>
                    </p:cNvPr>
                    <p:cNvSpPr/>
                    <p:nvPr/>
                  </p:nvSpPr>
                  <p:spPr>
                    <a:xfrm>
                      <a:off x="7814657" y="3544803"/>
                      <a:ext cx="12881" cy="10680"/>
                    </a:xfrm>
                    <a:custGeom>
                      <a:avLst/>
                      <a:gdLst>
                        <a:gd name="connsiteX0" fmla="*/ 12489 w 12881"/>
                        <a:gd name="connsiteY0" fmla="*/ 969 h 10680"/>
                        <a:gd name="connsiteX1" fmla="*/ 8648 w 12881"/>
                        <a:gd name="connsiteY1" fmla="*/ 8401 h 10680"/>
                        <a:gd name="connsiteX2" fmla="*/ 393 w 12881"/>
                        <a:gd name="connsiteY2" fmla="*/ 9710 h 10680"/>
                        <a:gd name="connsiteX3" fmla="*/ 4234 w 12881"/>
                        <a:gd name="connsiteY3" fmla="*/ 2279 h 10680"/>
                        <a:gd name="connsiteX4" fmla="*/ 12489 w 12881"/>
                        <a:gd name="connsiteY4" fmla="*/ 969 h 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1" h="10680">
                          <a:moveTo>
                            <a:pt x="12489" y="969"/>
                          </a:moveTo>
                          <a:cubicBezTo>
                            <a:pt x="13710" y="2653"/>
                            <a:pt x="11990" y="5982"/>
                            <a:pt x="8648" y="8401"/>
                          </a:cubicBezTo>
                          <a:cubicBezTo>
                            <a:pt x="5306" y="10820"/>
                            <a:pt x="1615" y="11406"/>
                            <a:pt x="393" y="9710"/>
                          </a:cubicBezTo>
                          <a:cubicBezTo>
                            <a:pt x="-829" y="8027"/>
                            <a:pt x="892" y="4698"/>
                            <a:pt x="4234" y="2279"/>
                          </a:cubicBezTo>
                          <a:cubicBezTo>
                            <a:pt x="7575" y="-140"/>
                            <a:pt x="11267" y="-726"/>
                            <a:pt x="12489" y="96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0" name="Freeform: Shape 2299">
                      <a:extLst>
                        <a:ext uri="{FF2B5EF4-FFF2-40B4-BE49-F238E27FC236}">
                          <a16:creationId xmlns:a16="http://schemas.microsoft.com/office/drawing/2014/main" id="{0FA0B1A0-94E4-E04A-0132-99DD4E46AB4A}"/>
                        </a:ext>
                      </a:extLst>
                    </p:cNvPr>
                    <p:cNvSpPr/>
                    <p:nvPr/>
                  </p:nvSpPr>
                  <p:spPr>
                    <a:xfrm>
                      <a:off x="7878930" y="3514925"/>
                      <a:ext cx="12742" cy="10822"/>
                    </a:xfrm>
                    <a:custGeom>
                      <a:avLst/>
                      <a:gdLst>
                        <a:gd name="connsiteX0" fmla="*/ 12319 w 12742"/>
                        <a:gd name="connsiteY0" fmla="*/ 910 h 10822"/>
                        <a:gd name="connsiteX1" fmla="*/ 8653 w 12742"/>
                        <a:gd name="connsiteY1" fmla="*/ 8416 h 10822"/>
                        <a:gd name="connsiteX2" fmla="*/ 423 w 12742"/>
                        <a:gd name="connsiteY2" fmla="*/ 9912 h 10822"/>
                        <a:gd name="connsiteX3" fmla="*/ 4089 w 12742"/>
                        <a:gd name="connsiteY3" fmla="*/ 2406 h 10822"/>
                        <a:gd name="connsiteX4" fmla="*/ 12319 w 12742"/>
                        <a:gd name="connsiteY4" fmla="*/ 910 h 10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2" h="10822">
                          <a:moveTo>
                            <a:pt x="12319" y="910"/>
                          </a:moveTo>
                          <a:cubicBezTo>
                            <a:pt x="13578" y="2568"/>
                            <a:pt x="11932" y="5935"/>
                            <a:pt x="8653" y="8416"/>
                          </a:cubicBezTo>
                          <a:cubicBezTo>
                            <a:pt x="5361" y="10897"/>
                            <a:pt x="1683" y="11571"/>
                            <a:pt x="423" y="9912"/>
                          </a:cubicBezTo>
                          <a:cubicBezTo>
                            <a:pt x="-836" y="8254"/>
                            <a:pt x="810" y="4887"/>
                            <a:pt x="4089" y="2406"/>
                          </a:cubicBezTo>
                          <a:cubicBezTo>
                            <a:pt x="7369" y="-75"/>
                            <a:pt x="11060" y="-749"/>
                            <a:pt x="12319" y="910"/>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1" name="Freeform: Shape 2300">
                      <a:extLst>
                        <a:ext uri="{FF2B5EF4-FFF2-40B4-BE49-F238E27FC236}">
                          <a16:creationId xmlns:a16="http://schemas.microsoft.com/office/drawing/2014/main" id="{C2A3436E-88EE-3CD8-60B0-530E60133D36}"/>
                        </a:ext>
                      </a:extLst>
                    </p:cNvPr>
                    <p:cNvSpPr/>
                    <p:nvPr/>
                  </p:nvSpPr>
                  <p:spPr>
                    <a:xfrm>
                      <a:off x="7869304" y="3535249"/>
                      <a:ext cx="12742" cy="10822"/>
                    </a:xfrm>
                    <a:custGeom>
                      <a:avLst/>
                      <a:gdLst>
                        <a:gd name="connsiteX0" fmla="*/ 12319 w 12742"/>
                        <a:gd name="connsiteY0" fmla="*/ 910 h 10822"/>
                        <a:gd name="connsiteX1" fmla="*/ 8653 w 12742"/>
                        <a:gd name="connsiteY1" fmla="*/ 8416 h 10822"/>
                        <a:gd name="connsiteX2" fmla="*/ 423 w 12742"/>
                        <a:gd name="connsiteY2" fmla="*/ 9912 h 10822"/>
                        <a:gd name="connsiteX3" fmla="*/ 4089 w 12742"/>
                        <a:gd name="connsiteY3" fmla="*/ 2406 h 10822"/>
                        <a:gd name="connsiteX4" fmla="*/ 12319 w 12742"/>
                        <a:gd name="connsiteY4" fmla="*/ 910 h 10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2" h="10822">
                          <a:moveTo>
                            <a:pt x="12319" y="910"/>
                          </a:moveTo>
                          <a:cubicBezTo>
                            <a:pt x="13578" y="2568"/>
                            <a:pt x="11932" y="5935"/>
                            <a:pt x="8653" y="8416"/>
                          </a:cubicBezTo>
                          <a:cubicBezTo>
                            <a:pt x="5361" y="10897"/>
                            <a:pt x="1683" y="11571"/>
                            <a:pt x="423" y="9912"/>
                          </a:cubicBezTo>
                          <a:cubicBezTo>
                            <a:pt x="-836" y="8254"/>
                            <a:pt x="810" y="4887"/>
                            <a:pt x="4089" y="2406"/>
                          </a:cubicBezTo>
                          <a:cubicBezTo>
                            <a:pt x="7381" y="-75"/>
                            <a:pt x="11060" y="-749"/>
                            <a:pt x="12319" y="910"/>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302" name="Graphic 525">
                <a:extLst>
                  <a:ext uri="{FF2B5EF4-FFF2-40B4-BE49-F238E27FC236}">
                    <a16:creationId xmlns:a16="http://schemas.microsoft.com/office/drawing/2014/main" id="{315A5DC3-3070-E696-BDB9-52FEC0CCAF0E}"/>
                  </a:ext>
                </a:extLst>
              </p:cNvPr>
              <p:cNvGrpSpPr/>
              <p:nvPr/>
            </p:nvGrpSpPr>
            <p:grpSpPr>
              <a:xfrm>
                <a:off x="7845949" y="3037341"/>
                <a:ext cx="354619" cy="588246"/>
                <a:chOff x="7845949" y="3037341"/>
                <a:chExt cx="354619" cy="588246"/>
              </a:xfrm>
            </p:grpSpPr>
            <p:grpSp>
              <p:nvGrpSpPr>
                <p:cNvPr id="2303" name="Graphic 525">
                  <a:extLst>
                    <a:ext uri="{FF2B5EF4-FFF2-40B4-BE49-F238E27FC236}">
                      <a16:creationId xmlns:a16="http://schemas.microsoft.com/office/drawing/2014/main" id="{274AE043-EA85-9F18-97DC-18231CD75F7C}"/>
                    </a:ext>
                  </a:extLst>
                </p:cNvPr>
                <p:cNvGrpSpPr/>
                <p:nvPr/>
              </p:nvGrpSpPr>
              <p:grpSpPr>
                <a:xfrm>
                  <a:off x="7859015" y="3037341"/>
                  <a:ext cx="341554" cy="211996"/>
                  <a:chOff x="7859015" y="3037341"/>
                  <a:chExt cx="341554" cy="211996"/>
                </a:xfrm>
              </p:grpSpPr>
              <p:sp>
                <p:nvSpPr>
                  <p:cNvPr id="2304" name="Freeform: Shape 2303">
                    <a:extLst>
                      <a:ext uri="{FF2B5EF4-FFF2-40B4-BE49-F238E27FC236}">
                        <a16:creationId xmlns:a16="http://schemas.microsoft.com/office/drawing/2014/main" id="{C8F14654-F18A-666A-BFBA-DC46CA060499}"/>
                      </a:ext>
                    </a:extLst>
                  </p:cNvPr>
                  <p:cNvSpPr/>
                  <p:nvPr/>
                </p:nvSpPr>
                <p:spPr>
                  <a:xfrm>
                    <a:off x="7859015" y="3037341"/>
                    <a:ext cx="341554" cy="211996"/>
                  </a:xfrm>
                  <a:custGeom>
                    <a:avLst/>
                    <a:gdLst>
                      <a:gd name="connsiteX0" fmla="*/ 337041 w 341554"/>
                      <a:gd name="connsiteY0" fmla="*/ 46003 h 211996"/>
                      <a:gd name="connsiteX1" fmla="*/ 272751 w 341554"/>
                      <a:gd name="connsiteY1" fmla="*/ 173998 h 211996"/>
                      <a:gd name="connsiteX2" fmla="*/ 46487 w 341554"/>
                      <a:gd name="connsiteY2" fmla="*/ 204024 h 211996"/>
                      <a:gd name="connsiteX3" fmla="*/ 49517 w 341554"/>
                      <a:gd name="connsiteY3" fmla="*/ 91378 h 211996"/>
                      <a:gd name="connsiteX4" fmla="*/ 185966 w 341554"/>
                      <a:gd name="connsiteY4" fmla="*/ 30242 h 211996"/>
                      <a:gd name="connsiteX5" fmla="*/ 337054 w 341554"/>
                      <a:gd name="connsiteY5" fmla="*/ 46003 h 21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554" h="211996">
                        <a:moveTo>
                          <a:pt x="337041" y="46003"/>
                        </a:moveTo>
                        <a:cubicBezTo>
                          <a:pt x="337041" y="46003"/>
                          <a:pt x="366955" y="130631"/>
                          <a:pt x="272751" y="173998"/>
                        </a:cubicBezTo>
                        <a:cubicBezTo>
                          <a:pt x="160080" y="225857"/>
                          <a:pt x="94268" y="212266"/>
                          <a:pt x="46487" y="204024"/>
                        </a:cubicBezTo>
                        <a:cubicBezTo>
                          <a:pt x="-1307" y="195782"/>
                          <a:pt x="-29475" y="131516"/>
                          <a:pt x="49517" y="91378"/>
                        </a:cubicBezTo>
                        <a:cubicBezTo>
                          <a:pt x="118683" y="56228"/>
                          <a:pt x="137212" y="56951"/>
                          <a:pt x="185966" y="30242"/>
                        </a:cubicBezTo>
                        <a:cubicBezTo>
                          <a:pt x="234707" y="3533"/>
                          <a:pt x="313163" y="-28325"/>
                          <a:pt x="337054" y="4600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5" name="Freeform: Shape 2304">
                    <a:extLst>
                      <a:ext uri="{FF2B5EF4-FFF2-40B4-BE49-F238E27FC236}">
                        <a16:creationId xmlns:a16="http://schemas.microsoft.com/office/drawing/2014/main" id="{89685E79-A7C0-D095-C418-5BAA39DEB556}"/>
                      </a:ext>
                    </a:extLst>
                  </p:cNvPr>
                  <p:cNvSpPr/>
                  <p:nvPr/>
                </p:nvSpPr>
                <p:spPr>
                  <a:xfrm>
                    <a:off x="7960964" y="3177535"/>
                    <a:ext cx="51260" cy="71792"/>
                  </a:xfrm>
                  <a:custGeom>
                    <a:avLst/>
                    <a:gdLst>
                      <a:gd name="connsiteX0" fmla="*/ 51261 w 51260"/>
                      <a:gd name="connsiteY0" fmla="*/ 69777 h 71792"/>
                      <a:gd name="connsiteX1" fmla="*/ 7631 w 51260"/>
                      <a:gd name="connsiteY1" fmla="*/ 0 h 71792"/>
                      <a:gd name="connsiteX2" fmla="*/ 0 w 51260"/>
                      <a:gd name="connsiteY2" fmla="*/ 71261 h 71792"/>
                      <a:gd name="connsiteX3" fmla="*/ 51261 w 51260"/>
                      <a:gd name="connsiteY3" fmla="*/ 69777 h 71792"/>
                    </a:gdLst>
                    <a:ahLst/>
                    <a:cxnLst>
                      <a:cxn ang="0">
                        <a:pos x="connsiteX0" y="connsiteY0"/>
                      </a:cxn>
                      <a:cxn ang="0">
                        <a:pos x="connsiteX1" y="connsiteY1"/>
                      </a:cxn>
                      <a:cxn ang="0">
                        <a:pos x="connsiteX2" y="connsiteY2"/>
                      </a:cxn>
                      <a:cxn ang="0">
                        <a:pos x="connsiteX3" y="connsiteY3"/>
                      </a:cxn>
                    </a:cxnLst>
                    <a:rect l="l" t="t" r="r" b="b"/>
                    <a:pathLst>
                      <a:path w="51260" h="71792">
                        <a:moveTo>
                          <a:pt x="51261" y="69777"/>
                        </a:moveTo>
                        <a:cubicBezTo>
                          <a:pt x="38916" y="27993"/>
                          <a:pt x="7631" y="0"/>
                          <a:pt x="7631" y="0"/>
                        </a:cubicBezTo>
                        <a:lnTo>
                          <a:pt x="0" y="71261"/>
                        </a:lnTo>
                        <a:cubicBezTo>
                          <a:pt x="15325" y="72183"/>
                          <a:pt x="32270" y="72034"/>
                          <a:pt x="51261" y="69777"/>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06" name="Freeform: Shape 2305">
                  <a:extLst>
                    <a:ext uri="{FF2B5EF4-FFF2-40B4-BE49-F238E27FC236}">
                      <a16:creationId xmlns:a16="http://schemas.microsoft.com/office/drawing/2014/main" id="{BFDA7EDC-128A-5016-B014-F086ACA64099}"/>
                    </a:ext>
                  </a:extLst>
                </p:cNvPr>
                <p:cNvSpPr/>
                <p:nvPr/>
              </p:nvSpPr>
              <p:spPr>
                <a:xfrm>
                  <a:off x="7858885" y="3149100"/>
                  <a:ext cx="152450" cy="408465"/>
                </a:xfrm>
                <a:custGeom>
                  <a:avLst/>
                  <a:gdLst>
                    <a:gd name="connsiteX0" fmla="*/ 105807 w 152450"/>
                    <a:gd name="connsiteY0" fmla="*/ 21128 h 408465"/>
                    <a:gd name="connsiteX1" fmla="*/ 136394 w 152450"/>
                    <a:gd name="connsiteY1" fmla="*/ 121941 h 408465"/>
                    <a:gd name="connsiteX2" fmla="*/ 150945 w 152450"/>
                    <a:gd name="connsiteY2" fmla="*/ 298578 h 408465"/>
                    <a:gd name="connsiteX3" fmla="*/ 131182 w 152450"/>
                    <a:gd name="connsiteY3" fmla="*/ 407271 h 408465"/>
                    <a:gd name="connsiteX4" fmla="*/ 77003 w 152450"/>
                    <a:gd name="connsiteY4" fmla="*/ 292443 h 408465"/>
                    <a:gd name="connsiteX5" fmla="*/ 19 w 152450"/>
                    <a:gd name="connsiteY5" fmla="*/ 45380 h 408465"/>
                    <a:gd name="connsiteX6" fmla="*/ 105807 w 152450"/>
                    <a:gd name="connsiteY6" fmla="*/ 21116 h 40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50" h="408465">
                      <a:moveTo>
                        <a:pt x="105807" y="21128"/>
                      </a:moveTo>
                      <a:cubicBezTo>
                        <a:pt x="105807" y="21128"/>
                        <a:pt x="121593" y="46278"/>
                        <a:pt x="136394" y="121941"/>
                      </a:cubicBezTo>
                      <a:cubicBezTo>
                        <a:pt x="151182" y="197603"/>
                        <a:pt x="154973" y="233676"/>
                        <a:pt x="150945" y="298578"/>
                      </a:cubicBezTo>
                      <a:cubicBezTo>
                        <a:pt x="146905" y="363480"/>
                        <a:pt x="153439" y="399927"/>
                        <a:pt x="131182" y="407271"/>
                      </a:cubicBezTo>
                      <a:cubicBezTo>
                        <a:pt x="102478" y="416748"/>
                        <a:pt x="100645" y="369066"/>
                        <a:pt x="77003" y="292443"/>
                      </a:cubicBezTo>
                      <a:cubicBezTo>
                        <a:pt x="54584" y="219748"/>
                        <a:pt x="1578" y="88898"/>
                        <a:pt x="19" y="45380"/>
                      </a:cubicBezTo>
                      <a:cubicBezTo>
                        <a:pt x="-1427" y="4794"/>
                        <a:pt x="78836" y="-19995"/>
                        <a:pt x="105807" y="2111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7" name="Freeform: Shape 2306">
                  <a:extLst>
                    <a:ext uri="{FF2B5EF4-FFF2-40B4-BE49-F238E27FC236}">
                      <a16:creationId xmlns:a16="http://schemas.microsoft.com/office/drawing/2014/main" id="{A4FADD9A-DC62-777E-DAB4-869D96FADAC0}"/>
                    </a:ext>
                  </a:extLst>
                </p:cNvPr>
                <p:cNvSpPr/>
                <p:nvPr/>
              </p:nvSpPr>
              <p:spPr>
                <a:xfrm>
                  <a:off x="7848843" y="3489357"/>
                  <a:ext cx="180393" cy="127789"/>
                </a:xfrm>
                <a:custGeom>
                  <a:avLst/>
                  <a:gdLst>
                    <a:gd name="connsiteX0" fmla="*/ 120674 w 180393"/>
                    <a:gd name="connsiteY0" fmla="*/ 8609 h 127789"/>
                    <a:gd name="connsiteX1" fmla="*/ 157732 w 180393"/>
                    <a:gd name="connsiteY1" fmla="*/ 11863 h 127789"/>
                    <a:gd name="connsiteX2" fmla="*/ 161411 w 180393"/>
                    <a:gd name="connsiteY2" fmla="*/ 21664 h 127789"/>
                    <a:gd name="connsiteX3" fmla="*/ 177010 w 180393"/>
                    <a:gd name="connsiteY3" fmla="*/ 61715 h 127789"/>
                    <a:gd name="connsiteX4" fmla="*/ 157832 w 180393"/>
                    <a:gd name="connsiteY4" fmla="*/ 102052 h 127789"/>
                    <a:gd name="connsiteX5" fmla="*/ 59202 w 180393"/>
                    <a:gd name="connsiteY5" fmla="*/ 123137 h 127789"/>
                    <a:gd name="connsiteX6" fmla="*/ 310 w 180393"/>
                    <a:gd name="connsiteY6" fmla="*/ 116292 h 127789"/>
                    <a:gd name="connsiteX7" fmla="*/ 43553 w 180393"/>
                    <a:gd name="connsiteY7" fmla="*/ 77164 h 127789"/>
                    <a:gd name="connsiteX8" fmla="*/ 104589 w 180393"/>
                    <a:gd name="connsiteY8" fmla="*/ 38348 h 127789"/>
                    <a:gd name="connsiteX9" fmla="*/ 120687 w 180393"/>
                    <a:gd name="connsiteY9" fmla="*/ 8621 h 12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393" h="127789">
                      <a:moveTo>
                        <a:pt x="120674" y="8609"/>
                      </a:moveTo>
                      <a:cubicBezTo>
                        <a:pt x="130475" y="-4209"/>
                        <a:pt x="150114" y="-2376"/>
                        <a:pt x="157732" y="11863"/>
                      </a:cubicBezTo>
                      <a:cubicBezTo>
                        <a:pt x="159191" y="14582"/>
                        <a:pt x="160476" y="17824"/>
                        <a:pt x="161411" y="21664"/>
                      </a:cubicBezTo>
                      <a:cubicBezTo>
                        <a:pt x="166199" y="41228"/>
                        <a:pt x="169478" y="44620"/>
                        <a:pt x="177010" y="61715"/>
                      </a:cubicBezTo>
                      <a:cubicBezTo>
                        <a:pt x="184528" y="78798"/>
                        <a:pt x="180102" y="94783"/>
                        <a:pt x="157832" y="102052"/>
                      </a:cubicBezTo>
                      <a:cubicBezTo>
                        <a:pt x="135562" y="109322"/>
                        <a:pt x="91534" y="115170"/>
                        <a:pt x="59202" y="123137"/>
                      </a:cubicBezTo>
                      <a:cubicBezTo>
                        <a:pt x="26869" y="131105"/>
                        <a:pt x="3452" y="128848"/>
                        <a:pt x="310" y="116292"/>
                      </a:cubicBezTo>
                      <a:cubicBezTo>
                        <a:pt x="-2845" y="103736"/>
                        <a:pt x="18528" y="89384"/>
                        <a:pt x="43553" y="77164"/>
                      </a:cubicBezTo>
                      <a:cubicBezTo>
                        <a:pt x="68578" y="64944"/>
                        <a:pt x="94838" y="50131"/>
                        <a:pt x="104589" y="38348"/>
                      </a:cubicBezTo>
                      <a:cubicBezTo>
                        <a:pt x="113118" y="28048"/>
                        <a:pt x="113941" y="17437"/>
                        <a:pt x="120687" y="862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08" name="Graphic 525">
                  <a:extLst>
                    <a:ext uri="{FF2B5EF4-FFF2-40B4-BE49-F238E27FC236}">
                      <a16:creationId xmlns:a16="http://schemas.microsoft.com/office/drawing/2014/main" id="{2E2F137F-EAD2-32A6-B000-66BB68A4E8DE}"/>
                    </a:ext>
                  </a:extLst>
                </p:cNvPr>
                <p:cNvGrpSpPr/>
                <p:nvPr/>
              </p:nvGrpSpPr>
              <p:grpSpPr>
                <a:xfrm>
                  <a:off x="7845949" y="3530968"/>
                  <a:ext cx="187125" cy="94619"/>
                  <a:chOff x="7845949" y="3530968"/>
                  <a:chExt cx="187125" cy="94619"/>
                </a:xfrm>
              </p:grpSpPr>
              <p:sp>
                <p:nvSpPr>
                  <p:cNvPr id="2309" name="Freeform: Shape 2308">
                    <a:extLst>
                      <a:ext uri="{FF2B5EF4-FFF2-40B4-BE49-F238E27FC236}">
                        <a16:creationId xmlns:a16="http://schemas.microsoft.com/office/drawing/2014/main" id="{86C0B501-71A7-377C-F3CB-8AF6B1685F56}"/>
                      </a:ext>
                    </a:extLst>
                  </p:cNvPr>
                  <p:cNvSpPr/>
                  <p:nvPr/>
                </p:nvSpPr>
                <p:spPr>
                  <a:xfrm>
                    <a:off x="7845949" y="3571733"/>
                    <a:ext cx="187125" cy="53853"/>
                  </a:xfrm>
                  <a:custGeom>
                    <a:avLst/>
                    <a:gdLst>
                      <a:gd name="connsiteX0" fmla="*/ 142933 w 187125"/>
                      <a:gd name="connsiteY0" fmla="*/ 22644 h 53853"/>
                      <a:gd name="connsiteX1" fmla="*/ 46036 w 187125"/>
                      <a:gd name="connsiteY1" fmla="*/ 43442 h 53853"/>
                      <a:gd name="connsiteX2" fmla="*/ 1035 w 187125"/>
                      <a:gd name="connsiteY2" fmla="*/ 33542 h 53853"/>
                      <a:gd name="connsiteX3" fmla="*/ 25 w 187125"/>
                      <a:gd name="connsiteY3" fmla="*/ 40150 h 53853"/>
                      <a:gd name="connsiteX4" fmla="*/ 13791 w 187125"/>
                      <a:gd name="connsiteY4" fmla="*/ 53854 h 53853"/>
                      <a:gd name="connsiteX5" fmla="*/ 48517 w 187125"/>
                      <a:gd name="connsiteY5" fmla="*/ 53854 h 53853"/>
                      <a:gd name="connsiteX6" fmla="*/ 73954 w 187125"/>
                      <a:gd name="connsiteY6" fmla="*/ 48704 h 53853"/>
                      <a:gd name="connsiteX7" fmla="*/ 161113 w 187125"/>
                      <a:gd name="connsiteY7" fmla="*/ 32906 h 53853"/>
                      <a:gd name="connsiteX8" fmla="*/ 183757 w 187125"/>
                      <a:gd name="connsiteY8" fmla="*/ 24751 h 53853"/>
                      <a:gd name="connsiteX9" fmla="*/ 187123 w 187125"/>
                      <a:gd name="connsiteY9" fmla="*/ 18616 h 53853"/>
                      <a:gd name="connsiteX10" fmla="*/ 184031 w 187125"/>
                      <a:gd name="connsiteY10" fmla="*/ 0 h 53853"/>
                      <a:gd name="connsiteX11" fmla="*/ 142958 w 187125"/>
                      <a:gd name="connsiteY11" fmla="*/ 22644 h 5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125" h="53853">
                        <a:moveTo>
                          <a:pt x="142933" y="22644"/>
                        </a:moveTo>
                        <a:cubicBezTo>
                          <a:pt x="110277" y="29227"/>
                          <a:pt x="55250" y="41871"/>
                          <a:pt x="46036" y="43442"/>
                        </a:cubicBezTo>
                        <a:cubicBezTo>
                          <a:pt x="36821" y="45026"/>
                          <a:pt x="13416" y="41971"/>
                          <a:pt x="1035" y="33542"/>
                        </a:cubicBezTo>
                        <a:cubicBezTo>
                          <a:pt x="1035" y="33542"/>
                          <a:pt x="-187" y="37918"/>
                          <a:pt x="25" y="40150"/>
                        </a:cubicBezTo>
                        <a:cubicBezTo>
                          <a:pt x="524" y="45550"/>
                          <a:pt x="4713" y="50250"/>
                          <a:pt x="13791" y="53854"/>
                        </a:cubicBezTo>
                        <a:lnTo>
                          <a:pt x="48517" y="53854"/>
                        </a:lnTo>
                        <a:cubicBezTo>
                          <a:pt x="56086" y="52582"/>
                          <a:pt x="64577" y="50824"/>
                          <a:pt x="73954" y="48704"/>
                        </a:cubicBezTo>
                        <a:cubicBezTo>
                          <a:pt x="101860" y="42382"/>
                          <a:pt x="143731" y="35799"/>
                          <a:pt x="161113" y="32906"/>
                        </a:cubicBezTo>
                        <a:cubicBezTo>
                          <a:pt x="172547" y="30998"/>
                          <a:pt x="180004" y="27158"/>
                          <a:pt x="183757" y="24751"/>
                        </a:cubicBezTo>
                        <a:cubicBezTo>
                          <a:pt x="185852" y="23405"/>
                          <a:pt x="187098" y="21098"/>
                          <a:pt x="187123" y="18616"/>
                        </a:cubicBezTo>
                        <a:cubicBezTo>
                          <a:pt x="187161" y="15187"/>
                          <a:pt x="186600" y="9302"/>
                          <a:pt x="184031" y="0"/>
                        </a:cubicBezTo>
                        <a:cubicBezTo>
                          <a:pt x="184031" y="0"/>
                          <a:pt x="175602" y="16060"/>
                          <a:pt x="142958" y="2264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0" name="Freeform: Shape 2309">
                    <a:extLst>
                      <a:ext uri="{FF2B5EF4-FFF2-40B4-BE49-F238E27FC236}">
                        <a16:creationId xmlns:a16="http://schemas.microsoft.com/office/drawing/2014/main" id="{6BE9B595-7316-A4C4-2303-7A09D4FE32F1}"/>
                      </a:ext>
                    </a:extLst>
                  </p:cNvPr>
                  <p:cNvSpPr/>
                  <p:nvPr/>
                </p:nvSpPr>
                <p:spPr>
                  <a:xfrm>
                    <a:off x="7846923" y="3530968"/>
                    <a:ext cx="183127" cy="88325"/>
                  </a:xfrm>
                  <a:custGeom>
                    <a:avLst/>
                    <a:gdLst>
                      <a:gd name="connsiteX0" fmla="*/ 2517 w 183127"/>
                      <a:gd name="connsiteY0" fmla="*/ 79283 h 88325"/>
                      <a:gd name="connsiteX1" fmla="*/ 11 w 183127"/>
                      <a:gd name="connsiteY1" fmla="*/ 73883 h 88325"/>
                      <a:gd name="connsiteX2" fmla="*/ 5647 w 183127"/>
                      <a:gd name="connsiteY2" fmla="*/ 58210 h 88325"/>
                      <a:gd name="connsiteX3" fmla="*/ 61296 w 183127"/>
                      <a:gd name="connsiteY3" fmla="*/ 24855 h 88325"/>
                      <a:gd name="connsiteX4" fmla="*/ 93953 w 183127"/>
                      <a:gd name="connsiteY4" fmla="*/ 3620 h 88325"/>
                      <a:gd name="connsiteX5" fmla="*/ 121335 w 183127"/>
                      <a:gd name="connsiteY5" fmla="*/ 38558 h 88325"/>
                      <a:gd name="connsiteX6" fmla="*/ 152233 w 183127"/>
                      <a:gd name="connsiteY6" fmla="*/ 25915 h 88325"/>
                      <a:gd name="connsiteX7" fmla="*/ 169752 w 183127"/>
                      <a:gd name="connsiteY7" fmla="*/ 154 h 88325"/>
                      <a:gd name="connsiteX8" fmla="*/ 171336 w 183127"/>
                      <a:gd name="connsiteY8" fmla="*/ 503 h 88325"/>
                      <a:gd name="connsiteX9" fmla="*/ 183044 w 183127"/>
                      <a:gd name="connsiteY9" fmla="*/ 40740 h 88325"/>
                      <a:gd name="connsiteX10" fmla="*/ 171199 w 183127"/>
                      <a:gd name="connsiteY10" fmla="*/ 55753 h 88325"/>
                      <a:gd name="connsiteX11" fmla="*/ 99751 w 183127"/>
                      <a:gd name="connsiteY11" fmla="*/ 75243 h 88325"/>
                      <a:gd name="connsiteX12" fmla="*/ 2529 w 183127"/>
                      <a:gd name="connsiteY12" fmla="*/ 79270 h 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127" h="88325">
                        <a:moveTo>
                          <a:pt x="2517" y="79283"/>
                        </a:moveTo>
                        <a:cubicBezTo>
                          <a:pt x="983" y="77898"/>
                          <a:pt x="73" y="75953"/>
                          <a:pt x="11" y="73883"/>
                        </a:cubicBezTo>
                        <a:cubicBezTo>
                          <a:pt x="-102" y="70168"/>
                          <a:pt x="609" y="63833"/>
                          <a:pt x="5647" y="58210"/>
                        </a:cubicBezTo>
                        <a:cubicBezTo>
                          <a:pt x="13365" y="49606"/>
                          <a:pt x="48478" y="31351"/>
                          <a:pt x="61296" y="24855"/>
                        </a:cubicBezTo>
                        <a:cubicBezTo>
                          <a:pt x="74114" y="18358"/>
                          <a:pt x="88329" y="7124"/>
                          <a:pt x="93953" y="3620"/>
                        </a:cubicBezTo>
                        <a:cubicBezTo>
                          <a:pt x="99576" y="104"/>
                          <a:pt x="120113" y="7660"/>
                          <a:pt x="121335" y="38558"/>
                        </a:cubicBezTo>
                        <a:cubicBezTo>
                          <a:pt x="121335" y="38558"/>
                          <a:pt x="142931" y="34169"/>
                          <a:pt x="152233" y="25915"/>
                        </a:cubicBezTo>
                        <a:cubicBezTo>
                          <a:pt x="161061" y="18084"/>
                          <a:pt x="164203" y="3296"/>
                          <a:pt x="169752" y="154"/>
                        </a:cubicBezTo>
                        <a:cubicBezTo>
                          <a:pt x="170289" y="-146"/>
                          <a:pt x="170962" y="4"/>
                          <a:pt x="171336" y="503"/>
                        </a:cubicBezTo>
                        <a:cubicBezTo>
                          <a:pt x="174304" y="4493"/>
                          <a:pt x="184079" y="22947"/>
                          <a:pt x="183044" y="40740"/>
                        </a:cubicBezTo>
                        <a:cubicBezTo>
                          <a:pt x="183044" y="40740"/>
                          <a:pt x="184890" y="49257"/>
                          <a:pt x="171199" y="55753"/>
                        </a:cubicBezTo>
                        <a:cubicBezTo>
                          <a:pt x="157508" y="62250"/>
                          <a:pt x="115375" y="70853"/>
                          <a:pt x="99751" y="75243"/>
                        </a:cubicBezTo>
                        <a:cubicBezTo>
                          <a:pt x="84626" y="79494"/>
                          <a:pt x="25398" y="99857"/>
                          <a:pt x="2529" y="79270"/>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1" name="Freeform: Shape 2310">
                    <a:extLst>
                      <a:ext uri="{FF2B5EF4-FFF2-40B4-BE49-F238E27FC236}">
                        <a16:creationId xmlns:a16="http://schemas.microsoft.com/office/drawing/2014/main" id="{F58736B0-D8F3-E431-4F6E-C60C1CADECD6}"/>
                      </a:ext>
                    </a:extLst>
                  </p:cNvPr>
                  <p:cNvSpPr/>
                  <p:nvPr/>
                </p:nvSpPr>
                <p:spPr>
                  <a:xfrm>
                    <a:off x="7910086" y="3584371"/>
                    <a:ext cx="14011" cy="9125"/>
                  </a:xfrm>
                  <a:custGeom>
                    <a:avLst/>
                    <a:gdLst>
                      <a:gd name="connsiteX0" fmla="*/ 13845 w 14011"/>
                      <a:gd name="connsiteY0" fmla="*/ 1589 h 9125"/>
                      <a:gd name="connsiteX1" fmla="*/ 8508 w 14011"/>
                      <a:gd name="connsiteY1" fmla="*/ 8023 h 9125"/>
                      <a:gd name="connsiteX2" fmla="*/ 166 w 14011"/>
                      <a:gd name="connsiteY2" fmla="*/ 7537 h 9125"/>
                      <a:gd name="connsiteX3" fmla="*/ 5503 w 14011"/>
                      <a:gd name="connsiteY3" fmla="*/ 1103 h 9125"/>
                      <a:gd name="connsiteX4" fmla="*/ 13845 w 14011"/>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1" h="9125">
                        <a:moveTo>
                          <a:pt x="13845" y="1589"/>
                        </a:moveTo>
                        <a:cubicBezTo>
                          <a:pt x="14680" y="3497"/>
                          <a:pt x="12286" y="6377"/>
                          <a:pt x="8508" y="8023"/>
                        </a:cubicBezTo>
                        <a:cubicBezTo>
                          <a:pt x="4730" y="9669"/>
                          <a:pt x="989" y="9445"/>
                          <a:pt x="166" y="7537"/>
                        </a:cubicBezTo>
                        <a:cubicBezTo>
                          <a:pt x="-669" y="5629"/>
                          <a:pt x="1725" y="2749"/>
                          <a:pt x="5503" y="1103"/>
                        </a:cubicBezTo>
                        <a:cubicBezTo>
                          <a:pt x="9281" y="-543"/>
                          <a:pt x="13022" y="-319"/>
                          <a:pt x="13845"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2" name="Freeform: Shape 2311">
                    <a:extLst>
                      <a:ext uri="{FF2B5EF4-FFF2-40B4-BE49-F238E27FC236}">
                        <a16:creationId xmlns:a16="http://schemas.microsoft.com/office/drawing/2014/main" id="{82F18BA1-6097-9149-6C12-B01999319C6A}"/>
                      </a:ext>
                    </a:extLst>
                  </p:cNvPr>
                  <p:cNvSpPr/>
                  <p:nvPr/>
                </p:nvSpPr>
                <p:spPr>
                  <a:xfrm>
                    <a:off x="7904986" y="3558560"/>
                    <a:ext cx="14011" cy="9125"/>
                  </a:xfrm>
                  <a:custGeom>
                    <a:avLst/>
                    <a:gdLst>
                      <a:gd name="connsiteX0" fmla="*/ 13845 w 14011"/>
                      <a:gd name="connsiteY0" fmla="*/ 1589 h 9125"/>
                      <a:gd name="connsiteX1" fmla="*/ 8508 w 14011"/>
                      <a:gd name="connsiteY1" fmla="*/ 8023 h 9125"/>
                      <a:gd name="connsiteX2" fmla="*/ 166 w 14011"/>
                      <a:gd name="connsiteY2" fmla="*/ 7537 h 9125"/>
                      <a:gd name="connsiteX3" fmla="*/ 5503 w 14011"/>
                      <a:gd name="connsiteY3" fmla="*/ 1103 h 9125"/>
                      <a:gd name="connsiteX4" fmla="*/ 13845 w 14011"/>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1" h="9125">
                        <a:moveTo>
                          <a:pt x="13845" y="1589"/>
                        </a:moveTo>
                        <a:cubicBezTo>
                          <a:pt x="14680" y="3497"/>
                          <a:pt x="12286" y="6377"/>
                          <a:pt x="8508" y="8023"/>
                        </a:cubicBezTo>
                        <a:cubicBezTo>
                          <a:pt x="4730" y="9669"/>
                          <a:pt x="989" y="9445"/>
                          <a:pt x="166" y="7537"/>
                        </a:cubicBezTo>
                        <a:cubicBezTo>
                          <a:pt x="-669" y="5629"/>
                          <a:pt x="1725" y="2749"/>
                          <a:pt x="5503" y="1103"/>
                        </a:cubicBezTo>
                        <a:cubicBezTo>
                          <a:pt x="9281" y="-543"/>
                          <a:pt x="13022" y="-319"/>
                          <a:pt x="13845"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3" name="Freeform: Shape 2312">
                    <a:extLst>
                      <a:ext uri="{FF2B5EF4-FFF2-40B4-BE49-F238E27FC236}">
                        <a16:creationId xmlns:a16="http://schemas.microsoft.com/office/drawing/2014/main" id="{96DC77BC-232F-E4D4-A4C4-C61F3BD7B2B8}"/>
                      </a:ext>
                    </a:extLst>
                  </p:cNvPr>
                  <p:cNvSpPr/>
                  <p:nvPr/>
                </p:nvSpPr>
                <p:spPr>
                  <a:xfrm>
                    <a:off x="7888493" y="3576653"/>
                    <a:ext cx="14007" cy="9125"/>
                  </a:xfrm>
                  <a:custGeom>
                    <a:avLst/>
                    <a:gdLst>
                      <a:gd name="connsiteX0" fmla="*/ 13841 w 14007"/>
                      <a:gd name="connsiteY0" fmla="*/ 1589 h 9125"/>
                      <a:gd name="connsiteX1" fmla="*/ 8505 w 14007"/>
                      <a:gd name="connsiteY1" fmla="*/ 8023 h 9125"/>
                      <a:gd name="connsiteX2" fmla="*/ 163 w 14007"/>
                      <a:gd name="connsiteY2" fmla="*/ 7537 h 9125"/>
                      <a:gd name="connsiteX3" fmla="*/ 5499 w 14007"/>
                      <a:gd name="connsiteY3" fmla="*/ 1103 h 9125"/>
                      <a:gd name="connsiteX4" fmla="*/ 13841 w 14007"/>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07" h="9125">
                        <a:moveTo>
                          <a:pt x="13841" y="1589"/>
                        </a:moveTo>
                        <a:cubicBezTo>
                          <a:pt x="14677" y="3497"/>
                          <a:pt x="12282" y="6377"/>
                          <a:pt x="8505" y="8023"/>
                        </a:cubicBezTo>
                        <a:cubicBezTo>
                          <a:pt x="4726" y="9669"/>
                          <a:pt x="986" y="9445"/>
                          <a:pt x="163" y="7537"/>
                        </a:cubicBezTo>
                        <a:cubicBezTo>
                          <a:pt x="-660" y="5629"/>
                          <a:pt x="1721" y="2749"/>
                          <a:pt x="5499" y="1103"/>
                        </a:cubicBezTo>
                        <a:cubicBezTo>
                          <a:pt x="9278" y="-543"/>
                          <a:pt x="13018" y="-319"/>
                          <a:pt x="13841"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4" name="Freeform: Shape 2313">
                    <a:extLst>
                      <a:ext uri="{FF2B5EF4-FFF2-40B4-BE49-F238E27FC236}">
                        <a16:creationId xmlns:a16="http://schemas.microsoft.com/office/drawing/2014/main" id="{E0660BFD-A8DF-4406-19B7-0BF3D6585781}"/>
                      </a:ext>
                    </a:extLst>
                  </p:cNvPr>
                  <p:cNvSpPr/>
                  <p:nvPr/>
                </p:nvSpPr>
                <p:spPr>
                  <a:xfrm>
                    <a:off x="7857940" y="3589284"/>
                    <a:ext cx="14011" cy="9125"/>
                  </a:xfrm>
                  <a:custGeom>
                    <a:avLst/>
                    <a:gdLst>
                      <a:gd name="connsiteX0" fmla="*/ 13845 w 14011"/>
                      <a:gd name="connsiteY0" fmla="*/ 1589 h 9125"/>
                      <a:gd name="connsiteX1" fmla="*/ 8508 w 14011"/>
                      <a:gd name="connsiteY1" fmla="*/ 8023 h 9125"/>
                      <a:gd name="connsiteX2" fmla="*/ 166 w 14011"/>
                      <a:gd name="connsiteY2" fmla="*/ 7537 h 9125"/>
                      <a:gd name="connsiteX3" fmla="*/ 5503 w 14011"/>
                      <a:gd name="connsiteY3" fmla="*/ 1103 h 9125"/>
                      <a:gd name="connsiteX4" fmla="*/ 13845 w 14011"/>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1" h="9125">
                        <a:moveTo>
                          <a:pt x="13845" y="1589"/>
                        </a:moveTo>
                        <a:cubicBezTo>
                          <a:pt x="14680" y="3497"/>
                          <a:pt x="12286" y="6377"/>
                          <a:pt x="8508" y="8023"/>
                        </a:cubicBezTo>
                        <a:cubicBezTo>
                          <a:pt x="4730" y="9669"/>
                          <a:pt x="989" y="9445"/>
                          <a:pt x="166" y="7537"/>
                        </a:cubicBezTo>
                        <a:cubicBezTo>
                          <a:pt x="-669" y="5629"/>
                          <a:pt x="1725" y="2749"/>
                          <a:pt x="5503" y="1103"/>
                        </a:cubicBezTo>
                        <a:cubicBezTo>
                          <a:pt x="9281" y="-543"/>
                          <a:pt x="13022" y="-319"/>
                          <a:pt x="13845"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5" name="Freeform: Shape 2314">
                    <a:extLst>
                      <a:ext uri="{FF2B5EF4-FFF2-40B4-BE49-F238E27FC236}">
                        <a16:creationId xmlns:a16="http://schemas.microsoft.com/office/drawing/2014/main" id="{173B4073-44E5-132C-0D80-BF8769B4E151}"/>
                      </a:ext>
                    </a:extLst>
                  </p:cNvPr>
                  <p:cNvSpPr/>
                  <p:nvPr/>
                </p:nvSpPr>
                <p:spPr>
                  <a:xfrm>
                    <a:off x="7938341" y="3567700"/>
                    <a:ext cx="14011" cy="9125"/>
                  </a:xfrm>
                  <a:custGeom>
                    <a:avLst/>
                    <a:gdLst>
                      <a:gd name="connsiteX0" fmla="*/ 13845 w 14011"/>
                      <a:gd name="connsiteY0" fmla="*/ 1589 h 9125"/>
                      <a:gd name="connsiteX1" fmla="*/ 8508 w 14011"/>
                      <a:gd name="connsiteY1" fmla="*/ 8023 h 9125"/>
                      <a:gd name="connsiteX2" fmla="*/ 166 w 14011"/>
                      <a:gd name="connsiteY2" fmla="*/ 7537 h 9125"/>
                      <a:gd name="connsiteX3" fmla="*/ 5503 w 14011"/>
                      <a:gd name="connsiteY3" fmla="*/ 1103 h 9125"/>
                      <a:gd name="connsiteX4" fmla="*/ 13845 w 14011"/>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1" h="9125">
                        <a:moveTo>
                          <a:pt x="13845" y="1589"/>
                        </a:moveTo>
                        <a:cubicBezTo>
                          <a:pt x="14680" y="3497"/>
                          <a:pt x="12286" y="6377"/>
                          <a:pt x="8508" y="8023"/>
                        </a:cubicBezTo>
                        <a:cubicBezTo>
                          <a:pt x="4730" y="9669"/>
                          <a:pt x="989" y="9445"/>
                          <a:pt x="166" y="7537"/>
                        </a:cubicBezTo>
                        <a:cubicBezTo>
                          <a:pt x="-669" y="5629"/>
                          <a:pt x="1725" y="2749"/>
                          <a:pt x="5503" y="1103"/>
                        </a:cubicBezTo>
                        <a:cubicBezTo>
                          <a:pt x="9281" y="-543"/>
                          <a:pt x="13022" y="-319"/>
                          <a:pt x="13845"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6" name="Freeform: Shape 2315">
                    <a:extLst>
                      <a:ext uri="{FF2B5EF4-FFF2-40B4-BE49-F238E27FC236}">
                        <a16:creationId xmlns:a16="http://schemas.microsoft.com/office/drawing/2014/main" id="{36E4D085-CF98-1542-2518-E23B8E696510}"/>
                      </a:ext>
                    </a:extLst>
                  </p:cNvPr>
                  <p:cNvSpPr/>
                  <p:nvPr/>
                </p:nvSpPr>
                <p:spPr>
                  <a:xfrm>
                    <a:off x="7933777" y="3543473"/>
                    <a:ext cx="14011" cy="9125"/>
                  </a:xfrm>
                  <a:custGeom>
                    <a:avLst/>
                    <a:gdLst>
                      <a:gd name="connsiteX0" fmla="*/ 13845 w 14011"/>
                      <a:gd name="connsiteY0" fmla="*/ 1589 h 9125"/>
                      <a:gd name="connsiteX1" fmla="*/ 8508 w 14011"/>
                      <a:gd name="connsiteY1" fmla="*/ 8023 h 9125"/>
                      <a:gd name="connsiteX2" fmla="*/ 166 w 14011"/>
                      <a:gd name="connsiteY2" fmla="*/ 7537 h 9125"/>
                      <a:gd name="connsiteX3" fmla="*/ 5503 w 14011"/>
                      <a:gd name="connsiteY3" fmla="*/ 1103 h 9125"/>
                      <a:gd name="connsiteX4" fmla="*/ 13845 w 14011"/>
                      <a:gd name="connsiteY4" fmla="*/ 1589 h 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1" h="9125">
                        <a:moveTo>
                          <a:pt x="13845" y="1589"/>
                        </a:moveTo>
                        <a:cubicBezTo>
                          <a:pt x="14680" y="3497"/>
                          <a:pt x="12286" y="6377"/>
                          <a:pt x="8508" y="8023"/>
                        </a:cubicBezTo>
                        <a:cubicBezTo>
                          <a:pt x="4730" y="9669"/>
                          <a:pt x="989" y="9444"/>
                          <a:pt x="166" y="7537"/>
                        </a:cubicBezTo>
                        <a:cubicBezTo>
                          <a:pt x="-669" y="5629"/>
                          <a:pt x="1725" y="2749"/>
                          <a:pt x="5503" y="1103"/>
                        </a:cubicBezTo>
                        <a:cubicBezTo>
                          <a:pt x="9281" y="-543"/>
                          <a:pt x="13022" y="-319"/>
                          <a:pt x="13845" y="1589"/>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317" name="Graphic 525">
              <a:extLst>
                <a:ext uri="{FF2B5EF4-FFF2-40B4-BE49-F238E27FC236}">
                  <a16:creationId xmlns:a16="http://schemas.microsoft.com/office/drawing/2014/main" id="{EEC2F7F9-68A6-1531-C043-7EAA0E6B0F1C}"/>
                </a:ext>
              </a:extLst>
            </p:cNvPr>
            <p:cNvGrpSpPr/>
            <p:nvPr/>
          </p:nvGrpSpPr>
          <p:grpSpPr>
            <a:xfrm>
              <a:off x="4156040" y="2881774"/>
              <a:ext cx="394176" cy="307550"/>
              <a:chOff x="7729561" y="2910915"/>
              <a:chExt cx="475393" cy="370918"/>
            </a:xfrm>
            <a:solidFill>
              <a:srgbClr val="253568"/>
            </a:solidFill>
          </p:grpSpPr>
          <p:sp>
            <p:nvSpPr>
              <p:cNvPr id="2318" name="Freeform: Shape 2317">
                <a:extLst>
                  <a:ext uri="{FF2B5EF4-FFF2-40B4-BE49-F238E27FC236}">
                    <a16:creationId xmlns:a16="http://schemas.microsoft.com/office/drawing/2014/main" id="{98136B49-753C-B4C1-9724-2D3481E5071F}"/>
                  </a:ext>
                </a:extLst>
              </p:cNvPr>
              <p:cNvSpPr/>
              <p:nvPr/>
            </p:nvSpPr>
            <p:spPr>
              <a:xfrm>
                <a:off x="7962600" y="2910915"/>
                <a:ext cx="234374" cy="305133"/>
              </a:xfrm>
              <a:custGeom>
                <a:avLst/>
                <a:gdLst>
                  <a:gd name="connsiteX0" fmla="*/ 106583 w 234374"/>
                  <a:gd name="connsiteY0" fmla="*/ 418 h 305133"/>
                  <a:gd name="connsiteX1" fmla="*/ 203493 w 234374"/>
                  <a:gd name="connsiteY1" fmla="*/ 71280 h 305133"/>
                  <a:gd name="connsiteX2" fmla="*/ 229217 w 234374"/>
                  <a:gd name="connsiteY2" fmla="*/ 162840 h 305133"/>
                  <a:gd name="connsiteX3" fmla="*/ 180388 w 234374"/>
                  <a:gd name="connsiteY3" fmla="*/ 287095 h 305133"/>
                  <a:gd name="connsiteX4" fmla="*/ 18639 w 234374"/>
                  <a:gd name="connsiteY4" fmla="*/ 235211 h 305133"/>
                  <a:gd name="connsiteX5" fmla="*/ 758 w 234374"/>
                  <a:gd name="connsiteY5" fmla="*/ 84360 h 305133"/>
                  <a:gd name="connsiteX6" fmla="*/ 106583 w 234374"/>
                  <a:gd name="connsiteY6" fmla="*/ 418 h 3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374" h="305133">
                    <a:moveTo>
                      <a:pt x="106583" y="418"/>
                    </a:moveTo>
                    <a:cubicBezTo>
                      <a:pt x="106583" y="418"/>
                      <a:pt x="195201" y="1515"/>
                      <a:pt x="203493" y="71280"/>
                    </a:cubicBezTo>
                    <a:cubicBezTo>
                      <a:pt x="205588" y="92278"/>
                      <a:pt x="215925" y="134835"/>
                      <a:pt x="229217" y="162840"/>
                    </a:cubicBezTo>
                    <a:cubicBezTo>
                      <a:pt x="242509" y="190834"/>
                      <a:pt x="231437" y="252805"/>
                      <a:pt x="180388" y="287095"/>
                    </a:cubicBezTo>
                    <a:cubicBezTo>
                      <a:pt x="129339" y="321385"/>
                      <a:pt x="34026" y="308230"/>
                      <a:pt x="18639" y="235211"/>
                    </a:cubicBezTo>
                    <a:cubicBezTo>
                      <a:pt x="3090" y="161431"/>
                      <a:pt x="11669" y="134935"/>
                      <a:pt x="758" y="84360"/>
                    </a:cubicBezTo>
                    <a:cubicBezTo>
                      <a:pt x="-7372" y="46641"/>
                      <a:pt x="51333" y="-5181"/>
                      <a:pt x="106583" y="418"/>
                    </a:cubicBez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9" name="Freeform: Shape 2318">
                <a:extLst>
                  <a:ext uri="{FF2B5EF4-FFF2-40B4-BE49-F238E27FC236}">
                    <a16:creationId xmlns:a16="http://schemas.microsoft.com/office/drawing/2014/main" id="{731D7492-053C-1403-E5A4-70E0E6D1930B}"/>
                  </a:ext>
                </a:extLst>
              </p:cNvPr>
              <p:cNvSpPr/>
              <p:nvPr/>
            </p:nvSpPr>
            <p:spPr>
              <a:xfrm>
                <a:off x="7729561" y="3027992"/>
                <a:ext cx="475393" cy="253840"/>
              </a:xfrm>
              <a:custGeom>
                <a:avLst/>
                <a:gdLst>
                  <a:gd name="connsiteX0" fmla="*/ 299584 w 475393"/>
                  <a:gd name="connsiteY0" fmla="*/ 9789 h 253840"/>
                  <a:gd name="connsiteX1" fmla="*/ 95053 w 475393"/>
                  <a:gd name="connsiteY1" fmla="*/ 29703 h 253840"/>
                  <a:gd name="connsiteX2" fmla="*/ 9977 w 475393"/>
                  <a:gd name="connsiteY2" fmla="*/ 67708 h 253840"/>
                  <a:gd name="connsiteX3" fmla="*/ 33506 w 475393"/>
                  <a:gd name="connsiteY3" fmla="*/ 217936 h 253840"/>
                  <a:gd name="connsiteX4" fmla="*/ 276952 w 475393"/>
                  <a:gd name="connsiteY4" fmla="*/ 250518 h 253840"/>
                  <a:gd name="connsiteX5" fmla="*/ 270618 w 475393"/>
                  <a:gd name="connsiteY5" fmla="*/ 226078 h 253840"/>
                  <a:gd name="connsiteX6" fmla="*/ 462480 w 475393"/>
                  <a:gd name="connsiteY6" fmla="*/ 141912 h 253840"/>
                  <a:gd name="connsiteX7" fmla="*/ 299584 w 475393"/>
                  <a:gd name="connsiteY7" fmla="*/ 9777 h 25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393" h="253840">
                    <a:moveTo>
                      <a:pt x="299584" y="9789"/>
                    </a:moveTo>
                    <a:cubicBezTo>
                      <a:pt x="299584" y="9789"/>
                      <a:pt x="138495" y="20650"/>
                      <a:pt x="95053" y="29703"/>
                    </a:cubicBezTo>
                    <a:cubicBezTo>
                      <a:pt x="51611" y="38755"/>
                      <a:pt x="17221" y="57758"/>
                      <a:pt x="9977" y="67708"/>
                    </a:cubicBezTo>
                    <a:cubicBezTo>
                      <a:pt x="2732" y="77659"/>
                      <a:pt x="-17169" y="120203"/>
                      <a:pt x="33506" y="217936"/>
                    </a:cubicBezTo>
                    <a:cubicBezTo>
                      <a:pt x="33506" y="217936"/>
                      <a:pt x="192786" y="266803"/>
                      <a:pt x="276952" y="250518"/>
                    </a:cubicBezTo>
                    <a:cubicBezTo>
                      <a:pt x="276952" y="250518"/>
                      <a:pt x="273336" y="232413"/>
                      <a:pt x="270618" y="226078"/>
                    </a:cubicBezTo>
                    <a:cubicBezTo>
                      <a:pt x="270618" y="226078"/>
                      <a:pt x="433514" y="210692"/>
                      <a:pt x="462480" y="141912"/>
                    </a:cubicBezTo>
                    <a:cubicBezTo>
                      <a:pt x="491446" y="73133"/>
                      <a:pt x="485111" y="-32755"/>
                      <a:pt x="299584" y="9777"/>
                    </a:cubicBezTo>
                    <a:close/>
                  </a:path>
                </a:pathLst>
              </a:custGeom>
              <a:solidFill>
                <a:srgbClr val="25356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22" name="Graphic 525">
              <a:extLst>
                <a:ext uri="{FF2B5EF4-FFF2-40B4-BE49-F238E27FC236}">
                  <a16:creationId xmlns:a16="http://schemas.microsoft.com/office/drawing/2014/main" id="{94223B4C-7DB6-ABFD-2C43-3D47398FB619}"/>
                </a:ext>
              </a:extLst>
            </p:cNvPr>
            <p:cNvGrpSpPr/>
            <p:nvPr/>
          </p:nvGrpSpPr>
          <p:grpSpPr>
            <a:xfrm>
              <a:off x="3966289" y="2633479"/>
              <a:ext cx="586419" cy="551972"/>
              <a:chOff x="7500713" y="2611461"/>
              <a:chExt cx="707247" cy="665702"/>
            </a:xfrm>
          </p:grpSpPr>
          <p:grpSp>
            <p:nvGrpSpPr>
              <p:cNvPr id="2323" name="Graphic 525">
                <a:extLst>
                  <a:ext uri="{FF2B5EF4-FFF2-40B4-BE49-F238E27FC236}">
                    <a16:creationId xmlns:a16="http://schemas.microsoft.com/office/drawing/2014/main" id="{95973BDF-C137-2724-E3AC-E9767B3BDC6B}"/>
                  </a:ext>
                </a:extLst>
              </p:cNvPr>
              <p:cNvGrpSpPr/>
              <p:nvPr/>
            </p:nvGrpSpPr>
            <p:grpSpPr>
              <a:xfrm>
                <a:off x="7500713" y="2701977"/>
                <a:ext cx="476787" cy="288210"/>
                <a:chOff x="7500713" y="2701977"/>
                <a:chExt cx="476787" cy="288210"/>
              </a:xfrm>
            </p:grpSpPr>
            <p:grpSp>
              <p:nvGrpSpPr>
                <p:cNvPr id="2324" name="Graphic 525">
                  <a:extLst>
                    <a:ext uri="{FF2B5EF4-FFF2-40B4-BE49-F238E27FC236}">
                      <a16:creationId xmlns:a16="http://schemas.microsoft.com/office/drawing/2014/main" id="{55AFD0F0-FEDB-93CD-D3FD-E8F2C82137D7}"/>
                    </a:ext>
                  </a:extLst>
                </p:cNvPr>
                <p:cNvGrpSpPr/>
                <p:nvPr/>
              </p:nvGrpSpPr>
              <p:grpSpPr>
                <a:xfrm>
                  <a:off x="7500713" y="2927337"/>
                  <a:ext cx="156967" cy="62570"/>
                  <a:chOff x="7500713" y="2927337"/>
                  <a:chExt cx="156967" cy="62570"/>
                </a:xfrm>
              </p:grpSpPr>
              <p:grpSp>
                <p:nvGrpSpPr>
                  <p:cNvPr id="2325" name="Graphic 525">
                    <a:extLst>
                      <a:ext uri="{FF2B5EF4-FFF2-40B4-BE49-F238E27FC236}">
                        <a16:creationId xmlns:a16="http://schemas.microsoft.com/office/drawing/2014/main" id="{A9FC49FC-58A7-A20C-F159-D21B14E6D61E}"/>
                      </a:ext>
                    </a:extLst>
                  </p:cNvPr>
                  <p:cNvGrpSpPr/>
                  <p:nvPr/>
                </p:nvGrpSpPr>
                <p:grpSpPr>
                  <a:xfrm>
                    <a:off x="7508294" y="2927337"/>
                    <a:ext cx="149386" cy="53791"/>
                    <a:chOff x="7508294" y="2927337"/>
                    <a:chExt cx="149386" cy="53791"/>
                  </a:xfrm>
                </p:grpSpPr>
                <p:sp>
                  <p:nvSpPr>
                    <p:cNvPr id="2326" name="Freeform: Shape 2325">
                      <a:extLst>
                        <a:ext uri="{FF2B5EF4-FFF2-40B4-BE49-F238E27FC236}">
                          <a16:creationId xmlns:a16="http://schemas.microsoft.com/office/drawing/2014/main" id="{71DAE34E-9E66-BF1B-2DC9-CEB7352ECB7E}"/>
                        </a:ext>
                      </a:extLst>
                    </p:cNvPr>
                    <p:cNvSpPr/>
                    <p:nvPr/>
                  </p:nvSpPr>
                  <p:spPr>
                    <a:xfrm>
                      <a:off x="7508294" y="2927337"/>
                      <a:ext cx="149386" cy="53791"/>
                    </a:xfrm>
                    <a:custGeom>
                      <a:avLst/>
                      <a:gdLst>
                        <a:gd name="connsiteX0" fmla="*/ 118262 w 149386"/>
                        <a:gd name="connsiteY0" fmla="*/ 2002 h 53791"/>
                        <a:gd name="connsiteX1" fmla="*/ 81465 w 149386"/>
                        <a:gd name="connsiteY1" fmla="*/ 10618 h 53791"/>
                        <a:gd name="connsiteX2" fmla="*/ 35305 w 149386"/>
                        <a:gd name="connsiteY2" fmla="*/ 4383 h 53791"/>
                        <a:gd name="connsiteX3" fmla="*/ 28310 w 149386"/>
                        <a:gd name="connsiteY3" fmla="*/ 5680 h 53791"/>
                        <a:gd name="connsiteX4" fmla="*/ 15454 w 149386"/>
                        <a:gd name="connsiteY4" fmla="*/ 5181 h 53791"/>
                        <a:gd name="connsiteX5" fmla="*/ 2025 w 149386"/>
                        <a:gd name="connsiteY5" fmla="*/ 17002 h 53791"/>
                        <a:gd name="connsiteX6" fmla="*/ 5005 w 149386"/>
                        <a:gd name="connsiteY6" fmla="*/ 26416 h 53791"/>
                        <a:gd name="connsiteX7" fmla="*/ 25704 w 149386"/>
                        <a:gd name="connsiteY7" fmla="*/ 24172 h 53791"/>
                        <a:gd name="connsiteX8" fmla="*/ 41016 w 149386"/>
                        <a:gd name="connsiteY8" fmla="*/ 43212 h 53791"/>
                        <a:gd name="connsiteX9" fmla="*/ 69882 w 149386"/>
                        <a:gd name="connsiteY9" fmla="*/ 53062 h 53791"/>
                        <a:gd name="connsiteX10" fmla="*/ 120506 w 149386"/>
                        <a:gd name="connsiteY10" fmla="*/ 48000 h 53791"/>
                        <a:gd name="connsiteX11" fmla="*/ 148811 w 149386"/>
                        <a:gd name="connsiteY11" fmla="*/ 16154 h 53791"/>
                        <a:gd name="connsiteX12" fmla="*/ 118249 w 149386"/>
                        <a:gd name="connsiteY12" fmla="*/ 2026 h 5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386" h="53791">
                          <a:moveTo>
                            <a:pt x="118262" y="2002"/>
                          </a:moveTo>
                          <a:cubicBezTo>
                            <a:pt x="118262" y="2002"/>
                            <a:pt x="96703" y="11029"/>
                            <a:pt x="81465" y="10618"/>
                          </a:cubicBezTo>
                          <a:cubicBezTo>
                            <a:pt x="66228" y="10206"/>
                            <a:pt x="39395" y="5106"/>
                            <a:pt x="35305" y="4383"/>
                          </a:cubicBezTo>
                          <a:cubicBezTo>
                            <a:pt x="31202" y="3660"/>
                            <a:pt x="28310" y="5680"/>
                            <a:pt x="28310" y="5680"/>
                          </a:cubicBezTo>
                          <a:cubicBezTo>
                            <a:pt x="28310" y="5680"/>
                            <a:pt x="20217" y="3149"/>
                            <a:pt x="15454" y="5181"/>
                          </a:cubicBezTo>
                          <a:cubicBezTo>
                            <a:pt x="10691" y="7213"/>
                            <a:pt x="2025" y="17002"/>
                            <a:pt x="2025" y="17002"/>
                          </a:cubicBezTo>
                          <a:cubicBezTo>
                            <a:pt x="2025" y="17002"/>
                            <a:pt x="-4122" y="25892"/>
                            <a:pt x="5005" y="26416"/>
                          </a:cubicBezTo>
                          <a:cubicBezTo>
                            <a:pt x="14132" y="26940"/>
                            <a:pt x="22050" y="24708"/>
                            <a:pt x="25704" y="24172"/>
                          </a:cubicBezTo>
                          <a:cubicBezTo>
                            <a:pt x="29344" y="23635"/>
                            <a:pt x="39532" y="34907"/>
                            <a:pt x="41016" y="43212"/>
                          </a:cubicBezTo>
                          <a:cubicBezTo>
                            <a:pt x="42499" y="51504"/>
                            <a:pt x="54807" y="55556"/>
                            <a:pt x="69882" y="53062"/>
                          </a:cubicBezTo>
                          <a:cubicBezTo>
                            <a:pt x="84957" y="50581"/>
                            <a:pt x="95668" y="49259"/>
                            <a:pt x="120506" y="48000"/>
                          </a:cubicBezTo>
                          <a:cubicBezTo>
                            <a:pt x="145344" y="46740"/>
                            <a:pt x="151479" y="28798"/>
                            <a:pt x="148811" y="16154"/>
                          </a:cubicBezTo>
                          <a:cubicBezTo>
                            <a:pt x="146143" y="3510"/>
                            <a:pt x="136030" y="-3784"/>
                            <a:pt x="118249" y="202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27" name="Freeform: Shape 2326">
                      <a:extLst>
                        <a:ext uri="{FF2B5EF4-FFF2-40B4-BE49-F238E27FC236}">
                          <a16:creationId xmlns:a16="http://schemas.microsoft.com/office/drawing/2014/main" id="{301542A6-FBCF-A11D-2ED0-1CB48C26C465}"/>
                        </a:ext>
                      </a:extLst>
                    </p:cNvPr>
                    <p:cNvSpPr/>
                    <p:nvPr/>
                  </p:nvSpPr>
                  <p:spPr>
                    <a:xfrm>
                      <a:off x="7511528" y="2945760"/>
                      <a:ext cx="25586" cy="8071"/>
                    </a:xfrm>
                    <a:custGeom>
                      <a:avLst/>
                      <a:gdLst>
                        <a:gd name="connsiteX0" fmla="*/ 25574 w 25586"/>
                        <a:gd name="connsiteY0" fmla="*/ 6883 h 8071"/>
                        <a:gd name="connsiteX1" fmla="*/ 18030 w 25586"/>
                        <a:gd name="connsiteY1" fmla="*/ 0 h 8071"/>
                        <a:gd name="connsiteX2" fmla="*/ 0 w 25586"/>
                        <a:gd name="connsiteY2" fmla="*/ 7743 h 8071"/>
                        <a:gd name="connsiteX3" fmla="*/ 1771 w 25586"/>
                        <a:gd name="connsiteY3" fmla="*/ 7993 h 8071"/>
                        <a:gd name="connsiteX4" fmla="*/ 22469 w 25586"/>
                        <a:gd name="connsiteY4" fmla="*/ 5748 h 8071"/>
                        <a:gd name="connsiteX5" fmla="*/ 25587 w 25586"/>
                        <a:gd name="connsiteY5" fmla="*/ 6895 h 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86" h="8071">
                          <a:moveTo>
                            <a:pt x="25574" y="6883"/>
                          </a:moveTo>
                          <a:cubicBezTo>
                            <a:pt x="24078" y="5736"/>
                            <a:pt x="19814" y="2257"/>
                            <a:pt x="18030" y="0"/>
                          </a:cubicBezTo>
                          <a:cubicBezTo>
                            <a:pt x="18030" y="0"/>
                            <a:pt x="12556" y="5337"/>
                            <a:pt x="0" y="7743"/>
                          </a:cubicBezTo>
                          <a:cubicBezTo>
                            <a:pt x="511" y="7868"/>
                            <a:pt x="1097" y="7943"/>
                            <a:pt x="1771" y="7993"/>
                          </a:cubicBezTo>
                          <a:cubicBezTo>
                            <a:pt x="10898" y="8516"/>
                            <a:pt x="18816" y="6284"/>
                            <a:pt x="22469" y="5748"/>
                          </a:cubicBezTo>
                          <a:cubicBezTo>
                            <a:pt x="23255" y="5636"/>
                            <a:pt x="24340" y="6060"/>
                            <a:pt x="25587" y="6895"/>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28" name="Freeform: Shape 2327">
                      <a:extLst>
                        <a:ext uri="{FF2B5EF4-FFF2-40B4-BE49-F238E27FC236}">
                          <a16:creationId xmlns:a16="http://schemas.microsoft.com/office/drawing/2014/main" id="{A2A83103-226F-4EA2-D2F1-302B0FD5258C}"/>
                        </a:ext>
                      </a:extLst>
                    </p:cNvPr>
                    <p:cNvSpPr/>
                    <p:nvPr/>
                  </p:nvSpPr>
                  <p:spPr>
                    <a:xfrm>
                      <a:off x="7536537" y="2932942"/>
                      <a:ext cx="8670" cy="4788"/>
                    </a:xfrm>
                    <a:custGeom>
                      <a:avLst/>
                      <a:gdLst>
                        <a:gd name="connsiteX0" fmla="*/ 67 w 8670"/>
                        <a:gd name="connsiteY0" fmla="*/ 0 h 4788"/>
                        <a:gd name="connsiteX1" fmla="*/ 2610 w 8670"/>
                        <a:gd name="connsiteY1" fmla="*/ 262 h 4788"/>
                        <a:gd name="connsiteX2" fmla="*/ 3870 w 8670"/>
                        <a:gd name="connsiteY2" fmla="*/ 549 h 4788"/>
                        <a:gd name="connsiteX3" fmla="*/ 5117 w 8670"/>
                        <a:gd name="connsiteY3" fmla="*/ 960 h 4788"/>
                        <a:gd name="connsiteX4" fmla="*/ 7486 w 8670"/>
                        <a:gd name="connsiteY4" fmla="*/ 2220 h 4788"/>
                        <a:gd name="connsiteX5" fmla="*/ 8670 w 8670"/>
                        <a:gd name="connsiteY5" fmla="*/ 4701 h 4788"/>
                        <a:gd name="connsiteX6" fmla="*/ 8583 w 8670"/>
                        <a:gd name="connsiteY6" fmla="*/ 4788 h 4788"/>
                        <a:gd name="connsiteX7" fmla="*/ 7473 w 8670"/>
                        <a:gd name="connsiteY7" fmla="*/ 4065 h 4788"/>
                        <a:gd name="connsiteX8" fmla="*/ 6501 w 8670"/>
                        <a:gd name="connsiteY8" fmla="*/ 3454 h 4788"/>
                        <a:gd name="connsiteX9" fmla="*/ 5566 w 8670"/>
                        <a:gd name="connsiteY9" fmla="*/ 2793 h 4788"/>
                        <a:gd name="connsiteX10" fmla="*/ 4593 w 8670"/>
                        <a:gd name="connsiteY10" fmla="*/ 2108 h 4788"/>
                        <a:gd name="connsiteX11" fmla="*/ 3521 w 8670"/>
                        <a:gd name="connsiteY11" fmla="*/ 1546 h 4788"/>
                        <a:gd name="connsiteX12" fmla="*/ 2398 w 8670"/>
                        <a:gd name="connsiteY12" fmla="*/ 1035 h 4788"/>
                        <a:gd name="connsiteX13" fmla="*/ 54 w 8670"/>
                        <a:gd name="connsiteY13" fmla="*/ 162 h 4788"/>
                        <a:gd name="connsiteX14" fmla="*/ 5 w 8670"/>
                        <a:gd name="connsiteY14" fmla="*/ 62 h 4788"/>
                        <a:gd name="connsiteX15" fmla="*/ 79 w 8670"/>
                        <a:gd name="connsiteY15" fmla="*/ 12 h 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70" h="4788">
                          <a:moveTo>
                            <a:pt x="67" y="0"/>
                          </a:moveTo>
                          <a:cubicBezTo>
                            <a:pt x="927" y="0"/>
                            <a:pt x="1763" y="112"/>
                            <a:pt x="2610" y="262"/>
                          </a:cubicBezTo>
                          <a:cubicBezTo>
                            <a:pt x="3034" y="337"/>
                            <a:pt x="3458" y="437"/>
                            <a:pt x="3870" y="549"/>
                          </a:cubicBezTo>
                          <a:cubicBezTo>
                            <a:pt x="4281" y="661"/>
                            <a:pt x="4705" y="798"/>
                            <a:pt x="5117" y="960"/>
                          </a:cubicBezTo>
                          <a:cubicBezTo>
                            <a:pt x="5927" y="1272"/>
                            <a:pt x="6838" y="1546"/>
                            <a:pt x="7486" y="2220"/>
                          </a:cubicBezTo>
                          <a:cubicBezTo>
                            <a:pt x="8134" y="2868"/>
                            <a:pt x="8670" y="3741"/>
                            <a:pt x="8670" y="4701"/>
                          </a:cubicBezTo>
                          <a:cubicBezTo>
                            <a:pt x="8670" y="4751"/>
                            <a:pt x="8633" y="4788"/>
                            <a:pt x="8583" y="4788"/>
                          </a:cubicBezTo>
                          <a:cubicBezTo>
                            <a:pt x="8533" y="4776"/>
                            <a:pt x="7473" y="4065"/>
                            <a:pt x="7473" y="4065"/>
                          </a:cubicBezTo>
                          <a:cubicBezTo>
                            <a:pt x="7149" y="3841"/>
                            <a:pt x="6813" y="3654"/>
                            <a:pt x="6501" y="3454"/>
                          </a:cubicBezTo>
                          <a:cubicBezTo>
                            <a:pt x="6177" y="3255"/>
                            <a:pt x="5865" y="3043"/>
                            <a:pt x="5566" y="2793"/>
                          </a:cubicBezTo>
                          <a:cubicBezTo>
                            <a:pt x="5266" y="2544"/>
                            <a:pt x="4942" y="2307"/>
                            <a:pt x="4593" y="2108"/>
                          </a:cubicBezTo>
                          <a:cubicBezTo>
                            <a:pt x="4244" y="1908"/>
                            <a:pt x="3895" y="1721"/>
                            <a:pt x="3521" y="1546"/>
                          </a:cubicBezTo>
                          <a:cubicBezTo>
                            <a:pt x="3159" y="1359"/>
                            <a:pt x="2785" y="1197"/>
                            <a:pt x="2398" y="1035"/>
                          </a:cubicBezTo>
                          <a:cubicBezTo>
                            <a:pt x="1638" y="711"/>
                            <a:pt x="852" y="424"/>
                            <a:pt x="54" y="162"/>
                          </a:cubicBezTo>
                          <a:cubicBezTo>
                            <a:pt x="5" y="150"/>
                            <a:pt x="-8" y="100"/>
                            <a:pt x="5" y="62"/>
                          </a:cubicBezTo>
                          <a:cubicBezTo>
                            <a:pt x="5" y="25"/>
                            <a:pt x="42" y="12"/>
                            <a:pt x="79" y="12"/>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29" name="Graphic 525">
                    <a:extLst>
                      <a:ext uri="{FF2B5EF4-FFF2-40B4-BE49-F238E27FC236}">
                        <a16:creationId xmlns:a16="http://schemas.microsoft.com/office/drawing/2014/main" id="{9353E153-96B3-AAED-8CD0-4978C1B121F3}"/>
                      </a:ext>
                    </a:extLst>
                  </p:cNvPr>
                  <p:cNvGrpSpPr/>
                  <p:nvPr/>
                </p:nvGrpSpPr>
                <p:grpSpPr>
                  <a:xfrm>
                    <a:off x="7500713" y="2938748"/>
                    <a:ext cx="28488" cy="51159"/>
                    <a:chOff x="7500713" y="2938748"/>
                    <a:chExt cx="28488" cy="51159"/>
                  </a:xfrm>
                </p:grpSpPr>
                <p:sp>
                  <p:nvSpPr>
                    <p:cNvPr id="2330" name="Freeform: Shape 2329">
                      <a:extLst>
                        <a:ext uri="{FF2B5EF4-FFF2-40B4-BE49-F238E27FC236}">
                          <a16:creationId xmlns:a16="http://schemas.microsoft.com/office/drawing/2014/main" id="{C4B8916D-CDA4-81F3-656B-017BDCF1FCD2}"/>
                        </a:ext>
                      </a:extLst>
                    </p:cNvPr>
                    <p:cNvSpPr/>
                    <p:nvPr/>
                  </p:nvSpPr>
                  <p:spPr>
                    <a:xfrm>
                      <a:off x="7500713" y="2938748"/>
                      <a:ext cx="24797" cy="51152"/>
                    </a:xfrm>
                    <a:custGeom>
                      <a:avLst/>
                      <a:gdLst>
                        <a:gd name="connsiteX0" fmla="*/ 24768 w 24797"/>
                        <a:gd name="connsiteY0" fmla="*/ 24868 h 51152"/>
                        <a:gd name="connsiteX1" fmla="*/ 16389 w 24797"/>
                        <a:gd name="connsiteY1" fmla="*/ 51153 h 51152"/>
                        <a:gd name="connsiteX2" fmla="*/ 13571 w 24797"/>
                        <a:gd name="connsiteY2" fmla="*/ 50866 h 51152"/>
                        <a:gd name="connsiteX3" fmla="*/ 13134 w 24797"/>
                        <a:gd name="connsiteY3" fmla="*/ 50866 h 51152"/>
                        <a:gd name="connsiteX4" fmla="*/ 54 w 24797"/>
                        <a:gd name="connsiteY4" fmla="*/ 25990 h 51152"/>
                        <a:gd name="connsiteX5" fmla="*/ 11264 w 24797"/>
                        <a:gd name="connsiteY5" fmla="*/ 5 h 51152"/>
                        <a:gd name="connsiteX6" fmla="*/ 12286 w 24797"/>
                        <a:gd name="connsiteY6" fmla="*/ 42 h 51152"/>
                        <a:gd name="connsiteX7" fmla="*/ 14930 w 24797"/>
                        <a:gd name="connsiteY7" fmla="*/ 304 h 51152"/>
                        <a:gd name="connsiteX8" fmla="*/ 24768 w 24797"/>
                        <a:gd name="connsiteY8" fmla="*/ 24868 h 5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7" h="51152">
                          <a:moveTo>
                            <a:pt x="24768" y="24868"/>
                          </a:moveTo>
                          <a:cubicBezTo>
                            <a:pt x="25379" y="38335"/>
                            <a:pt x="16389" y="51153"/>
                            <a:pt x="16389" y="51153"/>
                          </a:cubicBezTo>
                          <a:cubicBezTo>
                            <a:pt x="16389" y="51153"/>
                            <a:pt x="13845" y="50854"/>
                            <a:pt x="13571" y="50866"/>
                          </a:cubicBezTo>
                          <a:cubicBezTo>
                            <a:pt x="13421" y="50866"/>
                            <a:pt x="13271" y="50866"/>
                            <a:pt x="13134" y="50866"/>
                          </a:cubicBezTo>
                          <a:cubicBezTo>
                            <a:pt x="6488" y="50691"/>
                            <a:pt x="678" y="39731"/>
                            <a:pt x="54" y="25990"/>
                          </a:cubicBezTo>
                          <a:cubicBezTo>
                            <a:pt x="-582" y="11950"/>
                            <a:pt x="4431" y="316"/>
                            <a:pt x="11264" y="5"/>
                          </a:cubicBezTo>
                          <a:cubicBezTo>
                            <a:pt x="11613" y="-8"/>
                            <a:pt x="11950" y="5"/>
                            <a:pt x="12286" y="42"/>
                          </a:cubicBezTo>
                          <a:cubicBezTo>
                            <a:pt x="12723" y="92"/>
                            <a:pt x="14930" y="304"/>
                            <a:pt x="14930" y="304"/>
                          </a:cubicBezTo>
                          <a:cubicBezTo>
                            <a:pt x="14930" y="304"/>
                            <a:pt x="24207" y="12449"/>
                            <a:pt x="24768" y="24868"/>
                          </a:cubicBezTo>
                          <a:close/>
                        </a:path>
                      </a:pathLst>
                    </a:custGeom>
                    <a:solidFill>
                      <a:srgbClr val="3C4A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31" name="Freeform: Shape 2330">
                      <a:extLst>
                        <a:ext uri="{FF2B5EF4-FFF2-40B4-BE49-F238E27FC236}">
                          <a16:creationId xmlns:a16="http://schemas.microsoft.com/office/drawing/2014/main" id="{7D2E353C-2D98-B363-7205-3A4127CEE0A8}"/>
                        </a:ext>
                      </a:extLst>
                    </p:cNvPr>
                    <p:cNvSpPr/>
                    <p:nvPr/>
                  </p:nvSpPr>
                  <p:spPr>
                    <a:xfrm>
                      <a:off x="7504366" y="2939045"/>
                      <a:ext cx="24835" cy="50861"/>
                    </a:xfrm>
                    <a:custGeom>
                      <a:avLst/>
                      <a:gdLst>
                        <a:gd name="connsiteX0" fmla="*/ 24781 w 24835"/>
                        <a:gd name="connsiteY0" fmla="*/ 24870 h 50861"/>
                        <a:gd name="connsiteX1" fmla="*/ 13571 w 24835"/>
                        <a:gd name="connsiteY1" fmla="*/ 50855 h 50861"/>
                        <a:gd name="connsiteX2" fmla="*/ 54 w 24835"/>
                        <a:gd name="connsiteY2" fmla="*/ 25992 h 50861"/>
                        <a:gd name="connsiteX3" fmla="*/ 11264 w 24835"/>
                        <a:gd name="connsiteY3" fmla="*/ 6 h 50861"/>
                        <a:gd name="connsiteX4" fmla="*/ 24781 w 24835"/>
                        <a:gd name="connsiteY4" fmla="*/ 24870 h 50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35" h="50861">
                          <a:moveTo>
                            <a:pt x="24781" y="24870"/>
                          </a:moveTo>
                          <a:cubicBezTo>
                            <a:pt x="25417" y="38910"/>
                            <a:pt x="20404" y="50544"/>
                            <a:pt x="13571" y="50855"/>
                          </a:cubicBezTo>
                          <a:cubicBezTo>
                            <a:pt x="6738" y="51167"/>
                            <a:pt x="690" y="40032"/>
                            <a:pt x="54" y="25992"/>
                          </a:cubicBezTo>
                          <a:cubicBezTo>
                            <a:pt x="-582" y="11952"/>
                            <a:pt x="4431" y="318"/>
                            <a:pt x="11264" y="6"/>
                          </a:cubicBezTo>
                          <a:cubicBezTo>
                            <a:pt x="18097" y="-305"/>
                            <a:pt x="24145" y="10829"/>
                            <a:pt x="24781" y="24870"/>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32" name="Freeform: Shape 2331">
                    <a:extLst>
                      <a:ext uri="{FF2B5EF4-FFF2-40B4-BE49-F238E27FC236}">
                        <a16:creationId xmlns:a16="http://schemas.microsoft.com/office/drawing/2014/main" id="{7895AE17-6C5E-31DF-2168-9E4148BDF53C}"/>
                      </a:ext>
                    </a:extLst>
                  </p:cNvPr>
                  <p:cNvSpPr/>
                  <p:nvPr/>
                </p:nvSpPr>
                <p:spPr>
                  <a:xfrm>
                    <a:off x="7510959" y="2965016"/>
                    <a:ext cx="73463" cy="22762"/>
                  </a:xfrm>
                  <a:custGeom>
                    <a:avLst/>
                    <a:gdLst>
                      <a:gd name="connsiteX0" fmla="*/ 73464 w 73463"/>
                      <a:gd name="connsiteY0" fmla="*/ 14448 h 22762"/>
                      <a:gd name="connsiteX1" fmla="*/ 49473 w 73463"/>
                      <a:gd name="connsiteY1" fmla="*/ 21443 h 22762"/>
                      <a:gd name="connsiteX2" fmla="*/ 15383 w 73463"/>
                      <a:gd name="connsiteY2" fmla="*/ 17677 h 22762"/>
                      <a:gd name="connsiteX3" fmla="*/ 71 w 73463"/>
                      <a:gd name="connsiteY3" fmla="*/ 7690 h 22762"/>
                      <a:gd name="connsiteX4" fmla="*/ 14909 w 73463"/>
                      <a:gd name="connsiteY4" fmla="*/ 3637 h 22762"/>
                      <a:gd name="connsiteX5" fmla="*/ 39485 w 73463"/>
                      <a:gd name="connsiteY5" fmla="*/ 2415 h 22762"/>
                      <a:gd name="connsiteX6" fmla="*/ 73464 w 73463"/>
                      <a:gd name="connsiteY6" fmla="*/ 14448 h 2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63" h="22762">
                        <a:moveTo>
                          <a:pt x="73464" y="14448"/>
                        </a:moveTo>
                        <a:cubicBezTo>
                          <a:pt x="73464" y="14448"/>
                          <a:pt x="60446" y="18226"/>
                          <a:pt x="49473" y="21443"/>
                        </a:cubicBezTo>
                        <a:cubicBezTo>
                          <a:pt x="38500" y="24660"/>
                          <a:pt x="26056" y="21443"/>
                          <a:pt x="15383" y="17677"/>
                        </a:cubicBezTo>
                        <a:cubicBezTo>
                          <a:pt x="4709" y="13912"/>
                          <a:pt x="-690" y="11530"/>
                          <a:pt x="71" y="7690"/>
                        </a:cubicBezTo>
                        <a:cubicBezTo>
                          <a:pt x="831" y="3849"/>
                          <a:pt x="7377" y="1293"/>
                          <a:pt x="14909" y="3637"/>
                        </a:cubicBezTo>
                        <a:cubicBezTo>
                          <a:pt x="22440" y="5981"/>
                          <a:pt x="33401" y="8101"/>
                          <a:pt x="39485" y="2415"/>
                        </a:cubicBezTo>
                        <a:cubicBezTo>
                          <a:pt x="45570" y="-3271"/>
                          <a:pt x="67516" y="1218"/>
                          <a:pt x="73464" y="14448"/>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33" name="Graphic 525">
                  <a:extLst>
                    <a:ext uri="{FF2B5EF4-FFF2-40B4-BE49-F238E27FC236}">
                      <a16:creationId xmlns:a16="http://schemas.microsoft.com/office/drawing/2014/main" id="{CA32EA6C-8A78-DA3B-19CE-BD96992663DB}"/>
                    </a:ext>
                  </a:extLst>
                </p:cNvPr>
                <p:cNvGrpSpPr/>
                <p:nvPr/>
              </p:nvGrpSpPr>
              <p:grpSpPr>
                <a:xfrm>
                  <a:off x="7590256" y="2873079"/>
                  <a:ext cx="260112" cy="117107"/>
                  <a:chOff x="7590256" y="2873079"/>
                  <a:chExt cx="260112" cy="117107"/>
                </a:xfrm>
              </p:grpSpPr>
              <p:sp>
                <p:nvSpPr>
                  <p:cNvPr id="2334" name="Freeform: Shape 2333">
                    <a:extLst>
                      <a:ext uri="{FF2B5EF4-FFF2-40B4-BE49-F238E27FC236}">
                        <a16:creationId xmlns:a16="http://schemas.microsoft.com/office/drawing/2014/main" id="{E67D9A34-916C-8901-3A5C-9B155B3A89F0}"/>
                      </a:ext>
                    </a:extLst>
                  </p:cNvPr>
                  <p:cNvSpPr/>
                  <p:nvPr/>
                </p:nvSpPr>
                <p:spPr>
                  <a:xfrm>
                    <a:off x="7590256" y="2878141"/>
                    <a:ext cx="245829" cy="96646"/>
                  </a:xfrm>
                  <a:custGeom>
                    <a:avLst/>
                    <a:gdLst>
                      <a:gd name="connsiteX0" fmla="*/ 221665 w 245829"/>
                      <a:gd name="connsiteY0" fmla="*/ 68741 h 96646"/>
                      <a:gd name="connsiteX1" fmla="*/ 122349 w 245829"/>
                      <a:gd name="connsiteY1" fmla="*/ 89415 h 96646"/>
                      <a:gd name="connsiteX2" fmla="*/ 2571 w 245829"/>
                      <a:gd name="connsiteY2" fmla="*/ 88393 h 96646"/>
                      <a:gd name="connsiteX3" fmla="*/ 32197 w 245829"/>
                      <a:gd name="connsiteY3" fmla="*/ 52893 h 96646"/>
                      <a:gd name="connsiteX4" fmla="*/ 143210 w 245829"/>
                      <a:gd name="connsiteY4" fmla="*/ 16708 h 96646"/>
                      <a:gd name="connsiteX5" fmla="*/ 229795 w 245829"/>
                      <a:gd name="connsiteY5" fmla="*/ 6159 h 96646"/>
                      <a:gd name="connsiteX6" fmla="*/ 221690 w 245829"/>
                      <a:gd name="connsiteY6" fmla="*/ 68754 h 9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829" h="96646">
                        <a:moveTo>
                          <a:pt x="221665" y="68741"/>
                        </a:moveTo>
                        <a:cubicBezTo>
                          <a:pt x="221665" y="68741"/>
                          <a:pt x="172874" y="81098"/>
                          <a:pt x="122349" y="89415"/>
                        </a:cubicBezTo>
                        <a:cubicBezTo>
                          <a:pt x="77398" y="96809"/>
                          <a:pt x="12010" y="101485"/>
                          <a:pt x="2571" y="88393"/>
                        </a:cubicBezTo>
                        <a:cubicBezTo>
                          <a:pt x="-6881" y="75300"/>
                          <a:pt x="11249" y="61210"/>
                          <a:pt x="32197" y="52893"/>
                        </a:cubicBezTo>
                        <a:cubicBezTo>
                          <a:pt x="62585" y="40810"/>
                          <a:pt x="118197" y="24488"/>
                          <a:pt x="143210" y="16708"/>
                        </a:cubicBezTo>
                        <a:cubicBezTo>
                          <a:pt x="178185" y="5822"/>
                          <a:pt x="212201" y="-8305"/>
                          <a:pt x="229795" y="6159"/>
                        </a:cubicBezTo>
                        <a:cubicBezTo>
                          <a:pt x="252526" y="24850"/>
                          <a:pt x="252190" y="52506"/>
                          <a:pt x="221690" y="6875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35" name="Freeform: Shape 2334">
                    <a:extLst>
                      <a:ext uri="{FF2B5EF4-FFF2-40B4-BE49-F238E27FC236}">
                        <a16:creationId xmlns:a16="http://schemas.microsoft.com/office/drawing/2014/main" id="{D1F5B946-F7F7-B132-4EAF-B735BB6AA877}"/>
                      </a:ext>
                    </a:extLst>
                  </p:cNvPr>
                  <p:cNvSpPr/>
                  <p:nvPr/>
                </p:nvSpPr>
                <p:spPr>
                  <a:xfrm>
                    <a:off x="7605565" y="2873079"/>
                    <a:ext cx="244802" cy="117107"/>
                  </a:xfrm>
                  <a:custGeom>
                    <a:avLst/>
                    <a:gdLst>
                      <a:gd name="connsiteX0" fmla="*/ 206680 w 244802"/>
                      <a:gd name="connsiteY0" fmla="*/ 1495 h 117107"/>
                      <a:gd name="connsiteX1" fmla="*/ 157652 w 244802"/>
                      <a:gd name="connsiteY1" fmla="*/ 4724 h 117107"/>
                      <a:gd name="connsiteX2" fmla="*/ 42 w 244802"/>
                      <a:gd name="connsiteY2" fmla="*/ 51371 h 117107"/>
                      <a:gd name="connsiteX3" fmla="*/ 14519 w 244802"/>
                      <a:gd name="connsiteY3" fmla="*/ 117108 h 117107"/>
                      <a:gd name="connsiteX4" fmla="*/ 163637 w 244802"/>
                      <a:gd name="connsiteY4" fmla="*/ 94078 h 117107"/>
                      <a:gd name="connsiteX5" fmla="*/ 242292 w 244802"/>
                      <a:gd name="connsiteY5" fmla="*/ 53478 h 117107"/>
                      <a:gd name="connsiteX6" fmla="*/ 206692 w 244802"/>
                      <a:gd name="connsiteY6" fmla="*/ 1495 h 1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802" h="117107">
                        <a:moveTo>
                          <a:pt x="206680" y="1495"/>
                        </a:moveTo>
                        <a:cubicBezTo>
                          <a:pt x="206680" y="1495"/>
                          <a:pt x="193438" y="-3481"/>
                          <a:pt x="157652" y="4724"/>
                        </a:cubicBezTo>
                        <a:cubicBezTo>
                          <a:pt x="127040" y="11744"/>
                          <a:pt x="37898" y="40997"/>
                          <a:pt x="42" y="51371"/>
                        </a:cubicBezTo>
                        <a:cubicBezTo>
                          <a:pt x="42" y="51371"/>
                          <a:pt x="-1529" y="65972"/>
                          <a:pt x="14519" y="117108"/>
                        </a:cubicBezTo>
                        <a:cubicBezTo>
                          <a:pt x="14519" y="117108"/>
                          <a:pt x="92351" y="108878"/>
                          <a:pt x="163637" y="94078"/>
                        </a:cubicBezTo>
                        <a:cubicBezTo>
                          <a:pt x="212191" y="84002"/>
                          <a:pt x="233588" y="64875"/>
                          <a:pt x="242292" y="53478"/>
                        </a:cubicBezTo>
                        <a:cubicBezTo>
                          <a:pt x="250995" y="42081"/>
                          <a:pt x="236581" y="9337"/>
                          <a:pt x="206692" y="1495"/>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36" name="Graphic 525">
                  <a:extLst>
                    <a:ext uri="{FF2B5EF4-FFF2-40B4-BE49-F238E27FC236}">
                      <a16:creationId xmlns:a16="http://schemas.microsoft.com/office/drawing/2014/main" id="{1ACDF088-F90D-3EB3-9622-E5BEDF53C85A}"/>
                    </a:ext>
                  </a:extLst>
                </p:cNvPr>
                <p:cNvGrpSpPr/>
                <p:nvPr/>
              </p:nvGrpSpPr>
              <p:grpSpPr>
                <a:xfrm>
                  <a:off x="7768617" y="2701977"/>
                  <a:ext cx="208882" cy="249616"/>
                  <a:chOff x="7768617" y="2701977"/>
                  <a:chExt cx="208882" cy="249616"/>
                </a:xfrm>
              </p:grpSpPr>
              <p:sp>
                <p:nvSpPr>
                  <p:cNvPr id="2337" name="Freeform: Shape 2336">
                    <a:extLst>
                      <a:ext uri="{FF2B5EF4-FFF2-40B4-BE49-F238E27FC236}">
                        <a16:creationId xmlns:a16="http://schemas.microsoft.com/office/drawing/2014/main" id="{C54C09C5-B38B-FCB9-FAB6-5FD27894AFC4}"/>
                      </a:ext>
                    </a:extLst>
                  </p:cNvPr>
                  <p:cNvSpPr/>
                  <p:nvPr/>
                </p:nvSpPr>
                <p:spPr>
                  <a:xfrm>
                    <a:off x="7770381" y="2710685"/>
                    <a:ext cx="195842" cy="238080"/>
                  </a:xfrm>
                  <a:custGeom>
                    <a:avLst/>
                    <a:gdLst>
                      <a:gd name="connsiteX0" fmla="*/ 147427 w 195842"/>
                      <a:gd name="connsiteY0" fmla="*/ 3287 h 238080"/>
                      <a:gd name="connsiteX1" fmla="*/ 90817 w 195842"/>
                      <a:gd name="connsiteY1" fmla="*/ 62527 h 238080"/>
                      <a:gd name="connsiteX2" fmla="*/ 1451 w 195842"/>
                      <a:gd name="connsiteY2" fmla="*/ 197555 h 238080"/>
                      <a:gd name="connsiteX3" fmla="*/ 45654 w 195842"/>
                      <a:gd name="connsiteY3" fmla="*/ 235586 h 238080"/>
                      <a:gd name="connsiteX4" fmla="*/ 128761 w 195842"/>
                      <a:gd name="connsiteY4" fmla="*/ 169799 h 238080"/>
                      <a:gd name="connsiteX5" fmla="*/ 194909 w 195842"/>
                      <a:gd name="connsiteY5" fmla="*/ 32227 h 238080"/>
                      <a:gd name="connsiteX6" fmla="*/ 147427 w 195842"/>
                      <a:gd name="connsiteY6" fmla="*/ 3274 h 23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42" h="238080">
                        <a:moveTo>
                          <a:pt x="147427" y="3287"/>
                        </a:moveTo>
                        <a:cubicBezTo>
                          <a:pt x="147427" y="3287"/>
                          <a:pt x="121666" y="19733"/>
                          <a:pt x="90817" y="62527"/>
                        </a:cubicBezTo>
                        <a:cubicBezTo>
                          <a:pt x="59969" y="105321"/>
                          <a:pt x="8422" y="178178"/>
                          <a:pt x="1451" y="197555"/>
                        </a:cubicBezTo>
                        <a:cubicBezTo>
                          <a:pt x="-5519" y="216932"/>
                          <a:pt x="13172" y="246945"/>
                          <a:pt x="45654" y="235586"/>
                        </a:cubicBezTo>
                        <a:cubicBezTo>
                          <a:pt x="78136" y="224226"/>
                          <a:pt x="101990" y="197131"/>
                          <a:pt x="128761" y="169799"/>
                        </a:cubicBezTo>
                        <a:cubicBezTo>
                          <a:pt x="185794" y="111580"/>
                          <a:pt x="199909" y="58462"/>
                          <a:pt x="194909" y="32227"/>
                        </a:cubicBezTo>
                        <a:cubicBezTo>
                          <a:pt x="189909" y="5992"/>
                          <a:pt x="161629" y="-6402"/>
                          <a:pt x="147427" y="327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38" name="Graphic 525">
                    <a:extLst>
                      <a:ext uri="{FF2B5EF4-FFF2-40B4-BE49-F238E27FC236}">
                        <a16:creationId xmlns:a16="http://schemas.microsoft.com/office/drawing/2014/main" id="{F32D7889-ABE9-F2C2-49E4-7C1191EFB30B}"/>
                      </a:ext>
                    </a:extLst>
                  </p:cNvPr>
                  <p:cNvGrpSpPr/>
                  <p:nvPr/>
                </p:nvGrpSpPr>
                <p:grpSpPr>
                  <a:xfrm>
                    <a:off x="7768617" y="2701977"/>
                    <a:ext cx="208882" cy="249616"/>
                    <a:chOff x="7768617" y="2701977"/>
                    <a:chExt cx="208882" cy="249616"/>
                  </a:xfrm>
                </p:grpSpPr>
                <p:sp>
                  <p:nvSpPr>
                    <p:cNvPr id="2339" name="Freeform: Shape 2338">
                      <a:extLst>
                        <a:ext uri="{FF2B5EF4-FFF2-40B4-BE49-F238E27FC236}">
                          <a16:creationId xmlns:a16="http://schemas.microsoft.com/office/drawing/2014/main" id="{9333A5A7-0181-3354-C750-707EFE3457C2}"/>
                        </a:ext>
                      </a:extLst>
                    </p:cNvPr>
                    <p:cNvSpPr/>
                    <p:nvPr/>
                  </p:nvSpPr>
                  <p:spPr>
                    <a:xfrm>
                      <a:off x="7768617" y="2701977"/>
                      <a:ext cx="208882" cy="249616"/>
                    </a:xfrm>
                    <a:custGeom>
                      <a:avLst/>
                      <a:gdLst>
                        <a:gd name="connsiteX0" fmla="*/ 129153 w 208882"/>
                        <a:gd name="connsiteY0" fmla="*/ 22132 h 249616"/>
                        <a:gd name="connsiteX1" fmla="*/ 80324 w 208882"/>
                        <a:gd name="connsiteY1" fmla="*/ 81223 h 249616"/>
                        <a:gd name="connsiteX2" fmla="*/ 15672 w 208882"/>
                        <a:gd name="connsiteY2" fmla="*/ 172746 h 249616"/>
                        <a:gd name="connsiteX3" fmla="*/ 9612 w 208882"/>
                        <a:gd name="connsiteY3" fmla="*/ 243047 h 249616"/>
                        <a:gd name="connsiteX4" fmla="*/ 69389 w 208882"/>
                        <a:gd name="connsiteY4" fmla="*/ 236987 h 249616"/>
                        <a:gd name="connsiteX5" fmla="*/ 167084 w 208882"/>
                        <a:gd name="connsiteY5" fmla="*/ 144304 h 249616"/>
                        <a:gd name="connsiteX6" fmla="*/ 207110 w 208882"/>
                        <a:gd name="connsiteY6" fmla="*/ 27656 h 249616"/>
                        <a:gd name="connsiteX7" fmla="*/ 129166 w 208882"/>
                        <a:gd name="connsiteY7" fmla="*/ 22132 h 24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2" h="249616">
                          <a:moveTo>
                            <a:pt x="129153" y="22132"/>
                          </a:moveTo>
                          <a:cubicBezTo>
                            <a:pt x="129153" y="22132"/>
                            <a:pt x="116136" y="38304"/>
                            <a:pt x="80324" y="81223"/>
                          </a:cubicBezTo>
                          <a:cubicBezTo>
                            <a:pt x="44513" y="124142"/>
                            <a:pt x="26994" y="155277"/>
                            <a:pt x="15672" y="172746"/>
                          </a:cubicBezTo>
                          <a:cubicBezTo>
                            <a:pt x="-6710" y="207236"/>
                            <a:pt x="-1710" y="230416"/>
                            <a:pt x="9612" y="243047"/>
                          </a:cubicBezTo>
                          <a:cubicBezTo>
                            <a:pt x="20822" y="255566"/>
                            <a:pt x="47269" y="248309"/>
                            <a:pt x="69389" y="236987"/>
                          </a:cubicBezTo>
                          <a:cubicBezTo>
                            <a:pt x="91509" y="225665"/>
                            <a:pt x="146535" y="169055"/>
                            <a:pt x="167084" y="144304"/>
                          </a:cubicBezTo>
                          <a:cubicBezTo>
                            <a:pt x="187621" y="119553"/>
                            <a:pt x="216325" y="61884"/>
                            <a:pt x="207110" y="27656"/>
                          </a:cubicBezTo>
                          <a:cubicBezTo>
                            <a:pt x="197895" y="-6572"/>
                            <a:pt x="159578" y="-9739"/>
                            <a:pt x="129166" y="22132"/>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40" name="Freeform: Shape 2339">
                      <a:extLst>
                        <a:ext uri="{FF2B5EF4-FFF2-40B4-BE49-F238E27FC236}">
                          <a16:creationId xmlns:a16="http://schemas.microsoft.com/office/drawing/2014/main" id="{D27E267B-DFFB-1F9B-1B21-A6B3345B81FC}"/>
                        </a:ext>
                      </a:extLst>
                    </p:cNvPr>
                    <p:cNvSpPr/>
                    <p:nvPr/>
                  </p:nvSpPr>
                  <p:spPr>
                    <a:xfrm>
                      <a:off x="7881949" y="2759559"/>
                      <a:ext cx="53415" cy="134154"/>
                    </a:xfrm>
                    <a:custGeom>
                      <a:avLst/>
                      <a:gdLst>
                        <a:gd name="connsiteX0" fmla="*/ 53416 w 53415"/>
                        <a:gd name="connsiteY0" fmla="*/ 87134 h 134154"/>
                        <a:gd name="connsiteX1" fmla="*/ 8913 w 53415"/>
                        <a:gd name="connsiteY1" fmla="*/ 0 h 134154"/>
                        <a:gd name="connsiteX2" fmla="*/ 409 w 53415"/>
                        <a:gd name="connsiteY2" fmla="*/ 73829 h 134154"/>
                        <a:gd name="connsiteX3" fmla="*/ 9512 w 53415"/>
                        <a:gd name="connsiteY3" fmla="*/ 134155 h 134154"/>
                        <a:gd name="connsiteX4" fmla="*/ 53416 w 53415"/>
                        <a:gd name="connsiteY4" fmla="*/ 87134 h 134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15" h="134154">
                          <a:moveTo>
                            <a:pt x="53416" y="87134"/>
                          </a:moveTo>
                          <a:lnTo>
                            <a:pt x="8913" y="0"/>
                          </a:lnTo>
                          <a:cubicBezTo>
                            <a:pt x="8913" y="0"/>
                            <a:pt x="5198" y="14227"/>
                            <a:pt x="409" y="73829"/>
                          </a:cubicBezTo>
                          <a:cubicBezTo>
                            <a:pt x="-2134" y="105364"/>
                            <a:pt x="7941" y="117234"/>
                            <a:pt x="9512" y="134155"/>
                          </a:cubicBezTo>
                          <a:cubicBezTo>
                            <a:pt x="26994" y="116835"/>
                            <a:pt x="43802" y="98655"/>
                            <a:pt x="53416" y="87134"/>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341" name="Graphic 525">
                <a:extLst>
                  <a:ext uri="{FF2B5EF4-FFF2-40B4-BE49-F238E27FC236}">
                    <a16:creationId xmlns:a16="http://schemas.microsoft.com/office/drawing/2014/main" id="{8208FBD0-848E-2CC0-38A7-E80D2443284C}"/>
                  </a:ext>
                </a:extLst>
              </p:cNvPr>
              <p:cNvGrpSpPr/>
              <p:nvPr/>
            </p:nvGrpSpPr>
            <p:grpSpPr>
              <a:xfrm>
                <a:off x="7738865" y="2611461"/>
                <a:ext cx="469095" cy="665702"/>
                <a:chOff x="7738865" y="2611461"/>
                <a:chExt cx="469095" cy="665702"/>
              </a:xfrm>
            </p:grpSpPr>
            <p:grpSp>
              <p:nvGrpSpPr>
                <p:cNvPr id="2342" name="Graphic 525">
                  <a:extLst>
                    <a:ext uri="{FF2B5EF4-FFF2-40B4-BE49-F238E27FC236}">
                      <a16:creationId xmlns:a16="http://schemas.microsoft.com/office/drawing/2014/main" id="{CC80A2DE-9FD5-FC82-F3F7-13F17A1CFF4B}"/>
                    </a:ext>
                  </a:extLst>
                </p:cNvPr>
                <p:cNvGrpSpPr/>
                <p:nvPr/>
              </p:nvGrpSpPr>
              <p:grpSpPr>
                <a:xfrm>
                  <a:off x="7887085" y="2611461"/>
                  <a:ext cx="297961" cy="472360"/>
                  <a:chOff x="7887085" y="2611461"/>
                  <a:chExt cx="297961" cy="472360"/>
                </a:xfrm>
              </p:grpSpPr>
              <p:sp>
                <p:nvSpPr>
                  <p:cNvPr id="2343" name="Freeform: Shape 2342">
                    <a:extLst>
                      <a:ext uri="{FF2B5EF4-FFF2-40B4-BE49-F238E27FC236}">
                        <a16:creationId xmlns:a16="http://schemas.microsoft.com/office/drawing/2014/main" id="{901AD5C5-8C70-6461-552A-959DD99EF553}"/>
                      </a:ext>
                    </a:extLst>
                  </p:cNvPr>
                  <p:cNvSpPr/>
                  <p:nvPr/>
                </p:nvSpPr>
                <p:spPr>
                  <a:xfrm>
                    <a:off x="7889482" y="2666314"/>
                    <a:ext cx="277209" cy="417507"/>
                  </a:xfrm>
                  <a:custGeom>
                    <a:avLst/>
                    <a:gdLst>
                      <a:gd name="connsiteX0" fmla="*/ 93403 w 277209"/>
                      <a:gd name="connsiteY0" fmla="*/ 11971 h 417507"/>
                      <a:gd name="connsiteX1" fmla="*/ 212283 w 277209"/>
                      <a:gd name="connsiteY1" fmla="*/ 6884 h 417507"/>
                      <a:gd name="connsiteX2" fmla="*/ 263481 w 277209"/>
                      <a:gd name="connsiteY2" fmla="*/ 163633 h 417507"/>
                      <a:gd name="connsiteX3" fmla="*/ 274666 w 277209"/>
                      <a:gd name="connsiteY3" fmla="*/ 300905 h 417507"/>
                      <a:gd name="connsiteX4" fmla="*/ 203829 w 277209"/>
                      <a:gd name="connsiteY4" fmla="*/ 411369 h 417507"/>
                      <a:gd name="connsiteX5" fmla="*/ 86807 w 277209"/>
                      <a:gd name="connsiteY5" fmla="*/ 360844 h 417507"/>
                      <a:gd name="connsiteX6" fmla="*/ 26207 w 277209"/>
                      <a:gd name="connsiteY6" fmla="*/ 204656 h 417507"/>
                      <a:gd name="connsiteX7" fmla="*/ 20845 w 277209"/>
                      <a:gd name="connsiteY7" fmla="*/ 52782 h 417507"/>
                      <a:gd name="connsiteX8" fmla="*/ 93390 w 277209"/>
                      <a:gd name="connsiteY8" fmla="*/ 11983 h 4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209" h="417507">
                        <a:moveTo>
                          <a:pt x="93403" y="11971"/>
                        </a:moveTo>
                        <a:cubicBezTo>
                          <a:pt x="93403" y="11971"/>
                          <a:pt x="161048" y="-11159"/>
                          <a:pt x="212283" y="6884"/>
                        </a:cubicBezTo>
                        <a:cubicBezTo>
                          <a:pt x="263531" y="24927"/>
                          <a:pt x="263643" y="112272"/>
                          <a:pt x="263481" y="163633"/>
                        </a:cubicBezTo>
                        <a:cubicBezTo>
                          <a:pt x="263319" y="214419"/>
                          <a:pt x="268170" y="257225"/>
                          <a:pt x="274666" y="300905"/>
                        </a:cubicBezTo>
                        <a:cubicBezTo>
                          <a:pt x="281163" y="344584"/>
                          <a:pt x="280751" y="388625"/>
                          <a:pt x="203829" y="411369"/>
                        </a:cubicBezTo>
                        <a:cubicBezTo>
                          <a:pt x="126908" y="434112"/>
                          <a:pt x="99550" y="388338"/>
                          <a:pt x="86807" y="360844"/>
                        </a:cubicBezTo>
                        <a:cubicBezTo>
                          <a:pt x="74063" y="333349"/>
                          <a:pt x="46245" y="246615"/>
                          <a:pt x="26207" y="204656"/>
                        </a:cubicBezTo>
                        <a:cubicBezTo>
                          <a:pt x="6169" y="162698"/>
                          <a:pt x="-18382" y="82733"/>
                          <a:pt x="20845" y="52782"/>
                        </a:cubicBezTo>
                        <a:cubicBezTo>
                          <a:pt x="60073" y="22832"/>
                          <a:pt x="70597" y="20562"/>
                          <a:pt x="93390" y="11983"/>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44" name="Graphic 525">
                    <a:extLst>
                      <a:ext uri="{FF2B5EF4-FFF2-40B4-BE49-F238E27FC236}">
                        <a16:creationId xmlns:a16="http://schemas.microsoft.com/office/drawing/2014/main" id="{ACF75F14-1E98-B150-4C7D-B0AECB9B7957}"/>
                      </a:ext>
                    </a:extLst>
                  </p:cNvPr>
                  <p:cNvGrpSpPr/>
                  <p:nvPr/>
                </p:nvGrpSpPr>
                <p:grpSpPr>
                  <a:xfrm>
                    <a:off x="7934309" y="2611461"/>
                    <a:ext cx="85422" cy="108505"/>
                    <a:chOff x="7934309" y="2611461"/>
                    <a:chExt cx="85422" cy="108505"/>
                  </a:xfrm>
                </p:grpSpPr>
                <p:sp>
                  <p:nvSpPr>
                    <p:cNvPr id="2345" name="Freeform: Shape 2344">
                      <a:extLst>
                        <a:ext uri="{FF2B5EF4-FFF2-40B4-BE49-F238E27FC236}">
                          <a16:creationId xmlns:a16="http://schemas.microsoft.com/office/drawing/2014/main" id="{2626ABF3-79F9-AB0D-4542-3B80AB68E493}"/>
                        </a:ext>
                      </a:extLst>
                    </p:cNvPr>
                    <p:cNvSpPr/>
                    <p:nvPr/>
                  </p:nvSpPr>
                  <p:spPr>
                    <a:xfrm>
                      <a:off x="7934309" y="2611461"/>
                      <a:ext cx="85422" cy="108505"/>
                    </a:xfrm>
                    <a:custGeom>
                      <a:avLst/>
                      <a:gdLst>
                        <a:gd name="connsiteX0" fmla="*/ 50246 w 85422"/>
                        <a:gd name="connsiteY0" fmla="*/ 4067 h 108505"/>
                        <a:gd name="connsiteX1" fmla="*/ 59947 w 85422"/>
                        <a:gd name="connsiteY1" fmla="*/ 16811 h 108505"/>
                        <a:gd name="connsiteX2" fmla="*/ 80933 w 85422"/>
                        <a:gd name="connsiteY2" fmla="*/ 56138 h 108505"/>
                        <a:gd name="connsiteX3" fmla="*/ 54099 w 85422"/>
                        <a:gd name="connsiteY3" fmla="*/ 106900 h 108505"/>
                        <a:gd name="connsiteX4" fmla="*/ 15370 w 85422"/>
                        <a:gd name="connsiteY4" fmla="*/ 86925 h 108505"/>
                        <a:gd name="connsiteX5" fmla="*/ 2191 w 85422"/>
                        <a:gd name="connsiteY5" fmla="*/ 48919 h 108505"/>
                        <a:gd name="connsiteX6" fmla="*/ 22104 w 85422"/>
                        <a:gd name="connsiteY6" fmla="*/ 2920 h 108505"/>
                        <a:gd name="connsiteX7" fmla="*/ 50234 w 85422"/>
                        <a:gd name="connsiteY7" fmla="*/ 4067 h 108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22" h="108505">
                          <a:moveTo>
                            <a:pt x="50246" y="4067"/>
                          </a:moveTo>
                          <a:cubicBezTo>
                            <a:pt x="54798" y="7110"/>
                            <a:pt x="58139" y="11648"/>
                            <a:pt x="59947" y="16811"/>
                          </a:cubicBezTo>
                          <a:cubicBezTo>
                            <a:pt x="62990" y="25489"/>
                            <a:pt x="70571" y="44966"/>
                            <a:pt x="80933" y="56138"/>
                          </a:cubicBezTo>
                          <a:cubicBezTo>
                            <a:pt x="94561" y="70827"/>
                            <a:pt x="74723" y="102436"/>
                            <a:pt x="54099" y="106900"/>
                          </a:cubicBezTo>
                          <a:cubicBezTo>
                            <a:pt x="31742" y="111738"/>
                            <a:pt x="22415" y="105803"/>
                            <a:pt x="15370" y="86925"/>
                          </a:cubicBezTo>
                          <a:cubicBezTo>
                            <a:pt x="8325" y="68046"/>
                            <a:pt x="6966" y="64305"/>
                            <a:pt x="2191" y="48919"/>
                          </a:cubicBezTo>
                          <a:cubicBezTo>
                            <a:pt x="-5416" y="24392"/>
                            <a:pt x="8138" y="8170"/>
                            <a:pt x="22104" y="2920"/>
                          </a:cubicBezTo>
                          <a:cubicBezTo>
                            <a:pt x="34535" y="-1743"/>
                            <a:pt x="43525" y="-422"/>
                            <a:pt x="50234" y="406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46" name="Freeform: Shape 2345">
                      <a:extLst>
                        <a:ext uri="{FF2B5EF4-FFF2-40B4-BE49-F238E27FC236}">
                          <a16:creationId xmlns:a16="http://schemas.microsoft.com/office/drawing/2014/main" id="{F69DAEF9-90DF-A481-3B9C-6F295A9ED3C0}"/>
                        </a:ext>
                      </a:extLst>
                    </p:cNvPr>
                    <p:cNvSpPr/>
                    <p:nvPr/>
                  </p:nvSpPr>
                  <p:spPr>
                    <a:xfrm>
                      <a:off x="7934309" y="2611461"/>
                      <a:ext cx="54689" cy="85827"/>
                    </a:xfrm>
                    <a:custGeom>
                      <a:avLst/>
                      <a:gdLst>
                        <a:gd name="connsiteX0" fmla="*/ 22116 w 54689"/>
                        <a:gd name="connsiteY0" fmla="*/ 2920 h 85827"/>
                        <a:gd name="connsiteX1" fmla="*/ 50246 w 54689"/>
                        <a:gd name="connsiteY1" fmla="*/ 4067 h 85827"/>
                        <a:gd name="connsiteX2" fmla="*/ 54386 w 54689"/>
                        <a:gd name="connsiteY2" fmla="*/ 23345 h 85827"/>
                        <a:gd name="connsiteX3" fmla="*/ 14959 w 54689"/>
                        <a:gd name="connsiteY3" fmla="*/ 85827 h 85827"/>
                        <a:gd name="connsiteX4" fmla="*/ 2191 w 54689"/>
                        <a:gd name="connsiteY4" fmla="*/ 48919 h 85827"/>
                        <a:gd name="connsiteX5" fmla="*/ 22104 w 54689"/>
                        <a:gd name="connsiteY5" fmla="*/ 2920 h 85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89" h="85827">
                          <a:moveTo>
                            <a:pt x="22116" y="2920"/>
                          </a:moveTo>
                          <a:cubicBezTo>
                            <a:pt x="34548" y="-1743"/>
                            <a:pt x="43538" y="-422"/>
                            <a:pt x="50246" y="4067"/>
                          </a:cubicBezTo>
                          <a:cubicBezTo>
                            <a:pt x="54798" y="7110"/>
                            <a:pt x="55122" y="17920"/>
                            <a:pt x="54386" y="23345"/>
                          </a:cubicBezTo>
                          <a:cubicBezTo>
                            <a:pt x="50508" y="51849"/>
                            <a:pt x="34785" y="73894"/>
                            <a:pt x="14959" y="85827"/>
                          </a:cubicBezTo>
                          <a:cubicBezTo>
                            <a:pt x="8275" y="67897"/>
                            <a:pt x="6866" y="64006"/>
                            <a:pt x="2191" y="48919"/>
                          </a:cubicBezTo>
                          <a:cubicBezTo>
                            <a:pt x="-5416" y="24392"/>
                            <a:pt x="8138" y="8170"/>
                            <a:pt x="22104" y="2920"/>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47" name="Freeform: Shape 2346">
                    <a:extLst>
                      <a:ext uri="{FF2B5EF4-FFF2-40B4-BE49-F238E27FC236}">
                        <a16:creationId xmlns:a16="http://schemas.microsoft.com/office/drawing/2014/main" id="{5F28474E-CDFC-00AD-2D2C-E6F5EBE58B8B}"/>
                      </a:ext>
                    </a:extLst>
                  </p:cNvPr>
                  <p:cNvSpPr/>
                  <p:nvPr/>
                </p:nvSpPr>
                <p:spPr>
                  <a:xfrm>
                    <a:off x="7887085" y="2664860"/>
                    <a:ext cx="297961" cy="391793"/>
                  </a:xfrm>
                  <a:custGeom>
                    <a:avLst/>
                    <a:gdLst>
                      <a:gd name="connsiteX0" fmla="*/ 51460 w 297961"/>
                      <a:gd name="connsiteY0" fmla="*/ 34024 h 391793"/>
                      <a:gd name="connsiteX1" fmla="*/ 73617 w 297961"/>
                      <a:gd name="connsiteY1" fmla="*/ 55047 h 391793"/>
                      <a:gd name="connsiteX2" fmla="*/ 131549 w 297961"/>
                      <a:gd name="connsiteY2" fmla="*/ 4485 h 391793"/>
                      <a:gd name="connsiteX3" fmla="*/ 228359 w 297961"/>
                      <a:gd name="connsiteY3" fmla="*/ 13525 h 391793"/>
                      <a:gd name="connsiteX4" fmla="*/ 266015 w 297961"/>
                      <a:gd name="connsiteY4" fmla="*/ 112442 h 391793"/>
                      <a:gd name="connsiteX5" fmla="*/ 275841 w 297961"/>
                      <a:gd name="connsiteY5" fmla="*/ 280176 h 391793"/>
                      <a:gd name="connsiteX6" fmla="*/ 297961 w 297961"/>
                      <a:gd name="connsiteY6" fmla="*/ 387610 h 391793"/>
                      <a:gd name="connsiteX7" fmla="*/ 159193 w 297961"/>
                      <a:gd name="connsiteY7" fmla="*/ 390241 h 391793"/>
                      <a:gd name="connsiteX8" fmla="*/ 78617 w 297961"/>
                      <a:gd name="connsiteY8" fmla="*/ 374443 h 391793"/>
                      <a:gd name="connsiteX9" fmla="*/ 66510 w 297961"/>
                      <a:gd name="connsiteY9" fmla="*/ 308082 h 391793"/>
                      <a:gd name="connsiteX10" fmla="*/ 18853 w 297961"/>
                      <a:gd name="connsiteY10" fmla="*/ 190374 h 391793"/>
                      <a:gd name="connsiteX11" fmla="*/ 1733 w 297961"/>
                      <a:gd name="connsiteY11" fmla="*/ 89661 h 391793"/>
                      <a:gd name="connsiteX12" fmla="*/ 25163 w 297961"/>
                      <a:gd name="connsiteY12" fmla="*/ 49510 h 391793"/>
                      <a:gd name="connsiteX13" fmla="*/ 51447 w 297961"/>
                      <a:gd name="connsiteY13" fmla="*/ 34024 h 3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7961" h="391793">
                        <a:moveTo>
                          <a:pt x="51460" y="34024"/>
                        </a:moveTo>
                        <a:cubicBezTo>
                          <a:pt x="51460" y="34024"/>
                          <a:pt x="51510" y="56356"/>
                          <a:pt x="73617" y="55047"/>
                        </a:cubicBezTo>
                        <a:cubicBezTo>
                          <a:pt x="95738" y="53725"/>
                          <a:pt x="120227" y="27665"/>
                          <a:pt x="131549" y="4485"/>
                        </a:cubicBezTo>
                        <a:cubicBezTo>
                          <a:pt x="131549" y="4485"/>
                          <a:pt x="190977" y="-10179"/>
                          <a:pt x="228359" y="13525"/>
                        </a:cubicBezTo>
                        <a:cubicBezTo>
                          <a:pt x="234157" y="17477"/>
                          <a:pt x="263646" y="36081"/>
                          <a:pt x="266015" y="112442"/>
                        </a:cubicBezTo>
                        <a:cubicBezTo>
                          <a:pt x="268384" y="188803"/>
                          <a:pt x="274008" y="261473"/>
                          <a:pt x="275841" y="280176"/>
                        </a:cubicBezTo>
                        <a:cubicBezTo>
                          <a:pt x="277687" y="298868"/>
                          <a:pt x="292699" y="367335"/>
                          <a:pt x="297961" y="387610"/>
                        </a:cubicBezTo>
                        <a:cubicBezTo>
                          <a:pt x="297961" y="387610"/>
                          <a:pt x="230204" y="394892"/>
                          <a:pt x="159193" y="390241"/>
                        </a:cubicBezTo>
                        <a:cubicBezTo>
                          <a:pt x="119491" y="387635"/>
                          <a:pt x="89939" y="379704"/>
                          <a:pt x="78617" y="374443"/>
                        </a:cubicBezTo>
                        <a:cubicBezTo>
                          <a:pt x="78617" y="374443"/>
                          <a:pt x="80987" y="347584"/>
                          <a:pt x="66510" y="308082"/>
                        </a:cubicBezTo>
                        <a:cubicBezTo>
                          <a:pt x="59403" y="288693"/>
                          <a:pt x="29913" y="223292"/>
                          <a:pt x="18853" y="190374"/>
                        </a:cubicBezTo>
                        <a:cubicBezTo>
                          <a:pt x="9813" y="163478"/>
                          <a:pt x="-5087" y="127068"/>
                          <a:pt x="1733" y="89661"/>
                        </a:cubicBezTo>
                        <a:cubicBezTo>
                          <a:pt x="4688" y="73489"/>
                          <a:pt x="12344" y="59797"/>
                          <a:pt x="25163" y="49510"/>
                        </a:cubicBezTo>
                        <a:cubicBezTo>
                          <a:pt x="31160" y="44685"/>
                          <a:pt x="41098" y="38762"/>
                          <a:pt x="51447" y="34024"/>
                        </a:cubicBezTo>
                        <a:close/>
                      </a:path>
                    </a:pathLst>
                  </a:custGeom>
                  <a:solidFill>
                    <a:srgbClr val="DE694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48" name="Graphic 525">
                  <a:extLst>
                    <a:ext uri="{FF2B5EF4-FFF2-40B4-BE49-F238E27FC236}">
                      <a16:creationId xmlns:a16="http://schemas.microsoft.com/office/drawing/2014/main" id="{08FAFF82-C16E-C9F2-CCFD-A25BDDCF78B2}"/>
                    </a:ext>
                  </a:extLst>
                </p:cNvPr>
                <p:cNvGrpSpPr/>
                <p:nvPr/>
              </p:nvGrpSpPr>
              <p:grpSpPr>
                <a:xfrm>
                  <a:off x="7738865" y="2658568"/>
                  <a:ext cx="469095" cy="618595"/>
                  <a:chOff x="7738865" y="2658568"/>
                  <a:chExt cx="469095" cy="618595"/>
                </a:xfrm>
              </p:grpSpPr>
              <p:grpSp>
                <p:nvGrpSpPr>
                  <p:cNvPr id="2349" name="Graphic 525">
                    <a:extLst>
                      <a:ext uri="{FF2B5EF4-FFF2-40B4-BE49-F238E27FC236}">
                        <a16:creationId xmlns:a16="http://schemas.microsoft.com/office/drawing/2014/main" id="{8056D84D-34A3-212A-1878-55CF7E3A69F9}"/>
                      </a:ext>
                    </a:extLst>
                  </p:cNvPr>
                  <p:cNvGrpSpPr/>
                  <p:nvPr/>
                </p:nvGrpSpPr>
                <p:grpSpPr>
                  <a:xfrm>
                    <a:off x="7877359" y="2658568"/>
                    <a:ext cx="330601" cy="618595"/>
                    <a:chOff x="7877359" y="2658568"/>
                    <a:chExt cx="330601" cy="618595"/>
                  </a:xfrm>
                </p:grpSpPr>
                <p:sp>
                  <p:nvSpPr>
                    <p:cNvPr id="2350" name="Freeform: Shape 2349">
                      <a:extLst>
                        <a:ext uri="{FF2B5EF4-FFF2-40B4-BE49-F238E27FC236}">
                          <a16:creationId xmlns:a16="http://schemas.microsoft.com/office/drawing/2014/main" id="{8130E1C8-1F11-D480-0D89-17FC616167F9}"/>
                        </a:ext>
                      </a:extLst>
                    </p:cNvPr>
                    <p:cNvSpPr/>
                    <p:nvPr/>
                  </p:nvSpPr>
                  <p:spPr>
                    <a:xfrm>
                      <a:off x="7877371" y="2661041"/>
                      <a:ext cx="330589" cy="616122"/>
                    </a:xfrm>
                    <a:custGeom>
                      <a:avLst/>
                      <a:gdLst>
                        <a:gd name="connsiteX0" fmla="*/ 132696 w 330589"/>
                        <a:gd name="connsiteY0" fmla="*/ 12 h 616122"/>
                        <a:gd name="connsiteX1" fmla="*/ 133008 w 330589"/>
                        <a:gd name="connsiteY1" fmla="*/ 26384 h 616122"/>
                        <a:gd name="connsiteX2" fmla="*/ 121512 w 330589"/>
                        <a:gd name="connsiteY2" fmla="*/ 186837 h 616122"/>
                        <a:gd name="connsiteX3" fmla="*/ 135464 w 330589"/>
                        <a:gd name="connsiteY3" fmla="*/ 279520 h 616122"/>
                        <a:gd name="connsiteX4" fmla="*/ 149155 w 330589"/>
                        <a:gd name="connsiteY4" fmla="*/ 359571 h 616122"/>
                        <a:gd name="connsiteX5" fmla="*/ 108606 w 330589"/>
                        <a:gd name="connsiteY5" fmla="*/ 423288 h 616122"/>
                        <a:gd name="connsiteX6" fmla="*/ 0 w 330589"/>
                        <a:gd name="connsiteY6" fmla="*/ 483214 h 616122"/>
                        <a:gd name="connsiteX7" fmla="*/ 102808 w 330589"/>
                        <a:gd name="connsiteY7" fmla="*/ 556782 h 616122"/>
                        <a:gd name="connsiteX8" fmla="*/ 128856 w 330589"/>
                        <a:gd name="connsiteY8" fmla="*/ 616123 h 616122"/>
                        <a:gd name="connsiteX9" fmla="*/ 135452 w 330589"/>
                        <a:gd name="connsiteY9" fmla="*/ 601808 h 616122"/>
                        <a:gd name="connsiteX10" fmla="*/ 158096 w 330589"/>
                        <a:gd name="connsiteY10" fmla="*/ 599701 h 616122"/>
                        <a:gd name="connsiteX11" fmla="*/ 321877 w 330589"/>
                        <a:gd name="connsiteY11" fmla="*/ 508066 h 616122"/>
                        <a:gd name="connsiteX12" fmla="*/ 325568 w 330589"/>
                        <a:gd name="connsiteY12" fmla="*/ 416430 h 616122"/>
                        <a:gd name="connsiteX13" fmla="*/ 289757 w 330589"/>
                        <a:gd name="connsiteY13" fmla="*/ 285293 h 616122"/>
                        <a:gd name="connsiteX14" fmla="*/ 279757 w 330589"/>
                        <a:gd name="connsiteY14" fmla="*/ 119928 h 616122"/>
                        <a:gd name="connsiteX15" fmla="*/ 186712 w 330589"/>
                        <a:gd name="connsiteY15" fmla="*/ 2319 h 616122"/>
                        <a:gd name="connsiteX16" fmla="*/ 132684 w 330589"/>
                        <a:gd name="connsiteY16" fmla="*/ 0 h 61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589" h="616122">
                          <a:moveTo>
                            <a:pt x="132696" y="12"/>
                          </a:moveTo>
                          <a:cubicBezTo>
                            <a:pt x="132696" y="12"/>
                            <a:pt x="134853" y="11633"/>
                            <a:pt x="133008" y="26384"/>
                          </a:cubicBezTo>
                          <a:cubicBezTo>
                            <a:pt x="131163" y="41136"/>
                            <a:pt x="113868" y="104416"/>
                            <a:pt x="121512" y="186837"/>
                          </a:cubicBezTo>
                          <a:cubicBezTo>
                            <a:pt x="129142" y="269257"/>
                            <a:pt x="135464" y="279520"/>
                            <a:pt x="135464" y="279520"/>
                          </a:cubicBezTo>
                          <a:cubicBezTo>
                            <a:pt x="135464" y="279520"/>
                            <a:pt x="147572" y="332713"/>
                            <a:pt x="149155" y="359571"/>
                          </a:cubicBezTo>
                          <a:cubicBezTo>
                            <a:pt x="150739" y="386430"/>
                            <a:pt x="135464" y="405919"/>
                            <a:pt x="108606" y="423288"/>
                          </a:cubicBezTo>
                          <a:cubicBezTo>
                            <a:pt x="81747" y="440670"/>
                            <a:pt x="20350" y="445695"/>
                            <a:pt x="0" y="483214"/>
                          </a:cubicBezTo>
                          <a:cubicBezTo>
                            <a:pt x="0" y="483214"/>
                            <a:pt x="58044" y="477267"/>
                            <a:pt x="102808" y="556782"/>
                          </a:cubicBezTo>
                          <a:cubicBezTo>
                            <a:pt x="120452" y="591546"/>
                            <a:pt x="128856" y="616123"/>
                            <a:pt x="128856" y="616123"/>
                          </a:cubicBezTo>
                          <a:cubicBezTo>
                            <a:pt x="128856" y="616123"/>
                            <a:pt x="130714" y="614439"/>
                            <a:pt x="135452" y="601808"/>
                          </a:cubicBezTo>
                          <a:cubicBezTo>
                            <a:pt x="135452" y="601808"/>
                            <a:pt x="148619" y="608654"/>
                            <a:pt x="158096" y="599701"/>
                          </a:cubicBezTo>
                          <a:cubicBezTo>
                            <a:pt x="158096" y="599701"/>
                            <a:pt x="279744" y="588641"/>
                            <a:pt x="321877" y="508066"/>
                          </a:cubicBezTo>
                          <a:cubicBezTo>
                            <a:pt x="325568" y="500160"/>
                            <a:pt x="337152" y="472778"/>
                            <a:pt x="325568" y="416430"/>
                          </a:cubicBezTo>
                          <a:cubicBezTo>
                            <a:pt x="313984" y="360082"/>
                            <a:pt x="295019" y="347962"/>
                            <a:pt x="289757" y="285293"/>
                          </a:cubicBezTo>
                          <a:cubicBezTo>
                            <a:pt x="284495" y="222623"/>
                            <a:pt x="280804" y="159953"/>
                            <a:pt x="279757" y="119928"/>
                          </a:cubicBezTo>
                          <a:cubicBezTo>
                            <a:pt x="278709" y="79902"/>
                            <a:pt x="278173" y="910"/>
                            <a:pt x="186712" y="2319"/>
                          </a:cubicBezTo>
                          <a:cubicBezTo>
                            <a:pt x="186712" y="2319"/>
                            <a:pt x="142684" y="1758"/>
                            <a:pt x="132684" y="0"/>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1" name="Freeform: Shape 2350">
                      <a:extLst>
                        <a:ext uri="{FF2B5EF4-FFF2-40B4-BE49-F238E27FC236}">
                          <a16:creationId xmlns:a16="http://schemas.microsoft.com/office/drawing/2014/main" id="{8284B458-2B4E-D026-0024-521C19EC2118}"/>
                        </a:ext>
                      </a:extLst>
                    </p:cNvPr>
                    <p:cNvSpPr/>
                    <p:nvPr/>
                  </p:nvSpPr>
                  <p:spPr>
                    <a:xfrm>
                      <a:off x="7996943" y="2661065"/>
                      <a:ext cx="92477" cy="280991"/>
                    </a:xfrm>
                    <a:custGeom>
                      <a:avLst/>
                      <a:gdLst>
                        <a:gd name="connsiteX0" fmla="*/ 13261 w 92477"/>
                        <a:gd name="connsiteY0" fmla="*/ 128619 h 280991"/>
                        <a:gd name="connsiteX1" fmla="*/ 92477 w 92477"/>
                        <a:gd name="connsiteY1" fmla="*/ 4290 h 280991"/>
                        <a:gd name="connsiteX2" fmla="*/ 67152 w 92477"/>
                        <a:gd name="connsiteY2" fmla="*/ 2319 h 280991"/>
                        <a:gd name="connsiteX3" fmla="*/ 13124 w 92477"/>
                        <a:gd name="connsiteY3" fmla="*/ 0 h 280991"/>
                        <a:gd name="connsiteX4" fmla="*/ 13436 w 92477"/>
                        <a:gd name="connsiteY4" fmla="*/ 26372 h 280991"/>
                        <a:gd name="connsiteX5" fmla="*/ 1939 w 92477"/>
                        <a:gd name="connsiteY5" fmla="*/ 186824 h 280991"/>
                        <a:gd name="connsiteX6" fmla="*/ 15892 w 92477"/>
                        <a:gd name="connsiteY6" fmla="*/ 279507 h 280991"/>
                        <a:gd name="connsiteX7" fmla="*/ 16179 w 92477"/>
                        <a:gd name="connsiteY7" fmla="*/ 280754 h 280991"/>
                        <a:gd name="connsiteX8" fmla="*/ 16229 w 92477"/>
                        <a:gd name="connsiteY8" fmla="*/ 280991 h 280991"/>
                        <a:gd name="connsiteX9" fmla="*/ 34321 w 92477"/>
                        <a:gd name="connsiteY9" fmla="*/ 145477 h 280991"/>
                        <a:gd name="connsiteX10" fmla="*/ 13261 w 92477"/>
                        <a:gd name="connsiteY10" fmla="*/ 128619 h 28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477" h="280991">
                          <a:moveTo>
                            <a:pt x="13261" y="128619"/>
                          </a:moveTo>
                          <a:cubicBezTo>
                            <a:pt x="13261" y="128619"/>
                            <a:pt x="41965" y="25923"/>
                            <a:pt x="92477" y="4290"/>
                          </a:cubicBezTo>
                          <a:cubicBezTo>
                            <a:pt x="84921" y="2880"/>
                            <a:pt x="76517" y="2182"/>
                            <a:pt x="67152" y="2319"/>
                          </a:cubicBezTo>
                          <a:cubicBezTo>
                            <a:pt x="67152" y="2319"/>
                            <a:pt x="23124" y="1758"/>
                            <a:pt x="13124" y="0"/>
                          </a:cubicBezTo>
                          <a:cubicBezTo>
                            <a:pt x="13124" y="0"/>
                            <a:pt x="15281" y="11621"/>
                            <a:pt x="13436" y="26372"/>
                          </a:cubicBezTo>
                          <a:cubicBezTo>
                            <a:pt x="11590" y="41123"/>
                            <a:pt x="-5705" y="104404"/>
                            <a:pt x="1939" y="186824"/>
                          </a:cubicBezTo>
                          <a:cubicBezTo>
                            <a:pt x="9570" y="269245"/>
                            <a:pt x="15892" y="279507"/>
                            <a:pt x="15892" y="279507"/>
                          </a:cubicBezTo>
                          <a:cubicBezTo>
                            <a:pt x="15892" y="279507"/>
                            <a:pt x="15992" y="279944"/>
                            <a:pt x="16179" y="280754"/>
                          </a:cubicBezTo>
                          <a:cubicBezTo>
                            <a:pt x="16216" y="280817"/>
                            <a:pt x="16216" y="280904"/>
                            <a:pt x="16229" y="280991"/>
                          </a:cubicBezTo>
                          <a:cubicBezTo>
                            <a:pt x="16229" y="280991"/>
                            <a:pt x="21815" y="209992"/>
                            <a:pt x="34321" y="145477"/>
                          </a:cubicBezTo>
                          <a:lnTo>
                            <a:pt x="13261" y="128619"/>
                          </a:ln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2" name="Freeform: Shape 2351">
                      <a:extLst>
                        <a:ext uri="{FF2B5EF4-FFF2-40B4-BE49-F238E27FC236}">
                          <a16:creationId xmlns:a16="http://schemas.microsoft.com/office/drawing/2014/main" id="{13B2DBD6-D97C-942E-A624-12C91CEA436E}"/>
                        </a:ext>
                      </a:extLst>
                    </p:cNvPr>
                    <p:cNvSpPr/>
                    <p:nvPr/>
                  </p:nvSpPr>
                  <p:spPr>
                    <a:xfrm>
                      <a:off x="7996943" y="2658568"/>
                      <a:ext cx="67825" cy="283488"/>
                    </a:xfrm>
                    <a:custGeom>
                      <a:avLst/>
                      <a:gdLst>
                        <a:gd name="connsiteX0" fmla="*/ 67152 w 67825"/>
                        <a:gd name="connsiteY0" fmla="*/ 4804 h 283488"/>
                        <a:gd name="connsiteX1" fmla="*/ 13124 w 67825"/>
                        <a:gd name="connsiteY1" fmla="*/ 2485 h 283488"/>
                        <a:gd name="connsiteX2" fmla="*/ 13436 w 67825"/>
                        <a:gd name="connsiteY2" fmla="*/ 28857 h 283488"/>
                        <a:gd name="connsiteX3" fmla="*/ 1939 w 67825"/>
                        <a:gd name="connsiteY3" fmla="*/ 189309 h 283488"/>
                        <a:gd name="connsiteX4" fmla="*/ 15892 w 67825"/>
                        <a:gd name="connsiteY4" fmla="*/ 281992 h 283488"/>
                        <a:gd name="connsiteX5" fmla="*/ 16104 w 67825"/>
                        <a:gd name="connsiteY5" fmla="*/ 282965 h 283488"/>
                        <a:gd name="connsiteX6" fmla="*/ 16216 w 67825"/>
                        <a:gd name="connsiteY6" fmla="*/ 283489 h 283488"/>
                        <a:gd name="connsiteX7" fmla="*/ 26154 w 67825"/>
                        <a:gd name="connsiteY7" fmla="*/ 149134 h 283488"/>
                        <a:gd name="connsiteX8" fmla="*/ 10356 w 67825"/>
                        <a:gd name="connsiteY8" fmla="*/ 132151 h 283488"/>
                        <a:gd name="connsiteX9" fmla="*/ 67826 w 67825"/>
                        <a:gd name="connsiteY9" fmla="*/ 4804 h 283488"/>
                        <a:gd name="connsiteX10" fmla="*/ 67140 w 67825"/>
                        <a:gd name="connsiteY10" fmla="*/ 4804 h 28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5" h="283488">
                          <a:moveTo>
                            <a:pt x="67152" y="4804"/>
                          </a:moveTo>
                          <a:cubicBezTo>
                            <a:pt x="67152" y="4804"/>
                            <a:pt x="27738" y="-4236"/>
                            <a:pt x="13124" y="2485"/>
                          </a:cubicBezTo>
                          <a:cubicBezTo>
                            <a:pt x="13124" y="2485"/>
                            <a:pt x="15281" y="14106"/>
                            <a:pt x="13436" y="28857"/>
                          </a:cubicBezTo>
                          <a:cubicBezTo>
                            <a:pt x="11590" y="43608"/>
                            <a:pt x="-5705" y="106889"/>
                            <a:pt x="1939" y="189309"/>
                          </a:cubicBezTo>
                          <a:cubicBezTo>
                            <a:pt x="9570" y="271730"/>
                            <a:pt x="15892" y="281992"/>
                            <a:pt x="15892" y="281992"/>
                          </a:cubicBezTo>
                          <a:cubicBezTo>
                            <a:pt x="15892" y="281992"/>
                            <a:pt x="15967" y="282329"/>
                            <a:pt x="16104" y="282965"/>
                          </a:cubicBezTo>
                          <a:lnTo>
                            <a:pt x="16216" y="283489"/>
                          </a:lnTo>
                          <a:cubicBezTo>
                            <a:pt x="16216" y="283489"/>
                            <a:pt x="14308" y="209958"/>
                            <a:pt x="26154" y="149134"/>
                          </a:cubicBezTo>
                          <a:lnTo>
                            <a:pt x="10356" y="132151"/>
                          </a:lnTo>
                          <a:cubicBezTo>
                            <a:pt x="10356" y="132151"/>
                            <a:pt x="10356" y="80828"/>
                            <a:pt x="67826" y="4804"/>
                          </a:cubicBezTo>
                          <a:cubicBezTo>
                            <a:pt x="67589" y="4804"/>
                            <a:pt x="67364" y="4804"/>
                            <a:pt x="67140" y="4804"/>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3" name="Freeform: Shape 2352">
                      <a:extLst>
                        <a:ext uri="{FF2B5EF4-FFF2-40B4-BE49-F238E27FC236}">
                          <a16:creationId xmlns:a16="http://schemas.microsoft.com/office/drawing/2014/main" id="{9BD961AB-7266-3B43-29AB-499D65D989A9}"/>
                        </a:ext>
                      </a:extLst>
                    </p:cNvPr>
                    <p:cNvSpPr/>
                    <p:nvPr/>
                  </p:nvSpPr>
                  <p:spPr>
                    <a:xfrm>
                      <a:off x="7877359" y="2728785"/>
                      <a:ext cx="291003" cy="444809"/>
                    </a:xfrm>
                    <a:custGeom>
                      <a:avLst/>
                      <a:gdLst>
                        <a:gd name="connsiteX0" fmla="*/ 289782 w 291003"/>
                        <a:gd name="connsiteY0" fmla="*/ 217573 h 444809"/>
                        <a:gd name="connsiteX1" fmla="*/ 280143 w 291003"/>
                        <a:gd name="connsiteY1" fmla="*/ 64141 h 444809"/>
                        <a:gd name="connsiteX2" fmla="*/ 168258 w 291003"/>
                        <a:gd name="connsiteY2" fmla="*/ 12955 h 444809"/>
                        <a:gd name="connsiteX3" fmla="*/ 169430 w 291003"/>
                        <a:gd name="connsiteY3" fmla="*/ 115713 h 444809"/>
                        <a:gd name="connsiteX4" fmla="*/ 170215 w 291003"/>
                        <a:gd name="connsiteY4" fmla="*/ 202610 h 444809"/>
                        <a:gd name="connsiteX5" fmla="*/ 139404 w 291003"/>
                        <a:gd name="connsiteY5" fmla="*/ 230129 h 444809"/>
                        <a:gd name="connsiteX6" fmla="*/ 149155 w 291003"/>
                        <a:gd name="connsiteY6" fmla="*/ 291814 h 444809"/>
                        <a:gd name="connsiteX7" fmla="*/ 108606 w 291003"/>
                        <a:gd name="connsiteY7" fmla="*/ 355531 h 444809"/>
                        <a:gd name="connsiteX8" fmla="*/ 0 w 291003"/>
                        <a:gd name="connsiteY8" fmla="*/ 415457 h 444809"/>
                        <a:gd name="connsiteX9" fmla="*/ 68767 w 291003"/>
                        <a:gd name="connsiteY9" fmla="*/ 444810 h 444809"/>
                        <a:gd name="connsiteX10" fmla="*/ 74627 w 291003"/>
                        <a:gd name="connsiteY10" fmla="*/ 438026 h 444809"/>
                        <a:gd name="connsiteX11" fmla="*/ 110962 w 291003"/>
                        <a:gd name="connsiteY11" fmla="*/ 401692 h 444809"/>
                        <a:gd name="connsiteX12" fmla="*/ 136237 w 291003"/>
                        <a:gd name="connsiteY12" fmla="*/ 402477 h 444809"/>
                        <a:gd name="connsiteX13" fmla="*/ 253160 w 291003"/>
                        <a:gd name="connsiteY13" fmla="*/ 291876 h 444809"/>
                        <a:gd name="connsiteX14" fmla="*/ 291003 w 291003"/>
                        <a:gd name="connsiteY14" fmla="*/ 229543 h 444809"/>
                        <a:gd name="connsiteX15" fmla="*/ 289757 w 291003"/>
                        <a:gd name="connsiteY15" fmla="*/ 217560 h 44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003" h="444809">
                          <a:moveTo>
                            <a:pt x="289782" y="217573"/>
                          </a:moveTo>
                          <a:cubicBezTo>
                            <a:pt x="285018" y="160826"/>
                            <a:pt x="281539" y="104079"/>
                            <a:pt x="280143" y="64141"/>
                          </a:cubicBezTo>
                          <a:cubicBezTo>
                            <a:pt x="263285" y="5324"/>
                            <a:pt x="211426" y="-16285"/>
                            <a:pt x="168258" y="12955"/>
                          </a:cubicBezTo>
                          <a:cubicBezTo>
                            <a:pt x="168258" y="12955"/>
                            <a:pt x="159966" y="40213"/>
                            <a:pt x="169430" y="115713"/>
                          </a:cubicBezTo>
                          <a:cubicBezTo>
                            <a:pt x="177510" y="180166"/>
                            <a:pt x="171013" y="195503"/>
                            <a:pt x="170215" y="202610"/>
                          </a:cubicBezTo>
                          <a:cubicBezTo>
                            <a:pt x="169717" y="207099"/>
                            <a:pt x="152235" y="220703"/>
                            <a:pt x="139404" y="230129"/>
                          </a:cubicBezTo>
                          <a:cubicBezTo>
                            <a:pt x="143095" y="248072"/>
                            <a:pt x="148170" y="275068"/>
                            <a:pt x="149155" y="291814"/>
                          </a:cubicBezTo>
                          <a:cubicBezTo>
                            <a:pt x="150739" y="318672"/>
                            <a:pt x="135464" y="338161"/>
                            <a:pt x="108606" y="355531"/>
                          </a:cubicBezTo>
                          <a:cubicBezTo>
                            <a:pt x="81747" y="372913"/>
                            <a:pt x="20349" y="377938"/>
                            <a:pt x="0" y="415457"/>
                          </a:cubicBezTo>
                          <a:cubicBezTo>
                            <a:pt x="0" y="415457"/>
                            <a:pt x="33205" y="412053"/>
                            <a:pt x="68767" y="444810"/>
                          </a:cubicBezTo>
                          <a:cubicBezTo>
                            <a:pt x="70799" y="441755"/>
                            <a:pt x="72819" y="439286"/>
                            <a:pt x="74627" y="438026"/>
                          </a:cubicBezTo>
                          <a:cubicBezTo>
                            <a:pt x="82533" y="432490"/>
                            <a:pt x="103069" y="421430"/>
                            <a:pt x="110962" y="401692"/>
                          </a:cubicBezTo>
                          <a:cubicBezTo>
                            <a:pt x="110962" y="401692"/>
                            <a:pt x="125975" y="406430"/>
                            <a:pt x="136237" y="402477"/>
                          </a:cubicBezTo>
                          <a:cubicBezTo>
                            <a:pt x="146512" y="398524"/>
                            <a:pt x="236576" y="309258"/>
                            <a:pt x="253160" y="291876"/>
                          </a:cubicBezTo>
                          <a:cubicBezTo>
                            <a:pt x="264906" y="279569"/>
                            <a:pt x="282026" y="263147"/>
                            <a:pt x="291003" y="229543"/>
                          </a:cubicBezTo>
                          <a:cubicBezTo>
                            <a:pt x="290530" y="225753"/>
                            <a:pt x="290118" y="221775"/>
                            <a:pt x="289757" y="217560"/>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54" name="Graphic 525">
                    <a:extLst>
                      <a:ext uri="{FF2B5EF4-FFF2-40B4-BE49-F238E27FC236}">
                        <a16:creationId xmlns:a16="http://schemas.microsoft.com/office/drawing/2014/main" id="{5579340E-9097-5949-0A40-FF6D6C029A77}"/>
                      </a:ext>
                    </a:extLst>
                  </p:cNvPr>
                  <p:cNvGrpSpPr/>
                  <p:nvPr/>
                </p:nvGrpSpPr>
                <p:grpSpPr>
                  <a:xfrm>
                    <a:off x="7738865" y="2686864"/>
                    <a:ext cx="230754" cy="425719"/>
                    <a:chOff x="7738865" y="2686864"/>
                    <a:chExt cx="230754" cy="425719"/>
                  </a:xfrm>
                </p:grpSpPr>
                <p:grpSp>
                  <p:nvGrpSpPr>
                    <p:cNvPr id="2355" name="Graphic 525">
                      <a:extLst>
                        <a:ext uri="{FF2B5EF4-FFF2-40B4-BE49-F238E27FC236}">
                          <a16:creationId xmlns:a16="http://schemas.microsoft.com/office/drawing/2014/main" id="{C8949BFE-0BA6-C07E-A437-81DE8F22068C}"/>
                        </a:ext>
                      </a:extLst>
                    </p:cNvPr>
                    <p:cNvGrpSpPr/>
                    <p:nvPr/>
                  </p:nvGrpSpPr>
                  <p:grpSpPr>
                    <a:xfrm>
                      <a:off x="7738865" y="2686864"/>
                      <a:ext cx="230746" cy="425719"/>
                      <a:chOff x="7738865" y="2686864"/>
                      <a:chExt cx="230746" cy="425719"/>
                    </a:xfrm>
                  </p:grpSpPr>
                  <p:sp>
                    <p:nvSpPr>
                      <p:cNvPr id="2356" name="Freeform: Shape 2355">
                        <a:extLst>
                          <a:ext uri="{FF2B5EF4-FFF2-40B4-BE49-F238E27FC236}">
                            <a16:creationId xmlns:a16="http://schemas.microsoft.com/office/drawing/2014/main" id="{B15261D6-A8B9-D321-6776-782A8ED6D2D1}"/>
                          </a:ext>
                        </a:extLst>
                      </p:cNvPr>
                      <p:cNvSpPr/>
                      <p:nvPr/>
                    </p:nvSpPr>
                    <p:spPr>
                      <a:xfrm>
                        <a:off x="7738865" y="2686864"/>
                        <a:ext cx="230746" cy="425719"/>
                      </a:xfrm>
                      <a:custGeom>
                        <a:avLst/>
                        <a:gdLst>
                          <a:gd name="connsiteX0" fmla="*/ 206538 w 230746"/>
                          <a:gd name="connsiteY0" fmla="*/ 0 h 425719"/>
                          <a:gd name="connsiteX1" fmla="*/ 208945 w 230746"/>
                          <a:gd name="connsiteY1" fmla="*/ 6509 h 425719"/>
                          <a:gd name="connsiteX2" fmla="*/ 200104 w 230746"/>
                          <a:gd name="connsiteY2" fmla="*/ 57270 h 425719"/>
                          <a:gd name="connsiteX3" fmla="*/ 215516 w 230746"/>
                          <a:gd name="connsiteY3" fmla="*/ 243272 h 425719"/>
                          <a:gd name="connsiteX4" fmla="*/ 227361 w 230746"/>
                          <a:gd name="connsiteY4" fmla="*/ 360968 h 425719"/>
                          <a:gd name="connsiteX5" fmla="*/ 103518 w 230746"/>
                          <a:gd name="connsiteY5" fmla="*/ 425720 h 425719"/>
                          <a:gd name="connsiteX6" fmla="*/ 0 w 230746"/>
                          <a:gd name="connsiteY6" fmla="*/ 409772 h 425719"/>
                          <a:gd name="connsiteX7" fmla="*/ 70550 w 230746"/>
                          <a:gd name="connsiteY7" fmla="*/ 366778 h 425719"/>
                          <a:gd name="connsiteX8" fmla="*/ 188246 w 230746"/>
                          <a:gd name="connsiteY8" fmla="*/ 333710 h 425719"/>
                          <a:gd name="connsiteX9" fmla="*/ 204830 w 230746"/>
                          <a:gd name="connsiteY9" fmla="*/ 317513 h 425719"/>
                          <a:gd name="connsiteX10" fmla="*/ 200091 w 230746"/>
                          <a:gd name="connsiteY10" fmla="*/ 296191 h 425719"/>
                          <a:gd name="connsiteX11" fmla="*/ 186301 w 230746"/>
                          <a:gd name="connsiteY11" fmla="*/ 240703 h 425719"/>
                          <a:gd name="connsiteX12" fmla="*/ 155315 w 230746"/>
                          <a:gd name="connsiteY12" fmla="*/ 188445 h 425719"/>
                          <a:gd name="connsiteX13" fmla="*/ 148631 w 230746"/>
                          <a:gd name="connsiteY13" fmla="*/ 101349 h 425719"/>
                          <a:gd name="connsiteX14" fmla="*/ 206513 w 230746"/>
                          <a:gd name="connsiteY14" fmla="*/ 0 h 42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746" h="425719">
                            <a:moveTo>
                              <a:pt x="206538" y="0"/>
                            </a:moveTo>
                            <a:lnTo>
                              <a:pt x="208945" y="6509"/>
                            </a:lnTo>
                            <a:cubicBezTo>
                              <a:pt x="208945" y="6509"/>
                              <a:pt x="203271" y="31335"/>
                              <a:pt x="200104" y="57270"/>
                            </a:cubicBezTo>
                            <a:cubicBezTo>
                              <a:pt x="196949" y="83206"/>
                              <a:pt x="209194" y="193508"/>
                              <a:pt x="215516" y="243272"/>
                            </a:cubicBezTo>
                            <a:cubicBezTo>
                              <a:pt x="221837" y="293036"/>
                              <a:pt x="237636" y="333723"/>
                              <a:pt x="227361" y="360968"/>
                            </a:cubicBezTo>
                            <a:cubicBezTo>
                              <a:pt x="217087" y="388225"/>
                              <a:pt x="167510" y="406368"/>
                              <a:pt x="103518" y="425720"/>
                            </a:cubicBezTo>
                            <a:cubicBezTo>
                              <a:pt x="103518" y="425720"/>
                              <a:pt x="45811" y="387651"/>
                              <a:pt x="0" y="409772"/>
                            </a:cubicBezTo>
                            <a:cubicBezTo>
                              <a:pt x="0" y="409772"/>
                              <a:pt x="6933" y="381155"/>
                              <a:pt x="70550" y="366778"/>
                            </a:cubicBezTo>
                            <a:cubicBezTo>
                              <a:pt x="171413" y="343997"/>
                              <a:pt x="188246" y="333710"/>
                              <a:pt x="188246" y="333710"/>
                            </a:cubicBezTo>
                            <a:cubicBezTo>
                              <a:pt x="188246" y="333710"/>
                              <a:pt x="185877" y="316328"/>
                              <a:pt x="204830" y="317513"/>
                            </a:cubicBezTo>
                            <a:cubicBezTo>
                              <a:pt x="204830" y="317513"/>
                              <a:pt x="207199" y="308822"/>
                              <a:pt x="200091" y="296191"/>
                            </a:cubicBezTo>
                            <a:cubicBezTo>
                              <a:pt x="195328" y="287724"/>
                              <a:pt x="199967" y="275554"/>
                              <a:pt x="186301" y="240703"/>
                            </a:cubicBezTo>
                            <a:cubicBezTo>
                              <a:pt x="180976" y="227137"/>
                              <a:pt x="162385" y="218433"/>
                              <a:pt x="155315" y="188445"/>
                            </a:cubicBezTo>
                            <a:cubicBezTo>
                              <a:pt x="147721" y="156238"/>
                              <a:pt x="153370" y="133332"/>
                              <a:pt x="148631" y="101349"/>
                            </a:cubicBezTo>
                            <a:cubicBezTo>
                              <a:pt x="143893" y="69353"/>
                              <a:pt x="149367" y="24901"/>
                              <a:pt x="206513" y="0"/>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7" name="Freeform: Shape 2356">
                        <a:extLst>
                          <a:ext uri="{FF2B5EF4-FFF2-40B4-BE49-F238E27FC236}">
                            <a16:creationId xmlns:a16="http://schemas.microsoft.com/office/drawing/2014/main" id="{9BEEFFB3-72C9-77EE-768F-39B80E2BFA41}"/>
                          </a:ext>
                        </a:extLst>
                      </p:cNvPr>
                      <p:cNvSpPr/>
                      <p:nvPr/>
                    </p:nvSpPr>
                    <p:spPr>
                      <a:xfrm>
                        <a:off x="7906624" y="2686864"/>
                        <a:ext cx="46958" cy="236800"/>
                      </a:xfrm>
                      <a:custGeom>
                        <a:avLst/>
                        <a:gdLst>
                          <a:gd name="connsiteX0" fmla="*/ 20636 w 46958"/>
                          <a:gd name="connsiteY0" fmla="*/ 120988 h 236800"/>
                          <a:gd name="connsiteX1" fmla="*/ 6421 w 46958"/>
                          <a:gd name="connsiteY1" fmla="*/ 128619 h 236800"/>
                          <a:gd name="connsiteX2" fmla="*/ 46958 w 46958"/>
                          <a:gd name="connsiteY2" fmla="*/ 236800 h 236800"/>
                          <a:gd name="connsiteX3" fmla="*/ 46672 w 46958"/>
                          <a:gd name="connsiteY3" fmla="*/ 234494 h 236800"/>
                          <a:gd name="connsiteX4" fmla="*/ 32357 w 46958"/>
                          <a:gd name="connsiteY4" fmla="*/ 57270 h 236800"/>
                          <a:gd name="connsiteX5" fmla="*/ 41198 w 46958"/>
                          <a:gd name="connsiteY5" fmla="*/ 6509 h 236800"/>
                          <a:gd name="connsiteX6" fmla="*/ 38791 w 46958"/>
                          <a:gd name="connsiteY6" fmla="*/ 0 h 236800"/>
                          <a:gd name="connsiteX7" fmla="*/ 0 w 46958"/>
                          <a:gd name="connsiteY7" fmla="*/ 27083 h 236800"/>
                          <a:gd name="connsiteX8" fmla="*/ 20636 w 46958"/>
                          <a:gd name="connsiteY8" fmla="*/ 120988 h 23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58" h="236800">
                            <a:moveTo>
                              <a:pt x="20636" y="120988"/>
                            </a:moveTo>
                            <a:cubicBezTo>
                              <a:pt x="13005" y="124142"/>
                              <a:pt x="6421" y="128619"/>
                              <a:pt x="6421" y="128619"/>
                            </a:cubicBezTo>
                            <a:cubicBezTo>
                              <a:pt x="16422" y="170490"/>
                              <a:pt x="46958" y="236800"/>
                              <a:pt x="46958" y="236800"/>
                            </a:cubicBezTo>
                            <a:lnTo>
                              <a:pt x="46672" y="234494"/>
                            </a:lnTo>
                            <a:cubicBezTo>
                              <a:pt x="40138" y="181575"/>
                              <a:pt x="29377" y="81772"/>
                              <a:pt x="32357" y="57270"/>
                            </a:cubicBezTo>
                            <a:cubicBezTo>
                              <a:pt x="35512" y="31335"/>
                              <a:pt x="41198" y="6509"/>
                              <a:pt x="41198" y="6509"/>
                            </a:cubicBezTo>
                            <a:lnTo>
                              <a:pt x="38791" y="0"/>
                            </a:lnTo>
                            <a:cubicBezTo>
                              <a:pt x="21459" y="7544"/>
                              <a:pt x="9152" y="16422"/>
                              <a:pt x="0" y="27083"/>
                            </a:cubicBezTo>
                            <a:cubicBezTo>
                              <a:pt x="4626" y="55113"/>
                              <a:pt x="20636" y="120988"/>
                              <a:pt x="20636" y="120988"/>
                            </a:cubicBez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58" name="Freeform: Shape 2357">
                      <a:extLst>
                        <a:ext uri="{FF2B5EF4-FFF2-40B4-BE49-F238E27FC236}">
                          <a16:creationId xmlns:a16="http://schemas.microsoft.com/office/drawing/2014/main" id="{D21649A2-03FD-294F-0B04-4BFD76BCAFD7}"/>
                        </a:ext>
                      </a:extLst>
                    </p:cNvPr>
                    <p:cNvSpPr/>
                    <p:nvPr/>
                  </p:nvSpPr>
                  <p:spPr>
                    <a:xfrm>
                      <a:off x="7912534" y="2686864"/>
                      <a:ext cx="41123" cy="237436"/>
                    </a:xfrm>
                    <a:custGeom>
                      <a:avLst/>
                      <a:gdLst>
                        <a:gd name="connsiteX0" fmla="*/ 41123 w 41123"/>
                        <a:gd name="connsiteY0" fmla="*/ 237436 h 237436"/>
                        <a:gd name="connsiteX1" fmla="*/ 26447 w 41123"/>
                        <a:gd name="connsiteY1" fmla="*/ 57270 h 237436"/>
                        <a:gd name="connsiteX2" fmla="*/ 35287 w 41123"/>
                        <a:gd name="connsiteY2" fmla="*/ 6509 h 237436"/>
                        <a:gd name="connsiteX3" fmla="*/ 32881 w 41123"/>
                        <a:gd name="connsiteY3" fmla="*/ 0 h 237436"/>
                        <a:gd name="connsiteX4" fmla="*/ 0 w 41123"/>
                        <a:gd name="connsiteY4" fmla="*/ 20349 h 237436"/>
                        <a:gd name="connsiteX5" fmla="*/ 18155 w 41123"/>
                        <a:gd name="connsiteY5" fmla="*/ 122559 h 237436"/>
                        <a:gd name="connsiteX6" fmla="*/ 6571 w 41123"/>
                        <a:gd name="connsiteY6" fmla="*/ 130464 h 237436"/>
                        <a:gd name="connsiteX7" fmla="*/ 41123 w 41123"/>
                        <a:gd name="connsiteY7" fmla="*/ 237436 h 23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23" h="237436">
                          <a:moveTo>
                            <a:pt x="41123" y="237436"/>
                          </a:moveTo>
                          <a:cubicBezTo>
                            <a:pt x="34639" y="185365"/>
                            <a:pt x="23405" y="82234"/>
                            <a:pt x="26447" y="57270"/>
                          </a:cubicBezTo>
                          <a:cubicBezTo>
                            <a:pt x="29602" y="31335"/>
                            <a:pt x="35287" y="6509"/>
                            <a:pt x="35287" y="6509"/>
                          </a:cubicBezTo>
                          <a:lnTo>
                            <a:pt x="32881" y="0"/>
                          </a:lnTo>
                          <a:cubicBezTo>
                            <a:pt x="19340" y="5898"/>
                            <a:pt x="8554" y="12806"/>
                            <a:pt x="0" y="20349"/>
                          </a:cubicBezTo>
                          <a:cubicBezTo>
                            <a:pt x="4090" y="63817"/>
                            <a:pt x="18155" y="122559"/>
                            <a:pt x="18155" y="122559"/>
                          </a:cubicBezTo>
                          <a:cubicBezTo>
                            <a:pt x="10250" y="126773"/>
                            <a:pt x="6571" y="130464"/>
                            <a:pt x="6571" y="130464"/>
                          </a:cubicBezTo>
                          <a:cubicBezTo>
                            <a:pt x="17856" y="170128"/>
                            <a:pt x="32906" y="214069"/>
                            <a:pt x="41123" y="237436"/>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9" name="Freeform: Shape 2358">
                      <a:extLst>
                        <a:ext uri="{FF2B5EF4-FFF2-40B4-BE49-F238E27FC236}">
                          <a16:creationId xmlns:a16="http://schemas.microsoft.com/office/drawing/2014/main" id="{98D4B3A0-FD3C-BA4B-732C-9BF5917BDDFF}"/>
                        </a:ext>
                      </a:extLst>
                    </p:cNvPr>
                    <p:cNvSpPr/>
                    <p:nvPr/>
                  </p:nvSpPr>
                  <p:spPr>
                    <a:xfrm>
                      <a:off x="7897509" y="3017208"/>
                      <a:ext cx="72110" cy="77245"/>
                    </a:xfrm>
                    <a:custGeom>
                      <a:avLst/>
                      <a:gdLst>
                        <a:gd name="connsiteX0" fmla="*/ 0 w 72110"/>
                        <a:gd name="connsiteY0" fmla="*/ 77233 h 77245"/>
                        <a:gd name="connsiteX1" fmla="*/ 68729 w 72110"/>
                        <a:gd name="connsiteY1" fmla="*/ 30624 h 77245"/>
                        <a:gd name="connsiteX2" fmla="*/ 71710 w 72110"/>
                        <a:gd name="connsiteY2" fmla="*/ 0 h 77245"/>
                        <a:gd name="connsiteX3" fmla="*/ 0 w 72110"/>
                        <a:gd name="connsiteY3" fmla="*/ 77246 h 77245"/>
                      </a:gdLst>
                      <a:ahLst/>
                      <a:cxnLst>
                        <a:cxn ang="0">
                          <a:pos x="connsiteX0" y="connsiteY0"/>
                        </a:cxn>
                        <a:cxn ang="0">
                          <a:pos x="connsiteX1" y="connsiteY1"/>
                        </a:cxn>
                        <a:cxn ang="0">
                          <a:pos x="connsiteX2" y="connsiteY2"/>
                        </a:cxn>
                        <a:cxn ang="0">
                          <a:pos x="connsiteX3" y="connsiteY3"/>
                        </a:cxn>
                      </a:cxnLst>
                      <a:rect l="l" t="t" r="r" b="b"/>
                      <a:pathLst>
                        <a:path w="72110" h="77245">
                          <a:moveTo>
                            <a:pt x="0" y="77233"/>
                          </a:moveTo>
                          <a:cubicBezTo>
                            <a:pt x="36073" y="63767"/>
                            <a:pt x="61685" y="49340"/>
                            <a:pt x="68729" y="30624"/>
                          </a:cubicBezTo>
                          <a:cubicBezTo>
                            <a:pt x="72059" y="21783"/>
                            <a:pt x="72645" y="11521"/>
                            <a:pt x="71710" y="0"/>
                          </a:cubicBezTo>
                          <a:lnTo>
                            <a:pt x="0" y="77246"/>
                          </a:lnTo>
                          <a:close/>
                        </a:path>
                      </a:pathLst>
                    </a:custGeom>
                    <a:solidFill>
                      <a:srgbClr val="85C3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nvGrpSpPr>
            <p:cNvPr id="2362" name="Graphic 525">
              <a:extLst>
                <a:ext uri="{FF2B5EF4-FFF2-40B4-BE49-F238E27FC236}">
                  <a16:creationId xmlns:a16="http://schemas.microsoft.com/office/drawing/2014/main" id="{F324E841-51A6-807F-BE7A-C49EF8600685}"/>
                </a:ext>
              </a:extLst>
            </p:cNvPr>
            <p:cNvGrpSpPr/>
            <p:nvPr/>
          </p:nvGrpSpPr>
          <p:grpSpPr>
            <a:xfrm>
              <a:off x="4304331" y="2686199"/>
              <a:ext cx="29092" cy="62766"/>
              <a:chOff x="7908408" y="2675044"/>
              <a:chExt cx="35086" cy="75698"/>
            </a:xfrm>
          </p:grpSpPr>
          <p:sp>
            <p:nvSpPr>
              <p:cNvPr id="2363" name="Freeform: Shape 2362">
                <a:extLst>
                  <a:ext uri="{FF2B5EF4-FFF2-40B4-BE49-F238E27FC236}">
                    <a16:creationId xmlns:a16="http://schemas.microsoft.com/office/drawing/2014/main" id="{FA25143A-07C0-5B21-2037-7DE9CB52F98E}"/>
                  </a:ext>
                </a:extLst>
              </p:cNvPr>
              <p:cNvSpPr/>
              <p:nvPr/>
            </p:nvSpPr>
            <p:spPr>
              <a:xfrm>
                <a:off x="7908408" y="2709059"/>
                <a:ext cx="14180" cy="35748"/>
              </a:xfrm>
              <a:custGeom>
                <a:avLst/>
                <a:gdLst>
                  <a:gd name="connsiteX0" fmla="*/ 10647 w 14180"/>
                  <a:gd name="connsiteY0" fmla="*/ 0 h 35748"/>
                  <a:gd name="connsiteX1" fmla="*/ 2430 w 14180"/>
                  <a:gd name="connsiteY1" fmla="*/ 14177 h 35748"/>
                  <a:gd name="connsiteX2" fmla="*/ 10722 w 14180"/>
                  <a:gd name="connsiteY2" fmla="*/ 35749 h 35748"/>
                  <a:gd name="connsiteX3" fmla="*/ 10647 w 14180"/>
                  <a:gd name="connsiteY3" fmla="*/ 0 h 35748"/>
                </a:gdLst>
                <a:ahLst/>
                <a:cxnLst>
                  <a:cxn ang="0">
                    <a:pos x="connsiteX0" y="connsiteY0"/>
                  </a:cxn>
                  <a:cxn ang="0">
                    <a:pos x="connsiteX1" y="connsiteY1"/>
                  </a:cxn>
                  <a:cxn ang="0">
                    <a:pos x="connsiteX2" y="connsiteY2"/>
                  </a:cxn>
                  <a:cxn ang="0">
                    <a:pos x="connsiteX3" y="connsiteY3"/>
                  </a:cxn>
                </a:cxnLst>
                <a:rect l="l" t="t" r="r" b="b"/>
                <a:pathLst>
                  <a:path w="14180" h="35748">
                    <a:moveTo>
                      <a:pt x="10647" y="0"/>
                    </a:moveTo>
                    <a:cubicBezTo>
                      <a:pt x="10647" y="0"/>
                      <a:pt x="6782" y="8491"/>
                      <a:pt x="2430" y="14177"/>
                    </a:cubicBezTo>
                    <a:cubicBezTo>
                      <a:pt x="-1922" y="19876"/>
                      <a:pt x="-1149" y="33716"/>
                      <a:pt x="10722" y="35749"/>
                    </a:cubicBezTo>
                    <a:cubicBezTo>
                      <a:pt x="10722" y="35749"/>
                      <a:pt x="18552" y="14651"/>
                      <a:pt x="10647" y="0"/>
                    </a:cubicBezTo>
                    <a:close/>
                  </a:path>
                </a:pathLst>
              </a:custGeom>
              <a:solidFill>
                <a:srgbClr val="121D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64" name="Freeform: Shape 2363">
                <a:extLst>
                  <a:ext uri="{FF2B5EF4-FFF2-40B4-BE49-F238E27FC236}">
                    <a16:creationId xmlns:a16="http://schemas.microsoft.com/office/drawing/2014/main" id="{204EC4FC-9AEC-15C1-EA3C-A6B2EE03EF38}"/>
                  </a:ext>
                </a:extLst>
              </p:cNvPr>
              <p:cNvSpPr/>
              <p:nvPr/>
            </p:nvSpPr>
            <p:spPr>
              <a:xfrm>
                <a:off x="7915988" y="2675044"/>
                <a:ext cx="27507" cy="75698"/>
              </a:xfrm>
              <a:custGeom>
                <a:avLst/>
                <a:gdLst>
                  <a:gd name="connsiteX0" fmla="*/ 0 w 27507"/>
                  <a:gd name="connsiteY0" fmla="*/ 12 h 75698"/>
                  <a:gd name="connsiteX1" fmla="*/ 4152 w 27507"/>
                  <a:gd name="connsiteY1" fmla="*/ 28479 h 75698"/>
                  <a:gd name="connsiteX2" fmla="*/ 1845 w 27507"/>
                  <a:gd name="connsiteY2" fmla="*/ 48205 h 75698"/>
                  <a:gd name="connsiteX3" fmla="*/ 7244 w 27507"/>
                  <a:gd name="connsiteY3" fmla="*/ 74390 h 75698"/>
                  <a:gd name="connsiteX4" fmla="*/ 23018 w 27507"/>
                  <a:gd name="connsiteY4" fmla="*/ 56423 h 75698"/>
                  <a:gd name="connsiteX5" fmla="*/ 24963 w 27507"/>
                  <a:gd name="connsiteY5" fmla="*/ 32232 h 75698"/>
                  <a:gd name="connsiteX6" fmla="*/ 27170 w 27507"/>
                  <a:gd name="connsiteY6" fmla="*/ 187 h 75698"/>
                  <a:gd name="connsiteX7" fmla="*/ 0 w 27507"/>
                  <a:gd name="connsiteY7" fmla="*/ 0 h 7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507" h="75698">
                    <a:moveTo>
                      <a:pt x="0" y="12"/>
                    </a:moveTo>
                    <a:cubicBezTo>
                      <a:pt x="0" y="12"/>
                      <a:pt x="8604" y="18654"/>
                      <a:pt x="4152" y="28479"/>
                    </a:cubicBezTo>
                    <a:cubicBezTo>
                      <a:pt x="-299" y="38305"/>
                      <a:pt x="-873" y="42096"/>
                      <a:pt x="1845" y="48205"/>
                    </a:cubicBezTo>
                    <a:cubicBezTo>
                      <a:pt x="4551" y="54315"/>
                      <a:pt x="-4052" y="68555"/>
                      <a:pt x="7244" y="74390"/>
                    </a:cubicBezTo>
                    <a:cubicBezTo>
                      <a:pt x="18541" y="80226"/>
                      <a:pt x="22482" y="65151"/>
                      <a:pt x="23018" y="56423"/>
                    </a:cubicBezTo>
                    <a:cubicBezTo>
                      <a:pt x="23554" y="47694"/>
                      <a:pt x="22881" y="39178"/>
                      <a:pt x="24963" y="32232"/>
                    </a:cubicBezTo>
                    <a:cubicBezTo>
                      <a:pt x="27045" y="25287"/>
                      <a:pt x="28093" y="14826"/>
                      <a:pt x="27170" y="187"/>
                    </a:cubicBezTo>
                    <a:lnTo>
                      <a:pt x="0" y="0"/>
                    </a:ln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65" name="Freeform: Shape 2364">
              <a:extLst>
                <a:ext uri="{FF2B5EF4-FFF2-40B4-BE49-F238E27FC236}">
                  <a16:creationId xmlns:a16="http://schemas.microsoft.com/office/drawing/2014/main" id="{213AD17C-91AF-74B0-93B2-F1BEF3C30C4A}"/>
                </a:ext>
              </a:extLst>
            </p:cNvPr>
            <p:cNvSpPr/>
            <p:nvPr/>
          </p:nvSpPr>
          <p:spPr>
            <a:xfrm>
              <a:off x="4272949" y="2535264"/>
              <a:ext cx="115716" cy="159332"/>
            </a:xfrm>
            <a:custGeom>
              <a:avLst/>
              <a:gdLst>
                <a:gd name="connsiteX0" fmla="*/ 62373 w 139558"/>
                <a:gd name="connsiteY0" fmla="*/ 584 h 192162"/>
                <a:gd name="connsiteX1" fmla="*/ 477 w 139558"/>
                <a:gd name="connsiteY1" fmla="*/ 57444 h 192162"/>
                <a:gd name="connsiteX2" fmla="*/ 54780 w 139558"/>
                <a:gd name="connsiteY2" fmla="*/ 192135 h 192162"/>
                <a:gd name="connsiteX3" fmla="*/ 138659 w 139558"/>
                <a:gd name="connsiteY3" fmla="*/ 96933 h 192162"/>
                <a:gd name="connsiteX4" fmla="*/ 62373 w 139558"/>
                <a:gd name="connsiteY4" fmla="*/ 584 h 192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58" h="192162">
                  <a:moveTo>
                    <a:pt x="62373" y="584"/>
                  </a:moveTo>
                  <a:cubicBezTo>
                    <a:pt x="62373" y="584"/>
                    <a:pt x="4666" y="5073"/>
                    <a:pt x="477" y="57444"/>
                  </a:cubicBezTo>
                  <a:cubicBezTo>
                    <a:pt x="-3713" y="109814"/>
                    <a:pt x="20141" y="190863"/>
                    <a:pt x="54780" y="192135"/>
                  </a:cubicBezTo>
                  <a:cubicBezTo>
                    <a:pt x="89419" y="193407"/>
                    <a:pt x="131689" y="151511"/>
                    <a:pt x="138659" y="96933"/>
                  </a:cubicBezTo>
                  <a:cubicBezTo>
                    <a:pt x="145629" y="42356"/>
                    <a:pt x="111327" y="-5887"/>
                    <a:pt x="62373" y="584"/>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69" name="Graphic 525">
              <a:extLst>
                <a:ext uri="{FF2B5EF4-FFF2-40B4-BE49-F238E27FC236}">
                  <a16:creationId xmlns:a16="http://schemas.microsoft.com/office/drawing/2014/main" id="{53AEC338-AB78-B296-9453-8946E5960C29}"/>
                </a:ext>
              </a:extLst>
            </p:cNvPr>
            <p:cNvGrpSpPr/>
            <p:nvPr/>
          </p:nvGrpSpPr>
          <p:grpSpPr>
            <a:xfrm>
              <a:off x="4269330" y="2522450"/>
              <a:ext cx="187787" cy="261196"/>
              <a:chOff x="7866195" y="2477555"/>
              <a:chExt cx="226479" cy="315014"/>
            </a:xfrm>
          </p:grpSpPr>
          <p:sp>
            <p:nvSpPr>
              <p:cNvPr id="2370" name="Freeform: Shape 2369">
                <a:extLst>
                  <a:ext uri="{FF2B5EF4-FFF2-40B4-BE49-F238E27FC236}">
                    <a16:creationId xmlns:a16="http://schemas.microsoft.com/office/drawing/2014/main" id="{6A8B03EB-FABF-37F0-FA42-4EAD6115B824}"/>
                  </a:ext>
                </a:extLst>
              </p:cNvPr>
              <p:cNvSpPr/>
              <p:nvPr/>
            </p:nvSpPr>
            <p:spPr>
              <a:xfrm>
                <a:off x="7866195" y="2477555"/>
                <a:ext cx="226479" cy="315014"/>
              </a:xfrm>
              <a:custGeom>
                <a:avLst/>
                <a:gdLst>
                  <a:gd name="connsiteX0" fmla="*/ 183074 w 226479"/>
                  <a:gd name="connsiteY0" fmla="*/ 254385 h 315014"/>
                  <a:gd name="connsiteX1" fmla="*/ 190257 w 226479"/>
                  <a:gd name="connsiteY1" fmla="*/ 236467 h 315014"/>
                  <a:gd name="connsiteX2" fmla="*/ 191790 w 226479"/>
                  <a:gd name="connsiteY2" fmla="*/ 229011 h 315014"/>
                  <a:gd name="connsiteX3" fmla="*/ 193486 w 226479"/>
                  <a:gd name="connsiteY3" fmla="*/ 199808 h 315014"/>
                  <a:gd name="connsiteX4" fmla="*/ 226479 w 226479"/>
                  <a:gd name="connsiteY4" fmla="*/ 188461 h 315014"/>
                  <a:gd name="connsiteX5" fmla="*/ 220868 w 226479"/>
                  <a:gd name="connsiteY5" fmla="*/ 169271 h 315014"/>
                  <a:gd name="connsiteX6" fmla="*/ 210681 w 226479"/>
                  <a:gd name="connsiteY6" fmla="*/ 133747 h 315014"/>
                  <a:gd name="connsiteX7" fmla="*/ 203038 w 226479"/>
                  <a:gd name="connsiteY7" fmla="*/ 109881 h 315014"/>
                  <a:gd name="connsiteX8" fmla="*/ 191765 w 226479"/>
                  <a:gd name="connsiteY8" fmla="*/ 90068 h 315014"/>
                  <a:gd name="connsiteX9" fmla="*/ 179271 w 226479"/>
                  <a:gd name="connsiteY9" fmla="*/ 58533 h 315014"/>
                  <a:gd name="connsiteX10" fmla="*/ 153722 w 226479"/>
                  <a:gd name="connsiteY10" fmla="*/ 18183 h 315014"/>
                  <a:gd name="connsiteX11" fmla="*/ 107811 w 226479"/>
                  <a:gd name="connsiteY11" fmla="*/ 4829 h 315014"/>
                  <a:gd name="connsiteX12" fmla="*/ 79382 w 226479"/>
                  <a:gd name="connsiteY12" fmla="*/ 4455 h 315014"/>
                  <a:gd name="connsiteX13" fmla="*/ 56588 w 226479"/>
                  <a:gd name="connsiteY13" fmla="*/ 10490 h 315014"/>
                  <a:gd name="connsiteX14" fmla="*/ 21338 w 226479"/>
                  <a:gd name="connsiteY14" fmla="*/ 32273 h 315014"/>
                  <a:gd name="connsiteX15" fmla="*/ 9742 w 226479"/>
                  <a:gd name="connsiteY15" fmla="*/ 48271 h 315014"/>
                  <a:gd name="connsiteX16" fmla="*/ 4417 w 226479"/>
                  <a:gd name="connsiteY16" fmla="*/ 89669 h 315014"/>
                  <a:gd name="connsiteX17" fmla="*/ 16500 w 226479"/>
                  <a:gd name="connsiteY17" fmla="*/ 51613 h 315014"/>
                  <a:gd name="connsiteX18" fmla="*/ 29979 w 226479"/>
                  <a:gd name="connsiteY18" fmla="*/ 46376 h 315014"/>
                  <a:gd name="connsiteX19" fmla="*/ 43059 w 226479"/>
                  <a:gd name="connsiteY19" fmla="*/ 41214 h 315014"/>
                  <a:gd name="connsiteX20" fmla="*/ 60254 w 226479"/>
                  <a:gd name="connsiteY20" fmla="*/ 52598 h 315014"/>
                  <a:gd name="connsiteX21" fmla="*/ 67835 w 226479"/>
                  <a:gd name="connsiteY21" fmla="*/ 67723 h 315014"/>
                  <a:gd name="connsiteX22" fmla="*/ 83384 w 226479"/>
                  <a:gd name="connsiteY22" fmla="*/ 81452 h 315014"/>
                  <a:gd name="connsiteX23" fmla="*/ 90192 w 226479"/>
                  <a:gd name="connsiteY23" fmla="*/ 92187 h 315014"/>
                  <a:gd name="connsiteX24" fmla="*/ 103073 w 226479"/>
                  <a:gd name="connsiteY24" fmla="*/ 122811 h 315014"/>
                  <a:gd name="connsiteX25" fmla="*/ 118759 w 226479"/>
                  <a:gd name="connsiteY25" fmla="*/ 152151 h 315014"/>
                  <a:gd name="connsiteX26" fmla="*/ 127413 w 226479"/>
                  <a:gd name="connsiteY26" fmla="*/ 178187 h 315014"/>
                  <a:gd name="connsiteX27" fmla="*/ 132974 w 226479"/>
                  <a:gd name="connsiteY27" fmla="*/ 207639 h 315014"/>
                  <a:gd name="connsiteX28" fmla="*/ 132113 w 226479"/>
                  <a:gd name="connsiteY28" fmla="*/ 242739 h 315014"/>
                  <a:gd name="connsiteX29" fmla="*/ 145505 w 226479"/>
                  <a:gd name="connsiteY29" fmla="*/ 269997 h 315014"/>
                  <a:gd name="connsiteX30" fmla="*/ 161366 w 226479"/>
                  <a:gd name="connsiteY30" fmla="*/ 313688 h 315014"/>
                  <a:gd name="connsiteX31" fmla="*/ 170057 w 226479"/>
                  <a:gd name="connsiteY31" fmla="*/ 292853 h 315014"/>
                  <a:gd name="connsiteX32" fmla="*/ 193848 w 226479"/>
                  <a:gd name="connsiteY32" fmla="*/ 304312 h 315014"/>
                  <a:gd name="connsiteX33" fmla="*/ 188174 w 226479"/>
                  <a:gd name="connsiteY33" fmla="*/ 276530 h 315014"/>
                  <a:gd name="connsiteX34" fmla="*/ 183074 w 226479"/>
                  <a:gd name="connsiteY34" fmla="*/ 254398 h 31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6479" h="315014">
                    <a:moveTo>
                      <a:pt x="183074" y="254385"/>
                    </a:moveTo>
                    <a:cubicBezTo>
                      <a:pt x="184446" y="248912"/>
                      <a:pt x="188149" y="242615"/>
                      <a:pt x="190257" y="236467"/>
                    </a:cubicBezTo>
                    <a:cubicBezTo>
                      <a:pt x="190631" y="234048"/>
                      <a:pt x="191142" y="231554"/>
                      <a:pt x="191790" y="229011"/>
                    </a:cubicBezTo>
                    <a:cubicBezTo>
                      <a:pt x="191790" y="229011"/>
                      <a:pt x="192401" y="211105"/>
                      <a:pt x="193486" y="199808"/>
                    </a:cubicBezTo>
                    <a:cubicBezTo>
                      <a:pt x="195070" y="183287"/>
                      <a:pt x="215120" y="188175"/>
                      <a:pt x="226479" y="188461"/>
                    </a:cubicBezTo>
                    <a:cubicBezTo>
                      <a:pt x="226479" y="188461"/>
                      <a:pt x="216342" y="178698"/>
                      <a:pt x="220868" y="169271"/>
                    </a:cubicBezTo>
                    <a:cubicBezTo>
                      <a:pt x="225395" y="159845"/>
                      <a:pt x="222352" y="144046"/>
                      <a:pt x="210681" y="133747"/>
                    </a:cubicBezTo>
                    <a:cubicBezTo>
                      <a:pt x="199010" y="123447"/>
                      <a:pt x="202713" y="119806"/>
                      <a:pt x="203038" y="109881"/>
                    </a:cubicBezTo>
                    <a:cubicBezTo>
                      <a:pt x="203362" y="99956"/>
                      <a:pt x="199596" y="94856"/>
                      <a:pt x="191765" y="90068"/>
                    </a:cubicBezTo>
                    <a:cubicBezTo>
                      <a:pt x="183935" y="85267"/>
                      <a:pt x="181616" y="69643"/>
                      <a:pt x="179271" y="58533"/>
                    </a:cubicBezTo>
                    <a:cubicBezTo>
                      <a:pt x="176915" y="47436"/>
                      <a:pt x="169259" y="29455"/>
                      <a:pt x="153722" y="18183"/>
                    </a:cubicBezTo>
                    <a:cubicBezTo>
                      <a:pt x="138186" y="6924"/>
                      <a:pt x="127150" y="215"/>
                      <a:pt x="107811" y="4829"/>
                    </a:cubicBezTo>
                    <a:cubicBezTo>
                      <a:pt x="107811" y="4829"/>
                      <a:pt x="93210" y="-5782"/>
                      <a:pt x="79382" y="4455"/>
                    </a:cubicBezTo>
                    <a:cubicBezTo>
                      <a:pt x="79382" y="4455"/>
                      <a:pt x="66763" y="490"/>
                      <a:pt x="56588" y="10490"/>
                    </a:cubicBezTo>
                    <a:cubicBezTo>
                      <a:pt x="56588" y="10490"/>
                      <a:pt x="32385" y="6088"/>
                      <a:pt x="21338" y="32273"/>
                    </a:cubicBezTo>
                    <a:cubicBezTo>
                      <a:pt x="21338" y="32273"/>
                      <a:pt x="12984" y="36201"/>
                      <a:pt x="9742" y="48271"/>
                    </a:cubicBezTo>
                    <a:cubicBezTo>
                      <a:pt x="9742" y="48271"/>
                      <a:pt x="-8014" y="64232"/>
                      <a:pt x="4417" y="89669"/>
                    </a:cubicBezTo>
                    <a:cubicBezTo>
                      <a:pt x="4417" y="89669"/>
                      <a:pt x="9255" y="61925"/>
                      <a:pt x="16500" y="51613"/>
                    </a:cubicBezTo>
                    <a:cubicBezTo>
                      <a:pt x="16500" y="51613"/>
                      <a:pt x="25540" y="49206"/>
                      <a:pt x="29979" y="46376"/>
                    </a:cubicBezTo>
                    <a:cubicBezTo>
                      <a:pt x="34418" y="43545"/>
                      <a:pt x="41338" y="43159"/>
                      <a:pt x="43059" y="41214"/>
                    </a:cubicBezTo>
                    <a:cubicBezTo>
                      <a:pt x="43059" y="41214"/>
                      <a:pt x="48546" y="53820"/>
                      <a:pt x="60254" y="52598"/>
                    </a:cubicBezTo>
                    <a:cubicBezTo>
                      <a:pt x="63870" y="54431"/>
                      <a:pt x="66252" y="61002"/>
                      <a:pt x="67835" y="67723"/>
                    </a:cubicBezTo>
                    <a:cubicBezTo>
                      <a:pt x="69419" y="74431"/>
                      <a:pt x="76913" y="79706"/>
                      <a:pt x="83384" y="81452"/>
                    </a:cubicBezTo>
                    <a:cubicBezTo>
                      <a:pt x="89856" y="83197"/>
                      <a:pt x="91888" y="87773"/>
                      <a:pt x="90192" y="92187"/>
                    </a:cubicBezTo>
                    <a:cubicBezTo>
                      <a:pt x="88496" y="96601"/>
                      <a:pt x="81913" y="107001"/>
                      <a:pt x="103073" y="122811"/>
                    </a:cubicBezTo>
                    <a:cubicBezTo>
                      <a:pt x="115592" y="132163"/>
                      <a:pt x="118647" y="146827"/>
                      <a:pt x="118759" y="152151"/>
                    </a:cubicBezTo>
                    <a:cubicBezTo>
                      <a:pt x="118871" y="157476"/>
                      <a:pt x="120018" y="168785"/>
                      <a:pt x="127413" y="178187"/>
                    </a:cubicBezTo>
                    <a:cubicBezTo>
                      <a:pt x="134807" y="187588"/>
                      <a:pt x="135941" y="196429"/>
                      <a:pt x="132974" y="207639"/>
                    </a:cubicBezTo>
                    <a:cubicBezTo>
                      <a:pt x="129993" y="218848"/>
                      <a:pt x="126340" y="228524"/>
                      <a:pt x="132113" y="242739"/>
                    </a:cubicBezTo>
                    <a:cubicBezTo>
                      <a:pt x="137887" y="256942"/>
                      <a:pt x="148061" y="256393"/>
                      <a:pt x="145505" y="269997"/>
                    </a:cubicBezTo>
                    <a:cubicBezTo>
                      <a:pt x="142949" y="283600"/>
                      <a:pt x="143797" y="307292"/>
                      <a:pt x="161366" y="313688"/>
                    </a:cubicBezTo>
                    <a:cubicBezTo>
                      <a:pt x="178922" y="320072"/>
                      <a:pt x="172862" y="301818"/>
                      <a:pt x="170057" y="292853"/>
                    </a:cubicBezTo>
                    <a:cubicBezTo>
                      <a:pt x="170057" y="292853"/>
                      <a:pt x="181466" y="313464"/>
                      <a:pt x="193848" y="304312"/>
                    </a:cubicBezTo>
                    <a:cubicBezTo>
                      <a:pt x="198598" y="298551"/>
                      <a:pt x="192564" y="285209"/>
                      <a:pt x="188174" y="276530"/>
                    </a:cubicBezTo>
                    <a:cubicBezTo>
                      <a:pt x="183773" y="267840"/>
                      <a:pt x="181142" y="262141"/>
                      <a:pt x="183074" y="254398"/>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71" name="Graphic 525">
                <a:extLst>
                  <a:ext uri="{FF2B5EF4-FFF2-40B4-BE49-F238E27FC236}">
                    <a16:creationId xmlns:a16="http://schemas.microsoft.com/office/drawing/2014/main" id="{91EB21EE-DFA5-5D9C-A9F9-63DA733E846D}"/>
                  </a:ext>
                </a:extLst>
              </p:cNvPr>
              <p:cNvGrpSpPr/>
              <p:nvPr/>
            </p:nvGrpSpPr>
            <p:grpSpPr>
              <a:xfrm>
                <a:off x="7964091" y="2579184"/>
                <a:ext cx="26225" cy="39391"/>
                <a:chOff x="7964091" y="2579184"/>
                <a:chExt cx="26225" cy="39391"/>
              </a:xfrm>
            </p:grpSpPr>
            <p:sp>
              <p:nvSpPr>
                <p:cNvPr id="2372" name="Freeform: Shape 2371">
                  <a:extLst>
                    <a:ext uri="{FF2B5EF4-FFF2-40B4-BE49-F238E27FC236}">
                      <a16:creationId xmlns:a16="http://schemas.microsoft.com/office/drawing/2014/main" id="{57A3D3B6-261C-0F58-0739-4A6EB82798B7}"/>
                    </a:ext>
                  </a:extLst>
                </p:cNvPr>
                <p:cNvSpPr/>
                <p:nvPr/>
              </p:nvSpPr>
              <p:spPr>
                <a:xfrm>
                  <a:off x="7964091" y="2579184"/>
                  <a:ext cx="26225" cy="39391"/>
                </a:xfrm>
                <a:custGeom>
                  <a:avLst/>
                  <a:gdLst>
                    <a:gd name="connsiteX0" fmla="*/ 826 w 26225"/>
                    <a:gd name="connsiteY0" fmla="*/ 21107 h 39391"/>
                    <a:gd name="connsiteX1" fmla="*/ 19367 w 26225"/>
                    <a:gd name="connsiteY1" fmla="*/ 184 h 39391"/>
                    <a:gd name="connsiteX2" fmla="*/ 18157 w 26225"/>
                    <a:gd name="connsiteY2" fmla="*/ 33289 h 39391"/>
                    <a:gd name="connsiteX3" fmla="*/ 813 w 26225"/>
                    <a:gd name="connsiteY3" fmla="*/ 21107 h 39391"/>
                  </a:gdLst>
                  <a:ahLst/>
                  <a:cxnLst>
                    <a:cxn ang="0">
                      <a:pos x="connsiteX0" y="connsiteY0"/>
                    </a:cxn>
                    <a:cxn ang="0">
                      <a:pos x="connsiteX1" y="connsiteY1"/>
                    </a:cxn>
                    <a:cxn ang="0">
                      <a:pos x="connsiteX2" y="connsiteY2"/>
                    </a:cxn>
                    <a:cxn ang="0">
                      <a:pos x="connsiteX3" y="connsiteY3"/>
                    </a:cxn>
                  </a:cxnLst>
                  <a:rect l="l" t="t" r="r" b="b"/>
                  <a:pathLst>
                    <a:path w="26225" h="39391">
                      <a:moveTo>
                        <a:pt x="826" y="21107"/>
                      </a:moveTo>
                      <a:cubicBezTo>
                        <a:pt x="826" y="21107"/>
                        <a:pt x="5364" y="-2297"/>
                        <a:pt x="19367" y="184"/>
                      </a:cubicBezTo>
                      <a:cubicBezTo>
                        <a:pt x="33370" y="2666"/>
                        <a:pt x="22260" y="27042"/>
                        <a:pt x="18157" y="33289"/>
                      </a:cubicBezTo>
                      <a:cubicBezTo>
                        <a:pt x="13295" y="40721"/>
                        <a:pt x="-3913" y="45783"/>
                        <a:pt x="813" y="21107"/>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73" name="Graphic 525">
                  <a:extLst>
                    <a:ext uri="{FF2B5EF4-FFF2-40B4-BE49-F238E27FC236}">
                      <a16:creationId xmlns:a16="http://schemas.microsoft.com/office/drawing/2014/main" id="{E157034C-EFAA-B784-3A05-E62B3750F021}"/>
                    </a:ext>
                  </a:extLst>
                </p:cNvPr>
                <p:cNvGrpSpPr/>
                <p:nvPr/>
              </p:nvGrpSpPr>
              <p:grpSpPr>
                <a:xfrm>
                  <a:off x="7971196" y="2588883"/>
                  <a:ext cx="11411" cy="20148"/>
                  <a:chOff x="7971196" y="2588883"/>
                  <a:chExt cx="11411" cy="20148"/>
                </a:xfrm>
                <a:solidFill>
                  <a:srgbClr val="723333"/>
                </a:solidFill>
              </p:grpSpPr>
              <p:sp>
                <p:nvSpPr>
                  <p:cNvPr id="2374" name="Freeform: Shape 2373">
                    <a:extLst>
                      <a:ext uri="{FF2B5EF4-FFF2-40B4-BE49-F238E27FC236}">
                        <a16:creationId xmlns:a16="http://schemas.microsoft.com/office/drawing/2014/main" id="{E4840B04-6905-90D1-3DF1-32C90887E4FE}"/>
                      </a:ext>
                    </a:extLst>
                  </p:cNvPr>
                  <p:cNvSpPr/>
                  <p:nvPr/>
                </p:nvSpPr>
                <p:spPr>
                  <a:xfrm>
                    <a:off x="7971196" y="2588883"/>
                    <a:ext cx="9393" cy="20148"/>
                  </a:xfrm>
                  <a:custGeom>
                    <a:avLst/>
                    <a:gdLst>
                      <a:gd name="connsiteX0" fmla="*/ 1414 w 9393"/>
                      <a:gd name="connsiteY0" fmla="*/ 20136 h 20148"/>
                      <a:gd name="connsiteX1" fmla="*/ 230 w 9393"/>
                      <a:gd name="connsiteY1" fmla="*/ 19276 h 20148"/>
                      <a:gd name="connsiteX2" fmla="*/ 7986 w 9393"/>
                      <a:gd name="connsiteY2" fmla="*/ 74 h 20148"/>
                      <a:gd name="connsiteX3" fmla="*/ 9320 w 9393"/>
                      <a:gd name="connsiteY3" fmla="*/ 647 h 20148"/>
                      <a:gd name="connsiteX4" fmla="*/ 8746 w 9393"/>
                      <a:gd name="connsiteY4" fmla="*/ 1982 h 20148"/>
                      <a:gd name="connsiteX5" fmla="*/ 2262 w 9393"/>
                      <a:gd name="connsiteY5" fmla="*/ 18977 h 20148"/>
                      <a:gd name="connsiteX6" fmla="*/ 1427 w 9393"/>
                      <a:gd name="connsiteY6" fmla="*/ 20136 h 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 h="20148">
                        <a:moveTo>
                          <a:pt x="1414" y="20136"/>
                        </a:moveTo>
                        <a:cubicBezTo>
                          <a:pt x="828" y="20224"/>
                          <a:pt x="305" y="19837"/>
                          <a:pt x="230" y="19276"/>
                        </a:cubicBezTo>
                        <a:cubicBezTo>
                          <a:pt x="142" y="18653"/>
                          <a:pt x="-1890" y="4001"/>
                          <a:pt x="7986" y="74"/>
                        </a:cubicBezTo>
                        <a:cubicBezTo>
                          <a:pt x="8509" y="-138"/>
                          <a:pt x="9108" y="124"/>
                          <a:pt x="9320" y="647"/>
                        </a:cubicBezTo>
                        <a:cubicBezTo>
                          <a:pt x="9532" y="1171"/>
                          <a:pt x="9270" y="1769"/>
                          <a:pt x="8746" y="1982"/>
                        </a:cubicBezTo>
                        <a:cubicBezTo>
                          <a:pt x="379" y="5311"/>
                          <a:pt x="2250" y="18840"/>
                          <a:pt x="2262" y="18977"/>
                        </a:cubicBezTo>
                        <a:cubicBezTo>
                          <a:pt x="2337" y="19525"/>
                          <a:pt x="1975" y="20037"/>
                          <a:pt x="1427" y="20136"/>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5" name="Freeform: Shape 2374">
                    <a:extLst>
                      <a:ext uri="{FF2B5EF4-FFF2-40B4-BE49-F238E27FC236}">
                        <a16:creationId xmlns:a16="http://schemas.microsoft.com/office/drawing/2014/main" id="{1D6E058B-560C-FF06-ECDB-ACC34F1C79E0}"/>
                      </a:ext>
                    </a:extLst>
                  </p:cNvPr>
                  <p:cNvSpPr/>
                  <p:nvPr/>
                </p:nvSpPr>
                <p:spPr>
                  <a:xfrm>
                    <a:off x="7971716" y="2595748"/>
                    <a:ext cx="10890" cy="6392"/>
                  </a:xfrm>
                  <a:custGeom>
                    <a:avLst/>
                    <a:gdLst>
                      <a:gd name="connsiteX0" fmla="*/ 1193 w 10890"/>
                      <a:gd name="connsiteY0" fmla="*/ 6377 h 6392"/>
                      <a:gd name="connsiteX1" fmla="*/ 382 w 10890"/>
                      <a:gd name="connsiteY1" fmla="*/ 6165 h 6392"/>
                      <a:gd name="connsiteX2" fmla="*/ 220 w 10890"/>
                      <a:gd name="connsiteY2" fmla="*/ 4731 h 6392"/>
                      <a:gd name="connsiteX3" fmla="*/ 9996 w 10890"/>
                      <a:gd name="connsiteY3" fmla="*/ 67 h 6392"/>
                      <a:gd name="connsiteX4" fmla="*/ 10881 w 10890"/>
                      <a:gd name="connsiteY4" fmla="*/ 1214 h 6392"/>
                      <a:gd name="connsiteX5" fmla="*/ 9734 w 10890"/>
                      <a:gd name="connsiteY5" fmla="*/ 2100 h 6392"/>
                      <a:gd name="connsiteX6" fmla="*/ 1829 w 10890"/>
                      <a:gd name="connsiteY6" fmla="*/ 6003 h 6392"/>
                      <a:gd name="connsiteX7" fmla="*/ 1205 w 10890"/>
                      <a:gd name="connsiteY7" fmla="*/ 6377 h 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0" h="6392">
                        <a:moveTo>
                          <a:pt x="1193" y="6377"/>
                        </a:moveTo>
                        <a:cubicBezTo>
                          <a:pt x="919" y="6426"/>
                          <a:pt x="619" y="6364"/>
                          <a:pt x="382" y="6165"/>
                        </a:cubicBezTo>
                        <a:cubicBezTo>
                          <a:pt x="-54" y="5815"/>
                          <a:pt x="-129" y="5167"/>
                          <a:pt x="220" y="4731"/>
                        </a:cubicBezTo>
                        <a:cubicBezTo>
                          <a:pt x="395" y="4506"/>
                          <a:pt x="4584" y="-644"/>
                          <a:pt x="9996" y="67"/>
                        </a:cubicBezTo>
                        <a:cubicBezTo>
                          <a:pt x="10557" y="142"/>
                          <a:pt x="10956" y="653"/>
                          <a:pt x="10881" y="1214"/>
                        </a:cubicBezTo>
                        <a:cubicBezTo>
                          <a:pt x="10806" y="1775"/>
                          <a:pt x="10295" y="2174"/>
                          <a:pt x="9734" y="2100"/>
                        </a:cubicBezTo>
                        <a:cubicBezTo>
                          <a:pt x="5445" y="1539"/>
                          <a:pt x="1866" y="5965"/>
                          <a:pt x="1829" y="6003"/>
                        </a:cubicBezTo>
                        <a:cubicBezTo>
                          <a:pt x="1667" y="6202"/>
                          <a:pt x="1442" y="6327"/>
                          <a:pt x="1205" y="6377"/>
                        </a:cubicBezTo>
                        <a:close/>
                      </a:path>
                    </a:pathLst>
                  </a:custGeom>
                  <a:solidFill>
                    <a:srgbClr val="72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377" name="Freeform: Shape 2376">
              <a:extLst>
                <a:ext uri="{FF2B5EF4-FFF2-40B4-BE49-F238E27FC236}">
                  <a16:creationId xmlns:a16="http://schemas.microsoft.com/office/drawing/2014/main" id="{55766F56-6851-1C50-A70B-91587BD03D16}"/>
                </a:ext>
              </a:extLst>
            </p:cNvPr>
            <p:cNvSpPr/>
            <p:nvPr/>
          </p:nvSpPr>
          <p:spPr>
            <a:xfrm>
              <a:off x="3978740" y="2740281"/>
              <a:ext cx="352968" cy="198278"/>
            </a:xfrm>
            <a:custGeom>
              <a:avLst/>
              <a:gdLst>
                <a:gd name="connsiteX0" fmla="*/ 184143 w 425696"/>
                <a:gd name="connsiteY0" fmla="*/ 239107 h 239132"/>
                <a:gd name="connsiteX1" fmla="*/ 163856 w 425696"/>
                <a:gd name="connsiteY1" fmla="*/ 237935 h 239132"/>
                <a:gd name="connsiteX2" fmla="*/ 128457 w 425696"/>
                <a:gd name="connsiteY2" fmla="*/ 233858 h 239132"/>
                <a:gd name="connsiteX3" fmla="*/ 1995 w 425696"/>
                <a:gd name="connsiteY3" fmla="*/ 226177 h 239132"/>
                <a:gd name="connsiteX4" fmla="*/ 0 w 425696"/>
                <a:gd name="connsiteY4" fmla="*/ 224219 h 239132"/>
                <a:gd name="connsiteX5" fmla="*/ 1957 w 425696"/>
                <a:gd name="connsiteY5" fmla="*/ 222224 h 239132"/>
                <a:gd name="connsiteX6" fmla="*/ 128918 w 425696"/>
                <a:gd name="connsiteY6" fmla="*/ 229930 h 239132"/>
                <a:gd name="connsiteX7" fmla="*/ 164317 w 425696"/>
                <a:gd name="connsiteY7" fmla="*/ 234008 h 239132"/>
                <a:gd name="connsiteX8" fmla="*/ 184143 w 425696"/>
                <a:gd name="connsiteY8" fmla="*/ 235155 h 239132"/>
                <a:gd name="connsiteX9" fmla="*/ 341254 w 425696"/>
                <a:gd name="connsiteY9" fmla="*/ 118456 h 239132"/>
                <a:gd name="connsiteX10" fmla="*/ 402677 w 425696"/>
                <a:gd name="connsiteY10" fmla="*/ 30786 h 239132"/>
                <a:gd name="connsiteX11" fmla="*/ 421206 w 425696"/>
                <a:gd name="connsiteY11" fmla="*/ 2132 h 239132"/>
                <a:gd name="connsiteX12" fmla="*/ 422877 w 425696"/>
                <a:gd name="connsiteY12" fmla="*/ 1085 h 239132"/>
                <a:gd name="connsiteX13" fmla="*/ 424523 w 425696"/>
                <a:gd name="connsiteY13" fmla="*/ 0 h 239132"/>
                <a:gd name="connsiteX14" fmla="*/ 405108 w 425696"/>
                <a:gd name="connsiteY14" fmla="*/ 33904 h 239132"/>
                <a:gd name="connsiteX15" fmla="*/ 344870 w 425696"/>
                <a:gd name="connsiteY15" fmla="*/ 120040 h 239132"/>
                <a:gd name="connsiteX16" fmla="*/ 282051 w 425696"/>
                <a:gd name="connsiteY16" fmla="*/ 204655 h 239132"/>
                <a:gd name="connsiteX17" fmla="*/ 184143 w 425696"/>
                <a:gd name="connsiteY17" fmla="*/ 239132 h 23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5696" h="239132">
                  <a:moveTo>
                    <a:pt x="184143" y="239107"/>
                  </a:moveTo>
                  <a:cubicBezTo>
                    <a:pt x="177485" y="239107"/>
                    <a:pt x="170727" y="238721"/>
                    <a:pt x="163856" y="237935"/>
                  </a:cubicBezTo>
                  <a:cubicBezTo>
                    <a:pt x="150327" y="236402"/>
                    <a:pt x="138706" y="235042"/>
                    <a:pt x="128457" y="233858"/>
                  </a:cubicBezTo>
                  <a:cubicBezTo>
                    <a:pt x="65226" y="226526"/>
                    <a:pt x="57096" y="225579"/>
                    <a:pt x="1995" y="226177"/>
                  </a:cubicBezTo>
                  <a:cubicBezTo>
                    <a:pt x="898" y="226177"/>
                    <a:pt x="12" y="225304"/>
                    <a:pt x="0" y="224219"/>
                  </a:cubicBezTo>
                  <a:cubicBezTo>
                    <a:pt x="0" y="223135"/>
                    <a:pt x="860" y="222237"/>
                    <a:pt x="1957" y="222224"/>
                  </a:cubicBezTo>
                  <a:cubicBezTo>
                    <a:pt x="57308" y="221626"/>
                    <a:pt x="65463" y="222561"/>
                    <a:pt x="128918" y="229930"/>
                  </a:cubicBezTo>
                  <a:cubicBezTo>
                    <a:pt x="139167" y="231115"/>
                    <a:pt x="150789" y="232461"/>
                    <a:pt x="164317" y="234008"/>
                  </a:cubicBezTo>
                  <a:cubicBezTo>
                    <a:pt x="171151" y="234781"/>
                    <a:pt x="177759" y="235155"/>
                    <a:pt x="184143" y="235155"/>
                  </a:cubicBezTo>
                  <a:cubicBezTo>
                    <a:pt x="282911" y="235155"/>
                    <a:pt x="328972" y="146948"/>
                    <a:pt x="341254" y="118456"/>
                  </a:cubicBezTo>
                  <a:cubicBezTo>
                    <a:pt x="365606" y="61897"/>
                    <a:pt x="376055" y="51759"/>
                    <a:pt x="402677" y="30786"/>
                  </a:cubicBezTo>
                  <a:cubicBezTo>
                    <a:pt x="426617" y="11921"/>
                    <a:pt x="421268" y="2232"/>
                    <a:pt x="421206" y="2132"/>
                  </a:cubicBezTo>
                  <a:lnTo>
                    <a:pt x="422877" y="1085"/>
                  </a:lnTo>
                  <a:lnTo>
                    <a:pt x="424523" y="0"/>
                  </a:lnTo>
                  <a:cubicBezTo>
                    <a:pt x="424847" y="499"/>
                    <a:pt x="432303" y="12482"/>
                    <a:pt x="405108" y="33904"/>
                  </a:cubicBezTo>
                  <a:cubicBezTo>
                    <a:pt x="378487" y="54876"/>
                    <a:pt x="368923" y="64179"/>
                    <a:pt x="344870" y="120040"/>
                  </a:cubicBezTo>
                  <a:cubicBezTo>
                    <a:pt x="336391" y="139754"/>
                    <a:pt x="316939" y="176949"/>
                    <a:pt x="282051" y="204655"/>
                  </a:cubicBezTo>
                  <a:cubicBezTo>
                    <a:pt x="253185" y="227573"/>
                    <a:pt x="220329" y="239132"/>
                    <a:pt x="184143" y="239132"/>
                  </a:cubicBezTo>
                  <a:close/>
                </a:path>
              </a:pathLst>
            </a:custGeom>
            <a:solidFill>
              <a:srgbClr val="3C4A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9" name="Freeform: Shape 2378">
              <a:extLst>
                <a:ext uri="{FF2B5EF4-FFF2-40B4-BE49-F238E27FC236}">
                  <a16:creationId xmlns:a16="http://schemas.microsoft.com/office/drawing/2014/main" id="{58541399-DDFC-D9E8-2A21-E720BED80C60}"/>
                </a:ext>
              </a:extLst>
            </p:cNvPr>
            <p:cNvSpPr/>
            <p:nvPr/>
          </p:nvSpPr>
          <p:spPr>
            <a:xfrm>
              <a:off x="4307928" y="2627144"/>
              <a:ext cx="74801" cy="115659"/>
            </a:xfrm>
            <a:custGeom>
              <a:avLst/>
              <a:gdLst>
                <a:gd name="connsiteX0" fmla="*/ 84877 w 90213"/>
                <a:gd name="connsiteY0" fmla="*/ 5586 h 139491"/>
                <a:gd name="connsiteX1" fmla="*/ 78418 w 90213"/>
                <a:gd name="connsiteY1" fmla="*/ 0 h 139491"/>
                <a:gd name="connsiteX2" fmla="*/ 77383 w 90213"/>
                <a:gd name="connsiteY2" fmla="*/ 3816 h 139491"/>
                <a:gd name="connsiteX3" fmla="*/ 86261 w 90213"/>
                <a:gd name="connsiteY3" fmla="*/ 31260 h 139491"/>
                <a:gd name="connsiteX4" fmla="*/ 71510 w 90213"/>
                <a:gd name="connsiteY4" fmla="*/ 93244 h 139491"/>
                <a:gd name="connsiteX5" fmla="*/ 25898 w 90213"/>
                <a:gd name="connsiteY5" fmla="*/ 135551 h 139491"/>
                <a:gd name="connsiteX6" fmla="*/ 15237 w 90213"/>
                <a:gd name="connsiteY6" fmla="*/ 123731 h 139491"/>
                <a:gd name="connsiteX7" fmla="*/ 4127 w 90213"/>
                <a:gd name="connsiteY7" fmla="*/ 81847 h 139491"/>
                <a:gd name="connsiteX8" fmla="*/ 0 w 90213"/>
                <a:gd name="connsiteY8" fmla="*/ 80513 h 139491"/>
                <a:gd name="connsiteX9" fmla="*/ 11733 w 90213"/>
                <a:gd name="connsiteY9" fmla="*/ 125551 h 139491"/>
                <a:gd name="connsiteX10" fmla="*/ 25686 w 90213"/>
                <a:gd name="connsiteY10" fmla="*/ 139492 h 139491"/>
                <a:gd name="connsiteX11" fmla="*/ 25823 w 90213"/>
                <a:gd name="connsiteY11" fmla="*/ 139492 h 139491"/>
                <a:gd name="connsiteX12" fmla="*/ 75126 w 90213"/>
                <a:gd name="connsiteY12" fmla="*/ 94815 h 139491"/>
                <a:gd name="connsiteX13" fmla="*/ 90202 w 90213"/>
                <a:gd name="connsiteY13" fmla="*/ 31310 h 139491"/>
                <a:gd name="connsiteX14" fmla="*/ 84865 w 90213"/>
                <a:gd name="connsiteY14" fmla="*/ 5586 h 13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213" h="139491">
                  <a:moveTo>
                    <a:pt x="84877" y="5586"/>
                  </a:moveTo>
                  <a:cubicBezTo>
                    <a:pt x="81922" y="1048"/>
                    <a:pt x="78767" y="87"/>
                    <a:pt x="78418" y="0"/>
                  </a:cubicBezTo>
                  <a:lnTo>
                    <a:pt x="77383" y="3816"/>
                  </a:lnTo>
                  <a:cubicBezTo>
                    <a:pt x="77383" y="3816"/>
                    <a:pt x="86623" y="7045"/>
                    <a:pt x="86261" y="31260"/>
                  </a:cubicBezTo>
                  <a:cubicBezTo>
                    <a:pt x="86087" y="42956"/>
                    <a:pt x="82009" y="69104"/>
                    <a:pt x="71510" y="93244"/>
                  </a:cubicBezTo>
                  <a:cubicBezTo>
                    <a:pt x="63231" y="112284"/>
                    <a:pt x="48592" y="135078"/>
                    <a:pt x="25898" y="135551"/>
                  </a:cubicBezTo>
                  <a:cubicBezTo>
                    <a:pt x="24190" y="135365"/>
                    <a:pt x="19888" y="132683"/>
                    <a:pt x="15237" y="123731"/>
                  </a:cubicBezTo>
                  <a:cubicBezTo>
                    <a:pt x="11584" y="116698"/>
                    <a:pt x="6796" y="103818"/>
                    <a:pt x="4127" y="81847"/>
                  </a:cubicBezTo>
                  <a:cubicBezTo>
                    <a:pt x="2743" y="81486"/>
                    <a:pt x="1359" y="81037"/>
                    <a:pt x="0" y="80513"/>
                  </a:cubicBezTo>
                  <a:cubicBezTo>
                    <a:pt x="2145" y="99304"/>
                    <a:pt x="6185" y="114853"/>
                    <a:pt x="11733" y="125551"/>
                  </a:cubicBezTo>
                  <a:cubicBezTo>
                    <a:pt x="16097" y="133968"/>
                    <a:pt x="21322" y="139180"/>
                    <a:pt x="25686" y="139492"/>
                  </a:cubicBezTo>
                  <a:cubicBezTo>
                    <a:pt x="25736" y="139492"/>
                    <a:pt x="25786" y="139492"/>
                    <a:pt x="25823" y="139492"/>
                  </a:cubicBezTo>
                  <a:cubicBezTo>
                    <a:pt x="50712" y="139043"/>
                    <a:pt x="66373" y="114952"/>
                    <a:pt x="75126" y="94815"/>
                  </a:cubicBezTo>
                  <a:cubicBezTo>
                    <a:pt x="84727" y="72732"/>
                    <a:pt x="89977" y="46161"/>
                    <a:pt x="90202" y="31310"/>
                  </a:cubicBezTo>
                  <a:cubicBezTo>
                    <a:pt x="90376" y="19938"/>
                    <a:pt x="88568" y="11285"/>
                    <a:pt x="84865" y="5586"/>
                  </a:cubicBezTo>
                  <a:close/>
                </a:path>
              </a:pathLst>
            </a:custGeom>
            <a:solidFill>
              <a:srgbClr val="3C4A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0" name="Freeform: Shape 2379">
              <a:extLst>
                <a:ext uri="{FF2B5EF4-FFF2-40B4-BE49-F238E27FC236}">
                  <a16:creationId xmlns:a16="http://schemas.microsoft.com/office/drawing/2014/main" id="{323E8C9C-4A2F-2720-039F-C5A858B17569}"/>
                </a:ext>
              </a:extLst>
            </p:cNvPr>
            <p:cNvSpPr/>
            <p:nvPr/>
          </p:nvSpPr>
          <p:spPr>
            <a:xfrm>
              <a:off x="4356417" y="2619155"/>
              <a:ext cx="16825" cy="13889"/>
            </a:xfrm>
            <a:custGeom>
              <a:avLst/>
              <a:gdLst>
                <a:gd name="connsiteX0" fmla="*/ 20175 w 20292"/>
                <a:gd name="connsiteY0" fmla="*/ 11730 h 16751"/>
                <a:gd name="connsiteX1" fmla="*/ 5000 w 20292"/>
                <a:gd name="connsiteY1" fmla="*/ 16356 h 16751"/>
                <a:gd name="connsiteX2" fmla="*/ 399 w 20292"/>
                <a:gd name="connsiteY2" fmla="*/ 6219 h 16751"/>
                <a:gd name="connsiteX3" fmla="*/ 9202 w 20292"/>
                <a:gd name="connsiteY3" fmla="*/ 271 h 16751"/>
                <a:gd name="connsiteX4" fmla="*/ 20175 w 20292"/>
                <a:gd name="connsiteY4" fmla="*/ 11730 h 16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92" h="16751">
                  <a:moveTo>
                    <a:pt x="20175" y="11730"/>
                  </a:moveTo>
                  <a:cubicBezTo>
                    <a:pt x="19015" y="16169"/>
                    <a:pt x="9451" y="17516"/>
                    <a:pt x="5000" y="16356"/>
                  </a:cubicBezTo>
                  <a:cubicBezTo>
                    <a:pt x="561" y="15197"/>
                    <a:pt x="-761" y="10658"/>
                    <a:pt x="399" y="6219"/>
                  </a:cubicBezTo>
                  <a:cubicBezTo>
                    <a:pt x="1558" y="1780"/>
                    <a:pt x="4763" y="-888"/>
                    <a:pt x="9202" y="271"/>
                  </a:cubicBezTo>
                  <a:cubicBezTo>
                    <a:pt x="13641" y="1431"/>
                    <a:pt x="21334" y="7279"/>
                    <a:pt x="20175" y="11730"/>
                  </a:cubicBezTo>
                  <a:close/>
                </a:path>
              </a:pathLst>
            </a:custGeom>
            <a:solidFill>
              <a:srgbClr val="DDDD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2" name="Freeform: Shape 2381">
              <a:extLst>
                <a:ext uri="{FF2B5EF4-FFF2-40B4-BE49-F238E27FC236}">
                  <a16:creationId xmlns:a16="http://schemas.microsoft.com/office/drawing/2014/main" id="{5A930283-ED28-4E74-F476-98B2BAF5D620}"/>
                </a:ext>
              </a:extLst>
            </p:cNvPr>
            <p:cNvSpPr/>
            <p:nvPr/>
          </p:nvSpPr>
          <p:spPr>
            <a:xfrm>
              <a:off x="4318606" y="3011031"/>
              <a:ext cx="69484" cy="42674"/>
            </a:xfrm>
            <a:custGeom>
              <a:avLst/>
              <a:gdLst>
                <a:gd name="connsiteX0" fmla="*/ 1375 w 83801"/>
                <a:gd name="connsiteY0" fmla="*/ 7525 h 51467"/>
                <a:gd name="connsiteX1" fmla="*/ 7173 w 83801"/>
                <a:gd name="connsiteY1" fmla="*/ 27538 h 51467"/>
                <a:gd name="connsiteX2" fmla="*/ 69319 w 83801"/>
                <a:gd name="connsiteY2" fmla="*/ 50705 h 51467"/>
                <a:gd name="connsiteX3" fmla="*/ 83534 w 83801"/>
                <a:gd name="connsiteY3" fmla="*/ 36229 h 51467"/>
                <a:gd name="connsiteX4" fmla="*/ 1375 w 83801"/>
                <a:gd name="connsiteY4" fmla="*/ 7525 h 51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1" h="51467">
                  <a:moveTo>
                    <a:pt x="1375" y="7525"/>
                  </a:moveTo>
                  <a:cubicBezTo>
                    <a:pt x="1375" y="7525"/>
                    <a:pt x="-4224" y="17338"/>
                    <a:pt x="7173" y="27538"/>
                  </a:cubicBezTo>
                  <a:cubicBezTo>
                    <a:pt x="17622" y="36902"/>
                    <a:pt x="49830" y="55444"/>
                    <a:pt x="69319" y="50705"/>
                  </a:cubicBezTo>
                  <a:cubicBezTo>
                    <a:pt x="69319" y="50705"/>
                    <a:pt x="78796" y="49122"/>
                    <a:pt x="83534" y="36229"/>
                  </a:cubicBezTo>
                  <a:cubicBezTo>
                    <a:pt x="88272" y="23323"/>
                    <a:pt x="28770" y="-16428"/>
                    <a:pt x="1375" y="7525"/>
                  </a:cubicBezTo>
                  <a:close/>
                </a:path>
              </a:pathLst>
            </a:custGeom>
            <a:solidFill>
              <a:srgbClr val="7EB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83" name="Graphic 525">
              <a:extLst>
                <a:ext uri="{FF2B5EF4-FFF2-40B4-BE49-F238E27FC236}">
                  <a16:creationId xmlns:a16="http://schemas.microsoft.com/office/drawing/2014/main" id="{9EC2811B-E014-3685-97AF-5DCE3E38512F}"/>
                </a:ext>
              </a:extLst>
            </p:cNvPr>
            <p:cNvGrpSpPr/>
            <p:nvPr/>
          </p:nvGrpSpPr>
          <p:grpSpPr>
            <a:xfrm>
              <a:off x="4417535" y="2683646"/>
              <a:ext cx="93937" cy="274907"/>
              <a:chOff x="8044936" y="2671964"/>
              <a:chExt cx="113292" cy="331550"/>
            </a:xfrm>
          </p:grpSpPr>
          <p:sp>
            <p:nvSpPr>
              <p:cNvPr id="2384" name="Freeform: Shape 2383">
                <a:extLst>
                  <a:ext uri="{FF2B5EF4-FFF2-40B4-BE49-F238E27FC236}">
                    <a16:creationId xmlns:a16="http://schemas.microsoft.com/office/drawing/2014/main" id="{B1FE95BB-84F4-F910-0190-76F366EDA173}"/>
                  </a:ext>
                </a:extLst>
              </p:cNvPr>
              <p:cNvSpPr/>
              <p:nvPr/>
            </p:nvSpPr>
            <p:spPr>
              <a:xfrm>
                <a:off x="8052315" y="2679130"/>
                <a:ext cx="101204" cy="302537"/>
              </a:xfrm>
              <a:custGeom>
                <a:avLst/>
                <a:gdLst>
                  <a:gd name="connsiteX0" fmla="*/ 73814 w 101204"/>
                  <a:gd name="connsiteY0" fmla="*/ 14080 h 302537"/>
                  <a:gd name="connsiteX1" fmla="*/ 84850 w 101204"/>
                  <a:gd name="connsiteY1" fmla="*/ 35191 h 302537"/>
                  <a:gd name="connsiteX2" fmla="*/ 98503 w 101204"/>
                  <a:gd name="connsiteY2" fmla="*/ 149906 h 302537"/>
                  <a:gd name="connsiteX3" fmla="*/ 73977 w 101204"/>
                  <a:gd name="connsiteY3" fmla="*/ 302104 h 302537"/>
                  <a:gd name="connsiteX4" fmla="*/ 13053 w 101204"/>
                  <a:gd name="connsiteY4" fmla="*/ 188573 h 302537"/>
                  <a:gd name="connsiteX5" fmla="*/ 9823 w 101204"/>
                  <a:gd name="connsiteY5" fmla="*/ 24006 h 302537"/>
                  <a:gd name="connsiteX6" fmla="*/ 73814 w 101204"/>
                  <a:gd name="connsiteY6" fmla="*/ 14068 h 30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04" h="302537">
                    <a:moveTo>
                      <a:pt x="73814" y="14080"/>
                    </a:moveTo>
                    <a:cubicBezTo>
                      <a:pt x="79064" y="20165"/>
                      <a:pt x="82768" y="27423"/>
                      <a:pt x="84850" y="35191"/>
                    </a:cubicBezTo>
                    <a:cubicBezTo>
                      <a:pt x="88753" y="49792"/>
                      <a:pt x="95985" y="84743"/>
                      <a:pt x="98503" y="149906"/>
                    </a:cubicBezTo>
                    <a:cubicBezTo>
                      <a:pt x="102007" y="240931"/>
                      <a:pt x="107706" y="295022"/>
                      <a:pt x="73977" y="302104"/>
                    </a:cubicBezTo>
                    <a:cubicBezTo>
                      <a:pt x="40248" y="309199"/>
                      <a:pt x="22991" y="227477"/>
                      <a:pt x="13053" y="188573"/>
                    </a:cubicBezTo>
                    <a:cubicBezTo>
                      <a:pt x="3127" y="149669"/>
                      <a:pt x="-8893" y="55166"/>
                      <a:pt x="9823" y="24006"/>
                    </a:cubicBezTo>
                    <a:cubicBezTo>
                      <a:pt x="26008" y="-2927"/>
                      <a:pt x="54288" y="-8551"/>
                      <a:pt x="73814" y="1406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5" name="Freeform: Shape 2384">
                <a:extLst>
                  <a:ext uri="{FF2B5EF4-FFF2-40B4-BE49-F238E27FC236}">
                    <a16:creationId xmlns:a16="http://schemas.microsoft.com/office/drawing/2014/main" id="{DDFA967E-3479-FFBB-052A-8916B9580F88}"/>
                  </a:ext>
                </a:extLst>
              </p:cNvPr>
              <p:cNvSpPr/>
              <p:nvPr/>
            </p:nvSpPr>
            <p:spPr>
              <a:xfrm>
                <a:off x="8044936" y="2671964"/>
                <a:ext cx="113292" cy="331550"/>
              </a:xfrm>
              <a:custGeom>
                <a:avLst/>
                <a:gdLst>
                  <a:gd name="connsiteX0" fmla="*/ 56380 w 113292"/>
                  <a:gd name="connsiteY0" fmla="*/ 536 h 331550"/>
                  <a:gd name="connsiteX1" fmla="*/ 3710 w 113292"/>
                  <a:gd name="connsiteY1" fmla="*/ 46883 h 331550"/>
                  <a:gd name="connsiteX2" fmla="*/ 14247 w 113292"/>
                  <a:gd name="connsiteY2" fmla="*/ 212772 h 331550"/>
                  <a:gd name="connsiteX3" fmla="*/ 19509 w 113292"/>
                  <a:gd name="connsiteY3" fmla="*/ 292287 h 331550"/>
                  <a:gd name="connsiteX4" fmla="*/ 93762 w 113292"/>
                  <a:gd name="connsiteY4" fmla="*/ 319669 h 331550"/>
                  <a:gd name="connsiteX5" fmla="*/ 113251 w 113292"/>
                  <a:gd name="connsiteY5" fmla="*/ 214867 h 331550"/>
                  <a:gd name="connsiteX6" fmla="*/ 103775 w 113292"/>
                  <a:gd name="connsiteY6" fmla="*/ 59514 h 331550"/>
                  <a:gd name="connsiteX7" fmla="*/ 56380 w 113292"/>
                  <a:gd name="connsiteY7" fmla="*/ 536 h 33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292" h="331550">
                    <a:moveTo>
                      <a:pt x="56380" y="536"/>
                    </a:moveTo>
                    <a:cubicBezTo>
                      <a:pt x="56380" y="536"/>
                      <a:pt x="15307" y="-8417"/>
                      <a:pt x="3710" y="46883"/>
                    </a:cubicBezTo>
                    <a:cubicBezTo>
                      <a:pt x="-7874" y="102184"/>
                      <a:pt x="11079" y="180652"/>
                      <a:pt x="14247" y="212772"/>
                    </a:cubicBezTo>
                    <a:cubicBezTo>
                      <a:pt x="17401" y="244892"/>
                      <a:pt x="19509" y="268571"/>
                      <a:pt x="19509" y="292287"/>
                    </a:cubicBezTo>
                    <a:cubicBezTo>
                      <a:pt x="19509" y="325991"/>
                      <a:pt x="70594" y="345480"/>
                      <a:pt x="93762" y="319669"/>
                    </a:cubicBezTo>
                    <a:cubicBezTo>
                      <a:pt x="116930" y="293858"/>
                      <a:pt x="112715" y="249631"/>
                      <a:pt x="113251" y="214867"/>
                    </a:cubicBezTo>
                    <a:cubicBezTo>
                      <a:pt x="113787" y="180103"/>
                      <a:pt x="109037" y="90051"/>
                      <a:pt x="103775" y="59514"/>
                    </a:cubicBezTo>
                    <a:cubicBezTo>
                      <a:pt x="98513" y="28965"/>
                      <a:pt x="78500" y="3166"/>
                      <a:pt x="56380" y="536"/>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86" name="Graphic 525">
              <a:extLst>
                <a:ext uri="{FF2B5EF4-FFF2-40B4-BE49-F238E27FC236}">
                  <a16:creationId xmlns:a16="http://schemas.microsoft.com/office/drawing/2014/main" id="{2F2B9CE7-F468-59C2-3FA0-42448A33AEE2}"/>
                </a:ext>
              </a:extLst>
            </p:cNvPr>
            <p:cNvGrpSpPr/>
            <p:nvPr/>
          </p:nvGrpSpPr>
          <p:grpSpPr>
            <a:xfrm>
              <a:off x="4269153" y="2996271"/>
              <a:ext cx="123079" cy="124035"/>
              <a:chOff x="7865980" y="3049003"/>
              <a:chExt cx="148439" cy="149592"/>
            </a:xfrm>
          </p:grpSpPr>
          <p:sp>
            <p:nvSpPr>
              <p:cNvPr id="2387" name="Freeform: Shape 2386">
                <a:extLst>
                  <a:ext uri="{FF2B5EF4-FFF2-40B4-BE49-F238E27FC236}">
                    <a16:creationId xmlns:a16="http://schemas.microsoft.com/office/drawing/2014/main" id="{73D090C6-5831-E0EC-9501-6445388BE328}"/>
                  </a:ext>
                </a:extLst>
              </p:cNvPr>
              <p:cNvSpPr/>
              <p:nvPr/>
            </p:nvSpPr>
            <p:spPr>
              <a:xfrm>
                <a:off x="7865980" y="3049003"/>
                <a:ext cx="148439" cy="149592"/>
              </a:xfrm>
              <a:custGeom>
                <a:avLst/>
                <a:gdLst>
                  <a:gd name="connsiteX0" fmla="*/ 97889 w 148439"/>
                  <a:gd name="connsiteY0" fmla="*/ 15313 h 149592"/>
                  <a:gd name="connsiteX1" fmla="*/ 72590 w 148439"/>
                  <a:gd name="connsiteY1" fmla="*/ 40339 h 149592"/>
                  <a:gd name="connsiteX2" fmla="*/ 27851 w 148439"/>
                  <a:gd name="connsiteY2" fmla="*/ 66923 h 149592"/>
                  <a:gd name="connsiteX3" fmla="*/ 5830 w 148439"/>
                  <a:gd name="connsiteY3" fmla="*/ 109604 h 149592"/>
                  <a:gd name="connsiteX4" fmla="*/ 2863 w 148439"/>
                  <a:gd name="connsiteY4" fmla="*/ 138994 h 149592"/>
                  <a:gd name="connsiteX5" fmla="*/ 10992 w 148439"/>
                  <a:gd name="connsiteY5" fmla="*/ 132747 h 149592"/>
                  <a:gd name="connsiteX6" fmla="*/ 15157 w 148439"/>
                  <a:gd name="connsiteY6" fmla="*/ 144468 h 149592"/>
                  <a:gd name="connsiteX7" fmla="*/ 26791 w 148439"/>
                  <a:gd name="connsiteY7" fmla="*/ 139593 h 149592"/>
                  <a:gd name="connsiteX8" fmla="*/ 32053 w 148439"/>
                  <a:gd name="connsiteY8" fmla="*/ 149593 h 149592"/>
                  <a:gd name="connsiteX9" fmla="*/ 43113 w 148439"/>
                  <a:gd name="connsiteY9" fmla="*/ 139057 h 149592"/>
                  <a:gd name="connsiteX10" fmla="*/ 57327 w 148439"/>
                  <a:gd name="connsiteY10" fmla="*/ 137473 h 149592"/>
                  <a:gd name="connsiteX11" fmla="*/ 72116 w 148439"/>
                  <a:gd name="connsiteY11" fmla="*/ 109817 h 149592"/>
                  <a:gd name="connsiteX12" fmla="*/ 101032 w 148439"/>
                  <a:gd name="connsiteY12" fmla="*/ 87447 h 149592"/>
                  <a:gd name="connsiteX13" fmla="*/ 136843 w 148439"/>
                  <a:gd name="connsiteY13" fmla="*/ 45314 h 149592"/>
                  <a:gd name="connsiteX14" fmla="*/ 134212 w 148439"/>
                  <a:gd name="connsiteY14" fmla="*/ 2133 h 149592"/>
                  <a:gd name="connsiteX15" fmla="*/ 97877 w 148439"/>
                  <a:gd name="connsiteY15" fmla="*/ 15301 h 14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439" h="149592">
                    <a:moveTo>
                      <a:pt x="97889" y="15313"/>
                    </a:moveTo>
                    <a:cubicBezTo>
                      <a:pt x="97889" y="15313"/>
                      <a:pt x="89959" y="31910"/>
                      <a:pt x="72590" y="40339"/>
                    </a:cubicBezTo>
                    <a:cubicBezTo>
                      <a:pt x="55208" y="48768"/>
                      <a:pt x="40008" y="57434"/>
                      <a:pt x="27851" y="66923"/>
                    </a:cubicBezTo>
                    <a:cubicBezTo>
                      <a:pt x="19447" y="73482"/>
                      <a:pt x="10568" y="95390"/>
                      <a:pt x="5830" y="109604"/>
                    </a:cubicBezTo>
                    <a:cubicBezTo>
                      <a:pt x="1092" y="123819"/>
                      <a:pt x="-2923" y="137947"/>
                      <a:pt x="2863" y="138994"/>
                    </a:cubicBezTo>
                    <a:cubicBezTo>
                      <a:pt x="8661" y="140042"/>
                      <a:pt x="10992" y="132747"/>
                      <a:pt x="10992" y="132747"/>
                    </a:cubicBezTo>
                    <a:cubicBezTo>
                      <a:pt x="10992" y="132747"/>
                      <a:pt x="10144" y="143558"/>
                      <a:pt x="15157" y="144468"/>
                    </a:cubicBezTo>
                    <a:cubicBezTo>
                      <a:pt x="23000" y="145890"/>
                      <a:pt x="26791" y="139593"/>
                      <a:pt x="26791" y="139593"/>
                    </a:cubicBezTo>
                    <a:cubicBezTo>
                      <a:pt x="26791" y="139593"/>
                      <a:pt x="25743" y="149593"/>
                      <a:pt x="32053" y="149593"/>
                    </a:cubicBezTo>
                    <a:cubicBezTo>
                      <a:pt x="38362" y="149593"/>
                      <a:pt x="43113" y="139057"/>
                      <a:pt x="43113" y="139057"/>
                    </a:cubicBezTo>
                    <a:cubicBezTo>
                      <a:pt x="43113" y="139057"/>
                      <a:pt x="47851" y="151526"/>
                      <a:pt x="57327" y="137473"/>
                    </a:cubicBezTo>
                    <a:cubicBezTo>
                      <a:pt x="64610" y="126687"/>
                      <a:pt x="64747" y="118769"/>
                      <a:pt x="72116" y="109817"/>
                    </a:cubicBezTo>
                    <a:cubicBezTo>
                      <a:pt x="79485" y="100864"/>
                      <a:pt x="94710" y="97447"/>
                      <a:pt x="101032" y="87447"/>
                    </a:cubicBezTo>
                    <a:cubicBezTo>
                      <a:pt x="107354" y="77447"/>
                      <a:pt x="121868" y="56773"/>
                      <a:pt x="136843" y="45314"/>
                    </a:cubicBezTo>
                    <a:cubicBezTo>
                      <a:pt x="154749" y="31623"/>
                      <a:pt x="150384" y="8829"/>
                      <a:pt x="134212" y="2133"/>
                    </a:cubicBezTo>
                    <a:cubicBezTo>
                      <a:pt x="112616" y="-6819"/>
                      <a:pt x="97877" y="15301"/>
                      <a:pt x="97877" y="15301"/>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8" name="Freeform: Shape 2387">
                <a:extLst>
                  <a:ext uri="{FF2B5EF4-FFF2-40B4-BE49-F238E27FC236}">
                    <a16:creationId xmlns:a16="http://schemas.microsoft.com/office/drawing/2014/main" id="{95214E7C-5BA1-FE00-9299-2FD01D87D0D4}"/>
                  </a:ext>
                </a:extLst>
              </p:cNvPr>
              <p:cNvSpPr/>
              <p:nvPr/>
            </p:nvSpPr>
            <p:spPr>
              <a:xfrm>
                <a:off x="7876860" y="3129856"/>
                <a:ext cx="26734" cy="52026"/>
              </a:xfrm>
              <a:custGeom>
                <a:avLst/>
                <a:gdLst>
                  <a:gd name="connsiteX0" fmla="*/ 0 w 26734"/>
                  <a:gd name="connsiteY0" fmla="*/ 51869 h 52026"/>
                  <a:gd name="connsiteX1" fmla="*/ 2020 w 26734"/>
                  <a:gd name="connsiteY1" fmla="*/ 44774 h 52026"/>
                  <a:gd name="connsiteX2" fmla="*/ 4190 w 26734"/>
                  <a:gd name="connsiteY2" fmla="*/ 37716 h 52026"/>
                  <a:gd name="connsiteX3" fmla="*/ 9264 w 26734"/>
                  <a:gd name="connsiteY3" fmla="*/ 23801 h 52026"/>
                  <a:gd name="connsiteX4" fmla="*/ 12345 w 26734"/>
                  <a:gd name="connsiteY4" fmla="*/ 17042 h 52026"/>
                  <a:gd name="connsiteX5" fmla="*/ 16035 w 26734"/>
                  <a:gd name="connsiteY5" fmla="*/ 10571 h 52026"/>
                  <a:gd name="connsiteX6" fmla="*/ 20636 w 26734"/>
                  <a:gd name="connsiteY6" fmla="*/ 4648 h 52026"/>
                  <a:gd name="connsiteX7" fmla="*/ 21958 w 26734"/>
                  <a:gd name="connsiteY7" fmla="*/ 3302 h 52026"/>
                  <a:gd name="connsiteX8" fmla="*/ 22656 w 26734"/>
                  <a:gd name="connsiteY8" fmla="*/ 2666 h 52026"/>
                  <a:gd name="connsiteX9" fmla="*/ 23005 w 26734"/>
                  <a:gd name="connsiteY9" fmla="*/ 2354 h 52026"/>
                  <a:gd name="connsiteX10" fmla="*/ 23380 w 26734"/>
                  <a:gd name="connsiteY10" fmla="*/ 2055 h 52026"/>
                  <a:gd name="connsiteX11" fmla="*/ 24128 w 26734"/>
                  <a:gd name="connsiteY11" fmla="*/ 1469 h 52026"/>
                  <a:gd name="connsiteX12" fmla="*/ 24913 w 26734"/>
                  <a:gd name="connsiteY12" fmla="*/ 932 h 52026"/>
                  <a:gd name="connsiteX13" fmla="*/ 26559 w 26734"/>
                  <a:gd name="connsiteY13" fmla="*/ 10 h 52026"/>
                  <a:gd name="connsiteX14" fmla="*/ 26721 w 26734"/>
                  <a:gd name="connsiteY14" fmla="*/ 59 h 52026"/>
                  <a:gd name="connsiteX15" fmla="*/ 26696 w 26734"/>
                  <a:gd name="connsiteY15" fmla="*/ 209 h 52026"/>
                  <a:gd name="connsiteX16" fmla="*/ 21946 w 26734"/>
                  <a:gd name="connsiteY16" fmla="*/ 5683 h 52026"/>
                  <a:gd name="connsiteX17" fmla="*/ 18055 w 26734"/>
                  <a:gd name="connsiteY17" fmla="*/ 11806 h 52026"/>
                  <a:gd name="connsiteX18" fmla="*/ 14427 w 26734"/>
                  <a:gd name="connsiteY18" fmla="*/ 18127 h 52026"/>
                  <a:gd name="connsiteX19" fmla="*/ 10998 w 26734"/>
                  <a:gd name="connsiteY19" fmla="*/ 24586 h 52026"/>
                  <a:gd name="connsiteX20" fmla="*/ 8043 w 26734"/>
                  <a:gd name="connsiteY20" fmla="*/ 31282 h 52026"/>
                  <a:gd name="connsiteX21" fmla="*/ 5324 w 26734"/>
                  <a:gd name="connsiteY21" fmla="*/ 38115 h 52026"/>
                  <a:gd name="connsiteX22" fmla="*/ 237 w 26734"/>
                  <a:gd name="connsiteY22" fmla="*/ 51943 h 52026"/>
                  <a:gd name="connsiteX23" fmla="*/ 87 w 26734"/>
                  <a:gd name="connsiteY23" fmla="*/ 52018 h 52026"/>
                  <a:gd name="connsiteX24" fmla="*/ 12 w 26734"/>
                  <a:gd name="connsiteY24" fmla="*/ 51881 h 5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734" h="52026">
                    <a:moveTo>
                      <a:pt x="0" y="51869"/>
                    </a:moveTo>
                    <a:cubicBezTo>
                      <a:pt x="636" y="49487"/>
                      <a:pt x="1322" y="47130"/>
                      <a:pt x="2020" y="44774"/>
                    </a:cubicBezTo>
                    <a:cubicBezTo>
                      <a:pt x="2718" y="42417"/>
                      <a:pt x="3441" y="40060"/>
                      <a:pt x="4190" y="37716"/>
                    </a:cubicBezTo>
                    <a:cubicBezTo>
                      <a:pt x="5711" y="33028"/>
                      <a:pt x="7295" y="28365"/>
                      <a:pt x="9264" y="23801"/>
                    </a:cubicBezTo>
                    <a:cubicBezTo>
                      <a:pt x="10250" y="21531"/>
                      <a:pt x="11260" y="19274"/>
                      <a:pt x="12345" y="17042"/>
                    </a:cubicBezTo>
                    <a:cubicBezTo>
                      <a:pt x="13442" y="14810"/>
                      <a:pt x="14664" y="12641"/>
                      <a:pt x="16035" y="10571"/>
                    </a:cubicBezTo>
                    <a:cubicBezTo>
                      <a:pt x="17419" y="8501"/>
                      <a:pt x="18928" y="6494"/>
                      <a:pt x="20636" y="4648"/>
                    </a:cubicBezTo>
                    <a:cubicBezTo>
                      <a:pt x="21085" y="4199"/>
                      <a:pt x="21497" y="3738"/>
                      <a:pt x="21958" y="3302"/>
                    </a:cubicBezTo>
                    <a:lnTo>
                      <a:pt x="22656" y="2666"/>
                    </a:lnTo>
                    <a:lnTo>
                      <a:pt x="23005" y="2354"/>
                    </a:lnTo>
                    <a:lnTo>
                      <a:pt x="23380" y="2055"/>
                    </a:lnTo>
                    <a:lnTo>
                      <a:pt x="24128" y="1469"/>
                    </a:lnTo>
                    <a:cubicBezTo>
                      <a:pt x="24377" y="1282"/>
                      <a:pt x="24651" y="1107"/>
                      <a:pt x="24913" y="932"/>
                    </a:cubicBezTo>
                    <a:cubicBezTo>
                      <a:pt x="25425" y="571"/>
                      <a:pt x="26011" y="297"/>
                      <a:pt x="26559" y="10"/>
                    </a:cubicBezTo>
                    <a:cubicBezTo>
                      <a:pt x="26622" y="-15"/>
                      <a:pt x="26684" y="10"/>
                      <a:pt x="26721" y="59"/>
                    </a:cubicBezTo>
                    <a:cubicBezTo>
                      <a:pt x="26746" y="109"/>
                      <a:pt x="26734" y="172"/>
                      <a:pt x="26696" y="209"/>
                    </a:cubicBezTo>
                    <a:cubicBezTo>
                      <a:pt x="24838" y="1830"/>
                      <a:pt x="23342" y="3726"/>
                      <a:pt x="21946" y="5683"/>
                    </a:cubicBezTo>
                    <a:cubicBezTo>
                      <a:pt x="20562" y="7666"/>
                      <a:pt x="19290" y="9710"/>
                      <a:pt x="18055" y="11806"/>
                    </a:cubicBezTo>
                    <a:cubicBezTo>
                      <a:pt x="16833" y="13900"/>
                      <a:pt x="15636" y="16007"/>
                      <a:pt x="14427" y="18127"/>
                    </a:cubicBezTo>
                    <a:cubicBezTo>
                      <a:pt x="13217" y="20235"/>
                      <a:pt x="12058" y="22392"/>
                      <a:pt x="10998" y="24586"/>
                    </a:cubicBezTo>
                    <a:cubicBezTo>
                      <a:pt x="9938" y="26768"/>
                      <a:pt x="8978" y="29025"/>
                      <a:pt x="8043" y="31282"/>
                    </a:cubicBezTo>
                    <a:cubicBezTo>
                      <a:pt x="7095" y="33539"/>
                      <a:pt x="6197" y="35821"/>
                      <a:pt x="5324" y="38115"/>
                    </a:cubicBezTo>
                    <a:cubicBezTo>
                      <a:pt x="3541" y="42691"/>
                      <a:pt x="1883" y="47317"/>
                      <a:pt x="237" y="51943"/>
                    </a:cubicBezTo>
                    <a:cubicBezTo>
                      <a:pt x="212" y="52006"/>
                      <a:pt x="150" y="52043"/>
                      <a:pt x="87" y="52018"/>
                    </a:cubicBezTo>
                    <a:cubicBezTo>
                      <a:pt x="25" y="51993"/>
                      <a:pt x="0" y="51931"/>
                      <a:pt x="12" y="51881"/>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9" name="Freeform: Shape 2388">
                <a:extLst>
                  <a:ext uri="{FF2B5EF4-FFF2-40B4-BE49-F238E27FC236}">
                    <a16:creationId xmlns:a16="http://schemas.microsoft.com/office/drawing/2014/main" id="{09907209-FD06-AD38-67E9-9ADB1A208534}"/>
                  </a:ext>
                </a:extLst>
              </p:cNvPr>
              <p:cNvSpPr/>
              <p:nvPr/>
            </p:nvSpPr>
            <p:spPr>
              <a:xfrm>
                <a:off x="7892658" y="3137053"/>
                <a:ext cx="26576" cy="51652"/>
              </a:xfrm>
              <a:custGeom>
                <a:avLst/>
                <a:gdLst>
                  <a:gd name="connsiteX0" fmla="*/ 0 w 26576"/>
                  <a:gd name="connsiteY0" fmla="*/ 51505 h 51652"/>
                  <a:gd name="connsiteX1" fmla="*/ 1172 w 26576"/>
                  <a:gd name="connsiteY1" fmla="*/ 48064 h 51652"/>
                  <a:gd name="connsiteX2" fmla="*/ 2369 w 26576"/>
                  <a:gd name="connsiteY2" fmla="*/ 44635 h 51652"/>
                  <a:gd name="connsiteX3" fmla="*/ 4801 w 26576"/>
                  <a:gd name="connsiteY3" fmla="*/ 37777 h 51652"/>
                  <a:gd name="connsiteX4" fmla="*/ 7320 w 26576"/>
                  <a:gd name="connsiteY4" fmla="*/ 30944 h 51652"/>
                  <a:gd name="connsiteX5" fmla="*/ 9988 w 26576"/>
                  <a:gd name="connsiteY5" fmla="*/ 24161 h 51652"/>
                  <a:gd name="connsiteX6" fmla="*/ 13043 w 26576"/>
                  <a:gd name="connsiteY6" fmla="*/ 17452 h 51652"/>
                  <a:gd name="connsiteX7" fmla="*/ 16883 w 26576"/>
                  <a:gd name="connsiteY7" fmla="*/ 11180 h 51652"/>
                  <a:gd name="connsiteX8" fmla="*/ 21360 w 26576"/>
                  <a:gd name="connsiteY8" fmla="*/ 5382 h 51652"/>
                  <a:gd name="connsiteX9" fmla="*/ 26372 w 26576"/>
                  <a:gd name="connsiteY9" fmla="*/ 33 h 51652"/>
                  <a:gd name="connsiteX10" fmla="*/ 26547 w 26576"/>
                  <a:gd name="connsiteY10" fmla="*/ 33 h 51652"/>
                  <a:gd name="connsiteX11" fmla="*/ 26559 w 26576"/>
                  <a:gd name="connsiteY11" fmla="*/ 170 h 51652"/>
                  <a:gd name="connsiteX12" fmla="*/ 22719 w 26576"/>
                  <a:gd name="connsiteY12" fmla="*/ 6355 h 51652"/>
                  <a:gd name="connsiteX13" fmla="*/ 18878 w 26576"/>
                  <a:gd name="connsiteY13" fmla="*/ 12477 h 51652"/>
                  <a:gd name="connsiteX14" fmla="*/ 15113 w 26576"/>
                  <a:gd name="connsiteY14" fmla="*/ 18587 h 51652"/>
                  <a:gd name="connsiteX15" fmla="*/ 11746 w 26576"/>
                  <a:gd name="connsiteY15" fmla="*/ 24909 h 51652"/>
                  <a:gd name="connsiteX16" fmla="*/ 8803 w 26576"/>
                  <a:gd name="connsiteY16" fmla="*/ 31530 h 51652"/>
                  <a:gd name="connsiteX17" fmla="*/ 5923 w 26576"/>
                  <a:gd name="connsiteY17" fmla="*/ 38201 h 51652"/>
                  <a:gd name="connsiteX18" fmla="*/ 250 w 26576"/>
                  <a:gd name="connsiteY18" fmla="*/ 51580 h 51652"/>
                  <a:gd name="connsiteX19" fmla="*/ 100 w 26576"/>
                  <a:gd name="connsiteY19" fmla="*/ 51642 h 51652"/>
                  <a:gd name="connsiteX20" fmla="*/ 37 w 26576"/>
                  <a:gd name="connsiteY20" fmla="*/ 51493 h 5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576" h="51652">
                    <a:moveTo>
                      <a:pt x="0" y="51505"/>
                    </a:moveTo>
                    <a:lnTo>
                      <a:pt x="1172" y="48064"/>
                    </a:lnTo>
                    <a:lnTo>
                      <a:pt x="2369" y="44635"/>
                    </a:lnTo>
                    <a:lnTo>
                      <a:pt x="4801" y="37777"/>
                    </a:lnTo>
                    <a:cubicBezTo>
                      <a:pt x="5624" y="35495"/>
                      <a:pt x="6459" y="33226"/>
                      <a:pt x="7320" y="30944"/>
                    </a:cubicBezTo>
                    <a:cubicBezTo>
                      <a:pt x="8180" y="28674"/>
                      <a:pt x="9065" y="26417"/>
                      <a:pt x="9988" y="24161"/>
                    </a:cubicBezTo>
                    <a:cubicBezTo>
                      <a:pt x="10910" y="21904"/>
                      <a:pt x="11908" y="19634"/>
                      <a:pt x="13043" y="17452"/>
                    </a:cubicBezTo>
                    <a:cubicBezTo>
                      <a:pt x="14190" y="15270"/>
                      <a:pt x="15487" y="13188"/>
                      <a:pt x="16883" y="11180"/>
                    </a:cubicBezTo>
                    <a:cubicBezTo>
                      <a:pt x="18292" y="9173"/>
                      <a:pt x="19776" y="7240"/>
                      <a:pt x="21360" y="5382"/>
                    </a:cubicBezTo>
                    <a:cubicBezTo>
                      <a:pt x="22931" y="3512"/>
                      <a:pt x="24577" y="1716"/>
                      <a:pt x="26372" y="33"/>
                    </a:cubicBezTo>
                    <a:cubicBezTo>
                      <a:pt x="26422" y="-17"/>
                      <a:pt x="26497" y="-4"/>
                      <a:pt x="26547" y="33"/>
                    </a:cubicBezTo>
                    <a:cubicBezTo>
                      <a:pt x="26584" y="70"/>
                      <a:pt x="26584" y="133"/>
                      <a:pt x="26559" y="170"/>
                    </a:cubicBezTo>
                    <a:cubicBezTo>
                      <a:pt x="25300" y="2265"/>
                      <a:pt x="24003" y="4310"/>
                      <a:pt x="22719" y="6355"/>
                    </a:cubicBezTo>
                    <a:cubicBezTo>
                      <a:pt x="21435" y="8400"/>
                      <a:pt x="20138" y="10432"/>
                      <a:pt x="18878" y="12477"/>
                    </a:cubicBezTo>
                    <a:cubicBezTo>
                      <a:pt x="17619" y="14522"/>
                      <a:pt x="16347" y="16542"/>
                      <a:pt x="15113" y="18587"/>
                    </a:cubicBezTo>
                    <a:cubicBezTo>
                      <a:pt x="13878" y="20632"/>
                      <a:pt x="12756" y="22714"/>
                      <a:pt x="11746" y="24909"/>
                    </a:cubicBezTo>
                    <a:cubicBezTo>
                      <a:pt x="10736" y="27091"/>
                      <a:pt x="9751" y="29310"/>
                      <a:pt x="8803" y="31530"/>
                    </a:cubicBezTo>
                    <a:cubicBezTo>
                      <a:pt x="7831" y="33749"/>
                      <a:pt x="6870" y="35969"/>
                      <a:pt x="5923" y="38201"/>
                    </a:cubicBezTo>
                    <a:cubicBezTo>
                      <a:pt x="4003" y="42652"/>
                      <a:pt x="2145" y="47116"/>
                      <a:pt x="250" y="51580"/>
                    </a:cubicBezTo>
                    <a:cubicBezTo>
                      <a:pt x="225" y="51642"/>
                      <a:pt x="150" y="51667"/>
                      <a:pt x="100" y="51642"/>
                    </a:cubicBezTo>
                    <a:cubicBezTo>
                      <a:pt x="37" y="51617"/>
                      <a:pt x="12" y="51555"/>
                      <a:pt x="37" y="51493"/>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0" name="Freeform: Shape 2389">
                <a:extLst>
                  <a:ext uri="{FF2B5EF4-FFF2-40B4-BE49-F238E27FC236}">
                    <a16:creationId xmlns:a16="http://schemas.microsoft.com/office/drawing/2014/main" id="{E4FFD308-5D0A-4B5F-E512-44A2093102DD}"/>
                  </a:ext>
                </a:extLst>
              </p:cNvPr>
              <p:cNvSpPr/>
              <p:nvPr/>
            </p:nvSpPr>
            <p:spPr>
              <a:xfrm>
                <a:off x="7908980" y="3143194"/>
                <a:ext cx="24804" cy="44957"/>
              </a:xfrm>
              <a:custGeom>
                <a:avLst/>
                <a:gdLst>
                  <a:gd name="connsiteX0" fmla="*/ 0 w 24804"/>
                  <a:gd name="connsiteY0" fmla="*/ 44841 h 44957"/>
                  <a:gd name="connsiteX1" fmla="*/ 1048 w 24804"/>
                  <a:gd name="connsiteY1" fmla="*/ 41798 h 44957"/>
                  <a:gd name="connsiteX2" fmla="*/ 2132 w 24804"/>
                  <a:gd name="connsiteY2" fmla="*/ 38768 h 44957"/>
                  <a:gd name="connsiteX3" fmla="*/ 4364 w 24804"/>
                  <a:gd name="connsiteY3" fmla="*/ 32721 h 44957"/>
                  <a:gd name="connsiteX4" fmla="*/ 5524 w 24804"/>
                  <a:gd name="connsiteY4" fmla="*/ 29716 h 44957"/>
                  <a:gd name="connsiteX5" fmla="*/ 6709 w 24804"/>
                  <a:gd name="connsiteY5" fmla="*/ 26710 h 44957"/>
                  <a:gd name="connsiteX6" fmla="*/ 9202 w 24804"/>
                  <a:gd name="connsiteY6" fmla="*/ 20750 h 44957"/>
                  <a:gd name="connsiteX7" fmla="*/ 10511 w 24804"/>
                  <a:gd name="connsiteY7" fmla="*/ 17783 h 44957"/>
                  <a:gd name="connsiteX8" fmla="*/ 11921 w 24804"/>
                  <a:gd name="connsiteY8" fmla="*/ 14827 h 44957"/>
                  <a:gd name="connsiteX9" fmla="*/ 12718 w 24804"/>
                  <a:gd name="connsiteY9" fmla="*/ 13369 h 44957"/>
                  <a:gd name="connsiteX10" fmla="*/ 13629 w 24804"/>
                  <a:gd name="connsiteY10" fmla="*/ 11959 h 44957"/>
                  <a:gd name="connsiteX11" fmla="*/ 15586 w 24804"/>
                  <a:gd name="connsiteY11" fmla="*/ 9354 h 44957"/>
                  <a:gd name="connsiteX12" fmla="*/ 19876 w 24804"/>
                  <a:gd name="connsiteY12" fmla="*/ 4478 h 44957"/>
                  <a:gd name="connsiteX13" fmla="*/ 24601 w 24804"/>
                  <a:gd name="connsiteY13" fmla="*/ 27 h 44957"/>
                  <a:gd name="connsiteX14" fmla="*/ 24776 w 24804"/>
                  <a:gd name="connsiteY14" fmla="*/ 39 h 44957"/>
                  <a:gd name="connsiteX15" fmla="*/ 24776 w 24804"/>
                  <a:gd name="connsiteY15" fmla="*/ 176 h 44957"/>
                  <a:gd name="connsiteX16" fmla="*/ 21160 w 24804"/>
                  <a:gd name="connsiteY16" fmla="*/ 5525 h 44957"/>
                  <a:gd name="connsiteX17" fmla="*/ 17482 w 24804"/>
                  <a:gd name="connsiteY17" fmla="*/ 10762 h 44957"/>
                  <a:gd name="connsiteX18" fmla="*/ 16559 w 24804"/>
                  <a:gd name="connsiteY18" fmla="*/ 12059 h 44957"/>
                  <a:gd name="connsiteX19" fmla="*/ 15649 w 24804"/>
                  <a:gd name="connsiteY19" fmla="*/ 13356 h 44957"/>
                  <a:gd name="connsiteX20" fmla="*/ 14788 w 24804"/>
                  <a:gd name="connsiteY20" fmla="*/ 14640 h 44957"/>
                  <a:gd name="connsiteX21" fmla="*/ 13978 w 24804"/>
                  <a:gd name="connsiteY21" fmla="*/ 15962 h 44957"/>
                  <a:gd name="connsiteX22" fmla="*/ 12407 w 24804"/>
                  <a:gd name="connsiteY22" fmla="*/ 18705 h 44957"/>
                  <a:gd name="connsiteX23" fmla="*/ 10935 w 24804"/>
                  <a:gd name="connsiteY23" fmla="*/ 21536 h 44957"/>
                  <a:gd name="connsiteX24" fmla="*/ 8167 w 24804"/>
                  <a:gd name="connsiteY24" fmla="*/ 27321 h 44957"/>
                  <a:gd name="connsiteX25" fmla="*/ 6808 w 24804"/>
                  <a:gd name="connsiteY25" fmla="*/ 30227 h 44957"/>
                  <a:gd name="connsiteX26" fmla="*/ 5474 w 24804"/>
                  <a:gd name="connsiteY26" fmla="*/ 33145 h 44957"/>
                  <a:gd name="connsiteX27" fmla="*/ 2831 w 24804"/>
                  <a:gd name="connsiteY27" fmla="*/ 39005 h 44957"/>
                  <a:gd name="connsiteX28" fmla="*/ 237 w 24804"/>
                  <a:gd name="connsiteY28" fmla="*/ 44890 h 44957"/>
                  <a:gd name="connsiteX29" fmla="*/ 75 w 24804"/>
                  <a:gd name="connsiteY29" fmla="*/ 44953 h 44957"/>
                  <a:gd name="connsiteX30" fmla="*/ 12 w 24804"/>
                  <a:gd name="connsiteY30" fmla="*/ 44803 h 4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804" h="44957">
                    <a:moveTo>
                      <a:pt x="0" y="44841"/>
                    </a:moveTo>
                    <a:lnTo>
                      <a:pt x="1048" y="41798"/>
                    </a:lnTo>
                    <a:lnTo>
                      <a:pt x="2132" y="38768"/>
                    </a:lnTo>
                    <a:cubicBezTo>
                      <a:pt x="2868" y="36748"/>
                      <a:pt x="3604" y="34728"/>
                      <a:pt x="4364" y="32721"/>
                    </a:cubicBezTo>
                    <a:cubicBezTo>
                      <a:pt x="4751" y="31711"/>
                      <a:pt x="5125" y="30713"/>
                      <a:pt x="5524" y="29716"/>
                    </a:cubicBezTo>
                    <a:cubicBezTo>
                      <a:pt x="5910" y="28718"/>
                      <a:pt x="6309" y="27708"/>
                      <a:pt x="6709" y="26710"/>
                    </a:cubicBezTo>
                    <a:cubicBezTo>
                      <a:pt x="7519" y="24716"/>
                      <a:pt x="8342" y="22733"/>
                      <a:pt x="9202" y="20750"/>
                    </a:cubicBezTo>
                    <a:lnTo>
                      <a:pt x="10511" y="17783"/>
                    </a:lnTo>
                    <a:cubicBezTo>
                      <a:pt x="10973" y="16798"/>
                      <a:pt x="11409" y="15812"/>
                      <a:pt x="11921" y="14827"/>
                    </a:cubicBezTo>
                    <a:cubicBezTo>
                      <a:pt x="12170" y="14341"/>
                      <a:pt x="12419" y="13855"/>
                      <a:pt x="12718" y="13369"/>
                    </a:cubicBezTo>
                    <a:cubicBezTo>
                      <a:pt x="13018" y="12895"/>
                      <a:pt x="13304" y="12383"/>
                      <a:pt x="13629" y="11959"/>
                    </a:cubicBezTo>
                    <a:cubicBezTo>
                      <a:pt x="14252" y="11062"/>
                      <a:pt x="14913" y="10201"/>
                      <a:pt x="15586" y="9354"/>
                    </a:cubicBezTo>
                    <a:cubicBezTo>
                      <a:pt x="16946" y="7670"/>
                      <a:pt x="18367" y="6037"/>
                      <a:pt x="19876" y="4478"/>
                    </a:cubicBezTo>
                    <a:cubicBezTo>
                      <a:pt x="21372" y="2919"/>
                      <a:pt x="22918" y="1411"/>
                      <a:pt x="24601" y="27"/>
                    </a:cubicBezTo>
                    <a:cubicBezTo>
                      <a:pt x="24651" y="-11"/>
                      <a:pt x="24726" y="-11"/>
                      <a:pt x="24776" y="39"/>
                    </a:cubicBezTo>
                    <a:cubicBezTo>
                      <a:pt x="24813" y="77"/>
                      <a:pt x="24813" y="139"/>
                      <a:pt x="24776" y="176"/>
                    </a:cubicBezTo>
                    <a:cubicBezTo>
                      <a:pt x="23604" y="2009"/>
                      <a:pt x="22394" y="3767"/>
                      <a:pt x="21160" y="5525"/>
                    </a:cubicBezTo>
                    <a:lnTo>
                      <a:pt x="17482" y="10762"/>
                    </a:lnTo>
                    <a:cubicBezTo>
                      <a:pt x="17170" y="11199"/>
                      <a:pt x="16871" y="11623"/>
                      <a:pt x="16559" y="12059"/>
                    </a:cubicBezTo>
                    <a:cubicBezTo>
                      <a:pt x="16247" y="12496"/>
                      <a:pt x="15948" y="12920"/>
                      <a:pt x="15649" y="13356"/>
                    </a:cubicBezTo>
                    <a:cubicBezTo>
                      <a:pt x="15325" y="13793"/>
                      <a:pt x="15063" y="14204"/>
                      <a:pt x="14788" y="14640"/>
                    </a:cubicBezTo>
                    <a:cubicBezTo>
                      <a:pt x="14502" y="15052"/>
                      <a:pt x="14240" y="15513"/>
                      <a:pt x="13978" y="15962"/>
                    </a:cubicBezTo>
                    <a:cubicBezTo>
                      <a:pt x="13417" y="16847"/>
                      <a:pt x="12918" y="17783"/>
                      <a:pt x="12407" y="18705"/>
                    </a:cubicBezTo>
                    <a:cubicBezTo>
                      <a:pt x="11908" y="19641"/>
                      <a:pt x="11409" y="20588"/>
                      <a:pt x="10935" y="21536"/>
                    </a:cubicBezTo>
                    <a:cubicBezTo>
                      <a:pt x="9988" y="23444"/>
                      <a:pt x="9065" y="25376"/>
                      <a:pt x="8167" y="27321"/>
                    </a:cubicBezTo>
                    <a:cubicBezTo>
                      <a:pt x="7706" y="28294"/>
                      <a:pt x="7257" y="29254"/>
                      <a:pt x="6808" y="30227"/>
                    </a:cubicBezTo>
                    <a:cubicBezTo>
                      <a:pt x="6359" y="31199"/>
                      <a:pt x="5910" y="32172"/>
                      <a:pt x="5474" y="33145"/>
                    </a:cubicBezTo>
                    <a:cubicBezTo>
                      <a:pt x="4576" y="35090"/>
                      <a:pt x="3703" y="37047"/>
                      <a:pt x="2831" y="39005"/>
                    </a:cubicBezTo>
                    <a:lnTo>
                      <a:pt x="237" y="44890"/>
                    </a:lnTo>
                    <a:cubicBezTo>
                      <a:pt x="237" y="44890"/>
                      <a:pt x="137" y="44978"/>
                      <a:pt x="75" y="44953"/>
                    </a:cubicBezTo>
                    <a:cubicBezTo>
                      <a:pt x="12" y="44928"/>
                      <a:pt x="-12" y="44865"/>
                      <a:pt x="12" y="44803"/>
                    </a:cubicBezTo>
                    <a:close/>
                  </a:path>
                </a:pathLst>
              </a:custGeom>
              <a:solidFill>
                <a:srgbClr val="7F3E3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91" name="Graphic 525">
              <a:extLst>
                <a:ext uri="{FF2B5EF4-FFF2-40B4-BE49-F238E27FC236}">
                  <a16:creationId xmlns:a16="http://schemas.microsoft.com/office/drawing/2014/main" id="{629DE470-2BCB-C7A0-FA91-33848DC511DF}"/>
                </a:ext>
              </a:extLst>
            </p:cNvPr>
            <p:cNvGrpSpPr/>
            <p:nvPr/>
          </p:nvGrpSpPr>
          <p:grpSpPr>
            <a:xfrm>
              <a:off x="4319746" y="2880292"/>
              <a:ext cx="186405" cy="173000"/>
              <a:chOff x="7926998" y="2909128"/>
              <a:chExt cx="224813" cy="208646"/>
            </a:xfrm>
          </p:grpSpPr>
          <p:sp>
            <p:nvSpPr>
              <p:cNvPr id="2392" name="Freeform: Shape 2391">
                <a:extLst>
                  <a:ext uri="{FF2B5EF4-FFF2-40B4-BE49-F238E27FC236}">
                    <a16:creationId xmlns:a16="http://schemas.microsoft.com/office/drawing/2014/main" id="{8823791D-80DB-9177-FB64-369B4AFB30E6}"/>
                  </a:ext>
                </a:extLst>
              </p:cNvPr>
              <p:cNvSpPr/>
              <p:nvPr/>
            </p:nvSpPr>
            <p:spPr>
              <a:xfrm>
                <a:off x="7944477" y="2915098"/>
                <a:ext cx="202595" cy="202097"/>
              </a:xfrm>
              <a:custGeom>
                <a:avLst/>
                <a:gdLst>
                  <a:gd name="connsiteX0" fmla="*/ 198548 w 202595"/>
                  <a:gd name="connsiteY0" fmla="*/ 57346 h 202097"/>
                  <a:gd name="connsiteX1" fmla="*/ 123297 w 202595"/>
                  <a:gd name="connsiteY1" fmla="*/ 130427 h 202097"/>
                  <a:gd name="connsiteX2" fmla="*/ 26911 w 202595"/>
                  <a:gd name="connsiteY2" fmla="*/ 198421 h 202097"/>
                  <a:gd name="connsiteX3" fmla="*/ 10090 w 202595"/>
                  <a:gd name="connsiteY3" fmla="*/ 161039 h 202097"/>
                  <a:gd name="connsiteX4" fmla="*/ 79057 w 202595"/>
                  <a:gd name="connsiteY4" fmla="*/ 74641 h 202097"/>
                  <a:gd name="connsiteX5" fmla="*/ 153310 w 202595"/>
                  <a:gd name="connsiteY5" fmla="*/ 1073 h 202097"/>
                  <a:gd name="connsiteX6" fmla="*/ 198561 w 202595"/>
                  <a:gd name="connsiteY6" fmla="*/ 57346 h 20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595" h="202097">
                    <a:moveTo>
                      <a:pt x="198548" y="57346"/>
                    </a:moveTo>
                    <a:cubicBezTo>
                      <a:pt x="198548" y="57346"/>
                      <a:pt x="175418" y="88631"/>
                      <a:pt x="123297" y="130427"/>
                    </a:cubicBezTo>
                    <a:cubicBezTo>
                      <a:pt x="71176" y="172224"/>
                      <a:pt x="56189" y="181002"/>
                      <a:pt x="26911" y="198421"/>
                    </a:cubicBezTo>
                    <a:cubicBezTo>
                      <a:pt x="5053" y="211426"/>
                      <a:pt x="-11494" y="187785"/>
                      <a:pt x="10090" y="161039"/>
                    </a:cubicBezTo>
                    <a:cubicBezTo>
                      <a:pt x="31674" y="134305"/>
                      <a:pt x="48408" y="108719"/>
                      <a:pt x="79057" y="74641"/>
                    </a:cubicBezTo>
                    <a:cubicBezTo>
                      <a:pt x="109706" y="40562"/>
                      <a:pt x="134482" y="6846"/>
                      <a:pt x="153310" y="1073"/>
                    </a:cubicBezTo>
                    <a:cubicBezTo>
                      <a:pt x="179932" y="-7082"/>
                      <a:pt x="214484" y="33156"/>
                      <a:pt x="198561" y="57346"/>
                    </a:cubicBezTo>
                    <a:close/>
                  </a:path>
                </a:pathLst>
              </a:custGeom>
              <a:solidFill>
                <a:srgbClr val="8C49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3" name="Freeform: Shape 2392">
                <a:extLst>
                  <a:ext uri="{FF2B5EF4-FFF2-40B4-BE49-F238E27FC236}">
                    <a16:creationId xmlns:a16="http://schemas.microsoft.com/office/drawing/2014/main" id="{AD6A0C49-7872-304A-CDBF-14D10DEB78AB}"/>
                  </a:ext>
                </a:extLst>
              </p:cNvPr>
              <p:cNvSpPr/>
              <p:nvPr/>
            </p:nvSpPr>
            <p:spPr>
              <a:xfrm>
                <a:off x="7926998" y="2909128"/>
                <a:ext cx="224813" cy="208646"/>
              </a:xfrm>
              <a:custGeom>
                <a:avLst/>
                <a:gdLst>
                  <a:gd name="connsiteX0" fmla="*/ 139030 w 224813"/>
                  <a:gd name="connsiteY0" fmla="*/ 18788 h 208646"/>
                  <a:gd name="connsiteX1" fmla="*/ 81623 w 224813"/>
                  <a:gd name="connsiteY1" fmla="*/ 79351 h 208646"/>
                  <a:gd name="connsiteX2" fmla="*/ 0 w 224813"/>
                  <a:gd name="connsiteY2" fmla="*/ 165188 h 208646"/>
                  <a:gd name="connsiteX3" fmla="*/ 52133 w 224813"/>
                  <a:gd name="connsiteY3" fmla="*/ 170986 h 208646"/>
                  <a:gd name="connsiteX4" fmla="*/ 67932 w 224813"/>
                  <a:gd name="connsiteY4" fmla="*/ 208381 h 208646"/>
                  <a:gd name="connsiteX5" fmla="*/ 107434 w 224813"/>
                  <a:gd name="connsiteY5" fmla="*/ 182570 h 208646"/>
                  <a:gd name="connsiteX6" fmla="*/ 220665 w 224813"/>
                  <a:gd name="connsiteY6" fmla="*/ 69874 h 208646"/>
                  <a:gd name="connsiteX7" fmla="*/ 139043 w 224813"/>
                  <a:gd name="connsiteY7" fmla="*/ 18788 h 20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813" h="208646">
                    <a:moveTo>
                      <a:pt x="139030" y="18788"/>
                    </a:moveTo>
                    <a:cubicBezTo>
                      <a:pt x="139030" y="18788"/>
                      <a:pt x="112172" y="48802"/>
                      <a:pt x="81623" y="79351"/>
                    </a:cubicBezTo>
                    <a:cubicBezTo>
                      <a:pt x="51073" y="109900"/>
                      <a:pt x="7893" y="154128"/>
                      <a:pt x="0" y="165188"/>
                    </a:cubicBezTo>
                    <a:cubicBezTo>
                      <a:pt x="0" y="165188"/>
                      <a:pt x="21597" y="152544"/>
                      <a:pt x="52133" y="170986"/>
                    </a:cubicBezTo>
                    <a:cubicBezTo>
                      <a:pt x="82683" y="189415"/>
                      <a:pt x="76885" y="204690"/>
                      <a:pt x="67932" y="208381"/>
                    </a:cubicBezTo>
                    <a:cubicBezTo>
                      <a:pt x="67932" y="208381"/>
                      <a:pt x="75301" y="213119"/>
                      <a:pt x="107434" y="182570"/>
                    </a:cubicBezTo>
                    <a:cubicBezTo>
                      <a:pt x="139554" y="152021"/>
                      <a:pt x="207698" y="95785"/>
                      <a:pt x="220665" y="69874"/>
                    </a:cubicBezTo>
                    <a:cubicBezTo>
                      <a:pt x="239095" y="33016"/>
                      <a:pt x="193283" y="-32297"/>
                      <a:pt x="139043" y="18788"/>
                    </a:cubicBezTo>
                    <a:close/>
                  </a:path>
                </a:pathLst>
              </a:custGeom>
              <a:solidFill>
                <a:srgbClr val="92CD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394" name="Freeform: Shape 2393">
              <a:extLst>
                <a:ext uri="{FF2B5EF4-FFF2-40B4-BE49-F238E27FC236}">
                  <a16:creationId xmlns:a16="http://schemas.microsoft.com/office/drawing/2014/main" id="{97D9E417-0433-4391-BB77-5D3BE8E91A3D}"/>
                </a:ext>
              </a:extLst>
            </p:cNvPr>
            <p:cNvSpPr/>
            <p:nvPr/>
          </p:nvSpPr>
          <p:spPr>
            <a:xfrm>
              <a:off x="4426135" y="2799244"/>
              <a:ext cx="166551" cy="373574"/>
            </a:xfrm>
            <a:custGeom>
              <a:avLst/>
              <a:gdLst>
                <a:gd name="connsiteX0" fmla="*/ 151684 w 200868"/>
                <a:gd name="connsiteY0" fmla="*/ 12 h 450546"/>
                <a:gd name="connsiteX1" fmla="*/ 175862 w 200868"/>
                <a:gd name="connsiteY1" fmla="*/ 68518 h 450546"/>
                <a:gd name="connsiteX2" fmla="*/ 175862 w 200868"/>
                <a:gd name="connsiteY2" fmla="*/ 295817 h 450546"/>
                <a:gd name="connsiteX3" fmla="*/ 95910 w 200868"/>
                <a:gd name="connsiteY3" fmla="*/ 343636 h 450546"/>
                <a:gd name="connsiteX4" fmla="*/ 147 w 200868"/>
                <a:gd name="connsiteY4" fmla="*/ 448089 h 450546"/>
                <a:gd name="connsiteX5" fmla="*/ 75111 w 200868"/>
                <a:gd name="connsiteY5" fmla="*/ 448950 h 450546"/>
                <a:gd name="connsiteX6" fmla="*/ 197620 w 200868"/>
                <a:gd name="connsiteY6" fmla="*/ 382053 h 450546"/>
                <a:gd name="connsiteX7" fmla="*/ 197620 w 200868"/>
                <a:gd name="connsiteY7" fmla="*/ 182161 h 450546"/>
                <a:gd name="connsiteX8" fmla="*/ 197895 w 200868"/>
                <a:gd name="connsiteY8" fmla="*/ 26073 h 450546"/>
                <a:gd name="connsiteX9" fmla="*/ 171572 w 200868"/>
                <a:gd name="connsiteY9" fmla="*/ 0 h 450546"/>
                <a:gd name="connsiteX10" fmla="*/ 151672 w 200868"/>
                <a:gd name="connsiteY10" fmla="*/ 0 h 45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868" h="450546">
                  <a:moveTo>
                    <a:pt x="151684" y="12"/>
                  </a:moveTo>
                  <a:cubicBezTo>
                    <a:pt x="151684" y="12"/>
                    <a:pt x="175862" y="5649"/>
                    <a:pt x="175862" y="68518"/>
                  </a:cubicBezTo>
                  <a:lnTo>
                    <a:pt x="175862" y="295817"/>
                  </a:lnTo>
                  <a:cubicBezTo>
                    <a:pt x="175862" y="295817"/>
                    <a:pt x="185587" y="339122"/>
                    <a:pt x="95910" y="343636"/>
                  </a:cubicBezTo>
                  <a:cubicBezTo>
                    <a:pt x="-7945" y="348873"/>
                    <a:pt x="147" y="366853"/>
                    <a:pt x="147" y="448089"/>
                  </a:cubicBezTo>
                  <a:cubicBezTo>
                    <a:pt x="147" y="448089"/>
                    <a:pt x="38839" y="452990"/>
                    <a:pt x="75111" y="448950"/>
                  </a:cubicBezTo>
                  <a:cubicBezTo>
                    <a:pt x="111384" y="444922"/>
                    <a:pt x="189565" y="444112"/>
                    <a:pt x="197620" y="382053"/>
                  </a:cubicBezTo>
                  <a:cubicBezTo>
                    <a:pt x="205675" y="319994"/>
                    <a:pt x="196012" y="233746"/>
                    <a:pt x="197620" y="182161"/>
                  </a:cubicBezTo>
                  <a:cubicBezTo>
                    <a:pt x="198780" y="145003"/>
                    <a:pt x="198269" y="66884"/>
                    <a:pt x="197895" y="26073"/>
                  </a:cubicBezTo>
                  <a:cubicBezTo>
                    <a:pt x="197757" y="11634"/>
                    <a:pt x="186024" y="0"/>
                    <a:pt x="171572" y="0"/>
                  </a:cubicBezTo>
                  <a:lnTo>
                    <a:pt x="151672" y="0"/>
                  </a:lnTo>
                  <a:close/>
                </a:path>
              </a:pathLst>
            </a:custGeom>
            <a:solidFill>
              <a:srgbClr val="DBDBD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774" name="TextBox 3773">
            <a:extLst>
              <a:ext uri="{FF2B5EF4-FFF2-40B4-BE49-F238E27FC236}">
                <a16:creationId xmlns:a16="http://schemas.microsoft.com/office/drawing/2014/main" id="{358DBBFE-CF92-E3BE-D27D-D09D8CEEA709}"/>
              </a:ext>
            </a:extLst>
          </p:cNvPr>
          <p:cNvSpPr txBox="1"/>
          <p:nvPr>
            <p:custDataLst>
              <p:tags r:id="rId13"/>
            </p:custDataLst>
          </p:nvPr>
        </p:nvSpPr>
        <p:spPr>
          <a:xfrm>
            <a:off x="4562758" y="2815207"/>
            <a:ext cx="1536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64"/>
                </a:solidFill>
                <a:effectLst/>
                <a:uLnTx/>
                <a:uFillTx/>
                <a:latin typeface="Calibri"/>
                <a:ea typeface="+mn-ea"/>
                <a:cs typeface="+mn-cs"/>
              </a:rPr>
              <a:t>Participants</a:t>
            </a:r>
          </a:p>
        </p:txBody>
      </p:sp>
      <p:sp>
        <p:nvSpPr>
          <p:cNvPr id="3781" name="TextBox 3780">
            <a:extLst>
              <a:ext uri="{FF2B5EF4-FFF2-40B4-BE49-F238E27FC236}">
                <a16:creationId xmlns:a16="http://schemas.microsoft.com/office/drawing/2014/main" id="{3D48C753-1DD2-21F6-E3B6-D061F679091A}"/>
              </a:ext>
            </a:extLst>
          </p:cNvPr>
          <p:cNvSpPr txBox="1"/>
          <p:nvPr>
            <p:custDataLst>
              <p:tags r:id="rId14"/>
            </p:custDataLst>
          </p:nvPr>
        </p:nvSpPr>
        <p:spPr>
          <a:xfrm>
            <a:off x="6211564" y="2608746"/>
            <a:ext cx="5713736" cy="751476"/>
          </a:xfrm>
          <a:prstGeom prst="rect">
            <a:avLst/>
          </a:prstGeom>
          <a:noFill/>
        </p:spPr>
        <p:txBody>
          <a:bodyPr wrap="square" anchor="ctr">
            <a:noAutofit/>
          </a:bodyPr>
          <a:lstStyle/>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atient (if they have capacity or can share wishes)</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Surrogate decision-maker (DPOA-HC, guardian, or next-of-kin [NOK])</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rovider (APP, fellow, resident, and/or attending) and RN if available</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rimary physician or any relevant specialists as appropriate</a:t>
            </a:r>
          </a:p>
        </p:txBody>
      </p:sp>
      <p:sp>
        <p:nvSpPr>
          <p:cNvPr id="2882" name="Rectangle: Rounded Corners 2881">
            <a:extLst>
              <a:ext uri="{FF2B5EF4-FFF2-40B4-BE49-F238E27FC236}">
                <a16:creationId xmlns:a16="http://schemas.microsoft.com/office/drawing/2014/main" id="{3B12C092-EFF1-759B-7387-0DF29F43AF31}"/>
              </a:ext>
            </a:extLst>
          </p:cNvPr>
          <p:cNvSpPr/>
          <p:nvPr>
            <p:custDataLst>
              <p:tags r:id="rId15"/>
            </p:custDataLst>
          </p:nvPr>
        </p:nvSpPr>
        <p:spPr>
          <a:xfrm rot="10800000">
            <a:off x="4210958" y="3798382"/>
            <a:ext cx="1888175" cy="857390"/>
          </a:xfrm>
          <a:prstGeom prst="roundRect">
            <a:avLst/>
          </a:prstGeom>
          <a:solidFill>
            <a:srgbClr val="A8DE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B5D0AD65-2E18-9042-04C3-41502F814EA7}"/>
              </a:ext>
            </a:extLst>
          </p:cNvPr>
          <p:cNvGrpSpPr/>
          <p:nvPr>
            <p:custDataLst>
              <p:tags r:id="rId16"/>
            </p:custDataLst>
          </p:nvPr>
        </p:nvGrpSpPr>
        <p:grpSpPr>
          <a:xfrm>
            <a:off x="3438198" y="3720825"/>
            <a:ext cx="1121392" cy="1012504"/>
            <a:chOff x="3558513" y="3705052"/>
            <a:chExt cx="1121392" cy="1012504"/>
          </a:xfrm>
        </p:grpSpPr>
        <p:grpSp>
          <p:nvGrpSpPr>
            <p:cNvPr id="2885" name="Graphic 525">
              <a:extLst>
                <a:ext uri="{FF2B5EF4-FFF2-40B4-BE49-F238E27FC236}">
                  <a16:creationId xmlns:a16="http://schemas.microsoft.com/office/drawing/2014/main" id="{A57FC30D-4B28-4AB8-5F2D-7ED3CCE84CC2}"/>
                </a:ext>
              </a:extLst>
            </p:cNvPr>
            <p:cNvGrpSpPr/>
            <p:nvPr/>
          </p:nvGrpSpPr>
          <p:grpSpPr>
            <a:xfrm>
              <a:off x="3558513" y="3705052"/>
              <a:ext cx="1121392" cy="1012504"/>
              <a:chOff x="5692107" y="3903823"/>
              <a:chExt cx="1352447" cy="1221123"/>
            </a:xfrm>
          </p:grpSpPr>
          <p:sp>
            <p:nvSpPr>
              <p:cNvPr id="2886" name="Freeform: Shape 2885">
                <a:extLst>
                  <a:ext uri="{FF2B5EF4-FFF2-40B4-BE49-F238E27FC236}">
                    <a16:creationId xmlns:a16="http://schemas.microsoft.com/office/drawing/2014/main" id="{61A3B849-6A28-CA97-015C-E1C7BCFA5106}"/>
                  </a:ext>
                </a:extLst>
              </p:cNvPr>
              <p:cNvSpPr/>
              <p:nvPr/>
            </p:nvSpPr>
            <p:spPr>
              <a:xfrm>
                <a:off x="5692107" y="3903823"/>
                <a:ext cx="1352447" cy="1006554"/>
              </a:xfrm>
              <a:custGeom>
                <a:avLst/>
                <a:gdLst>
                  <a:gd name="connsiteX0" fmla="*/ 1327515 w 1352447"/>
                  <a:gd name="connsiteY0" fmla="*/ 703631 h 1006554"/>
                  <a:gd name="connsiteX1" fmla="*/ 1327515 w 1352447"/>
                  <a:gd name="connsiteY1" fmla="*/ 517505 h 1006554"/>
                  <a:gd name="connsiteX2" fmla="*/ 1082460 w 1352447"/>
                  <a:gd name="connsiteY2" fmla="*/ 93057 h 1006554"/>
                  <a:gd name="connsiteX3" fmla="*/ 921272 w 1352447"/>
                  <a:gd name="connsiteY3" fmla="*/ 0 h 1006554"/>
                  <a:gd name="connsiteX4" fmla="*/ 431175 w 1352447"/>
                  <a:gd name="connsiteY4" fmla="*/ 0 h 1006554"/>
                  <a:gd name="connsiteX5" fmla="*/ 269987 w 1352447"/>
                  <a:gd name="connsiteY5" fmla="*/ 93057 h 1006554"/>
                  <a:gd name="connsiteX6" fmla="*/ 24932 w 1352447"/>
                  <a:gd name="connsiteY6" fmla="*/ 517505 h 1006554"/>
                  <a:gd name="connsiteX7" fmla="*/ 24932 w 1352447"/>
                  <a:gd name="connsiteY7" fmla="*/ 703631 h 1006554"/>
                  <a:gd name="connsiteX8" fmla="*/ 199823 w 1352447"/>
                  <a:gd name="connsiteY8" fmla="*/ 1006555 h 1006554"/>
                  <a:gd name="connsiteX9" fmla="*/ 1152624 w 1352447"/>
                  <a:gd name="connsiteY9" fmla="*/ 1006555 h 1006554"/>
                  <a:gd name="connsiteX10" fmla="*/ 1327515 w 1352447"/>
                  <a:gd name="connsiteY10" fmla="*/ 703631 h 10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2447" h="1006554">
                    <a:moveTo>
                      <a:pt x="1327515" y="703631"/>
                    </a:moveTo>
                    <a:cubicBezTo>
                      <a:pt x="1360758" y="646048"/>
                      <a:pt x="1360758" y="575099"/>
                      <a:pt x="1327515" y="517505"/>
                    </a:cubicBezTo>
                    <a:lnTo>
                      <a:pt x="1082460" y="93057"/>
                    </a:lnTo>
                    <a:cubicBezTo>
                      <a:pt x="1049218" y="35475"/>
                      <a:pt x="987770" y="0"/>
                      <a:pt x="921272" y="0"/>
                    </a:cubicBezTo>
                    <a:lnTo>
                      <a:pt x="431175" y="0"/>
                    </a:lnTo>
                    <a:cubicBezTo>
                      <a:pt x="364677" y="0"/>
                      <a:pt x="303230" y="35475"/>
                      <a:pt x="269987" y="93057"/>
                    </a:cubicBezTo>
                    <a:lnTo>
                      <a:pt x="24932" y="517505"/>
                    </a:lnTo>
                    <a:cubicBezTo>
                      <a:pt x="-8311" y="575087"/>
                      <a:pt x="-8311" y="646036"/>
                      <a:pt x="24932" y="703631"/>
                    </a:cubicBezTo>
                    <a:lnTo>
                      <a:pt x="199823" y="1006555"/>
                    </a:lnTo>
                    <a:lnTo>
                      <a:pt x="1152624" y="1006555"/>
                    </a:lnTo>
                    <a:lnTo>
                      <a:pt x="1327515" y="703631"/>
                    </a:lnTo>
                    <a:close/>
                  </a:path>
                </a:pathLst>
              </a:custGeom>
              <a:solidFill>
                <a:srgbClr val="CAF5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87" name="Freeform: Shape 2886">
                <a:extLst>
                  <a:ext uri="{FF2B5EF4-FFF2-40B4-BE49-F238E27FC236}">
                    <a16:creationId xmlns:a16="http://schemas.microsoft.com/office/drawing/2014/main" id="{7803272C-314B-B480-6F02-54BCBA1E8D67}"/>
                  </a:ext>
                </a:extLst>
              </p:cNvPr>
              <p:cNvSpPr/>
              <p:nvPr/>
            </p:nvSpPr>
            <p:spPr>
              <a:xfrm>
                <a:off x="5841293" y="4822670"/>
                <a:ext cx="1054062" cy="302275"/>
              </a:xfrm>
              <a:custGeom>
                <a:avLst/>
                <a:gdLst>
                  <a:gd name="connsiteX0" fmla="*/ 933274 w 1054062"/>
                  <a:gd name="connsiteY0" fmla="*/ 209219 h 302275"/>
                  <a:gd name="connsiteX1" fmla="*/ 1054062 w 1054062"/>
                  <a:gd name="connsiteY1" fmla="*/ 0 h 302275"/>
                  <a:gd name="connsiteX2" fmla="*/ 0 w 1054062"/>
                  <a:gd name="connsiteY2" fmla="*/ 0 h 302275"/>
                  <a:gd name="connsiteX3" fmla="*/ 120788 w 1054062"/>
                  <a:gd name="connsiteY3" fmla="*/ 209219 h 302275"/>
                  <a:gd name="connsiteX4" fmla="*/ 281976 w 1054062"/>
                  <a:gd name="connsiteY4" fmla="*/ 302276 h 302275"/>
                  <a:gd name="connsiteX5" fmla="*/ 772074 w 1054062"/>
                  <a:gd name="connsiteY5" fmla="*/ 302276 h 302275"/>
                  <a:gd name="connsiteX6" fmla="*/ 933261 w 1054062"/>
                  <a:gd name="connsiteY6" fmla="*/ 209219 h 30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4062" h="302275">
                    <a:moveTo>
                      <a:pt x="933274" y="209219"/>
                    </a:moveTo>
                    <a:lnTo>
                      <a:pt x="1054062" y="0"/>
                    </a:lnTo>
                    <a:lnTo>
                      <a:pt x="0" y="0"/>
                    </a:lnTo>
                    <a:lnTo>
                      <a:pt x="120788" y="209219"/>
                    </a:lnTo>
                    <a:cubicBezTo>
                      <a:pt x="154031" y="266801"/>
                      <a:pt x="215478" y="302276"/>
                      <a:pt x="281976" y="302276"/>
                    </a:cubicBezTo>
                    <a:lnTo>
                      <a:pt x="772074" y="302276"/>
                    </a:lnTo>
                    <a:cubicBezTo>
                      <a:pt x="838571" y="302276"/>
                      <a:pt x="900019" y="266801"/>
                      <a:pt x="933261" y="209219"/>
                    </a:cubicBezTo>
                    <a:close/>
                  </a:path>
                </a:pathLst>
              </a:custGeom>
              <a:solidFill>
                <a:srgbClr val="ACEA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88" name="Graphic 525">
              <a:extLst>
                <a:ext uri="{FF2B5EF4-FFF2-40B4-BE49-F238E27FC236}">
                  <a16:creationId xmlns:a16="http://schemas.microsoft.com/office/drawing/2014/main" id="{F55CF520-95C6-0436-91AA-431D153CABB2}"/>
                </a:ext>
              </a:extLst>
            </p:cNvPr>
            <p:cNvGrpSpPr/>
            <p:nvPr/>
          </p:nvGrpSpPr>
          <p:grpSpPr>
            <a:xfrm>
              <a:off x="3974481" y="3705052"/>
              <a:ext cx="460936" cy="460781"/>
              <a:chOff x="6193782" y="3903823"/>
              <a:chExt cx="555909" cy="555722"/>
            </a:xfrm>
          </p:grpSpPr>
          <p:sp>
            <p:nvSpPr>
              <p:cNvPr id="2889" name="Freeform: Shape 2888">
                <a:extLst>
                  <a:ext uri="{FF2B5EF4-FFF2-40B4-BE49-F238E27FC236}">
                    <a16:creationId xmlns:a16="http://schemas.microsoft.com/office/drawing/2014/main" id="{7B6B6090-1960-CC76-5283-3BA87EE52BC5}"/>
                  </a:ext>
                </a:extLst>
              </p:cNvPr>
              <p:cNvSpPr/>
              <p:nvPr/>
            </p:nvSpPr>
            <p:spPr>
              <a:xfrm>
                <a:off x="6193782" y="3903823"/>
                <a:ext cx="555909" cy="555722"/>
              </a:xfrm>
              <a:custGeom>
                <a:avLst/>
                <a:gdLst>
                  <a:gd name="connsiteX0" fmla="*/ 555910 w 555909"/>
                  <a:gd name="connsiteY0" fmla="*/ 59403 h 555722"/>
                  <a:gd name="connsiteX1" fmla="*/ 419597 w 555909"/>
                  <a:gd name="connsiteY1" fmla="*/ 0 h 555722"/>
                  <a:gd name="connsiteX2" fmla="*/ 0 w 555909"/>
                  <a:gd name="connsiteY2" fmla="*/ 0 h 555722"/>
                  <a:gd name="connsiteX3" fmla="*/ 0 w 555909"/>
                  <a:gd name="connsiteY3" fmla="*/ 555722 h 555722"/>
                  <a:gd name="connsiteX4" fmla="*/ 555910 w 555909"/>
                  <a:gd name="connsiteY4" fmla="*/ 555722 h 555722"/>
                  <a:gd name="connsiteX5" fmla="*/ 555910 w 555909"/>
                  <a:gd name="connsiteY5" fmla="*/ 59403 h 55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909" h="555722">
                    <a:moveTo>
                      <a:pt x="555910" y="59403"/>
                    </a:moveTo>
                    <a:cubicBezTo>
                      <a:pt x="521121" y="21970"/>
                      <a:pt x="471930" y="0"/>
                      <a:pt x="419597" y="0"/>
                    </a:cubicBezTo>
                    <a:lnTo>
                      <a:pt x="0" y="0"/>
                    </a:lnTo>
                    <a:lnTo>
                      <a:pt x="0" y="555722"/>
                    </a:lnTo>
                    <a:lnTo>
                      <a:pt x="555910" y="555722"/>
                    </a:lnTo>
                    <a:lnTo>
                      <a:pt x="555910" y="59403"/>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0" name="Freeform: Shape 2889">
                <a:extLst>
                  <a:ext uri="{FF2B5EF4-FFF2-40B4-BE49-F238E27FC236}">
                    <a16:creationId xmlns:a16="http://schemas.microsoft.com/office/drawing/2014/main" id="{8B94334B-4ACE-7E8B-E2D6-CC6BCA359751}"/>
                  </a:ext>
                </a:extLst>
              </p:cNvPr>
              <p:cNvSpPr/>
              <p:nvPr/>
            </p:nvSpPr>
            <p:spPr>
              <a:xfrm>
                <a:off x="6205765" y="3903823"/>
                <a:ext cx="531943" cy="541632"/>
              </a:xfrm>
              <a:custGeom>
                <a:avLst/>
                <a:gdLst>
                  <a:gd name="connsiteX0" fmla="*/ 531944 w 531943"/>
                  <a:gd name="connsiteY0" fmla="*/ 47644 h 541632"/>
                  <a:gd name="connsiteX1" fmla="*/ 407614 w 531943"/>
                  <a:gd name="connsiteY1" fmla="*/ 0 h 541632"/>
                  <a:gd name="connsiteX2" fmla="*/ 0 w 531943"/>
                  <a:gd name="connsiteY2" fmla="*/ 0 h 541632"/>
                  <a:gd name="connsiteX3" fmla="*/ 0 w 531943"/>
                  <a:gd name="connsiteY3" fmla="*/ 541632 h 541632"/>
                  <a:gd name="connsiteX4" fmla="*/ 531944 w 531943"/>
                  <a:gd name="connsiteY4" fmla="*/ 541632 h 541632"/>
                  <a:gd name="connsiteX5" fmla="*/ 531944 w 531943"/>
                  <a:gd name="connsiteY5" fmla="*/ 47644 h 54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943" h="541632">
                    <a:moveTo>
                      <a:pt x="531944" y="47644"/>
                    </a:moveTo>
                    <a:cubicBezTo>
                      <a:pt x="498277" y="17419"/>
                      <a:pt x="454199" y="0"/>
                      <a:pt x="407614" y="0"/>
                    </a:cubicBezTo>
                    <a:lnTo>
                      <a:pt x="0" y="0"/>
                    </a:lnTo>
                    <a:lnTo>
                      <a:pt x="0" y="541632"/>
                    </a:lnTo>
                    <a:lnTo>
                      <a:pt x="531944" y="541632"/>
                    </a:lnTo>
                    <a:lnTo>
                      <a:pt x="531944" y="47644"/>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891" name="Graphic 525">
                <a:extLst>
                  <a:ext uri="{FF2B5EF4-FFF2-40B4-BE49-F238E27FC236}">
                    <a16:creationId xmlns:a16="http://schemas.microsoft.com/office/drawing/2014/main" id="{83EB1831-008A-2920-C9A3-C9F75BC8B418}"/>
                  </a:ext>
                </a:extLst>
              </p:cNvPr>
              <p:cNvGrpSpPr/>
              <p:nvPr/>
            </p:nvGrpSpPr>
            <p:grpSpPr>
              <a:xfrm>
                <a:off x="6205765" y="3910119"/>
                <a:ext cx="535510" cy="164417"/>
                <a:chOff x="6205765" y="3910119"/>
                <a:chExt cx="535510" cy="164417"/>
              </a:xfrm>
              <a:solidFill>
                <a:srgbClr val="A2E9F2"/>
              </a:solidFill>
            </p:grpSpPr>
            <p:sp>
              <p:nvSpPr>
                <p:cNvPr id="2892" name="Freeform: Shape 2891">
                  <a:extLst>
                    <a:ext uri="{FF2B5EF4-FFF2-40B4-BE49-F238E27FC236}">
                      <a16:creationId xmlns:a16="http://schemas.microsoft.com/office/drawing/2014/main" id="{474D5F4B-0332-A4A4-E3F7-039BDA549E84}"/>
                    </a:ext>
                  </a:extLst>
                </p:cNvPr>
                <p:cNvSpPr/>
                <p:nvPr/>
              </p:nvSpPr>
              <p:spPr>
                <a:xfrm rot="10800000">
                  <a:off x="6205765" y="3970008"/>
                  <a:ext cx="531943" cy="14676"/>
                </a:xfrm>
                <a:custGeom>
                  <a:avLst/>
                  <a:gdLst>
                    <a:gd name="connsiteX0" fmla="*/ 0 w 531943"/>
                    <a:gd name="connsiteY0" fmla="*/ 0 h 14676"/>
                    <a:gd name="connsiteX1" fmla="*/ 531944 w 531943"/>
                    <a:gd name="connsiteY1" fmla="*/ 0 h 14676"/>
                    <a:gd name="connsiteX2" fmla="*/ 531944 w 531943"/>
                    <a:gd name="connsiteY2" fmla="*/ 14676 h 14676"/>
                    <a:gd name="connsiteX3" fmla="*/ 0 w 531943"/>
                    <a:gd name="connsiteY3" fmla="*/ 14676 h 14676"/>
                  </a:gdLst>
                  <a:ahLst/>
                  <a:cxnLst>
                    <a:cxn ang="0">
                      <a:pos x="connsiteX0" y="connsiteY0"/>
                    </a:cxn>
                    <a:cxn ang="0">
                      <a:pos x="connsiteX1" y="connsiteY1"/>
                    </a:cxn>
                    <a:cxn ang="0">
                      <a:pos x="connsiteX2" y="connsiteY2"/>
                    </a:cxn>
                    <a:cxn ang="0">
                      <a:pos x="connsiteX3" y="connsiteY3"/>
                    </a:cxn>
                  </a:cxnLst>
                  <a:rect l="l" t="t" r="r" b="b"/>
                  <a:pathLst>
                    <a:path w="531943" h="14676">
                      <a:moveTo>
                        <a:pt x="0" y="0"/>
                      </a:moveTo>
                      <a:lnTo>
                        <a:pt x="531944" y="0"/>
                      </a:lnTo>
                      <a:lnTo>
                        <a:pt x="531944" y="14676"/>
                      </a:lnTo>
                      <a:lnTo>
                        <a:pt x="0" y="14676"/>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3" name="Freeform: Shape 2892">
                  <a:extLst>
                    <a:ext uri="{FF2B5EF4-FFF2-40B4-BE49-F238E27FC236}">
                      <a16:creationId xmlns:a16="http://schemas.microsoft.com/office/drawing/2014/main" id="{6EE98D03-26E5-67A3-12B9-9C6848354F48}"/>
                    </a:ext>
                  </a:extLst>
                </p:cNvPr>
                <p:cNvSpPr/>
                <p:nvPr/>
              </p:nvSpPr>
              <p:spPr>
                <a:xfrm rot="10800000">
                  <a:off x="6205765" y="3999959"/>
                  <a:ext cx="531943" cy="14676"/>
                </a:xfrm>
                <a:custGeom>
                  <a:avLst/>
                  <a:gdLst>
                    <a:gd name="connsiteX0" fmla="*/ 0 w 531943"/>
                    <a:gd name="connsiteY0" fmla="*/ 0 h 14676"/>
                    <a:gd name="connsiteX1" fmla="*/ 531944 w 531943"/>
                    <a:gd name="connsiteY1" fmla="*/ 0 h 14676"/>
                    <a:gd name="connsiteX2" fmla="*/ 531944 w 531943"/>
                    <a:gd name="connsiteY2" fmla="*/ 14676 h 14676"/>
                    <a:gd name="connsiteX3" fmla="*/ 0 w 531943"/>
                    <a:gd name="connsiteY3" fmla="*/ 14676 h 14676"/>
                  </a:gdLst>
                  <a:ahLst/>
                  <a:cxnLst>
                    <a:cxn ang="0">
                      <a:pos x="connsiteX0" y="connsiteY0"/>
                    </a:cxn>
                    <a:cxn ang="0">
                      <a:pos x="connsiteX1" y="connsiteY1"/>
                    </a:cxn>
                    <a:cxn ang="0">
                      <a:pos x="connsiteX2" y="connsiteY2"/>
                    </a:cxn>
                    <a:cxn ang="0">
                      <a:pos x="connsiteX3" y="connsiteY3"/>
                    </a:cxn>
                  </a:cxnLst>
                  <a:rect l="l" t="t" r="r" b="b"/>
                  <a:pathLst>
                    <a:path w="531943" h="14676">
                      <a:moveTo>
                        <a:pt x="0" y="0"/>
                      </a:moveTo>
                      <a:lnTo>
                        <a:pt x="531944" y="0"/>
                      </a:lnTo>
                      <a:lnTo>
                        <a:pt x="531944" y="14676"/>
                      </a:lnTo>
                      <a:lnTo>
                        <a:pt x="0" y="14676"/>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4" name="Freeform: Shape 2893">
                  <a:extLst>
                    <a:ext uri="{FF2B5EF4-FFF2-40B4-BE49-F238E27FC236}">
                      <a16:creationId xmlns:a16="http://schemas.microsoft.com/office/drawing/2014/main" id="{EC61F6CE-5E82-6F53-43A8-B426B3DC854D}"/>
                    </a:ext>
                  </a:extLst>
                </p:cNvPr>
                <p:cNvSpPr/>
                <p:nvPr/>
              </p:nvSpPr>
              <p:spPr>
                <a:xfrm rot="10800000">
                  <a:off x="6205765" y="4029910"/>
                  <a:ext cx="531943" cy="14676"/>
                </a:xfrm>
                <a:custGeom>
                  <a:avLst/>
                  <a:gdLst>
                    <a:gd name="connsiteX0" fmla="*/ 0 w 531943"/>
                    <a:gd name="connsiteY0" fmla="*/ 0 h 14676"/>
                    <a:gd name="connsiteX1" fmla="*/ 531944 w 531943"/>
                    <a:gd name="connsiteY1" fmla="*/ 0 h 14676"/>
                    <a:gd name="connsiteX2" fmla="*/ 531944 w 531943"/>
                    <a:gd name="connsiteY2" fmla="*/ 14676 h 14676"/>
                    <a:gd name="connsiteX3" fmla="*/ 0 w 531943"/>
                    <a:gd name="connsiteY3" fmla="*/ 14676 h 14676"/>
                  </a:gdLst>
                  <a:ahLst/>
                  <a:cxnLst>
                    <a:cxn ang="0">
                      <a:pos x="connsiteX0" y="connsiteY0"/>
                    </a:cxn>
                    <a:cxn ang="0">
                      <a:pos x="connsiteX1" y="connsiteY1"/>
                    </a:cxn>
                    <a:cxn ang="0">
                      <a:pos x="connsiteX2" y="connsiteY2"/>
                    </a:cxn>
                    <a:cxn ang="0">
                      <a:pos x="connsiteX3" y="connsiteY3"/>
                    </a:cxn>
                  </a:cxnLst>
                  <a:rect l="l" t="t" r="r" b="b"/>
                  <a:pathLst>
                    <a:path w="531943" h="14676">
                      <a:moveTo>
                        <a:pt x="0" y="0"/>
                      </a:moveTo>
                      <a:lnTo>
                        <a:pt x="531944" y="0"/>
                      </a:lnTo>
                      <a:lnTo>
                        <a:pt x="531944" y="14676"/>
                      </a:lnTo>
                      <a:lnTo>
                        <a:pt x="0" y="14676"/>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5" name="Freeform: Shape 2894">
                  <a:extLst>
                    <a:ext uri="{FF2B5EF4-FFF2-40B4-BE49-F238E27FC236}">
                      <a16:creationId xmlns:a16="http://schemas.microsoft.com/office/drawing/2014/main" id="{16A08309-4413-3619-1D9D-FE96C7B55483}"/>
                    </a:ext>
                  </a:extLst>
                </p:cNvPr>
                <p:cNvSpPr/>
                <p:nvPr/>
              </p:nvSpPr>
              <p:spPr>
                <a:xfrm rot="10800000">
                  <a:off x="6205765" y="4059861"/>
                  <a:ext cx="531943" cy="14676"/>
                </a:xfrm>
                <a:custGeom>
                  <a:avLst/>
                  <a:gdLst>
                    <a:gd name="connsiteX0" fmla="*/ 0 w 531943"/>
                    <a:gd name="connsiteY0" fmla="*/ 0 h 14676"/>
                    <a:gd name="connsiteX1" fmla="*/ 531944 w 531943"/>
                    <a:gd name="connsiteY1" fmla="*/ 0 h 14676"/>
                    <a:gd name="connsiteX2" fmla="*/ 531944 w 531943"/>
                    <a:gd name="connsiteY2" fmla="*/ 14676 h 14676"/>
                    <a:gd name="connsiteX3" fmla="*/ 0 w 531943"/>
                    <a:gd name="connsiteY3" fmla="*/ 14676 h 14676"/>
                  </a:gdLst>
                  <a:ahLst/>
                  <a:cxnLst>
                    <a:cxn ang="0">
                      <a:pos x="connsiteX0" y="connsiteY0"/>
                    </a:cxn>
                    <a:cxn ang="0">
                      <a:pos x="connsiteX1" y="connsiteY1"/>
                    </a:cxn>
                    <a:cxn ang="0">
                      <a:pos x="connsiteX2" y="connsiteY2"/>
                    </a:cxn>
                    <a:cxn ang="0">
                      <a:pos x="connsiteX3" y="connsiteY3"/>
                    </a:cxn>
                  </a:cxnLst>
                  <a:rect l="l" t="t" r="r" b="b"/>
                  <a:pathLst>
                    <a:path w="531943" h="14676">
                      <a:moveTo>
                        <a:pt x="0" y="0"/>
                      </a:moveTo>
                      <a:lnTo>
                        <a:pt x="531944" y="0"/>
                      </a:lnTo>
                      <a:lnTo>
                        <a:pt x="531944" y="14676"/>
                      </a:lnTo>
                      <a:lnTo>
                        <a:pt x="0" y="14676"/>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6" name="Freeform: Shape 2895">
                  <a:extLst>
                    <a:ext uri="{FF2B5EF4-FFF2-40B4-BE49-F238E27FC236}">
                      <a16:creationId xmlns:a16="http://schemas.microsoft.com/office/drawing/2014/main" id="{79B17ADD-F29D-3CB6-F2DF-8DA15F915658}"/>
                    </a:ext>
                  </a:extLst>
                </p:cNvPr>
                <p:cNvSpPr/>
                <p:nvPr/>
              </p:nvSpPr>
              <p:spPr>
                <a:xfrm>
                  <a:off x="6205765" y="3910119"/>
                  <a:ext cx="493389" cy="14676"/>
                </a:xfrm>
                <a:custGeom>
                  <a:avLst/>
                  <a:gdLst>
                    <a:gd name="connsiteX0" fmla="*/ 455608 w 493389"/>
                    <a:gd name="connsiteY0" fmla="*/ 0 h 14676"/>
                    <a:gd name="connsiteX1" fmla="*/ 0 w 493389"/>
                    <a:gd name="connsiteY1" fmla="*/ 0 h 14676"/>
                    <a:gd name="connsiteX2" fmla="*/ 0 w 493389"/>
                    <a:gd name="connsiteY2" fmla="*/ 14676 h 14676"/>
                    <a:gd name="connsiteX3" fmla="*/ 493389 w 493389"/>
                    <a:gd name="connsiteY3" fmla="*/ 14676 h 14676"/>
                    <a:gd name="connsiteX4" fmla="*/ 455608 w 493389"/>
                    <a:gd name="connsiteY4" fmla="*/ 0 h 14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389" h="14676">
                      <a:moveTo>
                        <a:pt x="455608" y="0"/>
                      </a:moveTo>
                      <a:lnTo>
                        <a:pt x="0" y="0"/>
                      </a:lnTo>
                      <a:lnTo>
                        <a:pt x="0" y="14676"/>
                      </a:lnTo>
                      <a:lnTo>
                        <a:pt x="493389" y="14676"/>
                      </a:lnTo>
                      <a:cubicBezTo>
                        <a:pt x="481407" y="8454"/>
                        <a:pt x="468750" y="3516"/>
                        <a:pt x="455608" y="0"/>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97" name="Freeform: Shape 2896">
                  <a:extLst>
                    <a:ext uri="{FF2B5EF4-FFF2-40B4-BE49-F238E27FC236}">
                      <a16:creationId xmlns:a16="http://schemas.microsoft.com/office/drawing/2014/main" id="{D3C30274-B4D6-D5D7-DB51-CDECB5D4040D}"/>
                    </a:ext>
                  </a:extLst>
                </p:cNvPr>
                <p:cNvSpPr/>
                <p:nvPr/>
              </p:nvSpPr>
              <p:spPr>
                <a:xfrm>
                  <a:off x="6205765" y="3940070"/>
                  <a:ext cx="535509" cy="14675"/>
                </a:xfrm>
                <a:custGeom>
                  <a:avLst/>
                  <a:gdLst>
                    <a:gd name="connsiteX0" fmla="*/ 517941 w 535509"/>
                    <a:gd name="connsiteY0" fmla="*/ 0 h 14675"/>
                    <a:gd name="connsiteX1" fmla="*/ 0 w 535509"/>
                    <a:gd name="connsiteY1" fmla="*/ 0 h 14675"/>
                    <a:gd name="connsiteX2" fmla="*/ 0 w 535509"/>
                    <a:gd name="connsiteY2" fmla="*/ 14676 h 14675"/>
                    <a:gd name="connsiteX3" fmla="*/ 535510 w 535509"/>
                    <a:gd name="connsiteY3" fmla="*/ 14676 h 14675"/>
                    <a:gd name="connsiteX4" fmla="*/ 517941 w 535509"/>
                    <a:gd name="connsiteY4" fmla="*/ 0 h 1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509" h="14675">
                      <a:moveTo>
                        <a:pt x="517941" y="0"/>
                      </a:moveTo>
                      <a:lnTo>
                        <a:pt x="0" y="0"/>
                      </a:lnTo>
                      <a:lnTo>
                        <a:pt x="0" y="14676"/>
                      </a:lnTo>
                      <a:lnTo>
                        <a:pt x="535510" y="14676"/>
                      </a:lnTo>
                      <a:cubicBezTo>
                        <a:pt x="529949" y="9414"/>
                        <a:pt x="524076" y="4526"/>
                        <a:pt x="517941" y="0"/>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98" name="Graphic 525">
                <a:extLst>
                  <a:ext uri="{FF2B5EF4-FFF2-40B4-BE49-F238E27FC236}">
                    <a16:creationId xmlns:a16="http://schemas.microsoft.com/office/drawing/2014/main" id="{28C7A433-DFAD-2428-2983-203FCF4BBD81}"/>
                  </a:ext>
                </a:extLst>
              </p:cNvPr>
              <p:cNvGrpSpPr/>
              <p:nvPr/>
            </p:nvGrpSpPr>
            <p:grpSpPr>
              <a:xfrm>
                <a:off x="6455072" y="4068576"/>
                <a:ext cx="34339" cy="64677"/>
                <a:chOff x="6455072" y="4068576"/>
                <a:chExt cx="34339" cy="64677"/>
              </a:xfrm>
              <a:solidFill>
                <a:srgbClr val="A2E9F2"/>
              </a:solidFill>
            </p:grpSpPr>
            <p:sp>
              <p:nvSpPr>
                <p:cNvPr id="2899" name="Freeform: Shape 2898">
                  <a:extLst>
                    <a:ext uri="{FF2B5EF4-FFF2-40B4-BE49-F238E27FC236}">
                      <a16:creationId xmlns:a16="http://schemas.microsoft.com/office/drawing/2014/main" id="{C3E83990-D8F9-50CE-D48B-25548650E45A}"/>
                    </a:ext>
                  </a:extLst>
                </p:cNvPr>
                <p:cNvSpPr/>
                <p:nvPr/>
              </p:nvSpPr>
              <p:spPr>
                <a:xfrm>
                  <a:off x="6469386" y="4068576"/>
                  <a:ext cx="5586" cy="35936"/>
                </a:xfrm>
                <a:custGeom>
                  <a:avLst/>
                  <a:gdLst>
                    <a:gd name="connsiteX0" fmla="*/ 2793 w 5586"/>
                    <a:gd name="connsiteY0" fmla="*/ 35936 h 35936"/>
                    <a:gd name="connsiteX1" fmla="*/ 5586 w 5586"/>
                    <a:gd name="connsiteY1" fmla="*/ 33143 h 35936"/>
                    <a:gd name="connsiteX2" fmla="*/ 5586 w 5586"/>
                    <a:gd name="connsiteY2" fmla="*/ 2793 h 35936"/>
                    <a:gd name="connsiteX3" fmla="*/ 2793 w 5586"/>
                    <a:gd name="connsiteY3" fmla="*/ 0 h 35936"/>
                    <a:gd name="connsiteX4" fmla="*/ 0 w 5586"/>
                    <a:gd name="connsiteY4" fmla="*/ 2793 h 35936"/>
                    <a:gd name="connsiteX5" fmla="*/ 0 w 5586"/>
                    <a:gd name="connsiteY5" fmla="*/ 33143 h 35936"/>
                    <a:gd name="connsiteX6" fmla="*/ 2793 w 5586"/>
                    <a:gd name="connsiteY6" fmla="*/ 35936 h 3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6" h="35936">
                      <a:moveTo>
                        <a:pt x="2793" y="35936"/>
                      </a:moveTo>
                      <a:cubicBezTo>
                        <a:pt x="4339" y="35936"/>
                        <a:pt x="5586" y="34689"/>
                        <a:pt x="5586" y="33143"/>
                      </a:cubicBezTo>
                      <a:lnTo>
                        <a:pt x="5586" y="2793"/>
                      </a:lnTo>
                      <a:cubicBezTo>
                        <a:pt x="5586" y="1247"/>
                        <a:pt x="4339" y="0"/>
                        <a:pt x="2793" y="0"/>
                      </a:cubicBezTo>
                      <a:cubicBezTo>
                        <a:pt x="1247" y="0"/>
                        <a:pt x="0" y="1247"/>
                        <a:pt x="0" y="2793"/>
                      </a:cubicBezTo>
                      <a:lnTo>
                        <a:pt x="0" y="33143"/>
                      </a:lnTo>
                      <a:cubicBezTo>
                        <a:pt x="0" y="34689"/>
                        <a:pt x="1247" y="35936"/>
                        <a:pt x="2793" y="35936"/>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0" name="Freeform: Shape 2899">
                  <a:extLst>
                    <a:ext uri="{FF2B5EF4-FFF2-40B4-BE49-F238E27FC236}">
                      <a16:creationId xmlns:a16="http://schemas.microsoft.com/office/drawing/2014/main" id="{02C9B86B-8311-AB1E-77EF-AF2ACB908198}"/>
                    </a:ext>
                  </a:extLst>
                </p:cNvPr>
                <p:cNvSpPr/>
                <p:nvPr/>
              </p:nvSpPr>
              <p:spPr>
                <a:xfrm>
                  <a:off x="6455072" y="4098914"/>
                  <a:ext cx="34339" cy="34339"/>
                </a:xfrm>
                <a:custGeom>
                  <a:avLst/>
                  <a:gdLst>
                    <a:gd name="connsiteX0" fmla="*/ 0 w 34339"/>
                    <a:gd name="connsiteY0" fmla="*/ 17170 h 34339"/>
                    <a:gd name="connsiteX1" fmla="*/ 17170 w 34339"/>
                    <a:gd name="connsiteY1" fmla="*/ 0 h 34339"/>
                    <a:gd name="connsiteX2" fmla="*/ 34340 w 34339"/>
                    <a:gd name="connsiteY2" fmla="*/ 17170 h 34339"/>
                    <a:gd name="connsiteX3" fmla="*/ 17170 w 34339"/>
                    <a:gd name="connsiteY3" fmla="*/ 34340 h 34339"/>
                    <a:gd name="connsiteX4" fmla="*/ 0 w 34339"/>
                    <a:gd name="connsiteY4" fmla="*/ 17170 h 34339"/>
                    <a:gd name="connsiteX5" fmla="*/ 5586 w 34339"/>
                    <a:gd name="connsiteY5" fmla="*/ 17170 h 34339"/>
                    <a:gd name="connsiteX6" fmla="*/ 17170 w 34339"/>
                    <a:gd name="connsiteY6" fmla="*/ 28754 h 34339"/>
                    <a:gd name="connsiteX7" fmla="*/ 28754 w 34339"/>
                    <a:gd name="connsiteY7" fmla="*/ 17170 h 34339"/>
                    <a:gd name="connsiteX8" fmla="*/ 17170 w 34339"/>
                    <a:gd name="connsiteY8" fmla="*/ 5586 h 34339"/>
                    <a:gd name="connsiteX9" fmla="*/ 5586 w 34339"/>
                    <a:gd name="connsiteY9" fmla="*/ 17170 h 3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39" h="34339">
                      <a:moveTo>
                        <a:pt x="0" y="17170"/>
                      </a:moveTo>
                      <a:cubicBezTo>
                        <a:pt x="0" y="7706"/>
                        <a:pt x="7706" y="0"/>
                        <a:pt x="17170" y="0"/>
                      </a:cubicBezTo>
                      <a:cubicBezTo>
                        <a:pt x="26634" y="0"/>
                        <a:pt x="34340" y="7706"/>
                        <a:pt x="34340" y="17170"/>
                      </a:cubicBezTo>
                      <a:cubicBezTo>
                        <a:pt x="34340" y="26634"/>
                        <a:pt x="26634" y="34340"/>
                        <a:pt x="17170" y="34340"/>
                      </a:cubicBezTo>
                      <a:cubicBezTo>
                        <a:pt x="7706" y="34340"/>
                        <a:pt x="0" y="26634"/>
                        <a:pt x="0" y="17170"/>
                      </a:cubicBezTo>
                      <a:close/>
                      <a:moveTo>
                        <a:pt x="5586" y="17170"/>
                      </a:moveTo>
                      <a:cubicBezTo>
                        <a:pt x="5586" y="23554"/>
                        <a:pt x="10786" y="28754"/>
                        <a:pt x="17170" y="28754"/>
                      </a:cubicBezTo>
                      <a:cubicBezTo>
                        <a:pt x="23554" y="28754"/>
                        <a:pt x="28754" y="23554"/>
                        <a:pt x="28754" y="17170"/>
                      </a:cubicBezTo>
                      <a:cubicBezTo>
                        <a:pt x="28754" y="10786"/>
                        <a:pt x="23554" y="5586"/>
                        <a:pt x="17170" y="5586"/>
                      </a:cubicBezTo>
                      <a:cubicBezTo>
                        <a:pt x="10786" y="5586"/>
                        <a:pt x="5586" y="10786"/>
                        <a:pt x="5586" y="17170"/>
                      </a:cubicBez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901" name="Graphic 525">
              <a:extLst>
                <a:ext uri="{FF2B5EF4-FFF2-40B4-BE49-F238E27FC236}">
                  <a16:creationId xmlns:a16="http://schemas.microsoft.com/office/drawing/2014/main" id="{0F91B8FA-F69A-4B75-BE74-F84B72A0D678}"/>
                </a:ext>
              </a:extLst>
            </p:cNvPr>
            <p:cNvGrpSpPr/>
            <p:nvPr/>
          </p:nvGrpSpPr>
          <p:grpSpPr>
            <a:xfrm>
              <a:off x="3608837" y="3883531"/>
              <a:ext cx="1044006" cy="564697"/>
              <a:chOff x="5752800" y="4119076"/>
              <a:chExt cx="1259116" cy="681049"/>
            </a:xfrm>
            <a:solidFill>
              <a:srgbClr val="A3EEFE"/>
            </a:solidFill>
          </p:grpSpPr>
          <p:sp>
            <p:nvSpPr>
              <p:cNvPr id="2902" name="Freeform: Shape 2901">
                <a:extLst>
                  <a:ext uri="{FF2B5EF4-FFF2-40B4-BE49-F238E27FC236}">
                    <a16:creationId xmlns:a16="http://schemas.microsoft.com/office/drawing/2014/main" id="{14FE0493-1738-1286-5AA9-282970495849}"/>
                  </a:ext>
                </a:extLst>
              </p:cNvPr>
              <p:cNvSpPr/>
              <p:nvPr/>
            </p:nvSpPr>
            <p:spPr>
              <a:xfrm>
                <a:off x="5758474" y="4318270"/>
                <a:ext cx="31883" cy="31297"/>
              </a:xfrm>
              <a:custGeom>
                <a:avLst/>
                <a:gdLst>
                  <a:gd name="connsiteX0" fmla="*/ 31883 w 31883"/>
                  <a:gd name="connsiteY0" fmla="*/ 31298 h 31297"/>
                  <a:gd name="connsiteX1" fmla="*/ 31883 w 31883"/>
                  <a:gd name="connsiteY1" fmla="*/ 0 h 31297"/>
                  <a:gd name="connsiteX2" fmla="*/ 18068 w 31883"/>
                  <a:gd name="connsiteY2" fmla="*/ 0 h 31297"/>
                  <a:gd name="connsiteX3" fmla="*/ 0 w 31883"/>
                  <a:gd name="connsiteY3" fmla="*/ 31298 h 31297"/>
                  <a:gd name="connsiteX4" fmla="*/ 31883 w 31883"/>
                  <a:gd name="connsiteY4" fmla="*/ 31298 h 3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3" h="31297">
                    <a:moveTo>
                      <a:pt x="31883" y="31298"/>
                    </a:moveTo>
                    <a:lnTo>
                      <a:pt x="31883" y="0"/>
                    </a:lnTo>
                    <a:lnTo>
                      <a:pt x="18068" y="0"/>
                    </a:lnTo>
                    <a:lnTo>
                      <a:pt x="0" y="31298"/>
                    </a:lnTo>
                    <a:lnTo>
                      <a:pt x="31883" y="31298"/>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3" name="Freeform: Shape 2902">
                <a:extLst>
                  <a:ext uri="{FF2B5EF4-FFF2-40B4-BE49-F238E27FC236}">
                    <a16:creationId xmlns:a16="http://schemas.microsoft.com/office/drawing/2014/main" id="{05B43FA5-0C4C-723A-3FF8-DCFCC820A29F}"/>
                  </a:ext>
                </a:extLst>
              </p:cNvPr>
              <p:cNvSpPr/>
              <p:nvPr/>
            </p:nvSpPr>
            <p:spPr>
              <a:xfrm>
                <a:off x="5761142" y="4363134"/>
                <a:ext cx="73031" cy="31297"/>
              </a:xfrm>
              <a:custGeom>
                <a:avLst/>
                <a:gdLst>
                  <a:gd name="connsiteX0" fmla="*/ 0 w 73031"/>
                  <a:gd name="connsiteY0" fmla="*/ 0 h 31297"/>
                  <a:gd name="connsiteX1" fmla="*/ 73031 w 73031"/>
                  <a:gd name="connsiteY1" fmla="*/ 0 h 31297"/>
                  <a:gd name="connsiteX2" fmla="*/ 73031 w 73031"/>
                  <a:gd name="connsiteY2" fmla="*/ 31297 h 31297"/>
                  <a:gd name="connsiteX3" fmla="*/ 0 w 73031"/>
                  <a:gd name="connsiteY3" fmla="*/ 31297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1" y="0"/>
                    </a:lnTo>
                    <a:lnTo>
                      <a:pt x="73031" y="31297"/>
                    </a:lnTo>
                    <a:lnTo>
                      <a:pt x="0" y="31297"/>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4" name="Freeform: Shape 2903">
                <a:extLst>
                  <a:ext uri="{FF2B5EF4-FFF2-40B4-BE49-F238E27FC236}">
                    <a16:creationId xmlns:a16="http://schemas.microsoft.com/office/drawing/2014/main" id="{EB2B0BCF-B794-5B13-D6F6-4CFDF3F182BA}"/>
                  </a:ext>
                </a:extLst>
              </p:cNvPr>
              <p:cNvSpPr/>
              <p:nvPr/>
            </p:nvSpPr>
            <p:spPr>
              <a:xfrm>
                <a:off x="7000170" y="4387623"/>
                <a:ext cx="11746" cy="20349"/>
              </a:xfrm>
              <a:custGeom>
                <a:avLst/>
                <a:gdLst>
                  <a:gd name="connsiteX0" fmla="*/ 0 w 11746"/>
                  <a:gd name="connsiteY0" fmla="*/ 0 h 20349"/>
                  <a:gd name="connsiteX1" fmla="*/ 0 w 11746"/>
                  <a:gd name="connsiteY1" fmla="*/ 20350 h 20349"/>
                  <a:gd name="connsiteX2" fmla="*/ 11746 w 11746"/>
                  <a:gd name="connsiteY2" fmla="*/ 20350 h 20349"/>
                  <a:gd name="connsiteX3" fmla="*/ 0 w 11746"/>
                  <a:gd name="connsiteY3" fmla="*/ 0 h 20349"/>
                </a:gdLst>
                <a:ahLst/>
                <a:cxnLst>
                  <a:cxn ang="0">
                    <a:pos x="connsiteX0" y="connsiteY0"/>
                  </a:cxn>
                  <a:cxn ang="0">
                    <a:pos x="connsiteX1" y="connsiteY1"/>
                  </a:cxn>
                  <a:cxn ang="0">
                    <a:pos x="connsiteX2" y="connsiteY2"/>
                  </a:cxn>
                  <a:cxn ang="0">
                    <a:pos x="connsiteX3" y="connsiteY3"/>
                  </a:cxn>
                </a:cxnLst>
                <a:rect l="l" t="t" r="r" b="b"/>
                <a:pathLst>
                  <a:path w="11746" h="20349">
                    <a:moveTo>
                      <a:pt x="0" y="0"/>
                    </a:moveTo>
                    <a:lnTo>
                      <a:pt x="0" y="20350"/>
                    </a:lnTo>
                    <a:lnTo>
                      <a:pt x="11746" y="20350"/>
                    </a:lnTo>
                    <a:lnTo>
                      <a:pt x="0" y="0"/>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5" name="Freeform: Shape 2904">
                <a:extLst>
                  <a:ext uri="{FF2B5EF4-FFF2-40B4-BE49-F238E27FC236}">
                    <a16:creationId xmlns:a16="http://schemas.microsoft.com/office/drawing/2014/main" id="{7A709902-3A92-194A-2ED8-9EECC2758F12}"/>
                  </a:ext>
                </a:extLst>
              </p:cNvPr>
              <p:cNvSpPr/>
              <p:nvPr/>
            </p:nvSpPr>
            <p:spPr>
              <a:xfrm>
                <a:off x="6816501" y="4224403"/>
                <a:ext cx="73031" cy="31297"/>
              </a:xfrm>
              <a:custGeom>
                <a:avLst/>
                <a:gdLst>
                  <a:gd name="connsiteX0" fmla="*/ 0 w 73031"/>
                  <a:gd name="connsiteY0" fmla="*/ 0 h 31297"/>
                  <a:gd name="connsiteX1" fmla="*/ 73032 w 73031"/>
                  <a:gd name="connsiteY1" fmla="*/ 0 h 31297"/>
                  <a:gd name="connsiteX2" fmla="*/ 73032 w 73031"/>
                  <a:gd name="connsiteY2" fmla="*/ 31297 h 31297"/>
                  <a:gd name="connsiteX3" fmla="*/ 0 w 73031"/>
                  <a:gd name="connsiteY3" fmla="*/ 31297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2" y="0"/>
                    </a:lnTo>
                    <a:lnTo>
                      <a:pt x="73032" y="31297"/>
                    </a:lnTo>
                    <a:lnTo>
                      <a:pt x="0" y="31297"/>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6" name="Freeform: Shape 2905">
                <a:extLst>
                  <a:ext uri="{FF2B5EF4-FFF2-40B4-BE49-F238E27FC236}">
                    <a16:creationId xmlns:a16="http://schemas.microsoft.com/office/drawing/2014/main" id="{A06CB655-130D-7AD1-AF5B-2E3949F26E99}"/>
                  </a:ext>
                </a:extLst>
              </p:cNvPr>
              <p:cNvSpPr/>
              <p:nvPr/>
            </p:nvSpPr>
            <p:spPr>
              <a:xfrm>
                <a:off x="6795752" y="4518511"/>
                <a:ext cx="73031" cy="31297"/>
              </a:xfrm>
              <a:custGeom>
                <a:avLst/>
                <a:gdLst>
                  <a:gd name="connsiteX0" fmla="*/ 0 w 73031"/>
                  <a:gd name="connsiteY0" fmla="*/ 0 h 31297"/>
                  <a:gd name="connsiteX1" fmla="*/ 73031 w 73031"/>
                  <a:gd name="connsiteY1" fmla="*/ 0 h 31297"/>
                  <a:gd name="connsiteX2" fmla="*/ 73031 w 73031"/>
                  <a:gd name="connsiteY2" fmla="*/ 31298 h 31297"/>
                  <a:gd name="connsiteX3" fmla="*/ 0 w 73031"/>
                  <a:gd name="connsiteY3" fmla="*/ 31298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1" y="0"/>
                    </a:lnTo>
                    <a:lnTo>
                      <a:pt x="73031" y="31298"/>
                    </a:lnTo>
                    <a:lnTo>
                      <a:pt x="0" y="31298"/>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7" name="Freeform: Shape 2906">
                <a:extLst>
                  <a:ext uri="{FF2B5EF4-FFF2-40B4-BE49-F238E27FC236}">
                    <a16:creationId xmlns:a16="http://schemas.microsoft.com/office/drawing/2014/main" id="{4D4901A3-1C9D-1D7F-AB1D-2FE0433219DE}"/>
                  </a:ext>
                </a:extLst>
              </p:cNvPr>
              <p:cNvSpPr/>
              <p:nvPr/>
            </p:nvSpPr>
            <p:spPr>
              <a:xfrm>
                <a:off x="6167884" y="4556068"/>
                <a:ext cx="73031" cy="31297"/>
              </a:xfrm>
              <a:custGeom>
                <a:avLst/>
                <a:gdLst>
                  <a:gd name="connsiteX0" fmla="*/ 0 w 73031"/>
                  <a:gd name="connsiteY0" fmla="*/ 0 h 31297"/>
                  <a:gd name="connsiteX1" fmla="*/ 73031 w 73031"/>
                  <a:gd name="connsiteY1" fmla="*/ 0 h 31297"/>
                  <a:gd name="connsiteX2" fmla="*/ 73031 w 73031"/>
                  <a:gd name="connsiteY2" fmla="*/ 31297 h 31297"/>
                  <a:gd name="connsiteX3" fmla="*/ 0 w 73031"/>
                  <a:gd name="connsiteY3" fmla="*/ 31297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1" y="0"/>
                    </a:lnTo>
                    <a:lnTo>
                      <a:pt x="73031" y="31297"/>
                    </a:lnTo>
                    <a:lnTo>
                      <a:pt x="0" y="31297"/>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8" name="Freeform: Shape 2907">
                <a:extLst>
                  <a:ext uri="{FF2B5EF4-FFF2-40B4-BE49-F238E27FC236}">
                    <a16:creationId xmlns:a16="http://schemas.microsoft.com/office/drawing/2014/main" id="{258B8D2B-8FD7-278A-C39A-66509AE57E72}"/>
                  </a:ext>
                </a:extLst>
              </p:cNvPr>
              <p:cNvSpPr/>
              <p:nvPr/>
            </p:nvSpPr>
            <p:spPr>
              <a:xfrm>
                <a:off x="6236726" y="4768828"/>
                <a:ext cx="73031" cy="31297"/>
              </a:xfrm>
              <a:custGeom>
                <a:avLst/>
                <a:gdLst>
                  <a:gd name="connsiteX0" fmla="*/ 0 w 73031"/>
                  <a:gd name="connsiteY0" fmla="*/ 0 h 31297"/>
                  <a:gd name="connsiteX1" fmla="*/ 73032 w 73031"/>
                  <a:gd name="connsiteY1" fmla="*/ 0 h 31297"/>
                  <a:gd name="connsiteX2" fmla="*/ 73032 w 73031"/>
                  <a:gd name="connsiteY2" fmla="*/ 31298 h 31297"/>
                  <a:gd name="connsiteX3" fmla="*/ 0 w 73031"/>
                  <a:gd name="connsiteY3" fmla="*/ 31298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2" y="0"/>
                    </a:lnTo>
                    <a:lnTo>
                      <a:pt x="73032" y="31298"/>
                    </a:lnTo>
                    <a:lnTo>
                      <a:pt x="0" y="31298"/>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9" name="Freeform: Shape 2908">
                <a:extLst>
                  <a:ext uri="{FF2B5EF4-FFF2-40B4-BE49-F238E27FC236}">
                    <a16:creationId xmlns:a16="http://schemas.microsoft.com/office/drawing/2014/main" id="{447490F0-C54E-ECDF-F4D1-FDE077629D27}"/>
                  </a:ext>
                </a:extLst>
              </p:cNvPr>
              <p:cNvSpPr/>
              <p:nvPr/>
            </p:nvSpPr>
            <p:spPr>
              <a:xfrm>
                <a:off x="6115751" y="4119076"/>
                <a:ext cx="73031" cy="31297"/>
              </a:xfrm>
              <a:custGeom>
                <a:avLst/>
                <a:gdLst>
                  <a:gd name="connsiteX0" fmla="*/ 0 w 73031"/>
                  <a:gd name="connsiteY0" fmla="*/ 0 h 31297"/>
                  <a:gd name="connsiteX1" fmla="*/ 73031 w 73031"/>
                  <a:gd name="connsiteY1" fmla="*/ 0 h 31297"/>
                  <a:gd name="connsiteX2" fmla="*/ 73031 w 73031"/>
                  <a:gd name="connsiteY2" fmla="*/ 31297 h 31297"/>
                  <a:gd name="connsiteX3" fmla="*/ 0 w 73031"/>
                  <a:gd name="connsiteY3" fmla="*/ 31297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1" y="0"/>
                    </a:lnTo>
                    <a:lnTo>
                      <a:pt x="73031" y="31297"/>
                    </a:lnTo>
                    <a:lnTo>
                      <a:pt x="0" y="31297"/>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10" name="Freeform: Shape 2909">
                <a:extLst>
                  <a:ext uri="{FF2B5EF4-FFF2-40B4-BE49-F238E27FC236}">
                    <a16:creationId xmlns:a16="http://schemas.microsoft.com/office/drawing/2014/main" id="{B1AA9E04-638E-4DE0-C661-BF55E3466018}"/>
                  </a:ext>
                </a:extLst>
              </p:cNvPr>
              <p:cNvSpPr/>
              <p:nvPr/>
            </p:nvSpPr>
            <p:spPr>
              <a:xfrm>
                <a:off x="5752800" y="4577976"/>
                <a:ext cx="73031" cy="31297"/>
              </a:xfrm>
              <a:custGeom>
                <a:avLst/>
                <a:gdLst>
                  <a:gd name="connsiteX0" fmla="*/ 0 w 73031"/>
                  <a:gd name="connsiteY0" fmla="*/ 0 h 31297"/>
                  <a:gd name="connsiteX1" fmla="*/ 73031 w 73031"/>
                  <a:gd name="connsiteY1" fmla="*/ 0 h 31297"/>
                  <a:gd name="connsiteX2" fmla="*/ 73031 w 73031"/>
                  <a:gd name="connsiteY2" fmla="*/ 31297 h 31297"/>
                  <a:gd name="connsiteX3" fmla="*/ 0 w 73031"/>
                  <a:gd name="connsiteY3" fmla="*/ 31297 h 31297"/>
                </a:gdLst>
                <a:ahLst/>
                <a:cxnLst>
                  <a:cxn ang="0">
                    <a:pos x="connsiteX0" y="connsiteY0"/>
                  </a:cxn>
                  <a:cxn ang="0">
                    <a:pos x="connsiteX1" y="connsiteY1"/>
                  </a:cxn>
                  <a:cxn ang="0">
                    <a:pos x="connsiteX2" y="connsiteY2"/>
                  </a:cxn>
                  <a:cxn ang="0">
                    <a:pos x="connsiteX3" y="connsiteY3"/>
                  </a:cxn>
                </a:cxnLst>
                <a:rect l="l" t="t" r="r" b="b"/>
                <a:pathLst>
                  <a:path w="73031" h="31297">
                    <a:moveTo>
                      <a:pt x="0" y="0"/>
                    </a:moveTo>
                    <a:lnTo>
                      <a:pt x="73031" y="0"/>
                    </a:lnTo>
                    <a:lnTo>
                      <a:pt x="73031" y="31297"/>
                    </a:lnTo>
                    <a:lnTo>
                      <a:pt x="0" y="31297"/>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11" name="Freeform: Shape 2910">
                <a:extLst>
                  <a:ext uri="{FF2B5EF4-FFF2-40B4-BE49-F238E27FC236}">
                    <a16:creationId xmlns:a16="http://schemas.microsoft.com/office/drawing/2014/main" id="{AF923D30-A9A8-3C91-AD86-EBDCC80524B7}"/>
                  </a:ext>
                </a:extLst>
              </p:cNvPr>
              <p:cNvSpPr/>
              <p:nvPr/>
            </p:nvSpPr>
            <p:spPr>
              <a:xfrm>
                <a:off x="6979322" y="4634299"/>
                <a:ext cx="24801" cy="31297"/>
              </a:xfrm>
              <a:custGeom>
                <a:avLst/>
                <a:gdLst>
                  <a:gd name="connsiteX0" fmla="*/ 0 w 24801"/>
                  <a:gd name="connsiteY0" fmla="*/ 0 h 31297"/>
                  <a:gd name="connsiteX1" fmla="*/ 0 w 24801"/>
                  <a:gd name="connsiteY1" fmla="*/ 31298 h 31297"/>
                  <a:gd name="connsiteX2" fmla="*/ 6733 w 24801"/>
                  <a:gd name="connsiteY2" fmla="*/ 31298 h 31297"/>
                  <a:gd name="connsiteX3" fmla="*/ 24801 w 24801"/>
                  <a:gd name="connsiteY3" fmla="*/ 0 h 31297"/>
                  <a:gd name="connsiteX4" fmla="*/ 0 w 24801"/>
                  <a:gd name="connsiteY4" fmla="*/ 0 h 3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1" h="31297">
                    <a:moveTo>
                      <a:pt x="0" y="0"/>
                    </a:moveTo>
                    <a:lnTo>
                      <a:pt x="0" y="31298"/>
                    </a:lnTo>
                    <a:lnTo>
                      <a:pt x="6733" y="31298"/>
                    </a:lnTo>
                    <a:lnTo>
                      <a:pt x="24801" y="0"/>
                    </a:lnTo>
                    <a:lnTo>
                      <a:pt x="0" y="0"/>
                    </a:lnTo>
                    <a:close/>
                  </a:path>
                </a:pathLst>
              </a:custGeom>
              <a:solidFill>
                <a:srgbClr val="A3EEF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13" name="Freeform: Shape 2912">
              <a:extLst>
                <a:ext uri="{FF2B5EF4-FFF2-40B4-BE49-F238E27FC236}">
                  <a16:creationId xmlns:a16="http://schemas.microsoft.com/office/drawing/2014/main" id="{EABBD52B-985F-9E6B-69F9-FAFDB78D5DF2}"/>
                </a:ext>
              </a:extLst>
            </p:cNvPr>
            <p:cNvSpPr/>
            <p:nvPr/>
          </p:nvSpPr>
          <p:spPr>
            <a:xfrm>
              <a:off x="3985543" y="4522999"/>
              <a:ext cx="399782" cy="111183"/>
            </a:xfrm>
            <a:custGeom>
              <a:avLst/>
              <a:gdLst>
                <a:gd name="connsiteX0" fmla="*/ 67869 w 482154"/>
                <a:gd name="connsiteY0" fmla="*/ 0 h 134092"/>
                <a:gd name="connsiteX1" fmla="*/ 0 w 482154"/>
                <a:gd name="connsiteY1" fmla="*/ 134093 h 134092"/>
                <a:gd name="connsiteX2" fmla="*/ 482155 w 482154"/>
                <a:gd name="connsiteY2" fmla="*/ 134093 h 134092"/>
                <a:gd name="connsiteX3" fmla="*/ 418650 w 482154"/>
                <a:gd name="connsiteY3" fmla="*/ 0 h 134092"/>
                <a:gd name="connsiteX4" fmla="*/ 67869 w 482154"/>
                <a:gd name="connsiteY4" fmla="*/ 0 h 13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154" h="134092">
                  <a:moveTo>
                    <a:pt x="67869" y="0"/>
                  </a:moveTo>
                  <a:lnTo>
                    <a:pt x="0" y="134093"/>
                  </a:lnTo>
                  <a:lnTo>
                    <a:pt x="482155" y="134093"/>
                  </a:lnTo>
                  <a:lnTo>
                    <a:pt x="418650" y="0"/>
                  </a:lnTo>
                  <a:lnTo>
                    <a:pt x="67869" y="0"/>
                  </a:lnTo>
                  <a:close/>
                </a:path>
              </a:pathLst>
            </a:custGeom>
            <a:solidFill>
              <a:srgbClr val="8DD9E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15" name="Freeform: Shape 2914">
              <a:extLst>
                <a:ext uri="{FF2B5EF4-FFF2-40B4-BE49-F238E27FC236}">
                  <a16:creationId xmlns:a16="http://schemas.microsoft.com/office/drawing/2014/main" id="{42A38878-8035-2776-7B45-CBA995BA20BB}"/>
                </a:ext>
              </a:extLst>
            </p:cNvPr>
            <p:cNvSpPr/>
            <p:nvPr/>
          </p:nvSpPr>
          <p:spPr>
            <a:xfrm>
              <a:off x="4324610" y="4524619"/>
              <a:ext cx="197262" cy="67624"/>
            </a:xfrm>
            <a:custGeom>
              <a:avLst/>
              <a:gdLst>
                <a:gd name="connsiteX0" fmla="*/ 175199 w 237906"/>
                <a:gd name="connsiteY0" fmla="*/ 5966 h 81557"/>
                <a:gd name="connsiteX1" fmla="*/ 95086 w 237906"/>
                <a:gd name="connsiteY1" fmla="*/ 31490 h 81557"/>
                <a:gd name="connsiteX2" fmla="*/ 83 w 237906"/>
                <a:gd name="connsiteY2" fmla="*/ 57725 h 81557"/>
                <a:gd name="connsiteX3" fmla="*/ 90833 w 237906"/>
                <a:gd name="connsiteY3" fmla="*/ 78286 h 81557"/>
                <a:gd name="connsiteX4" fmla="*/ 176621 w 237906"/>
                <a:gd name="connsiteY4" fmla="*/ 51340 h 81557"/>
                <a:gd name="connsiteX5" fmla="*/ 213641 w 237906"/>
                <a:gd name="connsiteY5" fmla="*/ 44171 h 81557"/>
                <a:gd name="connsiteX6" fmla="*/ 237907 w 237906"/>
                <a:gd name="connsiteY6" fmla="*/ 2137 h 81557"/>
                <a:gd name="connsiteX7" fmla="*/ 175199 w 237906"/>
                <a:gd name="connsiteY7" fmla="*/ 5966 h 8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906" h="81557">
                  <a:moveTo>
                    <a:pt x="175199" y="5966"/>
                  </a:moveTo>
                  <a:cubicBezTo>
                    <a:pt x="134076" y="15891"/>
                    <a:pt x="95086" y="31490"/>
                    <a:pt x="95086" y="31490"/>
                  </a:cubicBezTo>
                  <a:cubicBezTo>
                    <a:pt x="95086" y="31490"/>
                    <a:pt x="2216" y="37163"/>
                    <a:pt x="83" y="57725"/>
                  </a:cubicBezTo>
                  <a:cubicBezTo>
                    <a:pt x="-2049" y="78286"/>
                    <a:pt x="36955" y="86790"/>
                    <a:pt x="90833" y="78286"/>
                  </a:cubicBezTo>
                  <a:cubicBezTo>
                    <a:pt x="144712" y="69782"/>
                    <a:pt x="141171" y="58436"/>
                    <a:pt x="176621" y="51340"/>
                  </a:cubicBezTo>
                  <a:cubicBezTo>
                    <a:pt x="188354" y="48996"/>
                    <a:pt x="201472" y="46802"/>
                    <a:pt x="213641" y="44171"/>
                  </a:cubicBezTo>
                  <a:lnTo>
                    <a:pt x="237907" y="2137"/>
                  </a:lnTo>
                  <a:cubicBezTo>
                    <a:pt x="222831" y="-1878"/>
                    <a:pt x="200063" y="-32"/>
                    <a:pt x="175199" y="5966"/>
                  </a:cubicBezTo>
                  <a:close/>
                </a:path>
              </a:pathLst>
            </a:custGeom>
            <a:solidFill>
              <a:srgbClr val="8DD9E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18" name="Graphic 525">
              <a:extLst>
                <a:ext uri="{FF2B5EF4-FFF2-40B4-BE49-F238E27FC236}">
                  <a16:creationId xmlns:a16="http://schemas.microsoft.com/office/drawing/2014/main" id="{CAF3EF34-3709-0AFC-4746-7AE9F1FC9E6B}"/>
                </a:ext>
              </a:extLst>
            </p:cNvPr>
            <p:cNvGrpSpPr/>
            <p:nvPr/>
          </p:nvGrpSpPr>
          <p:grpSpPr>
            <a:xfrm>
              <a:off x="4375565" y="4172611"/>
              <a:ext cx="134189" cy="390362"/>
              <a:chOff x="6677506" y="4467718"/>
              <a:chExt cx="161838" cy="470794"/>
            </a:xfrm>
          </p:grpSpPr>
          <p:grpSp>
            <p:nvGrpSpPr>
              <p:cNvPr id="2919" name="Graphic 525">
                <a:extLst>
                  <a:ext uri="{FF2B5EF4-FFF2-40B4-BE49-F238E27FC236}">
                    <a16:creationId xmlns:a16="http://schemas.microsoft.com/office/drawing/2014/main" id="{A2B7864C-BA8B-5D6C-AC17-27D241DE5435}"/>
                  </a:ext>
                </a:extLst>
              </p:cNvPr>
              <p:cNvGrpSpPr/>
              <p:nvPr/>
            </p:nvGrpSpPr>
            <p:grpSpPr>
              <a:xfrm>
                <a:off x="6757017" y="4822596"/>
                <a:ext cx="82327" cy="115916"/>
                <a:chOff x="6757017" y="4822596"/>
                <a:chExt cx="82327" cy="115916"/>
              </a:xfrm>
            </p:grpSpPr>
            <p:sp>
              <p:nvSpPr>
                <p:cNvPr id="2920" name="Freeform: Shape 2919">
                  <a:extLst>
                    <a:ext uri="{FF2B5EF4-FFF2-40B4-BE49-F238E27FC236}">
                      <a16:creationId xmlns:a16="http://schemas.microsoft.com/office/drawing/2014/main" id="{B2D6C717-69A1-EDE0-BFB7-6D4534840CB1}"/>
                    </a:ext>
                  </a:extLst>
                </p:cNvPr>
                <p:cNvSpPr/>
                <p:nvPr/>
              </p:nvSpPr>
              <p:spPr>
                <a:xfrm>
                  <a:off x="6757136" y="4865713"/>
                  <a:ext cx="82208" cy="72799"/>
                </a:xfrm>
                <a:custGeom>
                  <a:avLst/>
                  <a:gdLst>
                    <a:gd name="connsiteX0" fmla="*/ 0 w 82208"/>
                    <a:gd name="connsiteY0" fmla="*/ 70401 h 72799"/>
                    <a:gd name="connsiteX1" fmla="*/ 6147 w 82208"/>
                    <a:gd name="connsiteY1" fmla="*/ 72558 h 72799"/>
                    <a:gd name="connsiteX2" fmla="*/ 55026 w 82208"/>
                    <a:gd name="connsiteY2" fmla="*/ 51959 h 72799"/>
                    <a:gd name="connsiteX3" fmla="*/ 70737 w 82208"/>
                    <a:gd name="connsiteY3" fmla="*/ 18791 h 72799"/>
                    <a:gd name="connsiteX4" fmla="*/ 77819 w 82208"/>
                    <a:gd name="connsiteY4" fmla="*/ 34589 h 72799"/>
                    <a:gd name="connsiteX5" fmla="*/ 82209 w 82208"/>
                    <a:gd name="connsiteY5" fmla="*/ 32407 h 72799"/>
                    <a:gd name="connsiteX6" fmla="*/ 78181 w 82208"/>
                    <a:gd name="connsiteY6" fmla="*/ 13105 h 72799"/>
                    <a:gd name="connsiteX7" fmla="*/ 76884 w 82208"/>
                    <a:gd name="connsiteY7" fmla="*/ 38 h 72799"/>
                    <a:gd name="connsiteX8" fmla="*/ 12 w 82208"/>
                    <a:gd name="connsiteY8" fmla="*/ 70413 h 7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8" h="72799">
                      <a:moveTo>
                        <a:pt x="0" y="70401"/>
                      </a:moveTo>
                      <a:cubicBezTo>
                        <a:pt x="0" y="70401"/>
                        <a:pt x="1209" y="73705"/>
                        <a:pt x="6147" y="72558"/>
                      </a:cubicBezTo>
                      <a:cubicBezTo>
                        <a:pt x="11098" y="71398"/>
                        <a:pt x="49939" y="58181"/>
                        <a:pt x="55026" y="51959"/>
                      </a:cubicBezTo>
                      <a:cubicBezTo>
                        <a:pt x="60113" y="45737"/>
                        <a:pt x="69465" y="18966"/>
                        <a:pt x="70737" y="18791"/>
                      </a:cubicBezTo>
                      <a:cubicBezTo>
                        <a:pt x="72009" y="18616"/>
                        <a:pt x="77819" y="34589"/>
                        <a:pt x="77819" y="34589"/>
                      </a:cubicBezTo>
                      <a:lnTo>
                        <a:pt x="82209" y="32407"/>
                      </a:lnTo>
                      <a:cubicBezTo>
                        <a:pt x="82209" y="32407"/>
                        <a:pt x="77782" y="15873"/>
                        <a:pt x="78181" y="13105"/>
                      </a:cubicBezTo>
                      <a:cubicBezTo>
                        <a:pt x="78580" y="10337"/>
                        <a:pt x="79004" y="1958"/>
                        <a:pt x="76884" y="38"/>
                      </a:cubicBezTo>
                      <a:cubicBezTo>
                        <a:pt x="74765" y="-1883"/>
                        <a:pt x="12" y="70413"/>
                        <a:pt x="12" y="70413"/>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1" name="Freeform: Shape 2920">
                  <a:extLst>
                    <a:ext uri="{FF2B5EF4-FFF2-40B4-BE49-F238E27FC236}">
                      <a16:creationId xmlns:a16="http://schemas.microsoft.com/office/drawing/2014/main" id="{A6DDD1BB-4571-87D7-B41D-16039F958333}"/>
                    </a:ext>
                  </a:extLst>
                </p:cNvPr>
                <p:cNvSpPr/>
                <p:nvPr/>
              </p:nvSpPr>
              <p:spPr>
                <a:xfrm>
                  <a:off x="6772406" y="4822596"/>
                  <a:ext cx="60089" cy="99110"/>
                </a:xfrm>
                <a:custGeom>
                  <a:avLst/>
                  <a:gdLst>
                    <a:gd name="connsiteX0" fmla="*/ 17249 w 60089"/>
                    <a:gd name="connsiteY0" fmla="*/ 13304 h 99110"/>
                    <a:gd name="connsiteX1" fmla="*/ 27012 w 60089"/>
                    <a:gd name="connsiteY1" fmla="*/ 50748 h 99110"/>
                    <a:gd name="connsiteX2" fmla="*/ 2124 w 60089"/>
                    <a:gd name="connsiteY2" fmla="*/ 94889 h 99110"/>
                    <a:gd name="connsiteX3" fmla="*/ 7747 w 60089"/>
                    <a:gd name="connsiteY3" fmla="*/ 97607 h 99110"/>
                    <a:gd name="connsiteX4" fmla="*/ 19231 w 60089"/>
                    <a:gd name="connsiteY4" fmla="*/ 91672 h 99110"/>
                    <a:gd name="connsiteX5" fmla="*/ 56738 w 60089"/>
                    <a:gd name="connsiteY5" fmla="*/ 53230 h 99110"/>
                    <a:gd name="connsiteX6" fmla="*/ 58010 w 60089"/>
                    <a:gd name="connsiteY6" fmla="*/ 38716 h 99110"/>
                    <a:gd name="connsiteX7" fmla="*/ 47499 w 60089"/>
                    <a:gd name="connsiteY7" fmla="*/ 28192 h 99110"/>
                    <a:gd name="connsiteX8" fmla="*/ 37885 w 60089"/>
                    <a:gd name="connsiteY8" fmla="*/ 11 h 99110"/>
                    <a:gd name="connsiteX9" fmla="*/ 17236 w 60089"/>
                    <a:gd name="connsiteY9" fmla="*/ 13316 h 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89" h="99110">
                      <a:moveTo>
                        <a:pt x="17249" y="13304"/>
                      </a:moveTo>
                      <a:cubicBezTo>
                        <a:pt x="18733" y="13802"/>
                        <a:pt x="29992" y="44801"/>
                        <a:pt x="27012" y="50748"/>
                      </a:cubicBezTo>
                      <a:cubicBezTo>
                        <a:pt x="24705" y="55374"/>
                        <a:pt x="13695" y="83317"/>
                        <a:pt x="2124" y="94889"/>
                      </a:cubicBezTo>
                      <a:cubicBezTo>
                        <a:pt x="-2714" y="99727"/>
                        <a:pt x="1376" y="100076"/>
                        <a:pt x="7747" y="97607"/>
                      </a:cubicBezTo>
                      <a:cubicBezTo>
                        <a:pt x="10890" y="96385"/>
                        <a:pt x="14680" y="94490"/>
                        <a:pt x="19231" y="91672"/>
                      </a:cubicBezTo>
                      <a:cubicBezTo>
                        <a:pt x="38060" y="80001"/>
                        <a:pt x="50142" y="62557"/>
                        <a:pt x="56738" y="53230"/>
                      </a:cubicBezTo>
                      <a:cubicBezTo>
                        <a:pt x="59394" y="49477"/>
                        <a:pt x="62063" y="40898"/>
                        <a:pt x="58010" y="38716"/>
                      </a:cubicBezTo>
                      <a:cubicBezTo>
                        <a:pt x="54918" y="37045"/>
                        <a:pt x="51265" y="35449"/>
                        <a:pt x="47499" y="28192"/>
                      </a:cubicBezTo>
                      <a:cubicBezTo>
                        <a:pt x="40865" y="15436"/>
                        <a:pt x="39382" y="-487"/>
                        <a:pt x="37885" y="11"/>
                      </a:cubicBezTo>
                      <a:cubicBezTo>
                        <a:pt x="36401" y="510"/>
                        <a:pt x="17236" y="13316"/>
                        <a:pt x="17236" y="1331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2" name="Freeform: Shape 2921">
                  <a:extLst>
                    <a:ext uri="{FF2B5EF4-FFF2-40B4-BE49-F238E27FC236}">
                      <a16:creationId xmlns:a16="http://schemas.microsoft.com/office/drawing/2014/main" id="{8E667A13-AC7E-570A-A408-E3638E5ABD9F}"/>
                    </a:ext>
                  </a:extLst>
                </p:cNvPr>
                <p:cNvSpPr/>
                <p:nvPr/>
              </p:nvSpPr>
              <p:spPr>
                <a:xfrm>
                  <a:off x="6757017" y="4854914"/>
                  <a:ext cx="78119" cy="81589"/>
                </a:xfrm>
                <a:custGeom>
                  <a:avLst/>
                  <a:gdLst>
                    <a:gd name="connsiteX0" fmla="*/ 37975 w 78119"/>
                    <a:gd name="connsiteY0" fmla="*/ 28305 h 81589"/>
                    <a:gd name="connsiteX1" fmla="*/ 34035 w 78119"/>
                    <a:gd name="connsiteY1" fmla="*/ 37183 h 81589"/>
                    <a:gd name="connsiteX2" fmla="*/ 27189 w 78119"/>
                    <a:gd name="connsiteY2" fmla="*/ 55089 h 81589"/>
                    <a:gd name="connsiteX3" fmla="*/ 52726 w 78119"/>
                    <a:gd name="connsiteY3" fmla="*/ 33368 h 81589"/>
                    <a:gd name="connsiteX4" fmla="*/ 65445 w 78119"/>
                    <a:gd name="connsiteY4" fmla="*/ 38 h 81589"/>
                    <a:gd name="connsiteX5" fmla="*/ 65519 w 78119"/>
                    <a:gd name="connsiteY5" fmla="*/ 13 h 81589"/>
                    <a:gd name="connsiteX6" fmla="*/ 74622 w 78119"/>
                    <a:gd name="connsiteY6" fmla="*/ 20487 h 81589"/>
                    <a:gd name="connsiteX7" fmla="*/ 50731 w 78119"/>
                    <a:gd name="connsiteY7" fmla="*/ 62620 h 81589"/>
                    <a:gd name="connsiteX8" fmla="*/ 119 w 78119"/>
                    <a:gd name="connsiteY8" fmla="*/ 81199 h 81589"/>
                    <a:gd name="connsiteX9" fmla="*/ 6328 w 78119"/>
                    <a:gd name="connsiteY9" fmla="*/ 70837 h 81589"/>
                    <a:gd name="connsiteX10" fmla="*/ 20755 w 78119"/>
                    <a:gd name="connsiteY10" fmla="*/ 56635 h 81589"/>
                    <a:gd name="connsiteX11" fmla="*/ 37963 w 78119"/>
                    <a:gd name="connsiteY11" fmla="*/ 28293 h 8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119" h="81589">
                      <a:moveTo>
                        <a:pt x="37975" y="28305"/>
                      </a:moveTo>
                      <a:cubicBezTo>
                        <a:pt x="37975" y="28305"/>
                        <a:pt x="36367" y="32345"/>
                        <a:pt x="34035" y="37183"/>
                      </a:cubicBezTo>
                      <a:cubicBezTo>
                        <a:pt x="30294" y="44939"/>
                        <a:pt x="25356" y="54939"/>
                        <a:pt x="27189" y="55089"/>
                      </a:cubicBezTo>
                      <a:cubicBezTo>
                        <a:pt x="34010" y="55637"/>
                        <a:pt x="44995" y="45139"/>
                        <a:pt x="52726" y="33368"/>
                      </a:cubicBezTo>
                      <a:cubicBezTo>
                        <a:pt x="60207" y="22008"/>
                        <a:pt x="65108" y="1434"/>
                        <a:pt x="65445" y="38"/>
                      </a:cubicBezTo>
                      <a:cubicBezTo>
                        <a:pt x="65445" y="1"/>
                        <a:pt x="65494" y="-12"/>
                        <a:pt x="65519" y="13"/>
                      </a:cubicBezTo>
                      <a:cubicBezTo>
                        <a:pt x="66691" y="886"/>
                        <a:pt x="85806" y="10424"/>
                        <a:pt x="74622" y="20487"/>
                      </a:cubicBezTo>
                      <a:cubicBezTo>
                        <a:pt x="67277" y="27096"/>
                        <a:pt x="58686" y="57745"/>
                        <a:pt x="50731" y="62620"/>
                      </a:cubicBezTo>
                      <a:cubicBezTo>
                        <a:pt x="42776" y="67496"/>
                        <a:pt x="1727" y="84354"/>
                        <a:pt x="119" y="81199"/>
                      </a:cubicBezTo>
                      <a:cubicBezTo>
                        <a:pt x="-629" y="79715"/>
                        <a:pt x="2239" y="75351"/>
                        <a:pt x="6328" y="70837"/>
                      </a:cubicBezTo>
                      <a:cubicBezTo>
                        <a:pt x="10954" y="65738"/>
                        <a:pt x="19022" y="58817"/>
                        <a:pt x="20755" y="56635"/>
                      </a:cubicBezTo>
                      <a:cubicBezTo>
                        <a:pt x="29321" y="45887"/>
                        <a:pt x="37963" y="28293"/>
                        <a:pt x="37963" y="28293"/>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23" name="Freeform: Shape 2922">
                <a:extLst>
                  <a:ext uri="{FF2B5EF4-FFF2-40B4-BE49-F238E27FC236}">
                    <a16:creationId xmlns:a16="http://schemas.microsoft.com/office/drawing/2014/main" id="{A540E50D-14FA-BAF9-B47F-56E4FBB57DB4}"/>
                  </a:ext>
                </a:extLst>
              </p:cNvPr>
              <p:cNvSpPr/>
              <p:nvPr/>
            </p:nvSpPr>
            <p:spPr>
              <a:xfrm>
                <a:off x="6701075" y="4687817"/>
                <a:ext cx="122359" cy="172148"/>
              </a:xfrm>
              <a:custGeom>
                <a:avLst/>
                <a:gdLst>
                  <a:gd name="connsiteX0" fmla="*/ 0 w 122359"/>
                  <a:gd name="connsiteY0" fmla="*/ 12 h 172148"/>
                  <a:gd name="connsiteX1" fmla="*/ 81523 w 122359"/>
                  <a:gd name="connsiteY1" fmla="*/ 150402 h 172148"/>
                  <a:gd name="connsiteX2" fmla="*/ 91922 w 122359"/>
                  <a:gd name="connsiteY2" fmla="*/ 172148 h 172148"/>
                  <a:gd name="connsiteX3" fmla="*/ 107446 w 122359"/>
                  <a:gd name="connsiteY3" fmla="*/ 164779 h 172148"/>
                  <a:gd name="connsiteX4" fmla="*/ 122359 w 122359"/>
                  <a:gd name="connsiteY4" fmla="*/ 155751 h 172148"/>
                  <a:gd name="connsiteX5" fmla="*/ 104753 w 122359"/>
                  <a:gd name="connsiteY5" fmla="*/ 90912 h 172148"/>
                  <a:gd name="connsiteX6" fmla="*/ 64453 w 122359"/>
                  <a:gd name="connsiteY6" fmla="*/ 0 h 172148"/>
                  <a:gd name="connsiteX7" fmla="*/ 0 w 122359"/>
                  <a:gd name="connsiteY7" fmla="*/ 0 h 17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359" h="172148">
                    <a:moveTo>
                      <a:pt x="0" y="12"/>
                    </a:moveTo>
                    <a:cubicBezTo>
                      <a:pt x="0" y="12"/>
                      <a:pt x="54889" y="106374"/>
                      <a:pt x="81523" y="150402"/>
                    </a:cubicBezTo>
                    <a:cubicBezTo>
                      <a:pt x="88668" y="162223"/>
                      <a:pt x="91922" y="172148"/>
                      <a:pt x="91922" y="172148"/>
                    </a:cubicBezTo>
                    <a:cubicBezTo>
                      <a:pt x="91922" y="172148"/>
                      <a:pt x="101449" y="168245"/>
                      <a:pt x="107446" y="164779"/>
                    </a:cubicBezTo>
                    <a:cubicBezTo>
                      <a:pt x="113431" y="161312"/>
                      <a:pt x="122359" y="155751"/>
                      <a:pt x="122359" y="155751"/>
                    </a:cubicBezTo>
                    <a:cubicBezTo>
                      <a:pt x="122359" y="155751"/>
                      <a:pt x="107970" y="105838"/>
                      <a:pt x="104753" y="90912"/>
                    </a:cubicBezTo>
                    <a:cubicBezTo>
                      <a:pt x="96211" y="51248"/>
                      <a:pt x="83081" y="6534"/>
                      <a:pt x="64453" y="0"/>
                    </a:cubicBezTo>
                    <a:lnTo>
                      <a:pt x="0" y="0"/>
                    </a:ln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4" name="Freeform: Shape 2923">
                <a:extLst>
                  <a:ext uri="{FF2B5EF4-FFF2-40B4-BE49-F238E27FC236}">
                    <a16:creationId xmlns:a16="http://schemas.microsoft.com/office/drawing/2014/main" id="{7E7B7857-B319-0C01-D2A9-5C019543FE5B}"/>
                  </a:ext>
                </a:extLst>
              </p:cNvPr>
              <p:cNvSpPr/>
              <p:nvPr/>
            </p:nvSpPr>
            <p:spPr>
              <a:xfrm>
                <a:off x="6677506" y="4467718"/>
                <a:ext cx="127785" cy="237671"/>
              </a:xfrm>
              <a:custGeom>
                <a:avLst/>
                <a:gdLst>
                  <a:gd name="connsiteX0" fmla="*/ 127786 w 127785"/>
                  <a:gd name="connsiteY0" fmla="*/ 1989 h 237671"/>
                  <a:gd name="connsiteX1" fmla="*/ 121239 w 127785"/>
                  <a:gd name="connsiteY1" fmla="*/ 46965 h 237671"/>
                  <a:gd name="connsiteX2" fmla="*/ 92934 w 127785"/>
                  <a:gd name="connsiteY2" fmla="*/ 223852 h 237671"/>
                  <a:gd name="connsiteX3" fmla="*/ 65615 w 127785"/>
                  <a:gd name="connsiteY3" fmla="*/ 236857 h 237671"/>
                  <a:gd name="connsiteX4" fmla="*/ 30153 w 127785"/>
                  <a:gd name="connsiteY4" fmla="*/ 231794 h 237671"/>
                  <a:gd name="connsiteX5" fmla="*/ 1299 w 127785"/>
                  <a:gd name="connsiteY5" fmla="*/ 67115 h 237671"/>
                  <a:gd name="connsiteX6" fmla="*/ 5077 w 127785"/>
                  <a:gd name="connsiteY6" fmla="*/ 46790 h 237671"/>
                  <a:gd name="connsiteX7" fmla="*/ 25876 w 127785"/>
                  <a:gd name="connsiteY7" fmla="*/ 6914 h 237671"/>
                  <a:gd name="connsiteX8" fmla="*/ 52721 w 127785"/>
                  <a:gd name="connsiteY8" fmla="*/ 1291 h 237671"/>
                  <a:gd name="connsiteX9" fmla="*/ 127786 w 127785"/>
                  <a:gd name="connsiteY9" fmla="*/ 1989 h 237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5" h="237671">
                    <a:moveTo>
                      <a:pt x="127786" y="1989"/>
                    </a:moveTo>
                    <a:cubicBezTo>
                      <a:pt x="127786" y="1989"/>
                      <a:pt x="125117" y="20555"/>
                      <a:pt x="121239" y="46965"/>
                    </a:cubicBezTo>
                    <a:cubicBezTo>
                      <a:pt x="112062" y="109348"/>
                      <a:pt x="96151" y="215485"/>
                      <a:pt x="92934" y="223852"/>
                    </a:cubicBezTo>
                    <a:cubicBezTo>
                      <a:pt x="90578" y="229936"/>
                      <a:pt x="78882" y="234986"/>
                      <a:pt x="65615" y="236857"/>
                    </a:cubicBezTo>
                    <a:cubicBezTo>
                      <a:pt x="52934" y="238690"/>
                      <a:pt x="38831" y="237605"/>
                      <a:pt x="30153" y="231794"/>
                    </a:cubicBezTo>
                    <a:cubicBezTo>
                      <a:pt x="15402" y="221906"/>
                      <a:pt x="-5422" y="110183"/>
                      <a:pt x="1299" y="67115"/>
                    </a:cubicBezTo>
                    <a:cubicBezTo>
                      <a:pt x="2421" y="59858"/>
                      <a:pt x="3681" y="53038"/>
                      <a:pt x="5077" y="46790"/>
                    </a:cubicBezTo>
                    <a:cubicBezTo>
                      <a:pt x="9803" y="25643"/>
                      <a:pt x="16274" y="10854"/>
                      <a:pt x="25876" y="6914"/>
                    </a:cubicBezTo>
                    <a:cubicBezTo>
                      <a:pt x="32821" y="4071"/>
                      <a:pt x="42310" y="2313"/>
                      <a:pt x="52721" y="1291"/>
                    </a:cubicBezTo>
                    <a:cubicBezTo>
                      <a:pt x="85653" y="-1976"/>
                      <a:pt x="127786" y="1989"/>
                      <a:pt x="127786" y="1989"/>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5" name="Freeform: Shape 2924">
                <a:extLst>
                  <a:ext uri="{FF2B5EF4-FFF2-40B4-BE49-F238E27FC236}">
                    <a16:creationId xmlns:a16="http://schemas.microsoft.com/office/drawing/2014/main" id="{5005BC2E-966B-A665-BE18-E86BA700C2CC}"/>
                  </a:ext>
                </a:extLst>
              </p:cNvPr>
              <p:cNvSpPr/>
              <p:nvPr/>
            </p:nvSpPr>
            <p:spPr>
              <a:xfrm>
                <a:off x="6723519" y="4511828"/>
                <a:ext cx="78804" cy="322887"/>
              </a:xfrm>
              <a:custGeom>
                <a:avLst/>
                <a:gdLst>
                  <a:gd name="connsiteX0" fmla="*/ 0 w 78804"/>
                  <a:gd name="connsiteY0" fmla="*/ 218970 h 322887"/>
                  <a:gd name="connsiteX1" fmla="*/ 56959 w 78804"/>
                  <a:gd name="connsiteY1" fmla="*/ 322887 h 322887"/>
                  <a:gd name="connsiteX2" fmla="*/ 78805 w 78804"/>
                  <a:gd name="connsiteY2" fmla="*/ 251589 h 322887"/>
                  <a:gd name="connsiteX3" fmla="*/ 47183 w 78804"/>
                  <a:gd name="connsiteY3" fmla="*/ 178882 h 322887"/>
                  <a:gd name="connsiteX4" fmla="*/ 66298 w 78804"/>
                  <a:gd name="connsiteY4" fmla="*/ 62770 h 322887"/>
                  <a:gd name="connsiteX5" fmla="*/ 8230 w 78804"/>
                  <a:gd name="connsiteY5" fmla="*/ 0 h 322887"/>
                  <a:gd name="connsiteX6" fmla="*/ 12419 w 78804"/>
                  <a:gd name="connsiteY6" fmla="*/ 42370 h 322887"/>
                  <a:gd name="connsiteX7" fmla="*/ 3105 w 78804"/>
                  <a:gd name="connsiteY7" fmla="*/ 168071 h 322887"/>
                  <a:gd name="connsiteX8" fmla="*/ 0 w 78804"/>
                  <a:gd name="connsiteY8" fmla="*/ 218970 h 32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804" h="322887">
                    <a:moveTo>
                      <a:pt x="0" y="218970"/>
                    </a:moveTo>
                    <a:cubicBezTo>
                      <a:pt x="17469" y="252088"/>
                      <a:pt x="41297" y="296553"/>
                      <a:pt x="56959" y="322887"/>
                    </a:cubicBezTo>
                    <a:cubicBezTo>
                      <a:pt x="63393" y="308573"/>
                      <a:pt x="74864" y="280106"/>
                      <a:pt x="78805" y="251589"/>
                    </a:cubicBezTo>
                    <a:cubicBezTo>
                      <a:pt x="71248" y="220317"/>
                      <a:pt x="60849" y="189318"/>
                      <a:pt x="47183" y="178882"/>
                    </a:cubicBezTo>
                    <a:cubicBezTo>
                      <a:pt x="49864" y="169630"/>
                      <a:pt x="58380" y="115265"/>
                      <a:pt x="66298" y="62770"/>
                    </a:cubicBezTo>
                    <a:cubicBezTo>
                      <a:pt x="55637" y="26771"/>
                      <a:pt x="37756" y="0"/>
                      <a:pt x="8230" y="0"/>
                    </a:cubicBezTo>
                    <a:cubicBezTo>
                      <a:pt x="8230" y="0"/>
                      <a:pt x="10088" y="31185"/>
                      <a:pt x="12419" y="42370"/>
                    </a:cubicBezTo>
                    <a:cubicBezTo>
                      <a:pt x="12419" y="42370"/>
                      <a:pt x="3578" y="141524"/>
                      <a:pt x="3105" y="168071"/>
                    </a:cubicBezTo>
                    <a:cubicBezTo>
                      <a:pt x="2831" y="183820"/>
                      <a:pt x="1247" y="204630"/>
                      <a:pt x="0" y="218970"/>
                    </a:cubicBezTo>
                    <a:close/>
                  </a:path>
                </a:pathLst>
              </a:custGeom>
              <a:solidFill>
                <a:srgbClr val="1D2C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26" name="Graphic 525">
              <a:extLst>
                <a:ext uri="{FF2B5EF4-FFF2-40B4-BE49-F238E27FC236}">
                  <a16:creationId xmlns:a16="http://schemas.microsoft.com/office/drawing/2014/main" id="{B1BBFC6E-DE59-B94F-D234-8F4B12C91673}"/>
                </a:ext>
              </a:extLst>
            </p:cNvPr>
            <p:cNvGrpSpPr/>
            <p:nvPr/>
          </p:nvGrpSpPr>
          <p:grpSpPr>
            <a:xfrm>
              <a:off x="4347749" y="4144598"/>
              <a:ext cx="159043" cy="438267"/>
              <a:chOff x="6643959" y="4433933"/>
              <a:chExt cx="191813" cy="528569"/>
            </a:xfrm>
          </p:grpSpPr>
          <p:grpSp>
            <p:nvGrpSpPr>
              <p:cNvPr id="2927" name="Graphic 525">
                <a:extLst>
                  <a:ext uri="{FF2B5EF4-FFF2-40B4-BE49-F238E27FC236}">
                    <a16:creationId xmlns:a16="http://schemas.microsoft.com/office/drawing/2014/main" id="{604F4289-6D58-11F5-7049-9AE235ABD321}"/>
                  </a:ext>
                </a:extLst>
              </p:cNvPr>
              <p:cNvGrpSpPr/>
              <p:nvPr/>
            </p:nvGrpSpPr>
            <p:grpSpPr>
              <a:xfrm>
                <a:off x="6643959" y="4811594"/>
                <a:ext cx="117989" cy="150908"/>
                <a:chOff x="6643959" y="4811594"/>
                <a:chExt cx="117989" cy="150908"/>
              </a:xfrm>
            </p:grpSpPr>
            <p:sp>
              <p:nvSpPr>
                <p:cNvPr id="2928" name="Freeform: Shape 2927">
                  <a:extLst>
                    <a:ext uri="{FF2B5EF4-FFF2-40B4-BE49-F238E27FC236}">
                      <a16:creationId xmlns:a16="http://schemas.microsoft.com/office/drawing/2014/main" id="{44356B45-5F6B-4FE0-6EBA-6348354286A8}"/>
                    </a:ext>
                  </a:extLst>
                </p:cNvPr>
                <p:cNvSpPr/>
                <p:nvPr/>
              </p:nvSpPr>
              <p:spPr>
                <a:xfrm>
                  <a:off x="6643959" y="4905882"/>
                  <a:ext cx="117912" cy="56620"/>
                </a:xfrm>
                <a:custGeom>
                  <a:avLst/>
                  <a:gdLst>
                    <a:gd name="connsiteX0" fmla="*/ 394 w 117912"/>
                    <a:gd name="connsiteY0" fmla="*/ 52164 h 56620"/>
                    <a:gd name="connsiteX1" fmla="*/ 4695 w 117912"/>
                    <a:gd name="connsiteY1" fmla="*/ 56130 h 56620"/>
                    <a:gd name="connsiteX2" fmla="*/ 69660 w 117912"/>
                    <a:gd name="connsiteY2" fmla="*/ 52065 h 56620"/>
                    <a:gd name="connsiteX3" fmla="*/ 79298 w 117912"/>
                    <a:gd name="connsiteY3" fmla="*/ 43635 h 56620"/>
                    <a:gd name="connsiteX4" fmla="*/ 101057 w 117912"/>
                    <a:gd name="connsiteY4" fmla="*/ 23847 h 56620"/>
                    <a:gd name="connsiteX5" fmla="*/ 103837 w 117912"/>
                    <a:gd name="connsiteY5" fmla="*/ 47139 h 56620"/>
                    <a:gd name="connsiteX6" fmla="*/ 110608 w 117912"/>
                    <a:gd name="connsiteY6" fmla="*/ 47139 h 56620"/>
                    <a:gd name="connsiteX7" fmla="*/ 114448 w 117912"/>
                    <a:gd name="connsiteY7" fmla="*/ 20630 h 56620"/>
                    <a:gd name="connsiteX8" fmla="*/ 117354 w 117912"/>
                    <a:gd name="connsiteY8" fmla="*/ 143 h 56620"/>
                    <a:gd name="connsiteX9" fmla="*/ 394 w 117912"/>
                    <a:gd name="connsiteY9" fmla="*/ 52152 h 5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912" h="56620">
                      <a:moveTo>
                        <a:pt x="394" y="52164"/>
                      </a:moveTo>
                      <a:cubicBezTo>
                        <a:pt x="394" y="52164"/>
                        <a:pt x="-1926" y="55469"/>
                        <a:pt x="4695" y="56130"/>
                      </a:cubicBezTo>
                      <a:cubicBezTo>
                        <a:pt x="11317" y="56790"/>
                        <a:pt x="60731" y="57688"/>
                        <a:pt x="69660" y="52065"/>
                      </a:cubicBezTo>
                      <a:cubicBezTo>
                        <a:pt x="72465" y="50294"/>
                        <a:pt x="74697" y="48012"/>
                        <a:pt x="79298" y="43635"/>
                      </a:cubicBezTo>
                      <a:cubicBezTo>
                        <a:pt x="89323" y="34134"/>
                        <a:pt x="99934" y="23622"/>
                        <a:pt x="101057" y="23847"/>
                      </a:cubicBezTo>
                      <a:cubicBezTo>
                        <a:pt x="102715" y="24184"/>
                        <a:pt x="103837" y="47139"/>
                        <a:pt x="103837" y="47139"/>
                      </a:cubicBezTo>
                      <a:lnTo>
                        <a:pt x="110608" y="47139"/>
                      </a:lnTo>
                      <a:cubicBezTo>
                        <a:pt x="110608" y="47139"/>
                        <a:pt x="112790" y="23934"/>
                        <a:pt x="114448" y="20630"/>
                      </a:cubicBezTo>
                      <a:cubicBezTo>
                        <a:pt x="116107" y="17326"/>
                        <a:pt x="119174" y="3460"/>
                        <a:pt x="117354" y="143"/>
                      </a:cubicBezTo>
                      <a:cubicBezTo>
                        <a:pt x="115533" y="-3174"/>
                        <a:pt x="394" y="52152"/>
                        <a:pt x="394" y="52152"/>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9" name="Freeform: Shape 2928">
                  <a:extLst>
                    <a:ext uri="{FF2B5EF4-FFF2-40B4-BE49-F238E27FC236}">
                      <a16:creationId xmlns:a16="http://schemas.microsoft.com/office/drawing/2014/main" id="{73A9B9F9-BEED-EBC6-5325-158C8C5F1DFC}"/>
                    </a:ext>
                  </a:extLst>
                </p:cNvPr>
                <p:cNvSpPr/>
                <p:nvPr/>
              </p:nvSpPr>
              <p:spPr>
                <a:xfrm>
                  <a:off x="6674062" y="4811594"/>
                  <a:ext cx="87406" cy="142319"/>
                </a:xfrm>
                <a:custGeom>
                  <a:avLst/>
                  <a:gdLst>
                    <a:gd name="connsiteX0" fmla="*/ 87362 w 87406"/>
                    <a:gd name="connsiteY0" fmla="*/ 40316 h 142319"/>
                    <a:gd name="connsiteX1" fmla="*/ 81103 w 87406"/>
                    <a:gd name="connsiteY1" fmla="*/ 78234 h 142319"/>
                    <a:gd name="connsiteX2" fmla="*/ 83759 w 87406"/>
                    <a:gd name="connsiteY2" fmla="*/ 89444 h 142319"/>
                    <a:gd name="connsiteX3" fmla="*/ 72050 w 87406"/>
                    <a:gd name="connsiteY3" fmla="*/ 109519 h 142319"/>
                    <a:gd name="connsiteX4" fmla="*/ 3446 w 87406"/>
                    <a:gd name="connsiteY4" fmla="*/ 141727 h 142319"/>
                    <a:gd name="connsiteX5" fmla="*/ 21301 w 87406"/>
                    <a:gd name="connsiteY5" fmla="*/ 109980 h 142319"/>
                    <a:gd name="connsiteX6" fmla="*/ 55492 w 87406"/>
                    <a:gd name="connsiteY6" fmla="*/ 19380 h 142319"/>
                    <a:gd name="connsiteX7" fmla="*/ 87362 w 87406"/>
                    <a:gd name="connsiteY7" fmla="*/ 40316 h 14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06" h="142319">
                      <a:moveTo>
                        <a:pt x="87362" y="40316"/>
                      </a:moveTo>
                      <a:cubicBezTo>
                        <a:pt x="88098" y="42523"/>
                        <a:pt x="79407" y="69643"/>
                        <a:pt x="81103" y="78234"/>
                      </a:cubicBezTo>
                      <a:cubicBezTo>
                        <a:pt x="81976" y="82648"/>
                        <a:pt x="82986" y="85491"/>
                        <a:pt x="83759" y="89444"/>
                      </a:cubicBezTo>
                      <a:cubicBezTo>
                        <a:pt x="85455" y="98110"/>
                        <a:pt x="80455" y="106763"/>
                        <a:pt x="72050" y="109519"/>
                      </a:cubicBezTo>
                      <a:cubicBezTo>
                        <a:pt x="35641" y="121452"/>
                        <a:pt x="11750" y="146478"/>
                        <a:pt x="3446" y="141727"/>
                      </a:cubicBezTo>
                      <a:cubicBezTo>
                        <a:pt x="-5819" y="136440"/>
                        <a:pt x="4767" y="127175"/>
                        <a:pt x="21301" y="109980"/>
                      </a:cubicBezTo>
                      <a:cubicBezTo>
                        <a:pt x="37835" y="92786"/>
                        <a:pt x="56090" y="63097"/>
                        <a:pt x="55492" y="19380"/>
                      </a:cubicBezTo>
                      <a:cubicBezTo>
                        <a:pt x="54756" y="-34200"/>
                        <a:pt x="87362" y="40316"/>
                        <a:pt x="87362" y="4031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30" name="Freeform: Shape 2929">
                  <a:extLst>
                    <a:ext uri="{FF2B5EF4-FFF2-40B4-BE49-F238E27FC236}">
                      <a16:creationId xmlns:a16="http://schemas.microsoft.com/office/drawing/2014/main" id="{A03152A0-62A0-59C3-07A1-CFC6D29DF68A}"/>
                    </a:ext>
                  </a:extLst>
                </p:cNvPr>
                <p:cNvSpPr/>
                <p:nvPr/>
              </p:nvSpPr>
              <p:spPr>
                <a:xfrm>
                  <a:off x="6644299" y="4889828"/>
                  <a:ext cx="117649" cy="70972"/>
                </a:xfrm>
                <a:custGeom>
                  <a:avLst/>
                  <a:gdLst>
                    <a:gd name="connsiteX0" fmla="*/ 55753 w 117649"/>
                    <a:gd name="connsiteY0" fmla="*/ 26559 h 70972"/>
                    <a:gd name="connsiteX1" fmla="*/ 53409 w 117649"/>
                    <a:gd name="connsiteY1" fmla="*/ 29676 h 70972"/>
                    <a:gd name="connsiteX2" fmla="*/ 41202 w 117649"/>
                    <a:gd name="connsiteY2" fmla="*/ 50263 h 70972"/>
                    <a:gd name="connsiteX3" fmla="*/ 77574 w 117649"/>
                    <a:gd name="connsiteY3" fmla="*/ 37233 h 70972"/>
                    <a:gd name="connsiteX4" fmla="*/ 110867 w 117649"/>
                    <a:gd name="connsiteY4" fmla="*/ 0 h 70972"/>
                    <a:gd name="connsiteX5" fmla="*/ 110119 w 117649"/>
                    <a:gd name="connsiteY5" fmla="*/ 30424 h 70972"/>
                    <a:gd name="connsiteX6" fmla="*/ 60379 w 117649"/>
                    <a:gd name="connsiteY6" fmla="*/ 68119 h 70972"/>
                    <a:gd name="connsiteX7" fmla="*/ 54 w 117649"/>
                    <a:gd name="connsiteY7" fmla="*/ 68218 h 70972"/>
                    <a:gd name="connsiteX8" fmla="*/ 26937 w 117649"/>
                    <a:gd name="connsiteY8" fmla="*/ 49527 h 70972"/>
                    <a:gd name="connsiteX9" fmla="*/ 55766 w 117649"/>
                    <a:gd name="connsiteY9" fmla="*/ 26559 h 7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649" h="70972">
                      <a:moveTo>
                        <a:pt x="55753" y="26559"/>
                      </a:moveTo>
                      <a:cubicBezTo>
                        <a:pt x="55753" y="26559"/>
                        <a:pt x="54918" y="27906"/>
                        <a:pt x="53409" y="29676"/>
                      </a:cubicBezTo>
                      <a:cubicBezTo>
                        <a:pt x="47923" y="36073"/>
                        <a:pt x="35666" y="50587"/>
                        <a:pt x="41202" y="50263"/>
                      </a:cubicBezTo>
                      <a:cubicBezTo>
                        <a:pt x="51788" y="49640"/>
                        <a:pt x="63023" y="48667"/>
                        <a:pt x="77574" y="37233"/>
                      </a:cubicBezTo>
                      <a:cubicBezTo>
                        <a:pt x="92126" y="25798"/>
                        <a:pt x="110867" y="0"/>
                        <a:pt x="110867" y="0"/>
                      </a:cubicBezTo>
                      <a:cubicBezTo>
                        <a:pt x="110867" y="0"/>
                        <a:pt x="126615" y="24601"/>
                        <a:pt x="110119" y="30424"/>
                      </a:cubicBezTo>
                      <a:cubicBezTo>
                        <a:pt x="97911" y="34726"/>
                        <a:pt x="72287" y="65400"/>
                        <a:pt x="60379" y="68119"/>
                      </a:cubicBezTo>
                      <a:cubicBezTo>
                        <a:pt x="48472" y="70837"/>
                        <a:pt x="790" y="72832"/>
                        <a:pt x="54" y="68218"/>
                      </a:cubicBezTo>
                      <a:cubicBezTo>
                        <a:pt x="-1230" y="60238"/>
                        <a:pt x="20777" y="52669"/>
                        <a:pt x="26937" y="49527"/>
                      </a:cubicBezTo>
                      <a:cubicBezTo>
                        <a:pt x="43384" y="41148"/>
                        <a:pt x="55766" y="26559"/>
                        <a:pt x="55766" y="26559"/>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31" name="Freeform: Shape 2930">
                <a:extLst>
                  <a:ext uri="{FF2B5EF4-FFF2-40B4-BE49-F238E27FC236}">
                    <a16:creationId xmlns:a16="http://schemas.microsoft.com/office/drawing/2014/main" id="{B476CDE7-22BE-A299-F6A2-93AC0134DE44}"/>
                  </a:ext>
                </a:extLst>
              </p:cNvPr>
              <p:cNvSpPr/>
              <p:nvPr/>
            </p:nvSpPr>
            <p:spPr>
              <a:xfrm>
                <a:off x="6716324" y="4659095"/>
                <a:ext cx="79547" cy="207406"/>
              </a:xfrm>
              <a:custGeom>
                <a:avLst/>
                <a:gdLst>
                  <a:gd name="connsiteX0" fmla="*/ 50163 w 79547"/>
                  <a:gd name="connsiteY0" fmla="*/ 207117 h 207406"/>
                  <a:gd name="connsiteX1" fmla="*/ 24577 w 79547"/>
                  <a:gd name="connsiteY1" fmla="*/ 206618 h 207406"/>
                  <a:gd name="connsiteX2" fmla="*/ 0 w 79547"/>
                  <a:gd name="connsiteY2" fmla="*/ 200097 h 207406"/>
                  <a:gd name="connsiteX3" fmla="*/ 21011 w 79547"/>
                  <a:gd name="connsiteY3" fmla="*/ 27438 h 207406"/>
                  <a:gd name="connsiteX4" fmla="*/ 21734 w 79547"/>
                  <a:gd name="connsiteY4" fmla="*/ 15979 h 207406"/>
                  <a:gd name="connsiteX5" fmla="*/ 72670 w 79547"/>
                  <a:gd name="connsiteY5" fmla="*/ 1539 h 207406"/>
                  <a:gd name="connsiteX6" fmla="*/ 75563 w 79547"/>
                  <a:gd name="connsiteY6" fmla="*/ 2811 h 207406"/>
                  <a:gd name="connsiteX7" fmla="*/ 77907 w 79547"/>
                  <a:gd name="connsiteY7" fmla="*/ 6340 h 207406"/>
                  <a:gd name="connsiteX8" fmla="*/ 78942 w 79547"/>
                  <a:gd name="connsiteY8" fmla="*/ 25966 h 207406"/>
                  <a:gd name="connsiteX9" fmla="*/ 50176 w 79547"/>
                  <a:gd name="connsiteY9" fmla="*/ 207117 h 20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47" h="207406">
                    <a:moveTo>
                      <a:pt x="50163" y="207117"/>
                    </a:moveTo>
                    <a:cubicBezTo>
                      <a:pt x="50163" y="207117"/>
                      <a:pt x="42008" y="208028"/>
                      <a:pt x="24577" y="206618"/>
                    </a:cubicBezTo>
                    <a:cubicBezTo>
                      <a:pt x="7145" y="205210"/>
                      <a:pt x="0" y="200097"/>
                      <a:pt x="0" y="200097"/>
                    </a:cubicBezTo>
                    <a:cubicBezTo>
                      <a:pt x="0" y="200097"/>
                      <a:pt x="18891" y="65369"/>
                      <a:pt x="21011" y="27438"/>
                    </a:cubicBezTo>
                    <a:cubicBezTo>
                      <a:pt x="21335" y="21365"/>
                      <a:pt x="21609" y="17300"/>
                      <a:pt x="21734" y="15979"/>
                    </a:cubicBezTo>
                    <a:cubicBezTo>
                      <a:pt x="23105" y="2001"/>
                      <a:pt x="58966" y="-2787"/>
                      <a:pt x="72670" y="1539"/>
                    </a:cubicBezTo>
                    <a:cubicBezTo>
                      <a:pt x="73792" y="1901"/>
                      <a:pt x="74765" y="2325"/>
                      <a:pt x="75563" y="2811"/>
                    </a:cubicBezTo>
                    <a:cubicBezTo>
                      <a:pt x="77121" y="3746"/>
                      <a:pt x="77982" y="4943"/>
                      <a:pt x="77907" y="6340"/>
                    </a:cubicBezTo>
                    <a:cubicBezTo>
                      <a:pt x="77795" y="8285"/>
                      <a:pt x="78468" y="15205"/>
                      <a:pt x="78942" y="25966"/>
                    </a:cubicBezTo>
                    <a:cubicBezTo>
                      <a:pt x="80413" y="59621"/>
                      <a:pt x="81747" y="133737"/>
                      <a:pt x="50176" y="207117"/>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32" name="Freeform: Shape 2931">
                <a:extLst>
                  <a:ext uri="{FF2B5EF4-FFF2-40B4-BE49-F238E27FC236}">
                    <a16:creationId xmlns:a16="http://schemas.microsoft.com/office/drawing/2014/main" id="{36F73C60-78A8-4B34-EB56-E94D93CB6E6A}"/>
                  </a:ext>
                </a:extLst>
              </p:cNvPr>
              <p:cNvSpPr/>
              <p:nvPr/>
            </p:nvSpPr>
            <p:spPr>
              <a:xfrm>
                <a:off x="6728455" y="4433933"/>
                <a:ext cx="107317" cy="287517"/>
              </a:xfrm>
              <a:custGeom>
                <a:avLst/>
                <a:gdLst>
                  <a:gd name="connsiteX0" fmla="*/ 107285 w 107317"/>
                  <a:gd name="connsiteY0" fmla="*/ 104092 h 287517"/>
                  <a:gd name="connsiteX1" fmla="*/ 95203 w 107317"/>
                  <a:gd name="connsiteY1" fmla="*/ 170964 h 287517"/>
                  <a:gd name="connsiteX2" fmla="*/ 58993 w 107317"/>
                  <a:gd name="connsiteY2" fmla="*/ 277138 h 287517"/>
                  <a:gd name="connsiteX3" fmla="*/ 14665 w 107317"/>
                  <a:gd name="connsiteY3" fmla="*/ 270654 h 287517"/>
                  <a:gd name="connsiteX4" fmla="*/ 8655 w 107317"/>
                  <a:gd name="connsiteY4" fmla="*/ 250766 h 287517"/>
                  <a:gd name="connsiteX5" fmla="*/ 14827 w 107317"/>
                  <a:gd name="connsiteY5" fmla="*/ 117908 h 287517"/>
                  <a:gd name="connsiteX6" fmla="*/ 4877 w 107317"/>
                  <a:gd name="connsiteY6" fmla="*/ 86910 h 287517"/>
                  <a:gd name="connsiteX7" fmla="*/ 1759 w 107317"/>
                  <a:gd name="connsiteY7" fmla="*/ 35076 h 287517"/>
                  <a:gd name="connsiteX8" fmla="*/ 17570 w 107317"/>
                  <a:gd name="connsiteY8" fmla="*/ 8816 h 287517"/>
                  <a:gd name="connsiteX9" fmla="*/ 41773 w 107317"/>
                  <a:gd name="connsiteY9" fmla="*/ 0 h 287517"/>
                  <a:gd name="connsiteX10" fmla="*/ 66412 w 107317"/>
                  <a:gd name="connsiteY10" fmla="*/ 3554 h 287517"/>
                  <a:gd name="connsiteX11" fmla="*/ 71349 w 107317"/>
                  <a:gd name="connsiteY11" fmla="*/ 6272 h 287517"/>
                  <a:gd name="connsiteX12" fmla="*/ 92759 w 107317"/>
                  <a:gd name="connsiteY12" fmla="*/ 34527 h 287517"/>
                  <a:gd name="connsiteX13" fmla="*/ 104991 w 107317"/>
                  <a:gd name="connsiteY13" fmla="*/ 73481 h 287517"/>
                  <a:gd name="connsiteX14" fmla="*/ 107260 w 107317"/>
                  <a:gd name="connsiteY14" fmla="*/ 104092 h 28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317" h="287517">
                    <a:moveTo>
                      <a:pt x="107285" y="104092"/>
                    </a:moveTo>
                    <a:cubicBezTo>
                      <a:pt x="106774" y="125963"/>
                      <a:pt x="103071" y="147921"/>
                      <a:pt x="95203" y="170964"/>
                    </a:cubicBezTo>
                    <a:cubicBezTo>
                      <a:pt x="65988" y="256651"/>
                      <a:pt x="57958" y="271028"/>
                      <a:pt x="58993" y="277138"/>
                    </a:cubicBezTo>
                    <a:cubicBezTo>
                      <a:pt x="61013" y="289084"/>
                      <a:pt x="28693" y="295031"/>
                      <a:pt x="14665" y="270654"/>
                    </a:cubicBezTo>
                    <a:cubicBezTo>
                      <a:pt x="11648" y="265480"/>
                      <a:pt x="9490" y="258921"/>
                      <a:pt x="8655" y="250766"/>
                    </a:cubicBezTo>
                    <a:cubicBezTo>
                      <a:pt x="5226" y="217124"/>
                      <a:pt x="9902" y="171126"/>
                      <a:pt x="14827" y="117908"/>
                    </a:cubicBezTo>
                    <a:cubicBezTo>
                      <a:pt x="10476" y="106511"/>
                      <a:pt x="7209" y="96224"/>
                      <a:pt x="4877" y="86910"/>
                    </a:cubicBezTo>
                    <a:cubicBezTo>
                      <a:pt x="-834" y="64241"/>
                      <a:pt x="-1046" y="47470"/>
                      <a:pt x="1759" y="35076"/>
                    </a:cubicBezTo>
                    <a:cubicBezTo>
                      <a:pt x="4665" y="22145"/>
                      <a:pt x="10887" y="13978"/>
                      <a:pt x="17570" y="8816"/>
                    </a:cubicBezTo>
                    <a:cubicBezTo>
                      <a:pt x="28980" y="0"/>
                      <a:pt x="41773" y="0"/>
                      <a:pt x="41773" y="0"/>
                    </a:cubicBezTo>
                    <a:cubicBezTo>
                      <a:pt x="45227" y="3654"/>
                      <a:pt x="60876" y="1147"/>
                      <a:pt x="66412" y="3554"/>
                    </a:cubicBezTo>
                    <a:cubicBezTo>
                      <a:pt x="68145" y="4302"/>
                      <a:pt x="69791" y="5224"/>
                      <a:pt x="71349" y="6272"/>
                    </a:cubicBezTo>
                    <a:cubicBezTo>
                      <a:pt x="81113" y="12806"/>
                      <a:pt x="87697" y="24502"/>
                      <a:pt x="92759" y="34527"/>
                    </a:cubicBezTo>
                    <a:cubicBezTo>
                      <a:pt x="99405" y="47657"/>
                      <a:pt x="102535" y="60675"/>
                      <a:pt x="104991" y="73481"/>
                    </a:cubicBezTo>
                    <a:cubicBezTo>
                      <a:pt x="106974" y="83705"/>
                      <a:pt x="107510" y="93880"/>
                      <a:pt x="107260" y="104092"/>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35" name="Graphic 525">
              <a:extLst>
                <a:ext uri="{FF2B5EF4-FFF2-40B4-BE49-F238E27FC236}">
                  <a16:creationId xmlns:a16="http://schemas.microsoft.com/office/drawing/2014/main" id="{9707AD55-55EC-FDAC-CFFC-A9EA3D121F9E}"/>
                </a:ext>
              </a:extLst>
            </p:cNvPr>
            <p:cNvGrpSpPr/>
            <p:nvPr/>
          </p:nvGrpSpPr>
          <p:grpSpPr>
            <a:xfrm>
              <a:off x="4418101" y="3933975"/>
              <a:ext cx="48747" cy="108465"/>
              <a:chOff x="6728806" y="4179913"/>
              <a:chExt cx="58791" cy="130813"/>
            </a:xfrm>
          </p:grpSpPr>
          <p:sp>
            <p:nvSpPr>
              <p:cNvPr id="2936" name="Freeform: Shape 2935">
                <a:extLst>
                  <a:ext uri="{FF2B5EF4-FFF2-40B4-BE49-F238E27FC236}">
                    <a16:creationId xmlns:a16="http://schemas.microsoft.com/office/drawing/2014/main" id="{1C2A96A5-87BE-B95B-C75C-6D6D82046F81}"/>
                  </a:ext>
                </a:extLst>
              </p:cNvPr>
              <p:cNvSpPr/>
              <p:nvPr/>
            </p:nvSpPr>
            <p:spPr>
              <a:xfrm>
                <a:off x="6728806" y="4179926"/>
                <a:ext cx="58791" cy="130800"/>
              </a:xfrm>
              <a:custGeom>
                <a:avLst/>
                <a:gdLst>
                  <a:gd name="connsiteX0" fmla="*/ 11409 w 58791"/>
                  <a:gd name="connsiteY0" fmla="*/ 20562 h 130800"/>
                  <a:gd name="connsiteX1" fmla="*/ 7893 w 58791"/>
                  <a:gd name="connsiteY1" fmla="*/ 40861 h 130800"/>
                  <a:gd name="connsiteX2" fmla="*/ 7893 w 58791"/>
                  <a:gd name="connsiteY2" fmla="*/ 68206 h 130800"/>
                  <a:gd name="connsiteX3" fmla="*/ 0 w 58791"/>
                  <a:gd name="connsiteY3" fmla="*/ 130801 h 130800"/>
                  <a:gd name="connsiteX4" fmla="*/ 54727 w 58791"/>
                  <a:gd name="connsiteY4" fmla="*/ 68206 h 130800"/>
                  <a:gd name="connsiteX5" fmla="*/ 58792 w 58791"/>
                  <a:gd name="connsiteY5" fmla="*/ 32208 h 130800"/>
                  <a:gd name="connsiteX6" fmla="*/ 54465 w 58791"/>
                  <a:gd name="connsiteY6" fmla="*/ 0 h 130800"/>
                  <a:gd name="connsiteX7" fmla="*/ 11422 w 58791"/>
                  <a:gd name="connsiteY7" fmla="*/ 20574 h 1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91" h="130800">
                    <a:moveTo>
                      <a:pt x="11409" y="20562"/>
                    </a:moveTo>
                    <a:cubicBezTo>
                      <a:pt x="11409" y="20562"/>
                      <a:pt x="12768" y="35450"/>
                      <a:pt x="7893" y="40861"/>
                    </a:cubicBezTo>
                    <a:lnTo>
                      <a:pt x="7893" y="68206"/>
                    </a:lnTo>
                    <a:lnTo>
                      <a:pt x="0" y="130801"/>
                    </a:lnTo>
                    <a:lnTo>
                      <a:pt x="54727" y="68206"/>
                    </a:lnTo>
                    <a:lnTo>
                      <a:pt x="58792" y="32208"/>
                    </a:lnTo>
                    <a:cubicBezTo>
                      <a:pt x="58792" y="32208"/>
                      <a:pt x="52021" y="23542"/>
                      <a:pt x="54465" y="0"/>
                    </a:cubicBezTo>
                    <a:lnTo>
                      <a:pt x="11422" y="20574"/>
                    </a:ln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37" name="Freeform: Shape 2936">
                <a:extLst>
                  <a:ext uri="{FF2B5EF4-FFF2-40B4-BE49-F238E27FC236}">
                    <a16:creationId xmlns:a16="http://schemas.microsoft.com/office/drawing/2014/main" id="{ECB5BADE-9733-142B-EFE9-F083B983515A}"/>
                  </a:ext>
                </a:extLst>
              </p:cNvPr>
              <p:cNvSpPr/>
              <p:nvPr/>
            </p:nvSpPr>
            <p:spPr>
              <a:xfrm>
                <a:off x="6740202" y="4179913"/>
                <a:ext cx="43043" cy="28978"/>
              </a:xfrm>
              <a:custGeom>
                <a:avLst/>
                <a:gdLst>
                  <a:gd name="connsiteX0" fmla="*/ 12 w 43043"/>
                  <a:gd name="connsiteY0" fmla="*/ 20574 h 28978"/>
                  <a:gd name="connsiteX1" fmla="*/ 62 w 43043"/>
                  <a:gd name="connsiteY1" fmla="*/ 28978 h 28978"/>
                  <a:gd name="connsiteX2" fmla="*/ 37008 w 43043"/>
                  <a:gd name="connsiteY2" fmla="*/ 10736 h 28978"/>
                  <a:gd name="connsiteX3" fmla="*/ 42919 w 43043"/>
                  <a:gd name="connsiteY3" fmla="*/ 1334 h 28978"/>
                  <a:gd name="connsiteX4" fmla="*/ 43043 w 43043"/>
                  <a:gd name="connsiteY4" fmla="*/ 0 h 28978"/>
                  <a:gd name="connsiteX5" fmla="*/ 0 w 43043"/>
                  <a:gd name="connsiteY5" fmla="*/ 20574 h 28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43" h="28978">
                    <a:moveTo>
                      <a:pt x="12" y="20574"/>
                    </a:moveTo>
                    <a:cubicBezTo>
                      <a:pt x="12" y="20574"/>
                      <a:pt x="362" y="24465"/>
                      <a:pt x="62" y="28978"/>
                    </a:cubicBezTo>
                    <a:cubicBezTo>
                      <a:pt x="14003" y="26958"/>
                      <a:pt x="29876" y="20138"/>
                      <a:pt x="37008" y="10736"/>
                    </a:cubicBezTo>
                    <a:cubicBezTo>
                      <a:pt x="38941" y="8192"/>
                      <a:pt x="40974" y="5000"/>
                      <a:pt x="42919" y="1334"/>
                    </a:cubicBezTo>
                    <a:cubicBezTo>
                      <a:pt x="42956" y="898"/>
                      <a:pt x="43006" y="449"/>
                      <a:pt x="43043" y="0"/>
                    </a:cubicBezTo>
                    <a:lnTo>
                      <a:pt x="0" y="20574"/>
                    </a:ln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38" name="Graphic 525">
              <a:extLst>
                <a:ext uri="{FF2B5EF4-FFF2-40B4-BE49-F238E27FC236}">
                  <a16:creationId xmlns:a16="http://schemas.microsoft.com/office/drawing/2014/main" id="{9A0B47BF-2578-7CE4-123D-F0FBD7B3CAF8}"/>
                </a:ext>
              </a:extLst>
            </p:cNvPr>
            <p:cNvGrpSpPr/>
            <p:nvPr/>
          </p:nvGrpSpPr>
          <p:grpSpPr>
            <a:xfrm>
              <a:off x="4236126" y="3960690"/>
              <a:ext cx="280686" cy="392020"/>
              <a:chOff x="6509337" y="4212133"/>
              <a:chExt cx="338519" cy="472792"/>
            </a:xfrm>
          </p:grpSpPr>
          <p:grpSp>
            <p:nvGrpSpPr>
              <p:cNvPr id="2939" name="Graphic 525">
                <a:extLst>
                  <a:ext uri="{FF2B5EF4-FFF2-40B4-BE49-F238E27FC236}">
                    <a16:creationId xmlns:a16="http://schemas.microsoft.com/office/drawing/2014/main" id="{70986D62-8574-F8F3-8FAE-3037E4915D2E}"/>
                  </a:ext>
                </a:extLst>
              </p:cNvPr>
              <p:cNvGrpSpPr/>
              <p:nvPr/>
            </p:nvGrpSpPr>
            <p:grpSpPr>
              <a:xfrm>
                <a:off x="6509337" y="4212133"/>
                <a:ext cx="331782" cy="472792"/>
                <a:chOff x="6509337" y="4212133"/>
                <a:chExt cx="331782" cy="472792"/>
              </a:xfrm>
            </p:grpSpPr>
            <p:grpSp>
              <p:nvGrpSpPr>
                <p:cNvPr id="2940" name="Graphic 525">
                  <a:extLst>
                    <a:ext uri="{FF2B5EF4-FFF2-40B4-BE49-F238E27FC236}">
                      <a16:creationId xmlns:a16="http://schemas.microsoft.com/office/drawing/2014/main" id="{D3675F80-A874-0CF0-76DC-A34AD66C779A}"/>
                    </a:ext>
                  </a:extLst>
                </p:cNvPr>
                <p:cNvGrpSpPr/>
                <p:nvPr/>
              </p:nvGrpSpPr>
              <p:grpSpPr>
                <a:xfrm>
                  <a:off x="6509337" y="4216447"/>
                  <a:ext cx="210863" cy="181046"/>
                  <a:chOff x="6509337" y="4216447"/>
                  <a:chExt cx="210863" cy="181046"/>
                </a:xfrm>
              </p:grpSpPr>
              <p:grpSp>
                <p:nvGrpSpPr>
                  <p:cNvPr id="2941" name="Graphic 525">
                    <a:extLst>
                      <a:ext uri="{FF2B5EF4-FFF2-40B4-BE49-F238E27FC236}">
                        <a16:creationId xmlns:a16="http://schemas.microsoft.com/office/drawing/2014/main" id="{15E8B985-E81D-F0E2-3F2D-B8F4C6BF6BBD}"/>
                      </a:ext>
                    </a:extLst>
                  </p:cNvPr>
                  <p:cNvGrpSpPr/>
                  <p:nvPr/>
                </p:nvGrpSpPr>
                <p:grpSpPr>
                  <a:xfrm>
                    <a:off x="6650295" y="4227458"/>
                    <a:ext cx="69905" cy="168791"/>
                    <a:chOff x="6650295" y="4227458"/>
                    <a:chExt cx="69905" cy="168791"/>
                  </a:xfrm>
                </p:grpSpPr>
                <p:sp>
                  <p:nvSpPr>
                    <p:cNvPr id="2942" name="Freeform: Shape 2941">
                      <a:extLst>
                        <a:ext uri="{FF2B5EF4-FFF2-40B4-BE49-F238E27FC236}">
                          <a16:creationId xmlns:a16="http://schemas.microsoft.com/office/drawing/2014/main" id="{CC7C93F5-A37D-3AD7-FF8A-25E219680972}"/>
                        </a:ext>
                      </a:extLst>
                    </p:cNvPr>
                    <p:cNvSpPr/>
                    <p:nvPr/>
                  </p:nvSpPr>
                  <p:spPr>
                    <a:xfrm>
                      <a:off x="6650295" y="4227458"/>
                      <a:ext cx="69905" cy="168791"/>
                    </a:xfrm>
                    <a:custGeom>
                      <a:avLst/>
                      <a:gdLst>
                        <a:gd name="connsiteX0" fmla="*/ 56690 w 69905"/>
                        <a:gd name="connsiteY0" fmla="*/ 0 h 168791"/>
                        <a:gd name="connsiteX1" fmla="*/ 37612 w 69905"/>
                        <a:gd name="connsiteY1" fmla="*/ 13803 h 168791"/>
                        <a:gd name="connsiteX2" fmla="*/ 3509 w 69905"/>
                        <a:gd name="connsiteY2" fmla="*/ 116524 h 168791"/>
                        <a:gd name="connsiteX3" fmla="*/ 10005 w 69905"/>
                        <a:gd name="connsiteY3" fmla="*/ 168083 h 168791"/>
                        <a:gd name="connsiteX4" fmla="*/ 42487 w 69905"/>
                        <a:gd name="connsiteY4" fmla="*/ 144130 h 168791"/>
                        <a:gd name="connsiteX5" fmla="*/ 69695 w 69905"/>
                        <a:gd name="connsiteY5" fmla="*/ 32881 h 168791"/>
                        <a:gd name="connsiteX6" fmla="*/ 56702 w 69905"/>
                        <a:gd name="connsiteY6" fmla="*/ 0 h 1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05" h="168791">
                          <a:moveTo>
                            <a:pt x="56690" y="0"/>
                          </a:moveTo>
                          <a:cubicBezTo>
                            <a:pt x="56690" y="0"/>
                            <a:pt x="44919" y="810"/>
                            <a:pt x="37612" y="13803"/>
                          </a:cubicBezTo>
                          <a:cubicBezTo>
                            <a:pt x="30305" y="26796"/>
                            <a:pt x="9594" y="86473"/>
                            <a:pt x="3509" y="116524"/>
                          </a:cubicBezTo>
                          <a:cubicBezTo>
                            <a:pt x="-2576" y="146574"/>
                            <a:pt x="-955" y="165240"/>
                            <a:pt x="10005" y="168083"/>
                          </a:cubicBezTo>
                          <a:cubicBezTo>
                            <a:pt x="20966" y="170926"/>
                            <a:pt x="36801" y="165652"/>
                            <a:pt x="42487" y="144130"/>
                          </a:cubicBezTo>
                          <a:cubicBezTo>
                            <a:pt x="48173" y="122608"/>
                            <a:pt x="68473" y="43031"/>
                            <a:pt x="69695" y="32881"/>
                          </a:cubicBezTo>
                          <a:cubicBezTo>
                            <a:pt x="70917" y="22731"/>
                            <a:pt x="66852" y="399"/>
                            <a:pt x="56702" y="0"/>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43" name="Freeform: Shape 2942">
                      <a:extLst>
                        <a:ext uri="{FF2B5EF4-FFF2-40B4-BE49-F238E27FC236}">
                          <a16:creationId xmlns:a16="http://schemas.microsoft.com/office/drawing/2014/main" id="{A05BABD6-3F36-E92E-10E2-B5E99AC3A1BD}"/>
                        </a:ext>
                      </a:extLst>
                    </p:cNvPr>
                    <p:cNvSpPr/>
                    <p:nvPr/>
                  </p:nvSpPr>
                  <p:spPr>
                    <a:xfrm>
                      <a:off x="6653879" y="4319679"/>
                      <a:ext cx="32980" cy="46123"/>
                    </a:xfrm>
                    <a:custGeom>
                      <a:avLst/>
                      <a:gdLst>
                        <a:gd name="connsiteX0" fmla="*/ 32981 w 32980"/>
                        <a:gd name="connsiteY0" fmla="*/ 46123 h 46123"/>
                        <a:gd name="connsiteX1" fmla="*/ 6048 w 32980"/>
                        <a:gd name="connsiteY1" fmla="*/ 0 h 46123"/>
                        <a:gd name="connsiteX2" fmla="*/ 0 w 32980"/>
                        <a:gd name="connsiteY2" fmla="*/ 23928 h 46123"/>
                        <a:gd name="connsiteX3" fmla="*/ 32981 w 32980"/>
                        <a:gd name="connsiteY3" fmla="*/ 46123 h 46123"/>
                      </a:gdLst>
                      <a:ahLst/>
                      <a:cxnLst>
                        <a:cxn ang="0">
                          <a:pos x="connsiteX0" y="connsiteY0"/>
                        </a:cxn>
                        <a:cxn ang="0">
                          <a:pos x="connsiteX1" y="connsiteY1"/>
                        </a:cxn>
                        <a:cxn ang="0">
                          <a:pos x="connsiteX2" y="connsiteY2"/>
                        </a:cxn>
                        <a:cxn ang="0">
                          <a:pos x="connsiteX3" y="connsiteY3"/>
                        </a:cxn>
                      </a:cxnLst>
                      <a:rect l="l" t="t" r="r" b="b"/>
                      <a:pathLst>
                        <a:path w="32980" h="46123">
                          <a:moveTo>
                            <a:pt x="32981" y="46123"/>
                          </a:moveTo>
                          <a:cubicBezTo>
                            <a:pt x="24115" y="18417"/>
                            <a:pt x="11247" y="4676"/>
                            <a:pt x="6048" y="0"/>
                          </a:cubicBezTo>
                          <a:cubicBezTo>
                            <a:pt x="3516" y="8878"/>
                            <a:pt x="1397" y="17145"/>
                            <a:pt x="0" y="23928"/>
                          </a:cubicBezTo>
                          <a:lnTo>
                            <a:pt x="32981" y="46123"/>
                          </a:ln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44" name="Graphic 525">
                    <a:extLst>
                      <a:ext uri="{FF2B5EF4-FFF2-40B4-BE49-F238E27FC236}">
                        <a16:creationId xmlns:a16="http://schemas.microsoft.com/office/drawing/2014/main" id="{E818D6FE-77CD-996C-33DA-9365577D7F7F}"/>
                      </a:ext>
                    </a:extLst>
                  </p:cNvPr>
                  <p:cNvGrpSpPr/>
                  <p:nvPr/>
                </p:nvGrpSpPr>
                <p:grpSpPr>
                  <a:xfrm>
                    <a:off x="6509337" y="4216447"/>
                    <a:ext cx="182422" cy="181046"/>
                    <a:chOff x="6509337" y="4216447"/>
                    <a:chExt cx="182422" cy="181046"/>
                  </a:xfrm>
                </p:grpSpPr>
                <p:grpSp>
                  <p:nvGrpSpPr>
                    <p:cNvPr id="2945" name="Graphic 525">
                      <a:extLst>
                        <a:ext uri="{FF2B5EF4-FFF2-40B4-BE49-F238E27FC236}">
                          <a16:creationId xmlns:a16="http://schemas.microsoft.com/office/drawing/2014/main" id="{CD013055-2080-8C10-BDD9-4E3CC946E01E}"/>
                        </a:ext>
                      </a:extLst>
                    </p:cNvPr>
                    <p:cNvGrpSpPr/>
                    <p:nvPr/>
                  </p:nvGrpSpPr>
                  <p:grpSpPr>
                    <a:xfrm>
                      <a:off x="6509337" y="4216447"/>
                      <a:ext cx="88306" cy="72446"/>
                      <a:chOff x="6509337" y="4216447"/>
                      <a:chExt cx="88306" cy="72446"/>
                    </a:xfrm>
                  </p:grpSpPr>
                  <p:grpSp>
                    <p:nvGrpSpPr>
                      <p:cNvPr id="2946" name="Graphic 525">
                        <a:extLst>
                          <a:ext uri="{FF2B5EF4-FFF2-40B4-BE49-F238E27FC236}">
                            <a16:creationId xmlns:a16="http://schemas.microsoft.com/office/drawing/2014/main" id="{0AE1B439-0A5E-2928-0ADD-1803733D6608}"/>
                          </a:ext>
                        </a:extLst>
                      </p:cNvPr>
                      <p:cNvGrpSpPr/>
                      <p:nvPr/>
                    </p:nvGrpSpPr>
                    <p:grpSpPr>
                      <a:xfrm>
                        <a:off x="6523582" y="4236074"/>
                        <a:ext cx="68114" cy="52819"/>
                        <a:chOff x="6523582" y="4236074"/>
                        <a:chExt cx="68114" cy="52819"/>
                      </a:xfrm>
                    </p:grpSpPr>
                    <p:sp>
                      <p:nvSpPr>
                        <p:cNvPr id="2947" name="Freeform: Shape 2946">
                          <a:extLst>
                            <a:ext uri="{FF2B5EF4-FFF2-40B4-BE49-F238E27FC236}">
                              <a16:creationId xmlns:a16="http://schemas.microsoft.com/office/drawing/2014/main" id="{E82D0EE3-A5CC-A5ED-3CAF-AAAA55334E9E}"/>
                            </a:ext>
                          </a:extLst>
                        </p:cNvPr>
                        <p:cNvSpPr/>
                        <p:nvPr/>
                      </p:nvSpPr>
                      <p:spPr>
                        <a:xfrm>
                          <a:off x="6523582" y="4236074"/>
                          <a:ext cx="68114" cy="52819"/>
                        </a:xfrm>
                        <a:custGeom>
                          <a:avLst/>
                          <a:gdLst>
                            <a:gd name="connsiteX0" fmla="*/ 68102 w 68114"/>
                            <a:gd name="connsiteY0" fmla="*/ 38629 h 52819"/>
                            <a:gd name="connsiteX1" fmla="*/ 59598 w 68114"/>
                            <a:gd name="connsiteY1" fmla="*/ 25873 h 52819"/>
                            <a:gd name="connsiteX2" fmla="*/ 45770 w 68114"/>
                            <a:gd name="connsiteY2" fmla="*/ 8504 h 52819"/>
                            <a:gd name="connsiteX3" fmla="*/ 8200 w 68114"/>
                            <a:gd name="connsiteY3" fmla="*/ 0 h 52819"/>
                            <a:gd name="connsiteX4" fmla="*/ 1105 w 68114"/>
                            <a:gd name="connsiteY4" fmla="*/ 5673 h 52819"/>
                            <a:gd name="connsiteX5" fmla="*/ 15644 w 68114"/>
                            <a:gd name="connsiteY5" fmla="*/ 7095 h 52819"/>
                            <a:gd name="connsiteX6" fmla="*/ 25220 w 68114"/>
                            <a:gd name="connsiteY6" fmla="*/ 10287 h 52819"/>
                            <a:gd name="connsiteX7" fmla="*/ 17066 w 68114"/>
                            <a:gd name="connsiteY7" fmla="*/ 13118 h 52819"/>
                            <a:gd name="connsiteX8" fmla="*/ 11754 w 68114"/>
                            <a:gd name="connsiteY8" fmla="*/ 20212 h 52819"/>
                            <a:gd name="connsiteX9" fmla="*/ 9272 w 68114"/>
                            <a:gd name="connsiteY9" fmla="*/ 28716 h 52819"/>
                            <a:gd name="connsiteX10" fmla="*/ 20968 w 68114"/>
                            <a:gd name="connsiteY10" fmla="*/ 37220 h 52819"/>
                            <a:gd name="connsiteX11" fmla="*/ 28412 w 68114"/>
                            <a:gd name="connsiteY11" fmla="*/ 36160 h 52819"/>
                            <a:gd name="connsiteX12" fmla="*/ 33375 w 68114"/>
                            <a:gd name="connsiteY12" fmla="*/ 41472 h 52819"/>
                            <a:gd name="connsiteX13" fmla="*/ 53575 w 68114"/>
                            <a:gd name="connsiteY13" fmla="*/ 52819 h 52819"/>
                            <a:gd name="connsiteX14" fmla="*/ 68114 w 68114"/>
                            <a:gd name="connsiteY14" fmla="*/ 38642 h 5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114" h="52819">
                              <a:moveTo>
                                <a:pt x="68102" y="38629"/>
                              </a:moveTo>
                              <a:cubicBezTo>
                                <a:pt x="68102" y="38629"/>
                                <a:pt x="60658" y="30474"/>
                                <a:pt x="59598" y="25873"/>
                              </a:cubicBezTo>
                              <a:cubicBezTo>
                                <a:pt x="58538" y="21260"/>
                                <a:pt x="49323" y="12045"/>
                                <a:pt x="45770" y="8504"/>
                              </a:cubicBezTo>
                              <a:cubicBezTo>
                                <a:pt x="42216" y="4963"/>
                                <a:pt x="32652" y="0"/>
                                <a:pt x="8200" y="0"/>
                              </a:cubicBezTo>
                              <a:cubicBezTo>
                                <a:pt x="45" y="0"/>
                                <a:pt x="-1376" y="4614"/>
                                <a:pt x="1105" y="5673"/>
                              </a:cubicBezTo>
                              <a:cubicBezTo>
                                <a:pt x="3586" y="6733"/>
                                <a:pt x="10320" y="6384"/>
                                <a:pt x="15644" y="7095"/>
                              </a:cubicBezTo>
                              <a:cubicBezTo>
                                <a:pt x="20956" y="7806"/>
                                <a:pt x="23799" y="8155"/>
                                <a:pt x="25220" y="10287"/>
                              </a:cubicBezTo>
                              <a:cubicBezTo>
                                <a:pt x="25220" y="10287"/>
                                <a:pt x="18487" y="8866"/>
                                <a:pt x="17066" y="13118"/>
                              </a:cubicBezTo>
                              <a:cubicBezTo>
                                <a:pt x="17066" y="13118"/>
                                <a:pt x="11043" y="15599"/>
                                <a:pt x="11754" y="20212"/>
                              </a:cubicBezTo>
                              <a:cubicBezTo>
                                <a:pt x="11754" y="20212"/>
                                <a:pt x="7140" y="24464"/>
                                <a:pt x="9272" y="28716"/>
                              </a:cubicBezTo>
                              <a:cubicBezTo>
                                <a:pt x="11405" y="32968"/>
                                <a:pt x="20968" y="37220"/>
                                <a:pt x="20968" y="37220"/>
                              </a:cubicBezTo>
                              <a:cubicBezTo>
                                <a:pt x="20968" y="37220"/>
                                <a:pt x="24160" y="37931"/>
                                <a:pt x="28412" y="36160"/>
                              </a:cubicBezTo>
                              <a:cubicBezTo>
                                <a:pt x="28412" y="36160"/>
                                <a:pt x="29834" y="40412"/>
                                <a:pt x="33375" y="41472"/>
                              </a:cubicBezTo>
                              <a:cubicBezTo>
                                <a:pt x="36916" y="42532"/>
                                <a:pt x="48974" y="47856"/>
                                <a:pt x="53575" y="52819"/>
                              </a:cubicBezTo>
                              <a:cubicBezTo>
                                <a:pt x="53575" y="52819"/>
                                <a:pt x="63501" y="47146"/>
                                <a:pt x="68114" y="38642"/>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48" name="Freeform: Shape 2947">
                          <a:extLst>
                            <a:ext uri="{FF2B5EF4-FFF2-40B4-BE49-F238E27FC236}">
                              <a16:creationId xmlns:a16="http://schemas.microsoft.com/office/drawing/2014/main" id="{43BFA78C-4FD3-D8C9-2C70-ECC5AF9F6B6F}"/>
                            </a:ext>
                          </a:extLst>
                        </p:cNvPr>
                        <p:cNvSpPr/>
                        <p:nvPr/>
                      </p:nvSpPr>
                      <p:spPr>
                        <a:xfrm>
                          <a:off x="6548789" y="4241806"/>
                          <a:ext cx="30659" cy="28644"/>
                        </a:xfrm>
                        <a:custGeom>
                          <a:avLst/>
                          <a:gdLst>
                            <a:gd name="connsiteX0" fmla="*/ 0 w 30659"/>
                            <a:gd name="connsiteY0" fmla="*/ 4542 h 28644"/>
                            <a:gd name="connsiteX1" fmla="*/ 4963 w 30659"/>
                            <a:gd name="connsiteY1" fmla="*/ 11986 h 28644"/>
                            <a:gd name="connsiteX2" fmla="*/ 12295 w 30659"/>
                            <a:gd name="connsiteY2" fmla="*/ 23445 h 28644"/>
                            <a:gd name="connsiteX3" fmla="*/ 18205 w 30659"/>
                            <a:gd name="connsiteY3" fmla="*/ 28645 h 28644"/>
                            <a:gd name="connsiteX4" fmla="*/ 30612 w 30659"/>
                            <a:gd name="connsiteY4" fmla="*/ 18607 h 28644"/>
                            <a:gd name="connsiteX5" fmla="*/ 19028 w 30659"/>
                            <a:gd name="connsiteY5" fmla="*/ 4779 h 28644"/>
                            <a:gd name="connsiteX6" fmla="*/ 5873 w 30659"/>
                            <a:gd name="connsiteY6" fmla="*/ 190 h 28644"/>
                            <a:gd name="connsiteX7" fmla="*/ 12 w 30659"/>
                            <a:gd name="connsiteY7" fmla="*/ 4542 h 2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9" h="28644">
                              <a:moveTo>
                                <a:pt x="0" y="4542"/>
                              </a:moveTo>
                              <a:cubicBezTo>
                                <a:pt x="0" y="4542"/>
                                <a:pt x="1895" y="9854"/>
                                <a:pt x="4963" y="11986"/>
                              </a:cubicBezTo>
                              <a:cubicBezTo>
                                <a:pt x="8030" y="14118"/>
                                <a:pt x="11110" y="19779"/>
                                <a:pt x="12295" y="23445"/>
                              </a:cubicBezTo>
                              <a:cubicBezTo>
                                <a:pt x="13479" y="27111"/>
                                <a:pt x="18205" y="28645"/>
                                <a:pt x="18205" y="28645"/>
                              </a:cubicBezTo>
                              <a:cubicBezTo>
                                <a:pt x="18205" y="28645"/>
                                <a:pt x="31559" y="23682"/>
                                <a:pt x="30612" y="18607"/>
                              </a:cubicBezTo>
                              <a:cubicBezTo>
                                <a:pt x="29664" y="13532"/>
                                <a:pt x="22108" y="6313"/>
                                <a:pt x="19028" y="4779"/>
                              </a:cubicBezTo>
                              <a:lnTo>
                                <a:pt x="5873" y="190"/>
                              </a:lnTo>
                              <a:cubicBezTo>
                                <a:pt x="349" y="-1094"/>
                                <a:pt x="12" y="4542"/>
                                <a:pt x="12" y="4542"/>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49" name="Freeform: Shape 2948">
                          <a:extLst>
                            <a:ext uri="{FF2B5EF4-FFF2-40B4-BE49-F238E27FC236}">
                              <a16:creationId xmlns:a16="http://schemas.microsoft.com/office/drawing/2014/main" id="{980323A3-9E8E-55E3-0997-8ABC2AB1E7B0}"/>
                            </a:ext>
                          </a:extLst>
                        </p:cNvPr>
                        <p:cNvSpPr/>
                        <p:nvPr/>
                      </p:nvSpPr>
                      <p:spPr>
                        <a:xfrm>
                          <a:off x="6535323" y="4249191"/>
                          <a:ext cx="25611" cy="23107"/>
                        </a:xfrm>
                        <a:custGeom>
                          <a:avLst/>
                          <a:gdLst>
                            <a:gd name="connsiteX0" fmla="*/ 25537 w 25611"/>
                            <a:gd name="connsiteY0" fmla="*/ 13517 h 23107"/>
                            <a:gd name="connsiteX1" fmla="*/ 24963 w 25611"/>
                            <a:gd name="connsiteY1" fmla="*/ 12182 h 23107"/>
                            <a:gd name="connsiteX2" fmla="*/ 24514 w 25611"/>
                            <a:gd name="connsiteY2" fmla="*/ 11646 h 23107"/>
                            <a:gd name="connsiteX3" fmla="*/ 24252 w 25611"/>
                            <a:gd name="connsiteY3" fmla="*/ 11409 h 23107"/>
                            <a:gd name="connsiteX4" fmla="*/ 23928 w 25611"/>
                            <a:gd name="connsiteY4" fmla="*/ 11172 h 23107"/>
                            <a:gd name="connsiteX5" fmla="*/ 23816 w 25611"/>
                            <a:gd name="connsiteY5" fmla="*/ 11110 h 23107"/>
                            <a:gd name="connsiteX6" fmla="*/ 18878 w 25611"/>
                            <a:gd name="connsiteY6" fmla="*/ 8878 h 23107"/>
                            <a:gd name="connsiteX7" fmla="*/ 16472 w 25611"/>
                            <a:gd name="connsiteY7" fmla="*/ 7681 h 23107"/>
                            <a:gd name="connsiteX8" fmla="*/ 14227 w 25611"/>
                            <a:gd name="connsiteY8" fmla="*/ 6309 h 23107"/>
                            <a:gd name="connsiteX9" fmla="*/ 9788 w 25611"/>
                            <a:gd name="connsiteY9" fmla="*/ 3155 h 23107"/>
                            <a:gd name="connsiteX10" fmla="*/ 5312 w 25611"/>
                            <a:gd name="connsiteY10" fmla="*/ 0 h 23107"/>
                            <a:gd name="connsiteX11" fmla="*/ 9239 w 25611"/>
                            <a:gd name="connsiteY11" fmla="*/ 3828 h 23107"/>
                            <a:gd name="connsiteX12" fmla="*/ 13342 w 25611"/>
                            <a:gd name="connsiteY12" fmla="*/ 7481 h 23107"/>
                            <a:gd name="connsiteX13" fmla="*/ 14464 w 25611"/>
                            <a:gd name="connsiteY13" fmla="*/ 8342 h 23107"/>
                            <a:gd name="connsiteX14" fmla="*/ 15648 w 25611"/>
                            <a:gd name="connsiteY14" fmla="*/ 9127 h 23107"/>
                            <a:gd name="connsiteX15" fmla="*/ 18055 w 25611"/>
                            <a:gd name="connsiteY15" fmla="*/ 10524 h 23107"/>
                            <a:gd name="connsiteX16" fmla="*/ 22881 w 25611"/>
                            <a:gd name="connsiteY16" fmla="*/ 12943 h 23107"/>
                            <a:gd name="connsiteX17" fmla="*/ 22943 w 25611"/>
                            <a:gd name="connsiteY17" fmla="*/ 12993 h 23107"/>
                            <a:gd name="connsiteX18" fmla="*/ 23068 w 25611"/>
                            <a:gd name="connsiteY18" fmla="*/ 13105 h 23107"/>
                            <a:gd name="connsiteX19" fmla="*/ 23280 w 25611"/>
                            <a:gd name="connsiteY19" fmla="*/ 13354 h 23107"/>
                            <a:gd name="connsiteX20" fmla="*/ 23504 w 25611"/>
                            <a:gd name="connsiteY20" fmla="*/ 13903 h 23107"/>
                            <a:gd name="connsiteX21" fmla="*/ 23180 w 25611"/>
                            <a:gd name="connsiteY21" fmla="*/ 15162 h 23107"/>
                            <a:gd name="connsiteX22" fmla="*/ 22681 w 25611"/>
                            <a:gd name="connsiteY22" fmla="*/ 15836 h 23107"/>
                            <a:gd name="connsiteX23" fmla="*/ 22083 w 25611"/>
                            <a:gd name="connsiteY23" fmla="*/ 16447 h 23107"/>
                            <a:gd name="connsiteX24" fmla="*/ 20661 w 25611"/>
                            <a:gd name="connsiteY24" fmla="*/ 17195 h 23107"/>
                            <a:gd name="connsiteX25" fmla="*/ 18916 w 25611"/>
                            <a:gd name="connsiteY25" fmla="*/ 17457 h 23107"/>
                            <a:gd name="connsiteX26" fmla="*/ 18030 w 25611"/>
                            <a:gd name="connsiteY26" fmla="*/ 17419 h 23107"/>
                            <a:gd name="connsiteX27" fmla="*/ 17070 w 25611"/>
                            <a:gd name="connsiteY27" fmla="*/ 17282 h 23107"/>
                            <a:gd name="connsiteX28" fmla="*/ 13230 w 25611"/>
                            <a:gd name="connsiteY28" fmla="*/ 16347 h 23107"/>
                            <a:gd name="connsiteX29" fmla="*/ 11459 w 25611"/>
                            <a:gd name="connsiteY29" fmla="*/ 15611 h 23107"/>
                            <a:gd name="connsiteX30" fmla="*/ 10673 w 25611"/>
                            <a:gd name="connsiteY30" fmla="*/ 15137 h 23107"/>
                            <a:gd name="connsiteX31" fmla="*/ 9900 w 25611"/>
                            <a:gd name="connsiteY31" fmla="*/ 14526 h 23107"/>
                            <a:gd name="connsiteX32" fmla="*/ 6646 w 25611"/>
                            <a:gd name="connsiteY32" fmla="*/ 11983 h 23107"/>
                            <a:gd name="connsiteX33" fmla="*/ 0 w 25611"/>
                            <a:gd name="connsiteY33" fmla="*/ 7070 h 23107"/>
                            <a:gd name="connsiteX34" fmla="*/ 5873 w 25611"/>
                            <a:gd name="connsiteY34" fmla="*/ 12881 h 23107"/>
                            <a:gd name="connsiteX35" fmla="*/ 8878 w 25611"/>
                            <a:gd name="connsiteY35" fmla="*/ 15699 h 23107"/>
                            <a:gd name="connsiteX36" fmla="*/ 9676 w 25611"/>
                            <a:gd name="connsiteY36" fmla="*/ 16422 h 23107"/>
                            <a:gd name="connsiteX37" fmla="*/ 10611 w 25611"/>
                            <a:gd name="connsiteY37" fmla="*/ 17083 h 23107"/>
                            <a:gd name="connsiteX38" fmla="*/ 12594 w 25611"/>
                            <a:gd name="connsiteY38" fmla="*/ 18055 h 23107"/>
                            <a:gd name="connsiteX39" fmla="*/ 16708 w 25611"/>
                            <a:gd name="connsiteY39" fmla="*/ 19252 h 23107"/>
                            <a:gd name="connsiteX40" fmla="*/ 17781 w 25611"/>
                            <a:gd name="connsiteY40" fmla="*/ 19439 h 23107"/>
                            <a:gd name="connsiteX41" fmla="*/ 18953 w 25611"/>
                            <a:gd name="connsiteY41" fmla="*/ 19514 h 23107"/>
                            <a:gd name="connsiteX42" fmla="*/ 19564 w 25611"/>
                            <a:gd name="connsiteY42" fmla="*/ 19489 h 23107"/>
                            <a:gd name="connsiteX43" fmla="*/ 19464 w 25611"/>
                            <a:gd name="connsiteY43" fmla="*/ 19651 h 23107"/>
                            <a:gd name="connsiteX44" fmla="*/ 19053 w 25611"/>
                            <a:gd name="connsiteY44" fmla="*/ 20375 h 23107"/>
                            <a:gd name="connsiteX45" fmla="*/ 18516 w 25611"/>
                            <a:gd name="connsiteY45" fmla="*/ 21023 h 23107"/>
                            <a:gd name="connsiteX46" fmla="*/ 17930 w 25611"/>
                            <a:gd name="connsiteY46" fmla="*/ 21671 h 23107"/>
                            <a:gd name="connsiteX47" fmla="*/ 16634 w 25611"/>
                            <a:gd name="connsiteY47" fmla="*/ 22918 h 23107"/>
                            <a:gd name="connsiteX48" fmla="*/ 16596 w 25611"/>
                            <a:gd name="connsiteY48" fmla="*/ 23018 h 23107"/>
                            <a:gd name="connsiteX49" fmla="*/ 16721 w 25611"/>
                            <a:gd name="connsiteY49" fmla="*/ 23105 h 23107"/>
                            <a:gd name="connsiteX50" fmla="*/ 18529 w 25611"/>
                            <a:gd name="connsiteY50" fmla="*/ 22544 h 23107"/>
                            <a:gd name="connsiteX51" fmla="*/ 19389 w 25611"/>
                            <a:gd name="connsiteY51" fmla="*/ 22120 h 23107"/>
                            <a:gd name="connsiteX52" fmla="*/ 20212 w 25611"/>
                            <a:gd name="connsiteY52" fmla="*/ 21609 h 23107"/>
                            <a:gd name="connsiteX53" fmla="*/ 21048 w 25611"/>
                            <a:gd name="connsiteY53" fmla="*/ 21035 h 23107"/>
                            <a:gd name="connsiteX54" fmla="*/ 21684 w 25611"/>
                            <a:gd name="connsiteY54" fmla="*/ 20250 h 23107"/>
                            <a:gd name="connsiteX55" fmla="*/ 21945 w 25611"/>
                            <a:gd name="connsiteY55" fmla="*/ 19215 h 23107"/>
                            <a:gd name="connsiteX56" fmla="*/ 21945 w 25611"/>
                            <a:gd name="connsiteY56" fmla="*/ 18940 h 23107"/>
                            <a:gd name="connsiteX57" fmla="*/ 23467 w 25611"/>
                            <a:gd name="connsiteY57" fmla="*/ 18030 h 23107"/>
                            <a:gd name="connsiteX58" fmla="*/ 24315 w 25611"/>
                            <a:gd name="connsiteY58" fmla="*/ 17170 h 23107"/>
                            <a:gd name="connsiteX59" fmla="*/ 25013 w 25611"/>
                            <a:gd name="connsiteY59" fmla="*/ 16172 h 23107"/>
                            <a:gd name="connsiteX60" fmla="*/ 25512 w 25611"/>
                            <a:gd name="connsiteY60" fmla="*/ 14938 h 23107"/>
                            <a:gd name="connsiteX61" fmla="*/ 25549 w 25611"/>
                            <a:gd name="connsiteY61" fmla="*/ 13492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5611" h="23107">
                              <a:moveTo>
                                <a:pt x="25537" y="13517"/>
                              </a:moveTo>
                              <a:cubicBezTo>
                                <a:pt x="25449" y="13018"/>
                                <a:pt x="25237" y="12569"/>
                                <a:pt x="24963" y="12182"/>
                              </a:cubicBezTo>
                              <a:cubicBezTo>
                                <a:pt x="24826" y="11983"/>
                                <a:pt x="24676" y="11808"/>
                                <a:pt x="24514" y="11646"/>
                              </a:cubicBezTo>
                              <a:cubicBezTo>
                                <a:pt x="24427" y="11571"/>
                                <a:pt x="24352" y="11484"/>
                                <a:pt x="24252" y="11409"/>
                              </a:cubicBezTo>
                              <a:cubicBezTo>
                                <a:pt x="24152" y="11335"/>
                                <a:pt x="24090" y="11272"/>
                                <a:pt x="23928" y="11172"/>
                              </a:cubicBezTo>
                              <a:cubicBezTo>
                                <a:pt x="23891" y="11147"/>
                                <a:pt x="23853" y="11122"/>
                                <a:pt x="23816" y="11110"/>
                              </a:cubicBezTo>
                              <a:cubicBezTo>
                                <a:pt x="22158" y="10387"/>
                                <a:pt x="20499" y="9651"/>
                                <a:pt x="18878" y="8878"/>
                              </a:cubicBezTo>
                              <a:cubicBezTo>
                                <a:pt x="18068" y="8479"/>
                                <a:pt x="17257" y="8105"/>
                                <a:pt x="16472" y="7681"/>
                              </a:cubicBezTo>
                              <a:cubicBezTo>
                                <a:pt x="15673" y="7270"/>
                                <a:pt x="14963" y="6833"/>
                                <a:pt x="14227" y="6309"/>
                              </a:cubicBezTo>
                              <a:cubicBezTo>
                                <a:pt x="12743" y="5299"/>
                                <a:pt x="11284" y="4202"/>
                                <a:pt x="9788" y="3155"/>
                              </a:cubicBezTo>
                              <a:cubicBezTo>
                                <a:pt x="8317" y="2082"/>
                                <a:pt x="6821" y="1035"/>
                                <a:pt x="5312" y="0"/>
                              </a:cubicBezTo>
                              <a:cubicBezTo>
                                <a:pt x="6596" y="1309"/>
                                <a:pt x="7905" y="2581"/>
                                <a:pt x="9239" y="3828"/>
                              </a:cubicBezTo>
                              <a:cubicBezTo>
                                <a:pt x="10574" y="5087"/>
                                <a:pt x="11933" y="6284"/>
                                <a:pt x="13342" y="7481"/>
                              </a:cubicBezTo>
                              <a:cubicBezTo>
                                <a:pt x="13704" y="7768"/>
                                <a:pt x="14065" y="8067"/>
                                <a:pt x="14464" y="8342"/>
                              </a:cubicBezTo>
                              <a:cubicBezTo>
                                <a:pt x="14851" y="8616"/>
                                <a:pt x="15250" y="8878"/>
                                <a:pt x="15648" y="9127"/>
                              </a:cubicBezTo>
                              <a:cubicBezTo>
                                <a:pt x="16447" y="9614"/>
                                <a:pt x="17232" y="10088"/>
                                <a:pt x="18055" y="10524"/>
                              </a:cubicBezTo>
                              <a:cubicBezTo>
                                <a:pt x="19651" y="11372"/>
                                <a:pt x="21247" y="12182"/>
                                <a:pt x="22881" y="12943"/>
                              </a:cubicBezTo>
                              <a:cubicBezTo>
                                <a:pt x="22881" y="12943"/>
                                <a:pt x="22943" y="12993"/>
                                <a:pt x="22943" y="12993"/>
                              </a:cubicBezTo>
                              <a:cubicBezTo>
                                <a:pt x="22980" y="13030"/>
                                <a:pt x="23030" y="13068"/>
                                <a:pt x="23068" y="13105"/>
                              </a:cubicBezTo>
                              <a:cubicBezTo>
                                <a:pt x="23142" y="13180"/>
                                <a:pt x="23217" y="13267"/>
                                <a:pt x="23280" y="13354"/>
                              </a:cubicBezTo>
                              <a:cubicBezTo>
                                <a:pt x="23392" y="13529"/>
                                <a:pt x="23467" y="13716"/>
                                <a:pt x="23504" y="13903"/>
                              </a:cubicBezTo>
                              <a:cubicBezTo>
                                <a:pt x="23566" y="14265"/>
                                <a:pt x="23454" y="14701"/>
                                <a:pt x="23180" y="15162"/>
                              </a:cubicBezTo>
                              <a:cubicBezTo>
                                <a:pt x="23055" y="15387"/>
                                <a:pt x="22881" y="15611"/>
                                <a:pt x="22681" y="15836"/>
                              </a:cubicBezTo>
                              <a:cubicBezTo>
                                <a:pt x="22494" y="16060"/>
                                <a:pt x="22270" y="16285"/>
                                <a:pt x="22083" y="16447"/>
                              </a:cubicBezTo>
                              <a:cubicBezTo>
                                <a:pt x="21684" y="16783"/>
                                <a:pt x="21197" y="17033"/>
                                <a:pt x="20661" y="17195"/>
                              </a:cubicBezTo>
                              <a:cubicBezTo>
                                <a:pt x="20112" y="17357"/>
                                <a:pt x="19526" y="17444"/>
                                <a:pt x="18916" y="17457"/>
                              </a:cubicBezTo>
                              <a:cubicBezTo>
                                <a:pt x="18616" y="17457"/>
                                <a:pt x="18305" y="17457"/>
                                <a:pt x="18030" y="17419"/>
                              </a:cubicBezTo>
                              <a:cubicBezTo>
                                <a:pt x="17719" y="17382"/>
                                <a:pt x="17394" y="17332"/>
                                <a:pt x="17070" y="17282"/>
                              </a:cubicBezTo>
                              <a:cubicBezTo>
                                <a:pt x="15761" y="17070"/>
                                <a:pt x="14464" y="16771"/>
                                <a:pt x="13230" y="16347"/>
                              </a:cubicBezTo>
                              <a:cubicBezTo>
                                <a:pt x="12619" y="16135"/>
                                <a:pt x="12020" y="15886"/>
                                <a:pt x="11459" y="15611"/>
                              </a:cubicBezTo>
                              <a:cubicBezTo>
                                <a:pt x="11185" y="15462"/>
                                <a:pt x="10923" y="15312"/>
                                <a:pt x="10673" y="15137"/>
                              </a:cubicBezTo>
                              <a:cubicBezTo>
                                <a:pt x="10449" y="14975"/>
                                <a:pt x="10162" y="14739"/>
                                <a:pt x="9900" y="14526"/>
                              </a:cubicBezTo>
                              <a:cubicBezTo>
                                <a:pt x="8828" y="13666"/>
                                <a:pt x="7743" y="12831"/>
                                <a:pt x="6646" y="11983"/>
                              </a:cubicBezTo>
                              <a:cubicBezTo>
                                <a:pt x="4464" y="10299"/>
                                <a:pt x="2269" y="8653"/>
                                <a:pt x="0" y="7070"/>
                              </a:cubicBezTo>
                              <a:cubicBezTo>
                                <a:pt x="1908" y="9065"/>
                                <a:pt x="3878" y="10985"/>
                                <a:pt x="5873" y="12881"/>
                              </a:cubicBezTo>
                              <a:cubicBezTo>
                                <a:pt x="6870" y="13828"/>
                                <a:pt x="7868" y="14776"/>
                                <a:pt x="8878" y="15699"/>
                              </a:cubicBezTo>
                              <a:cubicBezTo>
                                <a:pt x="9140" y="15936"/>
                                <a:pt x="9364" y="16147"/>
                                <a:pt x="9676" y="16422"/>
                              </a:cubicBezTo>
                              <a:cubicBezTo>
                                <a:pt x="9975" y="16671"/>
                                <a:pt x="10287" y="16883"/>
                                <a:pt x="10611" y="17083"/>
                              </a:cubicBezTo>
                              <a:cubicBezTo>
                                <a:pt x="11247" y="17482"/>
                                <a:pt x="11920" y="17793"/>
                                <a:pt x="12594" y="18055"/>
                              </a:cubicBezTo>
                              <a:cubicBezTo>
                                <a:pt x="13940" y="18579"/>
                                <a:pt x="15312" y="18965"/>
                                <a:pt x="16708" y="19252"/>
                              </a:cubicBezTo>
                              <a:cubicBezTo>
                                <a:pt x="17058" y="19327"/>
                                <a:pt x="17407" y="19389"/>
                                <a:pt x="17781" y="19439"/>
                              </a:cubicBezTo>
                              <a:cubicBezTo>
                                <a:pt x="18192" y="19489"/>
                                <a:pt x="18566" y="19514"/>
                                <a:pt x="18953" y="19514"/>
                              </a:cubicBezTo>
                              <a:cubicBezTo>
                                <a:pt x="19152" y="19514"/>
                                <a:pt x="19365" y="19514"/>
                                <a:pt x="19564" y="19489"/>
                              </a:cubicBezTo>
                              <a:cubicBezTo>
                                <a:pt x="19526" y="19539"/>
                                <a:pt x="19502" y="19589"/>
                                <a:pt x="19464" y="19651"/>
                              </a:cubicBezTo>
                              <a:cubicBezTo>
                                <a:pt x="19352" y="19901"/>
                                <a:pt x="19215" y="20150"/>
                                <a:pt x="19053" y="20375"/>
                              </a:cubicBezTo>
                              <a:cubicBezTo>
                                <a:pt x="18878" y="20599"/>
                                <a:pt x="18704" y="20811"/>
                                <a:pt x="18516" y="21023"/>
                              </a:cubicBezTo>
                              <a:cubicBezTo>
                                <a:pt x="18330" y="21247"/>
                                <a:pt x="18142" y="21459"/>
                                <a:pt x="17930" y="21671"/>
                              </a:cubicBezTo>
                              <a:cubicBezTo>
                                <a:pt x="17531" y="22095"/>
                                <a:pt x="17095" y="22519"/>
                                <a:pt x="16634" y="22918"/>
                              </a:cubicBezTo>
                              <a:cubicBezTo>
                                <a:pt x="16596" y="22943"/>
                                <a:pt x="16584" y="22980"/>
                                <a:pt x="16596" y="23018"/>
                              </a:cubicBezTo>
                              <a:cubicBezTo>
                                <a:pt x="16596" y="23080"/>
                                <a:pt x="16659" y="23118"/>
                                <a:pt x="16721" y="23105"/>
                              </a:cubicBezTo>
                              <a:cubicBezTo>
                                <a:pt x="17344" y="22993"/>
                                <a:pt x="17943" y="22781"/>
                                <a:pt x="18529" y="22544"/>
                              </a:cubicBezTo>
                              <a:cubicBezTo>
                                <a:pt x="18816" y="22419"/>
                                <a:pt x="19115" y="22282"/>
                                <a:pt x="19389" y="22120"/>
                              </a:cubicBezTo>
                              <a:cubicBezTo>
                                <a:pt x="19676" y="21970"/>
                                <a:pt x="19938" y="21783"/>
                                <a:pt x="20212" y="21609"/>
                              </a:cubicBezTo>
                              <a:cubicBezTo>
                                <a:pt x="20474" y="21422"/>
                                <a:pt x="20773" y="21247"/>
                                <a:pt x="21048" y="21035"/>
                              </a:cubicBezTo>
                              <a:cubicBezTo>
                                <a:pt x="21322" y="20836"/>
                                <a:pt x="21534" y="20562"/>
                                <a:pt x="21684" y="20250"/>
                              </a:cubicBezTo>
                              <a:cubicBezTo>
                                <a:pt x="21821" y="19926"/>
                                <a:pt x="21933" y="19589"/>
                                <a:pt x="21945" y="19215"/>
                              </a:cubicBezTo>
                              <a:cubicBezTo>
                                <a:pt x="21945" y="19128"/>
                                <a:pt x="21945" y="19040"/>
                                <a:pt x="21945" y="18940"/>
                              </a:cubicBezTo>
                              <a:cubicBezTo>
                                <a:pt x="22482" y="18716"/>
                                <a:pt x="23005" y="18417"/>
                                <a:pt x="23467" y="18030"/>
                              </a:cubicBezTo>
                              <a:cubicBezTo>
                                <a:pt x="23803" y="17743"/>
                                <a:pt x="24053" y="17482"/>
                                <a:pt x="24315" y="17170"/>
                              </a:cubicBezTo>
                              <a:cubicBezTo>
                                <a:pt x="24564" y="16871"/>
                                <a:pt x="24813" y="16547"/>
                                <a:pt x="25013" y="16172"/>
                              </a:cubicBezTo>
                              <a:cubicBezTo>
                                <a:pt x="25225" y="15811"/>
                                <a:pt x="25399" y="15399"/>
                                <a:pt x="25512" y="14938"/>
                              </a:cubicBezTo>
                              <a:cubicBezTo>
                                <a:pt x="25624" y="14489"/>
                                <a:pt x="25649" y="13978"/>
                                <a:pt x="25549" y="13492"/>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50" name="Freeform: Shape 2949">
                        <a:extLst>
                          <a:ext uri="{FF2B5EF4-FFF2-40B4-BE49-F238E27FC236}">
                            <a16:creationId xmlns:a16="http://schemas.microsoft.com/office/drawing/2014/main" id="{C57FDE6E-EC9A-3E62-5586-0BFE890C3BA4}"/>
                          </a:ext>
                        </a:extLst>
                      </p:cNvPr>
                      <p:cNvSpPr/>
                      <p:nvPr/>
                    </p:nvSpPr>
                    <p:spPr>
                      <a:xfrm>
                        <a:off x="6509337" y="4216447"/>
                        <a:ext cx="88306" cy="65625"/>
                      </a:xfrm>
                      <a:custGeom>
                        <a:avLst/>
                        <a:gdLst>
                          <a:gd name="connsiteX0" fmla="*/ 87421 w 88306"/>
                          <a:gd name="connsiteY0" fmla="*/ 4702 h 65625"/>
                          <a:gd name="connsiteX1" fmla="*/ 9576 w 88306"/>
                          <a:gd name="connsiteY1" fmla="*/ 62084 h 65625"/>
                          <a:gd name="connsiteX2" fmla="*/ 0 w 88306"/>
                          <a:gd name="connsiteY2" fmla="*/ 65625 h 65625"/>
                          <a:gd name="connsiteX3" fmla="*/ 6421 w 88306"/>
                          <a:gd name="connsiteY3" fmla="*/ 57807 h 65625"/>
                          <a:gd name="connsiteX4" fmla="*/ 84266 w 88306"/>
                          <a:gd name="connsiteY4" fmla="*/ 425 h 65625"/>
                          <a:gd name="connsiteX5" fmla="*/ 87321 w 88306"/>
                          <a:gd name="connsiteY5" fmla="*/ 886 h 65625"/>
                          <a:gd name="connsiteX6" fmla="*/ 87882 w 88306"/>
                          <a:gd name="connsiteY6" fmla="*/ 1647 h 65625"/>
                          <a:gd name="connsiteX7" fmla="*/ 87421 w 88306"/>
                          <a:gd name="connsiteY7" fmla="*/ 4702 h 6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06" h="65625">
                            <a:moveTo>
                              <a:pt x="87421" y="4702"/>
                            </a:moveTo>
                            <a:lnTo>
                              <a:pt x="9576" y="62084"/>
                            </a:lnTo>
                            <a:lnTo>
                              <a:pt x="0" y="65625"/>
                            </a:lnTo>
                            <a:lnTo>
                              <a:pt x="6421" y="57807"/>
                            </a:lnTo>
                            <a:lnTo>
                              <a:pt x="84266" y="425"/>
                            </a:lnTo>
                            <a:cubicBezTo>
                              <a:pt x="85239" y="-286"/>
                              <a:pt x="86610" y="-87"/>
                              <a:pt x="87321" y="886"/>
                            </a:cubicBezTo>
                            <a:lnTo>
                              <a:pt x="87882" y="1647"/>
                            </a:lnTo>
                            <a:cubicBezTo>
                              <a:pt x="88593" y="2619"/>
                              <a:pt x="88393" y="3991"/>
                              <a:pt x="87421" y="4702"/>
                            </a:cubicBezTo>
                            <a:close/>
                          </a:path>
                        </a:pathLst>
                      </a:custGeom>
                      <a:solidFill>
                        <a:srgbClr val="1B1F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51" name="Freeform: Shape 2950">
                        <a:extLst>
                          <a:ext uri="{FF2B5EF4-FFF2-40B4-BE49-F238E27FC236}">
                            <a16:creationId xmlns:a16="http://schemas.microsoft.com/office/drawing/2014/main" id="{FF12A9DB-9BE0-57C2-422A-F7025F382B28}"/>
                          </a:ext>
                        </a:extLst>
                      </p:cNvPr>
                      <p:cNvSpPr/>
                      <p:nvPr/>
                    </p:nvSpPr>
                    <p:spPr>
                      <a:xfrm>
                        <a:off x="6550729" y="4243156"/>
                        <a:ext cx="28659" cy="30178"/>
                      </a:xfrm>
                      <a:custGeom>
                        <a:avLst/>
                        <a:gdLst>
                          <a:gd name="connsiteX0" fmla="*/ 18273 w 28659"/>
                          <a:gd name="connsiteY0" fmla="*/ 29415 h 30178"/>
                          <a:gd name="connsiteX1" fmla="*/ 11178 w 28659"/>
                          <a:gd name="connsiteY1" fmla="*/ 18429 h 30178"/>
                          <a:gd name="connsiteX2" fmla="*/ 903 w 28659"/>
                          <a:gd name="connsiteY2" fmla="*/ 4963 h 30178"/>
                          <a:gd name="connsiteX3" fmla="*/ 3734 w 28659"/>
                          <a:gd name="connsiteY3" fmla="*/ 0 h 30178"/>
                          <a:gd name="connsiteX4" fmla="*/ 17562 w 28659"/>
                          <a:gd name="connsiteY4" fmla="*/ 7444 h 30178"/>
                          <a:gd name="connsiteX5" fmla="*/ 28548 w 28659"/>
                          <a:gd name="connsiteY5" fmla="*/ 21272 h 30178"/>
                          <a:gd name="connsiteX6" fmla="*/ 18273 w 28659"/>
                          <a:gd name="connsiteY6" fmla="*/ 29427 h 3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59" h="30178">
                            <a:moveTo>
                              <a:pt x="18273" y="29415"/>
                            </a:moveTo>
                            <a:cubicBezTo>
                              <a:pt x="18273" y="29415"/>
                              <a:pt x="14021" y="26584"/>
                              <a:pt x="11178" y="18429"/>
                            </a:cubicBezTo>
                            <a:cubicBezTo>
                              <a:pt x="8347" y="10275"/>
                              <a:pt x="3385" y="7793"/>
                              <a:pt x="903" y="4963"/>
                            </a:cubicBezTo>
                            <a:cubicBezTo>
                              <a:pt x="-1578" y="2132"/>
                              <a:pt x="1614" y="0"/>
                              <a:pt x="3734" y="0"/>
                            </a:cubicBezTo>
                            <a:cubicBezTo>
                              <a:pt x="5854" y="0"/>
                              <a:pt x="12949" y="5312"/>
                              <a:pt x="17562" y="7444"/>
                            </a:cubicBezTo>
                            <a:cubicBezTo>
                              <a:pt x="22176" y="9576"/>
                              <a:pt x="27488" y="14539"/>
                              <a:pt x="28548" y="21272"/>
                            </a:cubicBezTo>
                            <a:cubicBezTo>
                              <a:pt x="29607" y="28006"/>
                              <a:pt x="22874" y="31909"/>
                              <a:pt x="18273" y="29427"/>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52" name="Freeform: Shape 2951">
                      <a:extLst>
                        <a:ext uri="{FF2B5EF4-FFF2-40B4-BE49-F238E27FC236}">
                          <a16:creationId xmlns:a16="http://schemas.microsoft.com/office/drawing/2014/main" id="{C095CC8F-EB6C-765D-1C60-F2ABC2D20C3D}"/>
                        </a:ext>
                      </a:extLst>
                    </p:cNvPr>
                    <p:cNvSpPr/>
                    <p:nvPr/>
                  </p:nvSpPr>
                  <p:spPr>
                    <a:xfrm>
                      <a:off x="6572531" y="4271474"/>
                      <a:ext cx="119229" cy="126019"/>
                    </a:xfrm>
                    <a:custGeom>
                      <a:avLst/>
                      <a:gdLst>
                        <a:gd name="connsiteX0" fmla="*/ 93942 w 119229"/>
                        <a:gd name="connsiteY0" fmla="*/ 125963 h 126019"/>
                        <a:gd name="connsiteX1" fmla="*/ 81648 w 119229"/>
                        <a:gd name="connsiteY1" fmla="*/ 120202 h 126019"/>
                        <a:gd name="connsiteX2" fmla="*/ 29776 w 119229"/>
                        <a:gd name="connsiteY2" fmla="*/ 62208 h 126019"/>
                        <a:gd name="connsiteX3" fmla="*/ 0 w 119229"/>
                        <a:gd name="connsiteY3" fmla="*/ 20200 h 126019"/>
                        <a:gd name="connsiteX4" fmla="*/ 20736 w 119229"/>
                        <a:gd name="connsiteY4" fmla="*/ 0 h 126019"/>
                        <a:gd name="connsiteX5" fmla="*/ 119230 w 119229"/>
                        <a:gd name="connsiteY5" fmla="*/ 102708 h 126019"/>
                        <a:gd name="connsiteX6" fmla="*/ 114853 w 119229"/>
                        <a:gd name="connsiteY6" fmla="*/ 114990 h 126019"/>
                        <a:gd name="connsiteX7" fmla="*/ 93930 w 119229"/>
                        <a:gd name="connsiteY7" fmla="*/ 125950 h 12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229" h="126019">
                          <a:moveTo>
                            <a:pt x="93942" y="125963"/>
                          </a:moveTo>
                          <a:cubicBezTo>
                            <a:pt x="89304" y="125576"/>
                            <a:pt x="84965" y="123469"/>
                            <a:pt x="81648" y="120202"/>
                          </a:cubicBezTo>
                          <a:cubicBezTo>
                            <a:pt x="73829" y="112521"/>
                            <a:pt x="50625" y="89129"/>
                            <a:pt x="29776" y="62208"/>
                          </a:cubicBezTo>
                          <a:cubicBezTo>
                            <a:pt x="9065" y="35462"/>
                            <a:pt x="0" y="20200"/>
                            <a:pt x="0" y="20200"/>
                          </a:cubicBezTo>
                          <a:cubicBezTo>
                            <a:pt x="0" y="20200"/>
                            <a:pt x="7444" y="5312"/>
                            <a:pt x="20736" y="0"/>
                          </a:cubicBezTo>
                          <a:cubicBezTo>
                            <a:pt x="20736" y="0"/>
                            <a:pt x="110838" y="69029"/>
                            <a:pt x="119230" y="102708"/>
                          </a:cubicBezTo>
                          <a:cubicBezTo>
                            <a:pt x="119230" y="102708"/>
                            <a:pt x="118868" y="109329"/>
                            <a:pt x="114853" y="114990"/>
                          </a:cubicBezTo>
                          <a:cubicBezTo>
                            <a:pt x="110539" y="121087"/>
                            <a:pt x="103032" y="126711"/>
                            <a:pt x="93930" y="125950"/>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53" name="Freeform: Shape 2952">
                    <a:extLst>
                      <a:ext uri="{FF2B5EF4-FFF2-40B4-BE49-F238E27FC236}">
                        <a16:creationId xmlns:a16="http://schemas.microsoft.com/office/drawing/2014/main" id="{CAFBC01F-9C96-9B99-7BEC-B86B69651DA6}"/>
                      </a:ext>
                    </a:extLst>
                  </p:cNvPr>
                  <p:cNvSpPr/>
                  <p:nvPr/>
                </p:nvSpPr>
                <p:spPr>
                  <a:xfrm>
                    <a:off x="6674312" y="4241099"/>
                    <a:ext cx="33533" cy="141873"/>
                  </a:xfrm>
                  <a:custGeom>
                    <a:avLst/>
                    <a:gdLst>
                      <a:gd name="connsiteX0" fmla="*/ 18471 w 33533"/>
                      <a:gd name="connsiteY0" fmla="*/ 130489 h 141873"/>
                      <a:gd name="connsiteX1" fmla="*/ 33533 w 33533"/>
                      <a:gd name="connsiteY1" fmla="*/ 71473 h 141873"/>
                      <a:gd name="connsiteX2" fmla="*/ 23147 w 33533"/>
                      <a:gd name="connsiteY2" fmla="*/ 0 h 141873"/>
                      <a:gd name="connsiteX3" fmla="*/ 9343 w 33533"/>
                      <a:gd name="connsiteY3" fmla="*/ 31946 h 141873"/>
                      <a:gd name="connsiteX4" fmla="*/ 3932 w 33533"/>
                      <a:gd name="connsiteY4" fmla="*/ 101511 h 141873"/>
                      <a:gd name="connsiteX5" fmla="*/ 13757 w 33533"/>
                      <a:gd name="connsiteY5" fmla="*/ 141873 h 141873"/>
                      <a:gd name="connsiteX6" fmla="*/ 18483 w 33533"/>
                      <a:gd name="connsiteY6" fmla="*/ 130501 h 14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33" h="141873">
                        <a:moveTo>
                          <a:pt x="18471" y="130489"/>
                        </a:moveTo>
                        <a:cubicBezTo>
                          <a:pt x="21276" y="119865"/>
                          <a:pt x="27648" y="95064"/>
                          <a:pt x="33533" y="71473"/>
                        </a:cubicBezTo>
                        <a:cubicBezTo>
                          <a:pt x="32349" y="38043"/>
                          <a:pt x="23147" y="0"/>
                          <a:pt x="23147" y="0"/>
                        </a:cubicBezTo>
                        <a:cubicBezTo>
                          <a:pt x="23147" y="0"/>
                          <a:pt x="14219" y="11908"/>
                          <a:pt x="9343" y="31946"/>
                        </a:cubicBezTo>
                        <a:cubicBezTo>
                          <a:pt x="4468" y="51971"/>
                          <a:pt x="-5545" y="77695"/>
                          <a:pt x="3932" y="101511"/>
                        </a:cubicBezTo>
                        <a:cubicBezTo>
                          <a:pt x="11214" y="119815"/>
                          <a:pt x="13221" y="135564"/>
                          <a:pt x="13757" y="141873"/>
                        </a:cubicBezTo>
                        <a:cubicBezTo>
                          <a:pt x="15678" y="138731"/>
                          <a:pt x="17298" y="134965"/>
                          <a:pt x="18483" y="130501"/>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54" name="Freeform: Shape 2953">
                    <a:extLst>
                      <a:ext uri="{FF2B5EF4-FFF2-40B4-BE49-F238E27FC236}">
                        <a16:creationId xmlns:a16="http://schemas.microsoft.com/office/drawing/2014/main" id="{B9860CEA-380A-60C8-0F01-102D3C768C85}"/>
                      </a:ext>
                    </a:extLst>
                  </p:cNvPr>
                  <p:cNvSpPr/>
                  <p:nvPr/>
                </p:nvSpPr>
                <p:spPr>
                  <a:xfrm>
                    <a:off x="6671877" y="4380017"/>
                    <a:ext cx="17613" cy="16621"/>
                  </a:xfrm>
                  <a:custGeom>
                    <a:avLst/>
                    <a:gdLst>
                      <a:gd name="connsiteX0" fmla="*/ 893 w 17613"/>
                      <a:gd name="connsiteY0" fmla="*/ 4377 h 16621"/>
                      <a:gd name="connsiteX1" fmla="*/ 16255 w 17613"/>
                      <a:gd name="connsiteY1" fmla="*/ 0 h 16621"/>
                      <a:gd name="connsiteX2" fmla="*/ 17614 w 17613"/>
                      <a:gd name="connsiteY2" fmla="*/ 2756 h 16621"/>
                      <a:gd name="connsiteX3" fmla="*/ 15507 w 17613"/>
                      <a:gd name="connsiteY3" fmla="*/ 6459 h 16621"/>
                      <a:gd name="connsiteX4" fmla="*/ 2015 w 17613"/>
                      <a:gd name="connsiteY4" fmla="*/ 16621 h 16621"/>
                      <a:gd name="connsiteX5" fmla="*/ 45 w 17613"/>
                      <a:gd name="connsiteY5" fmla="*/ 14739 h 16621"/>
                      <a:gd name="connsiteX6" fmla="*/ 880 w 17613"/>
                      <a:gd name="connsiteY6" fmla="*/ 4377 h 1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3" h="16621">
                        <a:moveTo>
                          <a:pt x="893" y="4377"/>
                        </a:moveTo>
                        <a:cubicBezTo>
                          <a:pt x="2065" y="3703"/>
                          <a:pt x="16255" y="0"/>
                          <a:pt x="16255" y="0"/>
                        </a:cubicBezTo>
                        <a:cubicBezTo>
                          <a:pt x="16255" y="0"/>
                          <a:pt x="16853" y="1072"/>
                          <a:pt x="17614" y="2756"/>
                        </a:cubicBezTo>
                        <a:cubicBezTo>
                          <a:pt x="17053" y="3978"/>
                          <a:pt x="16367" y="5237"/>
                          <a:pt x="15507" y="6459"/>
                        </a:cubicBezTo>
                        <a:cubicBezTo>
                          <a:pt x="12439" y="10798"/>
                          <a:pt x="7751" y="14901"/>
                          <a:pt x="2015" y="16621"/>
                        </a:cubicBezTo>
                        <a:cubicBezTo>
                          <a:pt x="793" y="15536"/>
                          <a:pt x="45" y="14739"/>
                          <a:pt x="45" y="14739"/>
                        </a:cubicBezTo>
                        <a:cubicBezTo>
                          <a:pt x="45" y="14739"/>
                          <a:pt x="-292" y="5038"/>
                          <a:pt x="880" y="4377"/>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55" name="Graphic 525">
                  <a:extLst>
                    <a:ext uri="{FF2B5EF4-FFF2-40B4-BE49-F238E27FC236}">
                      <a16:creationId xmlns:a16="http://schemas.microsoft.com/office/drawing/2014/main" id="{AAB0C231-47D2-A07E-6D96-9639F92F5EE4}"/>
                    </a:ext>
                  </a:extLst>
                </p:cNvPr>
                <p:cNvGrpSpPr/>
                <p:nvPr/>
              </p:nvGrpSpPr>
              <p:grpSpPr>
                <a:xfrm>
                  <a:off x="6671209" y="4212133"/>
                  <a:ext cx="169910" cy="472792"/>
                  <a:chOff x="6671209" y="4212133"/>
                  <a:chExt cx="169910" cy="472792"/>
                </a:xfrm>
              </p:grpSpPr>
              <p:grpSp>
                <p:nvGrpSpPr>
                  <p:cNvPr id="2956" name="Graphic 525">
                    <a:extLst>
                      <a:ext uri="{FF2B5EF4-FFF2-40B4-BE49-F238E27FC236}">
                        <a16:creationId xmlns:a16="http://schemas.microsoft.com/office/drawing/2014/main" id="{B28740F7-8878-01E6-D75F-03644BF9679E}"/>
                      </a:ext>
                    </a:extLst>
                  </p:cNvPr>
                  <p:cNvGrpSpPr/>
                  <p:nvPr/>
                </p:nvGrpSpPr>
                <p:grpSpPr>
                  <a:xfrm>
                    <a:off x="6671209" y="4220137"/>
                    <a:ext cx="169910" cy="464788"/>
                    <a:chOff x="6671209" y="4220137"/>
                    <a:chExt cx="169910" cy="464788"/>
                  </a:xfrm>
                </p:grpSpPr>
                <p:sp>
                  <p:nvSpPr>
                    <p:cNvPr id="2957" name="Freeform: Shape 2956">
                      <a:extLst>
                        <a:ext uri="{FF2B5EF4-FFF2-40B4-BE49-F238E27FC236}">
                          <a16:creationId xmlns:a16="http://schemas.microsoft.com/office/drawing/2014/main" id="{C7C3750B-86FB-2289-F370-D21CD77D6655}"/>
                        </a:ext>
                      </a:extLst>
                    </p:cNvPr>
                    <p:cNvSpPr/>
                    <p:nvPr/>
                  </p:nvSpPr>
                  <p:spPr>
                    <a:xfrm>
                      <a:off x="6671209" y="4220137"/>
                      <a:ext cx="169910" cy="464788"/>
                    </a:xfrm>
                    <a:custGeom>
                      <a:avLst/>
                      <a:gdLst>
                        <a:gd name="connsiteX0" fmla="*/ 151701 w 169910"/>
                        <a:gd name="connsiteY0" fmla="*/ 227300 h 464788"/>
                        <a:gd name="connsiteX1" fmla="*/ 140953 w 169910"/>
                        <a:gd name="connsiteY1" fmla="*/ 199058 h 464788"/>
                        <a:gd name="connsiteX2" fmla="*/ 142374 w 169910"/>
                        <a:gd name="connsiteY2" fmla="*/ 114505 h 464788"/>
                        <a:gd name="connsiteX3" fmla="*/ 161053 w 169910"/>
                        <a:gd name="connsiteY3" fmla="*/ 12196 h 464788"/>
                        <a:gd name="connsiteX4" fmla="*/ 126950 w 169910"/>
                        <a:gd name="connsiteY4" fmla="*/ 14 h 464788"/>
                        <a:gd name="connsiteX5" fmla="*/ 107909 w 169910"/>
                        <a:gd name="connsiteY5" fmla="*/ 9353 h 464788"/>
                        <a:gd name="connsiteX6" fmla="*/ 83819 w 169910"/>
                        <a:gd name="connsiteY6" fmla="*/ 38219 h 464788"/>
                        <a:gd name="connsiteX7" fmla="*/ 61936 w 169910"/>
                        <a:gd name="connsiteY7" fmla="*/ 84542 h 464788"/>
                        <a:gd name="connsiteX8" fmla="*/ 61574 w 169910"/>
                        <a:gd name="connsiteY8" fmla="*/ 2046 h 464788"/>
                        <a:gd name="connsiteX9" fmla="*/ 41674 w 169910"/>
                        <a:gd name="connsiteY9" fmla="*/ 6510 h 464788"/>
                        <a:gd name="connsiteX10" fmla="*/ 23805 w 169910"/>
                        <a:gd name="connsiteY10" fmla="*/ 22346 h 464788"/>
                        <a:gd name="connsiteX11" fmla="*/ 11623 w 169910"/>
                        <a:gd name="connsiteY11" fmla="*/ 79192 h 464788"/>
                        <a:gd name="connsiteX12" fmla="*/ 15277 w 169910"/>
                        <a:gd name="connsiteY12" fmla="*/ 126700 h 464788"/>
                        <a:gd name="connsiteX13" fmla="*/ 13244 w 169910"/>
                        <a:gd name="connsiteY13" fmla="*/ 205055 h 464788"/>
                        <a:gd name="connsiteX14" fmla="*/ 14 w 169910"/>
                        <a:gd name="connsiteY14" fmla="*/ 382329 h 464788"/>
                        <a:gd name="connsiteX15" fmla="*/ 5364 w 169910"/>
                        <a:gd name="connsiteY15" fmla="*/ 461931 h 464788"/>
                        <a:gd name="connsiteX16" fmla="*/ 57397 w 169910"/>
                        <a:gd name="connsiteY16" fmla="*/ 456357 h 464788"/>
                        <a:gd name="connsiteX17" fmla="*/ 158534 w 169910"/>
                        <a:gd name="connsiteY17" fmla="*/ 460597 h 464788"/>
                        <a:gd name="connsiteX18" fmla="*/ 169906 w 169910"/>
                        <a:gd name="connsiteY18" fmla="*/ 339522 h 464788"/>
                        <a:gd name="connsiteX19" fmla="*/ 151663 w 169910"/>
                        <a:gd name="connsiteY19" fmla="*/ 227313 h 46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9910" h="464788">
                          <a:moveTo>
                            <a:pt x="151701" y="227300"/>
                          </a:moveTo>
                          <a:cubicBezTo>
                            <a:pt x="143322" y="208447"/>
                            <a:pt x="140953" y="199058"/>
                            <a:pt x="140953" y="199058"/>
                          </a:cubicBezTo>
                          <a:cubicBezTo>
                            <a:pt x="139768" y="182586"/>
                            <a:pt x="137661" y="142822"/>
                            <a:pt x="142374" y="114505"/>
                          </a:cubicBezTo>
                          <a:cubicBezTo>
                            <a:pt x="148459" y="77970"/>
                            <a:pt x="169170" y="34927"/>
                            <a:pt x="161053" y="12196"/>
                          </a:cubicBezTo>
                          <a:cubicBezTo>
                            <a:pt x="159831" y="8543"/>
                            <a:pt x="145217" y="1236"/>
                            <a:pt x="126950" y="14"/>
                          </a:cubicBezTo>
                          <a:cubicBezTo>
                            <a:pt x="122037" y="-311"/>
                            <a:pt x="115029" y="5238"/>
                            <a:pt x="107909" y="9353"/>
                          </a:cubicBezTo>
                          <a:cubicBezTo>
                            <a:pt x="97136" y="15587"/>
                            <a:pt x="85714" y="32533"/>
                            <a:pt x="83819" y="38219"/>
                          </a:cubicBezTo>
                          <a:lnTo>
                            <a:pt x="61936" y="84542"/>
                          </a:lnTo>
                          <a:cubicBezTo>
                            <a:pt x="62709" y="63743"/>
                            <a:pt x="63781" y="8218"/>
                            <a:pt x="61574" y="2046"/>
                          </a:cubicBezTo>
                          <a:cubicBezTo>
                            <a:pt x="61574" y="2046"/>
                            <a:pt x="50614" y="6111"/>
                            <a:pt x="41674" y="6510"/>
                          </a:cubicBezTo>
                          <a:cubicBezTo>
                            <a:pt x="32746" y="6922"/>
                            <a:pt x="27459" y="10974"/>
                            <a:pt x="23805" y="22346"/>
                          </a:cubicBezTo>
                          <a:cubicBezTo>
                            <a:pt x="20152" y="33718"/>
                            <a:pt x="15688" y="54828"/>
                            <a:pt x="11623" y="79192"/>
                          </a:cubicBezTo>
                          <a:cubicBezTo>
                            <a:pt x="7558" y="103557"/>
                            <a:pt x="11212" y="109642"/>
                            <a:pt x="15277" y="126700"/>
                          </a:cubicBezTo>
                          <a:cubicBezTo>
                            <a:pt x="19341" y="143757"/>
                            <a:pt x="16087" y="175416"/>
                            <a:pt x="13244" y="205055"/>
                          </a:cubicBezTo>
                          <a:cubicBezTo>
                            <a:pt x="13244" y="205055"/>
                            <a:pt x="663" y="303798"/>
                            <a:pt x="14" y="382329"/>
                          </a:cubicBezTo>
                          <a:cubicBezTo>
                            <a:pt x="-322" y="423152"/>
                            <a:pt x="5364" y="461931"/>
                            <a:pt x="5364" y="461931"/>
                          </a:cubicBezTo>
                          <a:cubicBezTo>
                            <a:pt x="22820" y="468215"/>
                            <a:pt x="57397" y="456357"/>
                            <a:pt x="57397" y="456357"/>
                          </a:cubicBezTo>
                          <a:cubicBezTo>
                            <a:pt x="106276" y="472418"/>
                            <a:pt x="158534" y="460597"/>
                            <a:pt x="158534" y="460597"/>
                          </a:cubicBezTo>
                          <a:cubicBezTo>
                            <a:pt x="158534" y="460597"/>
                            <a:pt x="169594" y="386044"/>
                            <a:pt x="169906" y="339522"/>
                          </a:cubicBezTo>
                          <a:cubicBezTo>
                            <a:pt x="170168" y="301990"/>
                            <a:pt x="160042" y="246166"/>
                            <a:pt x="151663" y="227313"/>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58" name="Graphic 525">
                      <a:extLst>
                        <a:ext uri="{FF2B5EF4-FFF2-40B4-BE49-F238E27FC236}">
                          <a16:creationId xmlns:a16="http://schemas.microsoft.com/office/drawing/2014/main" id="{36866A35-6063-A801-B35B-D9A25A252160}"/>
                        </a:ext>
                      </a:extLst>
                    </p:cNvPr>
                    <p:cNvGrpSpPr/>
                    <p:nvPr/>
                  </p:nvGrpSpPr>
                  <p:grpSpPr>
                    <a:xfrm>
                      <a:off x="6683930" y="4238902"/>
                      <a:ext cx="147496" cy="437555"/>
                      <a:chOff x="6683930" y="4238902"/>
                      <a:chExt cx="147496" cy="437555"/>
                    </a:xfrm>
                  </p:grpSpPr>
                  <p:sp>
                    <p:nvSpPr>
                      <p:cNvPr id="2959" name="Freeform: Shape 2958">
                        <a:extLst>
                          <a:ext uri="{FF2B5EF4-FFF2-40B4-BE49-F238E27FC236}">
                            <a16:creationId xmlns:a16="http://schemas.microsoft.com/office/drawing/2014/main" id="{69356D3D-346F-BA50-8DB7-F555734C1EB7}"/>
                          </a:ext>
                        </a:extLst>
                      </p:cNvPr>
                      <p:cNvSpPr/>
                      <p:nvPr/>
                    </p:nvSpPr>
                    <p:spPr>
                      <a:xfrm>
                        <a:off x="6688087" y="4299128"/>
                        <a:ext cx="36736" cy="11862"/>
                      </a:xfrm>
                      <a:custGeom>
                        <a:avLst/>
                        <a:gdLst>
                          <a:gd name="connsiteX0" fmla="*/ 34759 w 36736"/>
                          <a:gd name="connsiteY0" fmla="*/ 11860 h 11862"/>
                          <a:gd name="connsiteX1" fmla="*/ 444 w 36736"/>
                          <a:gd name="connsiteY1" fmla="*/ 8394 h 11862"/>
                          <a:gd name="connsiteX2" fmla="*/ 8 w 36736"/>
                          <a:gd name="connsiteY2" fmla="*/ 7808 h 11862"/>
                          <a:gd name="connsiteX3" fmla="*/ 1441 w 36736"/>
                          <a:gd name="connsiteY3" fmla="*/ 401 h 11862"/>
                          <a:gd name="connsiteX4" fmla="*/ 1978 w 36736"/>
                          <a:gd name="connsiteY4" fmla="*/ 2 h 11862"/>
                          <a:gd name="connsiteX5" fmla="*/ 36293 w 36736"/>
                          <a:gd name="connsiteY5" fmla="*/ 3469 h 11862"/>
                          <a:gd name="connsiteX6" fmla="*/ 36729 w 36736"/>
                          <a:gd name="connsiteY6" fmla="*/ 4055 h 11862"/>
                          <a:gd name="connsiteX7" fmla="*/ 35295 w 36736"/>
                          <a:gd name="connsiteY7" fmla="*/ 11461 h 11862"/>
                          <a:gd name="connsiteX8" fmla="*/ 34759 w 36736"/>
                          <a:gd name="connsiteY8" fmla="*/ 11860 h 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736" h="11862">
                            <a:moveTo>
                              <a:pt x="34759" y="11860"/>
                            </a:moveTo>
                            <a:lnTo>
                              <a:pt x="444" y="8394"/>
                            </a:lnTo>
                            <a:cubicBezTo>
                              <a:pt x="157" y="8369"/>
                              <a:pt x="-42" y="8095"/>
                              <a:pt x="8" y="7808"/>
                            </a:cubicBezTo>
                            <a:lnTo>
                              <a:pt x="1441" y="401"/>
                            </a:lnTo>
                            <a:cubicBezTo>
                              <a:pt x="1491" y="152"/>
                              <a:pt x="1728" y="-23"/>
                              <a:pt x="1978" y="2"/>
                            </a:cubicBezTo>
                            <a:lnTo>
                              <a:pt x="36293" y="3469"/>
                            </a:lnTo>
                            <a:cubicBezTo>
                              <a:pt x="36579" y="3493"/>
                              <a:pt x="36779" y="3768"/>
                              <a:pt x="36729" y="4055"/>
                            </a:cubicBezTo>
                            <a:lnTo>
                              <a:pt x="35295" y="11461"/>
                            </a:lnTo>
                            <a:cubicBezTo>
                              <a:pt x="35245" y="11711"/>
                              <a:pt x="35008" y="11885"/>
                              <a:pt x="34759" y="1186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0" name="Freeform: Shape 2959">
                        <a:extLst>
                          <a:ext uri="{FF2B5EF4-FFF2-40B4-BE49-F238E27FC236}">
                            <a16:creationId xmlns:a16="http://schemas.microsoft.com/office/drawing/2014/main" id="{FE213380-1219-FB19-AFAB-4AEA705C8CE7}"/>
                          </a:ext>
                        </a:extLst>
                      </p:cNvPr>
                      <p:cNvSpPr/>
                      <p:nvPr/>
                    </p:nvSpPr>
                    <p:spPr>
                      <a:xfrm>
                        <a:off x="6715827" y="4304180"/>
                        <a:ext cx="17529" cy="372277"/>
                      </a:xfrm>
                      <a:custGeom>
                        <a:avLst/>
                        <a:gdLst>
                          <a:gd name="connsiteX0" fmla="*/ 17505 w 17529"/>
                          <a:gd name="connsiteY0" fmla="*/ 12 h 372277"/>
                          <a:gd name="connsiteX1" fmla="*/ 14824 w 17529"/>
                          <a:gd name="connsiteY1" fmla="*/ 11871 h 372277"/>
                          <a:gd name="connsiteX2" fmla="*/ 12966 w 17529"/>
                          <a:gd name="connsiteY2" fmla="*/ 23367 h 372277"/>
                          <a:gd name="connsiteX3" fmla="*/ 12393 w 17529"/>
                          <a:gd name="connsiteY3" fmla="*/ 29140 h 372277"/>
                          <a:gd name="connsiteX4" fmla="*/ 12455 w 17529"/>
                          <a:gd name="connsiteY4" fmla="*/ 34913 h 372277"/>
                          <a:gd name="connsiteX5" fmla="*/ 13627 w 17529"/>
                          <a:gd name="connsiteY5" fmla="*/ 46510 h 372277"/>
                          <a:gd name="connsiteX6" fmla="*/ 14176 w 17529"/>
                          <a:gd name="connsiteY6" fmla="*/ 58243 h 372277"/>
                          <a:gd name="connsiteX7" fmla="*/ 13415 w 17529"/>
                          <a:gd name="connsiteY7" fmla="*/ 69977 h 372277"/>
                          <a:gd name="connsiteX8" fmla="*/ 11645 w 17529"/>
                          <a:gd name="connsiteY8" fmla="*/ 81548 h 372277"/>
                          <a:gd name="connsiteX9" fmla="*/ 10772 w 17529"/>
                          <a:gd name="connsiteY9" fmla="*/ 87296 h 372277"/>
                          <a:gd name="connsiteX10" fmla="*/ 9986 w 17529"/>
                          <a:gd name="connsiteY10" fmla="*/ 93057 h 372277"/>
                          <a:gd name="connsiteX11" fmla="*/ 5385 w 17529"/>
                          <a:gd name="connsiteY11" fmla="*/ 139442 h 372277"/>
                          <a:gd name="connsiteX12" fmla="*/ 3739 w 17529"/>
                          <a:gd name="connsiteY12" fmla="*/ 162697 h 372277"/>
                          <a:gd name="connsiteX13" fmla="*/ 3054 w 17529"/>
                          <a:gd name="connsiteY13" fmla="*/ 174330 h 372277"/>
                          <a:gd name="connsiteX14" fmla="*/ 2891 w 17529"/>
                          <a:gd name="connsiteY14" fmla="*/ 177236 h 372277"/>
                          <a:gd name="connsiteX15" fmla="*/ 2804 w 17529"/>
                          <a:gd name="connsiteY15" fmla="*/ 180104 h 372277"/>
                          <a:gd name="connsiteX16" fmla="*/ 2829 w 17529"/>
                          <a:gd name="connsiteY16" fmla="*/ 185902 h 372277"/>
                          <a:gd name="connsiteX17" fmla="*/ 3590 w 17529"/>
                          <a:gd name="connsiteY17" fmla="*/ 209181 h 372277"/>
                          <a:gd name="connsiteX18" fmla="*/ 4749 w 17529"/>
                          <a:gd name="connsiteY18" fmla="*/ 232474 h 372277"/>
                          <a:gd name="connsiteX19" fmla="*/ 7380 w 17529"/>
                          <a:gd name="connsiteY19" fmla="*/ 279071 h 372277"/>
                          <a:gd name="connsiteX20" fmla="*/ 10136 w 17529"/>
                          <a:gd name="connsiteY20" fmla="*/ 325668 h 372277"/>
                          <a:gd name="connsiteX21" fmla="*/ 11483 w 17529"/>
                          <a:gd name="connsiteY21" fmla="*/ 348973 h 372277"/>
                          <a:gd name="connsiteX22" fmla="*/ 12169 w 17529"/>
                          <a:gd name="connsiteY22" fmla="*/ 360619 h 372277"/>
                          <a:gd name="connsiteX23" fmla="*/ 12817 w 17529"/>
                          <a:gd name="connsiteY23" fmla="*/ 372277 h 372277"/>
                          <a:gd name="connsiteX24" fmla="*/ 11744 w 17529"/>
                          <a:gd name="connsiteY24" fmla="*/ 360656 h 372277"/>
                          <a:gd name="connsiteX25" fmla="*/ 10734 w 17529"/>
                          <a:gd name="connsiteY25" fmla="*/ 349023 h 372277"/>
                          <a:gd name="connsiteX26" fmla="*/ 8764 w 17529"/>
                          <a:gd name="connsiteY26" fmla="*/ 325767 h 372277"/>
                          <a:gd name="connsiteX27" fmla="*/ 5198 w 17529"/>
                          <a:gd name="connsiteY27" fmla="*/ 279221 h 372277"/>
                          <a:gd name="connsiteX28" fmla="*/ 2106 w 17529"/>
                          <a:gd name="connsiteY28" fmla="*/ 232636 h 372277"/>
                          <a:gd name="connsiteX29" fmla="*/ 859 w 17529"/>
                          <a:gd name="connsiteY29" fmla="*/ 209319 h 372277"/>
                          <a:gd name="connsiteX30" fmla="*/ 24 w 17529"/>
                          <a:gd name="connsiteY30" fmla="*/ 185952 h 372277"/>
                          <a:gd name="connsiteX31" fmla="*/ 24 w 17529"/>
                          <a:gd name="connsiteY31" fmla="*/ 180079 h 372277"/>
                          <a:gd name="connsiteX32" fmla="*/ 123 w 17529"/>
                          <a:gd name="connsiteY32" fmla="*/ 177111 h 372277"/>
                          <a:gd name="connsiteX33" fmla="*/ 298 w 17529"/>
                          <a:gd name="connsiteY33" fmla="*/ 174193 h 372277"/>
                          <a:gd name="connsiteX34" fmla="*/ 1021 w 17529"/>
                          <a:gd name="connsiteY34" fmla="*/ 162535 h 372277"/>
                          <a:gd name="connsiteX35" fmla="*/ 2754 w 17529"/>
                          <a:gd name="connsiteY35" fmla="*/ 139243 h 372277"/>
                          <a:gd name="connsiteX36" fmla="*/ 4961 w 17529"/>
                          <a:gd name="connsiteY36" fmla="*/ 115975 h 372277"/>
                          <a:gd name="connsiteX37" fmla="*/ 7829 w 17529"/>
                          <a:gd name="connsiteY37" fmla="*/ 92770 h 372277"/>
                          <a:gd name="connsiteX38" fmla="*/ 8702 w 17529"/>
                          <a:gd name="connsiteY38" fmla="*/ 86984 h 372277"/>
                          <a:gd name="connsiteX39" fmla="*/ 9662 w 17529"/>
                          <a:gd name="connsiteY39" fmla="*/ 81211 h 372277"/>
                          <a:gd name="connsiteX40" fmla="*/ 11595 w 17529"/>
                          <a:gd name="connsiteY40" fmla="*/ 69740 h 372277"/>
                          <a:gd name="connsiteX41" fmla="*/ 12567 w 17529"/>
                          <a:gd name="connsiteY41" fmla="*/ 58206 h 372277"/>
                          <a:gd name="connsiteX42" fmla="*/ 12256 w 17529"/>
                          <a:gd name="connsiteY42" fmla="*/ 46622 h 372277"/>
                          <a:gd name="connsiteX43" fmla="*/ 11383 w 17529"/>
                          <a:gd name="connsiteY43" fmla="*/ 34963 h 372277"/>
                          <a:gd name="connsiteX44" fmla="*/ 11470 w 17529"/>
                          <a:gd name="connsiteY44" fmla="*/ 29078 h 372277"/>
                          <a:gd name="connsiteX45" fmla="*/ 11782 w 17529"/>
                          <a:gd name="connsiteY45" fmla="*/ 26148 h 372277"/>
                          <a:gd name="connsiteX46" fmla="*/ 12218 w 17529"/>
                          <a:gd name="connsiteY46" fmla="*/ 23255 h 372277"/>
                          <a:gd name="connsiteX47" fmla="*/ 14413 w 17529"/>
                          <a:gd name="connsiteY47" fmla="*/ 11771 h 372277"/>
                          <a:gd name="connsiteX48" fmla="*/ 17530 w 17529"/>
                          <a:gd name="connsiteY48" fmla="*/ 0 h 37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529" h="372277">
                            <a:moveTo>
                              <a:pt x="17505" y="12"/>
                            </a:moveTo>
                            <a:cubicBezTo>
                              <a:pt x="16520" y="3778"/>
                              <a:pt x="15548" y="8055"/>
                              <a:pt x="14824" y="11871"/>
                            </a:cubicBezTo>
                            <a:cubicBezTo>
                              <a:pt x="14101" y="15686"/>
                              <a:pt x="13478" y="19527"/>
                              <a:pt x="12966" y="23367"/>
                            </a:cubicBezTo>
                            <a:cubicBezTo>
                              <a:pt x="12730" y="25300"/>
                              <a:pt x="12468" y="27208"/>
                              <a:pt x="12393" y="29140"/>
                            </a:cubicBezTo>
                            <a:cubicBezTo>
                              <a:pt x="12306" y="31061"/>
                              <a:pt x="12343" y="32993"/>
                              <a:pt x="12455" y="34913"/>
                            </a:cubicBezTo>
                            <a:cubicBezTo>
                              <a:pt x="12705" y="38767"/>
                              <a:pt x="13253" y="42620"/>
                              <a:pt x="13627" y="46510"/>
                            </a:cubicBezTo>
                            <a:cubicBezTo>
                              <a:pt x="14001" y="50400"/>
                              <a:pt x="14213" y="54315"/>
                              <a:pt x="14176" y="58243"/>
                            </a:cubicBezTo>
                            <a:cubicBezTo>
                              <a:pt x="14138" y="62171"/>
                              <a:pt x="13864" y="66086"/>
                              <a:pt x="13415" y="69977"/>
                            </a:cubicBezTo>
                            <a:cubicBezTo>
                              <a:pt x="13004" y="73867"/>
                              <a:pt x="12256" y="77745"/>
                              <a:pt x="11645" y="81548"/>
                            </a:cubicBezTo>
                            <a:cubicBezTo>
                              <a:pt x="11308" y="83456"/>
                              <a:pt x="11059" y="85376"/>
                              <a:pt x="10772" y="87296"/>
                            </a:cubicBezTo>
                            <a:cubicBezTo>
                              <a:pt x="10473" y="89216"/>
                              <a:pt x="10236" y="91137"/>
                              <a:pt x="9986" y="93057"/>
                            </a:cubicBezTo>
                            <a:cubicBezTo>
                              <a:pt x="8029" y="108456"/>
                              <a:pt x="6570" y="123943"/>
                              <a:pt x="5385" y="139442"/>
                            </a:cubicBezTo>
                            <a:cubicBezTo>
                              <a:pt x="4787" y="147185"/>
                              <a:pt x="4226" y="154941"/>
                              <a:pt x="3739" y="162697"/>
                            </a:cubicBezTo>
                            <a:lnTo>
                              <a:pt x="3054" y="174330"/>
                            </a:lnTo>
                            <a:lnTo>
                              <a:pt x="2891" y="177236"/>
                            </a:lnTo>
                            <a:lnTo>
                              <a:pt x="2804" y="180104"/>
                            </a:lnTo>
                            <a:cubicBezTo>
                              <a:pt x="2804" y="182037"/>
                              <a:pt x="2779" y="183957"/>
                              <a:pt x="2829" y="185902"/>
                            </a:cubicBezTo>
                            <a:cubicBezTo>
                              <a:pt x="2941" y="193645"/>
                              <a:pt x="3253" y="201413"/>
                              <a:pt x="3590" y="209181"/>
                            </a:cubicBezTo>
                            <a:cubicBezTo>
                              <a:pt x="3939" y="216950"/>
                              <a:pt x="4350" y="224718"/>
                              <a:pt x="4749" y="232474"/>
                            </a:cubicBezTo>
                            <a:cubicBezTo>
                              <a:pt x="5547" y="248010"/>
                              <a:pt x="6495" y="263534"/>
                              <a:pt x="7380" y="279071"/>
                            </a:cubicBezTo>
                            <a:lnTo>
                              <a:pt x="10136" y="325668"/>
                            </a:lnTo>
                            <a:lnTo>
                              <a:pt x="11483" y="348973"/>
                            </a:lnTo>
                            <a:lnTo>
                              <a:pt x="12169" y="360619"/>
                            </a:lnTo>
                            <a:lnTo>
                              <a:pt x="12817" y="372277"/>
                            </a:lnTo>
                            <a:lnTo>
                              <a:pt x="11744" y="360656"/>
                            </a:lnTo>
                            <a:lnTo>
                              <a:pt x="10734" y="349023"/>
                            </a:lnTo>
                            <a:lnTo>
                              <a:pt x="8764" y="325767"/>
                            </a:lnTo>
                            <a:cubicBezTo>
                              <a:pt x="7518" y="310256"/>
                              <a:pt x="6308" y="294745"/>
                              <a:pt x="5198" y="279221"/>
                            </a:cubicBezTo>
                            <a:cubicBezTo>
                              <a:pt x="4051" y="263697"/>
                              <a:pt x="3054" y="248172"/>
                              <a:pt x="2106" y="232636"/>
                            </a:cubicBezTo>
                            <a:cubicBezTo>
                              <a:pt x="1632" y="224868"/>
                              <a:pt x="1233" y="217099"/>
                              <a:pt x="859" y="209319"/>
                            </a:cubicBezTo>
                            <a:cubicBezTo>
                              <a:pt x="497" y="201538"/>
                              <a:pt x="161" y="193757"/>
                              <a:pt x="24" y="185952"/>
                            </a:cubicBezTo>
                            <a:cubicBezTo>
                              <a:pt x="-14" y="184006"/>
                              <a:pt x="-1" y="182037"/>
                              <a:pt x="24" y="180079"/>
                            </a:cubicBezTo>
                            <a:lnTo>
                              <a:pt x="123" y="177111"/>
                            </a:lnTo>
                            <a:lnTo>
                              <a:pt x="298" y="174193"/>
                            </a:lnTo>
                            <a:lnTo>
                              <a:pt x="1021" y="162535"/>
                            </a:lnTo>
                            <a:cubicBezTo>
                              <a:pt x="1545" y="154767"/>
                              <a:pt x="2093" y="146998"/>
                              <a:pt x="2754" y="139243"/>
                            </a:cubicBezTo>
                            <a:cubicBezTo>
                              <a:pt x="3415" y="131487"/>
                              <a:pt x="4126" y="123731"/>
                              <a:pt x="4961" y="115975"/>
                            </a:cubicBezTo>
                            <a:cubicBezTo>
                              <a:pt x="5784" y="108232"/>
                              <a:pt x="6707" y="100489"/>
                              <a:pt x="7829" y="92770"/>
                            </a:cubicBezTo>
                            <a:cubicBezTo>
                              <a:pt x="8116" y="90837"/>
                              <a:pt x="8378" y="88905"/>
                              <a:pt x="8702" y="86984"/>
                            </a:cubicBezTo>
                            <a:cubicBezTo>
                              <a:pt x="9014" y="85064"/>
                              <a:pt x="9301" y="83132"/>
                              <a:pt x="9662" y="81211"/>
                            </a:cubicBezTo>
                            <a:cubicBezTo>
                              <a:pt x="10348" y="77346"/>
                              <a:pt x="11096" y="73580"/>
                              <a:pt x="11595" y="69740"/>
                            </a:cubicBezTo>
                            <a:cubicBezTo>
                              <a:pt x="12119" y="65912"/>
                              <a:pt x="12455" y="62059"/>
                              <a:pt x="12567" y="58206"/>
                            </a:cubicBezTo>
                            <a:cubicBezTo>
                              <a:pt x="12680" y="54353"/>
                              <a:pt x="12555" y="50488"/>
                              <a:pt x="12256" y="46622"/>
                            </a:cubicBezTo>
                            <a:cubicBezTo>
                              <a:pt x="11981" y="42757"/>
                              <a:pt x="11533" y="38891"/>
                              <a:pt x="11383" y="34963"/>
                            </a:cubicBezTo>
                            <a:cubicBezTo>
                              <a:pt x="11308" y="33006"/>
                              <a:pt x="11333" y="31036"/>
                              <a:pt x="11470" y="29078"/>
                            </a:cubicBezTo>
                            <a:cubicBezTo>
                              <a:pt x="11545" y="28093"/>
                              <a:pt x="11645" y="27120"/>
                              <a:pt x="11782" y="26148"/>
                            </a:cubicBezTo>
                            <a:lnTo>
                              <a:pt x="12218" y="23255"/>
                            </a:lnTo>
                            <a:cubicBezTo>
                              <a:pt x="12829" y="19402"/>
                              <a:pt x="13565" y="15574"/>
                              <a:pt x="14413" y="11771"/>
                            </a:cubicBezTo>
                            <a:cubicBezTo>
                              <a:pt x="15273" y="7968"/>
                              <a:pt x="16408" y="3729"/>
                              <a:pt x="17530" y="0"/>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1" name="Freeform: Shape 2960">
                        <a:extLst>
                          <a:ext uri="{FF2B5EF4-FFF2-40B4-BE49-F238E27FC236}">
                            <a16:creationId xmlns:a16="http://schemas.microsoft.com/office/drawing/2014/main" id="{04199BE4-06EF-562D-AAB6-0BD1962FDA13}"/>
                          </a:ext>
                        </a:extLst>
                      </p:cNvPr>
                      <p:cNvSpPr/>
                      <p:nvPr/>
                    </p:nvSpPr>
                    <p:spPr>
                      <a:xfrm>
                        <a:off x="6683930" y="4238902"/>
                        <a:ext cx="147496" cy="190255"/>
                      </a:xfrm>
                      <a:custGeom>
                        <a:avLst/>
                        <a:gdLst>
                          <a:gd name="connsiteX0" fmla="*/ 129654 w 147496"/>
                          <a:gd name="connsiteY0" fmla="*/ 95740 h 190255"/>
                          <a:gd name="connsiteX1" fmla="*/ 147497 w 147496"/>
                          <a:gd name="connsiteY1" fmla="*/ 26599 h 190255"/>
                          <a:gd name="connsiteX2" fmla="*/ 126112 w 147496"/>
                          <a:gd name="connsiteY2" fmla="*/ 2 h 190255"/>
                          <a:gd name="connsiteX3" fmla="*/ 100950 w 147496"/>
                          <a:gd name="connsiteY3" fmla="*/ 58133 h 190255"/>
                          <a:gd name="connsiteX4" fmla="*/ 88194 w 147496"/>
                          <a:gd name="connsiteY4" fmla="*/ 112361 h 190255"/>
                          <a:gd name="connsiteX5" fmla="*/ 57358 w 147496"/>
                          <a:gd name="connsiteY5" fmla="*/ 121576 h 190255"/>
                          <a:gd name="connsiteX6" fmla="*/ 4227 w 147496"/>
                          <a:gd name="connsiteY6" fmla="*/ 141115 h 190255"/>
                          <a:gd name="connsiteX7" fmla="*/ 561 w 147496"/>
                          <a:gd name="connsiteY7" fmla="*/ 186278 h 190255"/>
                          <a:gd name="connsiteX8" fmla="*/ 0 w 147496"/>
                          <a:gd name="connsiteY8" fmla="*/ 190256 h 190255"/>
                          <a:gd name="connsiteX9" fmla="*/ 127521 w 147496"/>
                          <a:gd name="connsiteY9" fmla="*/ 168647 h 190255"/>
                          <a:gd name="connsiteX10" fmla="*/ 129666 w 147496"/>
                          <a:gd name="connsiteY10" fmla="*/ 95740 h 19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496" h="190255">
                            <a:moveTo>
                              <a:pt x="129654" y="95740"/>
                            </a:moveTo>
                            <a:cubicBezTo>
                              <a:pt x="133432" y="73059"/>
                              <a:pt x="142846" y="47871"/>
                              <a:pt x="147497" y="26599"/>
                            </a:cubicBezTo>
                            <a:cubicBezTo>
                              <a:pt x="144666" y="10539"/>
                              <a:pt x="138245" y="-185"/>
                              <a:pt x="126112" y="2"/>
                            </a:cubicBezTo>
                            <a:cubicBezTo>
                              <a:pt x="126112" y="2"/>
                              <a:pt x="110165" y="13469"/>
                              <a:pt x="100950" y="58133"/>
                            </a:cubicBezTo>
                            <a:cubicBezTo>
                              <a:pt x="91735" y="102798"/>
                              <a:pt x="88194" y="112361"/>
                              <a:pt x="88194" y="112361"/>
                            </a:cubicBezTo>
                            <a:cubicBezTo>
                              <a:pt x="88194" y="112361"/>
                              <a:pt x="70114" y="116613"/>
                              <a:pt x="57358" y="121576"/>
                            </a:cubicBezTo>
                            <a:cubicBezTo>
                              <a:pt x="46235" y="125903"/>
                              <a:pt x="17319" y="137512"/>
                              <a:pt x="4227" y="141115"/>
                            </a:cubicBezTo>
                            <a:cubicBezTo>
                              <a:pt x="3603" y="155193"/>
                              <a:pt x="2032" y="171003"/>
                              <a:pt x="561" y="186278"/>
                            </a:cubicBezTo>
                            <a:cubicBezTo>
                              <a:pt x="561" y="186278"/>
                              <a:pt x="362" y="187675"/>
                              <a:pt x="0" y="190256"/>
                            </a:cubicBezTo>
                            <a:cubicBezTo>
                              <a:pt x="16310" y="189682"/>
                              <a:pt x="89715" y="186166"/>
                              <a:pt x="127521" y="168647"/>
                            </a:cubicBezTo>
                            <a:cubicBezTo>
                              <a:pt x="126499" y="149158"/>
                              <a:pt x="125850" y="118683"/>
                              <a:pt x="129666" y="95740"/>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962" name="Graphic 525">
                    <a:extLst>
                      <a:ext uri="{FF2B5EF4-FFF2-40B4-BE49-F238E27FC236}">
                        <a16:creationId xmlns:a16="http://schemas.microsoft.com/office/drawing/2014/main" id="{A68797F5-1BEC-6011-05EA-3E921D332D5B}"/>
                      </a:ext>
                    </a:extLst>
                  </p:cNvPr>
                  <p:cNvGrpSpPr/>
                  <p:nvPr/>
                </p:nvGrpSpPr>
                <p:grpSpPr>
                  <a:xfrm>
                    <a:off x="6706299" y="4212133"/>
                    <a:ext cx="108817" cy="162035"/>
                    <a:chOff x="6706299" y="4212133"/>
                    <a:chExt cx="108817" cy="162035"/>
                  </a:xfrm>
                </p:grpSpPr>
                <p:grpSp>
                  <p:nvGrpSpPr>
                    <p:cNvPr id="2963" name="Graphic 525">
                      <a:extLst>
                        <a:ext uri="{FF2B5EF4-FFF2-40B4-BE49-F238E27FC236}">
                          <a16:creationId xmlns:a16="http://schemas.microsoft.com/office/drawing/2014/main" id="{10E88690-DD99-AB5A-D15F-C3995C24CEF8}"/>
                        </a:ext>
                      </a:extLst>
                    </p:cNvPr>
                    <p:cNvGrpSpPr/>
                    <p:nvPr/>
                  </p:nvGrpSpPr>
                  <p:grpSpPr>
                    <a:xfrm>
                      <a:off x="6706299" y="4216946"/>
                      <a:ext cx="108817" cy="157223"/>
                      <a:chOff x="6706299" y="4216946"/>
                      <a:chExt cx="108817" cy="157223"/>
                    </a:xfrm>
                  </p:grpSpPr>
                  <p:sp>
                    <p:nvSpPr>
                      <p:cNvPr id="2964" name="Freeform: Shape 2963">
                        <a:extLst>
                          <a:ext uri="{FF2B5EF4-FFF2-40B4-BE49-F238E27FC236}">
                            <a16:creationId xmlns:a16="http://schemas.microsoft.com/office/drawing/2014/main" id="{92E7C1FC-A162-D4CC-FA6B-9C744F16BD8E}"/>
                          </a:ext>
                        </a:extLst>
                      </p:cNvPr>
                      <p:cNvSpPr/>
                      <p:nvPr/>
                    </p:nvSpPr>
                    <p:spPr>
                      <a:xfrm>
                        <a:off x="6715751" y="4222171"/>
                        <a:ext cx="18346" cy="100874"/>
                      </a:xfrm>
                      <a:custGeom>
                        <a:avLst/>
                        <a:gdLst>
                          <a:gd name="connsiteX0" fmla="*/ 17831 w 18346"/>
                          <a:gd name="connsiteY0" fmla="*/ 81585 h 100874"/>
                          <a:gd name="connsiteX1" fmla="*/ 17394 w 18346"/>
                          <a:gd name="connsiteY1" fmla="*/ 82495 h 100874"/>
                          <a:gd name="connsiteX2" fmla="*/ 17033 w 18346"/>
                          <a:gd name="connsiteY2" fmla="*/ 0 h 100874"/>
                          <a:gd name="connsiteX3" fmla="*/ 0 w 18346"/>
                          <a:gd name="connsiteY3" fmla="*/ 4227 h 100874"/>
                          <a:gd name="connsiteX4" fmla="*/ 12594 w 18346"/>
                          <a:gd name="connsiteY4" fmla="*/ 37183 h 100874"/>
                          <a:gd name="connsiteX5" fmla="*/ 6384 w 18346"/>
                          <a:gd name="connsiteY5" fmla="*/ 40437 h 100874"/>
                          <a:gd name="connsiteX6" fmla="*/ 13217 w 18346"/>
                          <a:gd name="connsiteY6" fmla="*/ 100875 h 100874"/>
                          <a:gd name="connsiteX7" fmla="*/ 17843 w 18346"/>
                          <a:gd name="connsiteY7" fmla="*/ 81573 h 10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6" h="100874">
                            <a:moveTo>
                              <a:pt x="17831" y="81585"/>
                            </a:moveTo>
                            <a:lnTo>
                              <a:pt x="17394" y="82495"/>
                            </a:lnTo>
                            <a:cubicBezTo>
                              <a:pt x="18168" y="61697"/>
                              <a:pt x="19240" y="6172"/>
                              <a:pt x="17033" y="0"/>
                            </a:cubicBezTo>
                            <a:cubicBezTo>
                              <a:pt x="17033" y="0"/>
                              <a:pt x="8242" y="3254"/>
                              <a:pt x="0" y="4227"/>
                            </a:cubicBezTo>
                            <a:cubicBezTo>
                              <a:pt x="10661" y="16883"/>
                              <a:pt x="12594" y="37183"/>
                              <a:pt x="12594" y="37183"/>
                            </a:cubicBezTo>
                            <a:cubicBezTo>
                              <a:pt x="9339" y="37956"/>
                              <a:pt x="6384" y="40437"/>
                              <a:pt x="6384" y="40437"/>
                            </a:cubicBezTo>
                            <a:cubicBezTo>
                              <a:pt x="16322" y="61385"/>
                              <a:pt x="13217" y="100875"/>
                              <a:pt x="13217" y="100875"/>
                            </a:cubicBezTo>
                            <a:cubicBezTo>
                              <a:pt x="15038" y="94815"/>
                              <a:pt x="16559" y="88293"/>
                              <a:pt x="17843" y="81573"/>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5" name="Freeform: Shape 2964">
                        <a:extLst>
                          <a:ext uri="{FF2B5EF4-FFF2-40B4-BE49-F238E27FC236}">
                            <a16:creationId xmlns:a16="http://schemas.microsoft.com/office/drawing/2014/main" id="{A0C423E1-660A-9E33-CCC8-93AF2C736E25}"/>
                          </a:ext>
                        </a:extLst>
                      </p:cNvPr>
                      <p:cNvSpPr/>
                      <p:nvPr/>
                    </p:nvSpPr>
                    <p:spPr>
                      <a:xfrm>
                        <a:off x="6728956" y="4220125"/>
                        <a:ext cx="86161" cy="103943"/>
                      </a:xfrm>
                      <a:custGeom>
                        <a:avLst/>
                        <a:gdLst>
                          <a:gd name="connsiteX0" fmla="*/ 86161 w 86161"/>
                          <a:gd name="connsiteY0" fmla="*/ 2981 h 103943"/>
                          <a:gd name="connsiteX1" fmla="*/ 69203 w 86161"/>
                          <a:gd name="connsiteY1" fmla="*/ 14 h 103943"/>
                          <a:gd name="connsiteX2" fmla="*/ 50163 w 86161"/>
                          <a:gd name="connsiteY2" fmla="*/ 9353 h 103943"/>
                          <a:gd name="connsiteX3" fmla="*/ 26073 w 86161"/>
                          <a:gd name="connsiteY3" fmla="*/ 38219 h 103943"/>
                          <a:gd name="connsiteX4" fmla="*/ 4189 w 86161"/>
                          <a:gd name="connsiteY4" fmla="*/ 84542 h 103943"/>
                          <a:gd name="connsiteX5" fmla="*/ 0 w 86161"/>
                          <a:gd name="connsiteY5" fmla="*/ 103944 h 103943"/>
                          <a:gd name="connsiteX6" fmla="*/ 37868 w 86161"/>
                          <a:gd name="connsiteY6" fmla="*/ 52421 h 103943"/>
                          <a:gd name="connsiteX7" fmla="*/ 32282 w 86161"/>
                          <a:gd name="connsiteY7" fmla="*/ 43419 h 103943"/>
                          <a:gd name="connsiteX8" fmla="*/ 86161 w 86161"/>
                          <a:gd name="connsiteY8" fmla="*/ 2981 h 10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61" h="103943">
                            <a:moveTo>
                              <a:pt x="86161" y="2981"/>
                            </a:moveTo>
                            <a:cubicBezTo>
                              <a:pt x="81161" y="1535"/>
                              <a:pt x="75401" y="425"/>
                              <a:pt x="69203" y="14"/>
                            </a:cubicBezTo>
                            <a:cubicBezTo>
                              <a:pt x="64290" y="-311"/>
                              <a:pt x="57283" y="5238"/>
                              <a:pt x="50163" y="9353"/>
                            </a:cubicBezTo>
                            <a:cubicBezTo>
                              <a:pt x="39390" y="15587"/>
                              <a:pt x="27968" y="32533"/>
                              <a:pt x="26073" y="38219"/>
                            </a:cubicBezTo>
                            <a:lnTo>
                              <a:pt x="4189" y="84542"/>
                            </a:lnTo>
                            <a:cubicBezTo>
                              <a:pt x="2606" y="90714"/>
                              <a:pt x="1197" y="97185"/>
                              <a:pt x="0" y="103944"/>
                            </a:cubicBezTo>
                            <a:cubicBezTo>
                              <a:pt x="0" y="103944"/>
                              <a:pt x="11945" y="74454"/>
                              <a:pt x="37868" y="52421"/>
                            </a:cubicBezTo>
                            <a:cubicBezTo>
                              <a:pt x="37868" y="52421"/>
                              <a:pt x="35387" y="46062"/>
                              <a:pt x="32282" y="43419"/>
                            </a:cubicBezTo>
                            <a:cubicBezTo>
                              <a:pt x="32282" y="43419"/>
                              <a:pt x="61647" y="11236"/>
                              <a:pt x="86161" y="2981"/>
                            </a:cubicBezTo>
                            <a:close/>
                          </a:path>
                        </a:pathLst>
                      </a:custGeom>
                      <a:solidFill>
                        <a:srgbClr val="80C3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66" name="Graphic 525">
                        <a:extLst>
                          <a:ext uri="{FF2B5EF4-FFF2-40B4-BE49-F238E27FC236}">
                            <a16:creationId xmlns:a16="http://schemas.microsoft.com/office/drawing/2014/main" id="{199943EA-2FD9-0A4A-DDC3-0644384E4938}"/>
                          </a:ext>
                        </a:extLst>
                      </p:cNvPr>
                      <p:cNvGrpSpPr/>
                      <p:nvPr/>
                    </p:nvGrpSpPr>
                    <p:grpSpPr>
                      <a:xfrm>
                        <a:off x="6706299" y="4216946"/>
                        <a:ext cx="91903" cy="157223"/>
                        <a:chOff x="6706299" y="4216946"/>
                        <a:chExt cx="91903" cy="157223"/>
                      </a:xfrm>
                    </p:grpSpPr>
                    <p:sp>
                      <p:nvSpPr>
                        <p:cNvPr id="2967" name="Freeform: Shape 2966">
                          <a:extLst>
                            <a:ext uri="{FF2B5EF4-FFF2-40B4-BE49-F238E27FC236}">
                              <a16:creationId xmlns:a16="http://schemas.microsoft.com/office/drawing/2014/main" id="{1D021917-E3B9-5BE1-AA4C-CB160341F739}"/>
                            </a:ext>
                          </a:extLst>
                        </p:cNvPr>
                        <p:cNvSpPr/>
                        <p:nvPr/>
                      </p:nvSpPr>
                      <p:spPr>
                        <a:xfrm>
                          <a:off x="6713122" y="4222067"/>
                          <a:ext cx="20613" cy="142725"/>
                        </a:xfrm>
                        <a:custGeom>
                          <a:avLst/>
                          <a:gdLst>
                            <a:gd name="connsiteX0" fmla="*/ 1931 w 20613"/>
                            <a:gd name="connsiteY0" fmla="*/ 142726 h 142725"/>
                            <a:gd name="connsiteX1" fmla="*/ 1158 w 20613"/>
                            <a:gd name="connsiteY1" fmla="*/ 142152 h 142725"/>
                            <a:gd name="connsiteX2" fmla="*/ 3427 w 20613"/>
                            <a:gd name="connsiteY2" fmla="*/ 116055 h 142725"/>
                            <a:gd name="connsiteX3" fmla="*/ 5746 w 20613"/>
                            <a:gd name="connsiteY3" fmla="*/ 106802 h 142725"/>
                            <a:gd name="connsiteX4" fmla="*/ 5260 w 20613"/>
                            <a:gd name="connsiteY4" fmla="*/ 61340 h 142725"/>
                            <a:gd name="connsiteX5" fmla="*/ 4100 w 20613"/>
                            <a:gd name="connsiteY5" fmla="*/ 50766 h 142725"/>
                            <a:gd name="connsiteX6" fmla="*/ 8228 w 20613"/>
                            <a:gd name="connsiteY6" fmla="*/ 11389 h 142725"/>
                            <a:gd name="connsiteX7" fmla="*/ 19512 w 20613"/>
                            <a:gd name="connsiteY7" fmla="*/ 55 h 142725"/>
                            <a:gd name="connsiteX8" fmla="*/ 20559 w 20613"/>
                            <a:gd name="connsiteY8" fmla="*/ 528 h 142725"/>
                            <a:gd name="connsiteX9" fmla="*/ 20086 w 20613"/>
                            <a:gd name="connsiteY9" fmla="*/ 1576 h 142725"/>
                            <a:gd name="connsiteX10" fmla="*/ 9711 w 20613"/>
                            <a:gd name="connsiteY10" fmla="*/ 12037 h 142725"/>
                            <a:gd name="connsiteX11" fmla="*/ 5709 w 20613"/>
                            <a:gd name="connsiteY11" fmla="*/ 50617 h 142725"/>
                            <a:gd name="connsiteX12" fmla="*/ 6868 w 20613"/>
                            <a:gd name="connsiteY12" fmla="*/ 61166 h 142725"/>
                            <a:gd name="connsiteX13" fmla="*/ 7317 w 20613"/>
                            <a:gd name="connsiteY13" fmla="*/ 107189 h 142725"/>
                            <a:gd name="connsiteX14" fmla="*/ 4985 w 20613"/>
                            <a:gd name="connsiteY14" fmla="*/ 116466 h 142725"/>
                            <a:gd name="connsiteX15" fmla="*/ 2691 w 20613"/>
                            <a:gd name="connsiteY15" fmla="*/ 141666 h 142725"/>
                            <a:gd name="connsiteX16" fmla="*/ 2155 w 20613"/>
                            <a:gd name="connsiteY16" fmla="*/ 142688 h 142725"/>
                            <a:gd name="connsiteX17" fmla="*/ 1906 w 20613"/>
                            <a:gd name="connsiteY17" fmla="*/ 142726 h 14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613" h="142725">
                              <a:moveTo>
                                <a:pt x="1931" y="142726"/>
                              </a:moveTo>
                              <a:cubicBezTo>
                                <a:pt x="1581" y="142726"/>
                                <a:pt x="1270" y="142501"/>
                                <a:pt x="1158" y="142152"/>
                              </a:cubicBezTo>
                              <a:cubicBezTo>
                                <a:pt x="-1299" y="134347"/>
                                <a:pt x="484" y="127464"/>
                                <a:pt x="3427" y="116055"/>
                              </a:cubicBezTo>
                              <a:cubicBezTo>
                                <a:pt x="4138" y="113311"/>
                                <a:pt x="4935" y="110206"/>
                                <a:pt x="5746" y="106802"/>
                              </a:cubicBezTo>
                              <a:cubicBezTo>
                                <a:pt x="8976" y="93236"/>
                                <a:pt x="7006" y="76290"/>
                                <a:pt x="5260" y="61340"/>
                              </a:cubicBezTo>
                              <a:cubicBezTo>
                                <a:pt x="4823" y="57624"/>
                                <a:pt x="4424" y="54120"/>
                                <a:pt x="4100" y="50766"/>
                              </a:cubicBezTo>
                              <a:cubicBezTo>
                                <a:pt x="2641" y="35442"/>
                                <a:pt x="4188" y="20716"/>
                                <a:pt x="8228" y="11389"/>
                              </a:cubicBezTo>
                              <a:cubicBezTo>
                                <a:pt x="11843" y="3047"/>
                                <a:pt x="19200" y="179"/>
                                <a:pt x="19512" y="55"/>
                              </a:cubicBezTo>
                              <a:cubicBezTo>
                                <a:pt x="19923" y="-108"/>
                                <a:pt x="20397" y="104"/>
                                <a:pt x="20559" y="528"/>
                              </a:cubicBezTo>
                              <a:cubicBezTo>
                                <a:pt x="20722" y="952"/>
                                <a:pt x="20510" y="1413"/>
                                <a:pt x="20086" y="1576"/>
                              </a:cubicBezTo>
                              <a:cubicBezTo>
                                <a:pt x="20011" y="1601"/>
                                <a:pt x="13040" y="4356"/>
                                <a:pt x="9711" y="12037"/>
                              </a:cubicBezTo>
                              <a:cubicBezTo>
                                <a:pt x="5771" y="21127"/>
                                <a:pt x="4275" y="35542"/>
                                <a:pt x="5709" y="50617"/>
                              </a:cubicBezTo>
                              <a:cubicBezTo>
                                <a:pt x="6020" y="53958"/>
                                <a:pt x="6432" y="57450"/>
                                <a:pt x="6868" y="61166"/>
                              </a:cubicBezTo>
                              <a:cubicBezTo>
                                <a:pt x="8627" y="76253"/>
                                <a:pt x="10609" y="93348"/>
                                <a:pt x="7317" y="107189"/>
                              </a:cubicBezTo>
                              <a:cubicBezTo>
                                <a:pt x="6507" y="110605"/>
                                <a:pt x="5696" y="113723"/>
                                <a:pt x="4985" y="116466"/>
                              </a:cubicBezTo>
                              <a:cubicBezTo>
                                <a:pt x="2118" y="127601"/>
                                <a:pt x="384" y="134309"/>
                                <a:pt x="2691" y="141666"/>
                              </a:cubicBezTo>
                              <a:cubicBezTo>
                                <a:pt x="2828" y="142090"/>
                                <a:pt x="2591" y="142551"/>
                                <a:pt x="2155" y="142688"/>
                              </a:cubicBezTo>
                              <a:cubicBezTo>
                                <a:pt x="2080" y="142713"/>
                                <a:pt x="1993" y="142726"/>
                                <a:pt x="1906" y="142726"/>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68" name="Graphic 525">
                          <a:extLst>
                            <a:ext uri="{FF2B5EF4-FFF2-40B4-BE49-F238E27FC236}">
                              <a16:creationId xmlns:a16="http://schemas.microsoft.com/office/drawing/2014/main" id="{4BEAC8D2-596F-F59D-EBB0-EE695969B9E3}"/>
                            </a:ext>
                          </a:extLst>
                        </p:cNvPr>
                        <p:cNvGrpSpPr/>
                        <p:nvPr/>
                      </p:nvGrpSpPr>
                      <p:grpSpPr>
                        <a:xfrm>
                          <a:off x="6744519" y="4216946"/>
                          <a:ext cx="53683" cy="132097"/>
                          <a:chOff x="6744519" y="4216946"/>
                          <a:chExt cx="53683" cy="132097"/>
                        </a:xfrm>
                      </p:grpSpPr>
                      <p:grpSp>
                        <p:nvGrpSpPr>
                          <p:cNvPr id="2969" name="Graphic 525">
                            <a:extLst>
                              <a:ext uri="{FF2B5EF4-FFF2-40B4-BE49-F238E27FC236}">
                                <a16:creationId xmlns:a16="http://schemas.microsoft.com/office/drawing/2014/main" id="{1A092297-7FBF-D893-744F-CCBF18EC16C3}"/>
                              </a:ext>
                            </a:extLst>
                          </p:cNvPr>
                          <p:cNvGrpSpPr/>
                          <p:nvPr/>
                        </p:nvGrpSpPr>
                        <p:grpSpPr>
                          <a:xfrm>
                            <a:off x="6744519" y="4216946"/>
                            <a:ext cx="53683" cy="132097"/>
                            <a:chOff x="6744519" y="4216946"/>
                            <a:chExt cx="53683" cy="132097"/>
                          </a:xfrm>
                          <a:solidFill>
                            <a:srgbClr val="1E2C56"/>
                          </a:solidFill>
                        </p:grpSpPr>
                        <p:sp>
                          <p:nvSpPr>
                            <p:cNvPr id="2970" name="Freeform: Shape 2969">
                              <a:extLst>
                                <a:ext uri="{FF2B5EF4-FFF2-40B4-BE49-F238E27FC236}">
                                  <a16:creationId xmlns:a16="http://schemas.microsoft.com/office/drawing/2014/main" id="{80F0998C-3FCB-503E-F0F5-5F0858DF90A5}"/>
                                </a:ext>
                              </a:extLst>
                            </p:cNvPr>
                            <p:cNvSpPr/>
                            <p:nvPr/>
                          </p:nvSpPr>
                          <p:spPr>
                            <a:xfrm>
                              <a:off x="6776624" y="4216946"/>
                              <a:ext cx="21578" cy="82009"/>
                            </a:xfrm>
                            <a:custGeom>
                              <a:avLst/>
                              <a:gdLst>
                                <a:gd name="connsiteX0" fmla="*/ 812 w 21578"/>
                                <a:gd name="connsiteY0" fmla="*/ 82009 h 82009"/>
                                <a:gd name="connsiteX1" fmla="*/ 350 w 21578"/>
                                <a:gd name="connsiteY1" fmla="*/ 81860 h 82009"/>
                                <a:gd name="connsiteX2" fmla="*/ 151 w 21578"/>
                                <a:gd name="connsiteY2" fmla="*/ 80725 h 82009"/>
                                <a:gd name="connsiteX3" fmla="*/ 19902 w 21578"/>
                                <a:gd name="connsiteY3" fmla="*/ 24377 h 82009"/>
                                <a:gd name="connsiteX4" fmla="*/ 14054 w 21578"/>
                                <a:gd name="connsiteY4" fmla="*/ 1546 h 82009"/>
                                <a:gd name="connsiteX5" fmla="*/ 13667 w 21578"/>
                                <a:gd name="connsiteY5" fmla="*/ 462 h 82009"/>
                                <a:gd name="connsiteX6" fmla="*/ 14752 w 21578"/>
                                <a:gd name="connsiteY6" fmla="*/ 75 h 82009"/>
                                <a:gd name="connsiteX7" fmla="*/ 21510 w 21578"/>
                                <a:gd name="connsiteY7" fmla="*/ 24440 h 82009"/>
                                <a:gd name="connsiteX8" fmla="*/ 1473 w 21578"/>
                                <a:gd name="connsiteY8" fmla="*/ 81648 h 82009"/>
                                <a:gd name="connsiteX9" fmla="*/ 812 w 21578"/>
                                <a:gd name="connsiteY9" fmla="*/ 81997 h 8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78" h="82009">
                                  <a:moveTo>
                                    <a:pt x="812" y="82009"/>
                                  </a:moveTo>
                                  <a:cubicBezTo>
                                    <a:pt x="650" y="82009"/>
                                    <a:pt x="487" y="81959"/>
                                    <a:pt x="350" y="81860"/>
                                  </a:cubicBezTo>
                                  <a:cubicBezTo>
                                    <a:pt x="-24" y="81598"/>
                                    <a:pt x="-111" y="81099"/>
                                    <a:pt x="151" y="80725"/>
                                  </a:cubicBezTo>
                                  <a:cubicBezTo>
                                    <a:pt x="338" y="80463"/>
                                    <a:pt x="18680" y="53817"/>
                                    <a:pt x="19902" y="24377"/>
                                  </a:cubicBezTo>
                                  <a:cubicBezTo>
                                    <a:pt x="20700" y="4950"/>
                                    <a:pt x="14129" y="1584"/>
                                    <a:pt x="14054" y="1546"/>
                                  </a:cubicBezTo>
                                  <a:cubicBezTo>
                                    <a:pt x="13655" y="1359"/>
                                    <a:pt x="13480" y="873"/>
                                    <a:pt x="13667" y="462"/>
                                  </a:cubicBezTo>
                                  <a:cubicBezTo>
                                    <a:pt x="13867" y="63"/>
                                    <a:pt x="14341" y="-112"/>
                                    <a:pt x="14752" y="75"/>
                                  </a:cubicBezTo>
                                  <a:cubicBezTo>
                                    <a:pt x="15064" y="225"/>
                                    <a:pt x="22358" y="3953"/>
                                    <a:pt x="21510" y="24440"/>
                                  </a:cubicBezTo>
                                  <a:cubicBezTo>
                                    <a:pt x="20276" y="54366"/>
                                    <a:pt x="1659" y="81373"/>
                                    <a:pt x="1473" y="81648"/>
                                  </a:cubicBezTo>
                                  <a:cubicBezTo>
                                    <a:pt x="1310" y="81872"/>
                                    <a:pt x="1061" y="81997"/>
                                    <a:pt x="812" y="81997"/>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71" name="Freeform: Shape 2970">
                              <a:extLst>
                                <a:ext uri="{FF2B5EF4-FFF2-40B4-BE49-F238E27FC236}">
                                  <a16:creationId xmlns:a16="http://schemas.microsoft.com/office/drawing/2014/main" id="{0B51AE1A-60A7-B0DD-7564-F5ADCB3E8681}"/>
                                </a:ext>
                              </a:extLst>
                            </p:cNvPr>
                            <p:cNvSpPr/>
                            <p:nvPr/>
                          </p:nvSpPr>
                          <p:spPr>
                            <a:xfrm>
                              <a:off x="6744519" y="4295742"/>
                              <a:ext cx="41975" cy="53301"/>
                            </a:xfrm>
                            <a:custGeom>
                              <a:avLst/>
                              <a:gdLst>
                                <a:gd name="connsiteX0" fmla="*/ 15659 w 41975"/>
                                <a:gd name="connsiteY0" fmla="*/ 53302 h 53301"/>
                                <a:gd name="connsiteX1" fmla="*/ 14587 w 41975"/>
                                <a:gd name="connsiteY1" fmla="*/ 53227 h 53301"/>
                                <a:gd name="connsiteX2" fmla="*/ 13889 w 41975"/>
                                <a:gd name="connsiteY2" fmla="*/ 52317 h 53301"/>
                                <a:gd name="connsiteX3" fmla="*/ 14799 w 41975"/>
                                <a:gd name="connsiteY3" fmla="*/ 51618 h 53301"/>
                                <a:gd name="connsiteX4" fmla="*/ 30523 w 41975"/>
                                <a:gd name="connsiteY4" fmla="*/ 40259 h 53301"/>
                                <a:gd name="connsiteX5" fmla="*/ 40124 w 41975"/>
                                <a:gd name="connsiteY5" fmla="*/ 19523 h 53301"/>
                                <a:gd name="connsiteX6" fmla="*/ 40273 w 41975"/>
                                <a:gd name="connsiteY6" fmla="*/ 18363 h 53301"/>
                                <a:gd name="connsiteX7" fmla="*/ 31857 w 41975"/>
                                <a:gd name="connsiteY7" fmla="*/ 3188 h 53301"/>
                                <a:gd name="connsiteX8" fmla="*/ 14824 w 41975"/>
                                <a:gd name="connsiteY8" fmla="*/ 5969 h 53301"/>
                                <a:gd name="connsiteX9" fmla="*/ 14525 w 41975"/>
                                <a:gd name="connsiteY9" fmla="*/ 6268 h 53301"/>
                                <a:gd name="connsiteX10" fmla="*/ 3689 w 41975"/>
                                <a:gd name="connsiteY10" fmla="*/ 26381 h 53301"/>
                                <a:gd name="connsiteX11" fmla="*/ 4026 w 41975"/>
                                <a:gd name="connsiteY11" fmla="*/ 45770 h 53301"/>
                                <a:gd name="connsiteX12" fmla="*/ 4026 w 41975"/>
                                <a:gd name="connsiteY12" fmla="*/ 46917 h 53301"/>
                                <a:gd name="connsiteX13" fmla="*/ 2879 w 41975"/>
                                <a:gd name="connsiteY13" fmla="*/ 46917 h 53301"/>
                                <a:gd name="connsiteX14" fmla="*/ 2143 w 41975"/>
                                <a:gd name="connsiteY14" fmla="*/ 25907 h 53301"/>
                                <a:gd name="connsiteX15" fmla="*/ 13378 w 41975"/>
                                <a:gd name="connsiteY15" fmla="*/ 5121 h 53301"/>
                                <a:gd name="connsiteX16" fmla="*/ 13689 w 41975"/>
                                <a:gd name="connsiteY16" fmla="*/ 4809 h 53301"/>
                                <a:gd name="connsiteX17" fmla="*/ 32555 w 41975"/>
                                <a:gd name="connsiteY17" fmla="*/ 1729 h 53301"/>
                                <a:gd name="connsiteX18" fmla="*/ 41882 w 41975"/>
                                <a:gd name="connsiteY18" fmla="*/ 18538 h 53301"/>
                                <a:gd name="connsiteX19" fmla="*/ 41732 w 41975"/>
                                <a:gd name="connsiteY19" fmla="*/ 19760 h 53301"/>
                                <a:gd name="connsiteX20" fmla="*/ 31844 w 41975"/>
                                <a:gd name="connsiteY20" fmla="*/ 41219 h 53301"/>
                                <a:gd name="connsiteX21" fmla="*/ 15672 w 41975"/>
                                <a:gd name="connsiteY21" fmla="*/ 53302 h 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975" h="53301">
                                  <a:moveTo>
                                    <a:pt x="15659" y="53302"/>
                                  </a:moveTo>
                                  <a:cubicBezTo>
                                    <a:pt x="15298" y="53302"/>
                                    <a:pt x="14936" y="53277"/>
                                    <a:pt x="14587" y="53227"/>
                                  </a:cubicBezTo>
                                  <a:cubicBezTo>
                                    <a:pt x="14138" y="53164"/>
                                    <a:pt x="13826" y="52753"/>
                                    <a:pt x="13889" y="52317"/>
                                  </a:cubicBezTo>
                                  <a:cubicBezTo>
                                    <a:pt x="13951" y="51868"/>
                                    <a:pt x="14363" y="51556"/>
                                    <a:pt x="14799" y="51618"/>
                                  </a:cubicBezTo>
                                  <a:cubicBezTo>
                                    <a:pt x="19151" y="52204"/>
                                    <a:pt x="24887" y="48064"/>
                                    <a:pt x="30523" y="40259"/>
                                  </a:cubicBezTo>
                                  <a:cubicBezTo>
                                    <a:pt x="35398" y="33501"/>
                                    <a:pt x="39338" y="24972"/>
                                    <a:pt x="40124" y="19523"/>
                                  </a:cubicBezTo>
                                  <a:cubicBezTo>
                                    <a:pt x="40174" y="19136"/>
                                    <a:pt x="40224" y="18737"/>
                                    <a:pt x="40273" y="18363"/>
                                  </a:cubicBezTo>
                                  <a:cubicBezTo>
                                    <a:pt x="41084" y="10570"/>
                                    <a:pt x="36458" y="5420"/>
                                    <a:pt x="31857" y="3188"/>
                                  </a:cubicBezTo>
                                  <a:cubicBezTo>
                                    <a:pt x="27281" y="969"/>
                                    <a:pt x="20410" y="532"/>
                                    <a:pt x="14824" y="5969"/>
                                  </a:cubicBezTo>
                                  <a:cubicBezTo>
                                    <a:pt x="14724" y="6069"/>
                                    <a:pt x="14625" y="6168"/>
                                    <a:pt x="14525" y="6268"/>
                                  </a:cubicBezTo>
                                  <a:cubicBezTo>
                                    <a:pt x="10622" y="10159"/>
                                    <a:pt x="6171" y="18438"/>
                                    <a:pt x="3689" y="26381"/>
                                  </a:cubicBezTo>
                                  <a:cubicBezTo>
                                    <a:pt x="821" y="35558"/>
                                    <a:pt x="946" y="42628"/>
                                    <a:pt x="4026" y="45770"/>
                                  </a:cubicBezTo>
                                  <a:cubicBezTo>
                                    <a:pt x="4338" y="46095"/>
                                    <a:pt x="4338" y="46606"/>
                                    <a:pt x="4026" y="46917"/>
                                  </a:cubicBezTo>
                                  <a:cubicBezTo>
                                    <a:pt x="3702" y="47229"/>
                                    <a:pt x="3190" y="47229"/>
                                    <a:pt x="2879" y="46917"/>
                                  </a:cubicBezTo>
                                  <a:cubicBezTo>
                                    <a:pt x="-1934" y="42017"/>
                                    <a:pt x="347" y="31655"/>
                                    <a:pt x="2143" y="25907"/>
                                  </a:cubicBezTo>
                                  <a:cubicBezTo>
                                    <a:pt x="4736" y="17603"/>
                                    <a:pt x="9250" y="9248"/>
                                    <a:pt x="13378" y="5121"/>
                                  </a:cubicBezTo>
                                  <a:cubicBezTo>
                                    <a:pt x="13477" y="5021"/>
                                    <a:pt x="13590" y="4909"/>
                                    <a:pt x="13689" y="4809"/>
                                  </a:cubicBezTo>
                                  <a:cubicBezTo>
                                    <a:pt x="18864" y="-228"/>
                                    <a:pt x="26096" y="-1400"/>
                                    <a:pt x="32555" y="1729"/>
                                  </a:cubicBezTo>
                                  <a:cubicBezTo>
                                    <a:pt x="38952" y="4834"/>
                                    <a:pt x="42618" y="11430"/>
                                    <a:pt x="41882" y="18538"/>
                                  </a:cubicBezTo>
                                  <a:cubicBezTo>
                                    <a:pt x="41844" y="18937"/>
                                    <a:pt x="41795" y="19348"/>
                                    <a:pt x="41732" y="19760"/>
                                  </a:cubicBezTo>
                                  <a:cubicBezTo>
                                    <a:pt x="40909" y="25533"/>
                                    <a:pt x="36932" y="34162"/>
                                    <a:pt x="31844" y="41219"/>
                                  </a:cubicBezTo>
                                  <a:cubicBezTo>
                                    <a:pt x="28515" y="45845"/>
                                    <a:pt x="22119" y="53302"/>
                                    <a:pt x="15672" y="53302"/>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72" name="Freeform: Shape 2971">
                            <a:extLst>
                              <a:ext uri="{FF2B5EF4-FFF2-40B4-BE49-F238E27FC236}">
                                <a16:creationId xmlns:a16="http://schemas.microsoft.com/office/drawing/2014/main" id="{CF91FD5E-5988-C761-7B2C-96F1390A8AC2}"/>
                              </a:ext>
                            </a:extLst>
                          </p:cNvPr>
                          <p:cNvSpPr/>
                          <p:nvPr/>
                        </p:nvSpPr>
                        <p:spPr>
                          <a:xfrm>
                            <a:off x="6754396" y="4345057"/>
                            <a:ext cx="4860" cy="3751"/>
                          </a:xfrm>
                          <a:custGeom>
                            <a:avLst/>
                            <a:gdLst>
                              <a:gd name="connsiteX0" fmla="*/ 4810 w 4860"/>
                              <a:gd name="connsiteY0" fmla="*/ 3039 h 3751"/>
                              <a:gd name="connsiteX1" fmla="*/ 1119 w 4860"/>
                              <a:gd name="connsiteY1" fmla="*/ 3475 h 3751"/>
                              <a:gd name="connsiteX2" fmla="*/ 134 w 4860"/>
                              <a:gd name="connsiteY2" fmla="*/ 1119 h 3751"/>
                              <a:gd name="connsiteX3" fmla="*/ 2490 w 4860"/>
                              <a:gd name="connsiteY3" fmla="*/ 134 h 3751"/>
                              <a:gd name="connsiteX4" fmla="*/ 4810 w 4860"/>
                              <a:gd name="connsiteY4" fmla="*/ 3039 h 3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0" h="3751">
                                <a:moveTo>
                                  <a:pt x="4810" y="3039"/>
                                </a:moveTo>
                                <a:cubicBezTo>
                                  <a:pt x="4436" y="3962"/>
                                  <a:pt x="2041" y="3850"/>
                                  <a:pt x="1119" y="3475"/>
                                </a:cubicBezTo>
                                <a:cubicBezTo>
                                  <a:pt x="196" y="3101"/>
                                  <a:pt x="-240" y="2042"/>
                                  <a:pt x="134" y="1119"/>
                                </a:cubicBezTo>
                                <a:cubicBezTo>
                                  <a:pt x="508" y="196"/>
                                  <a:pt x="1568" y="-240"/>
                                  <a:pt x="2490" y="134"/>
                                </a:cubicBezTo>
                                <a:cubicBezTo>
                                  <a:pt x="3413" y="508"/>
                                  <a:pt x="5184" y="2116"/>
                                  <a:pt x="4810" y="3039"/>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73" name="Freeform: Shape 2972">
                            <a:extLst>
                              <a:ext uri="{FF2B5EF4-FFF2-40B4-BE49-F238E27FC236}">
                                <a16:creationId xmlns:a16="http://schemas.microsoft.com/office/drawing/2014/main" id="{1D064D0E-865A-05CF-0823-681368062DC4}"/>
                              </a:ext>
                            </a:extLst>
                          </p:cNvPr>
                          <p:cNvSpPr/>
                          <p:nvPr/>
                        </p:nvSpPr>
                        <p:spPr>
                          <a:xfrm>
                            <a:off x="6747226" y="4340730"/>
                            <a:ext cx="4398" cy="4256"/>
                          </a:xfrm>
                          <a:custGeom>
                            <a:avLst/>
                            <a:gdLst>
                              <a:gd name="connsiteX0" fmla="*/ 196 w 4398"/>
                              <a:gd name="connsiteY0" fmla="*/ 271 h 4256"/>
                              <a:gd name="connsiteX1" fmla="*/ 3812 w 4398"/>
                              <a:gd name="connsiteY1" fmla="*/ 1132 h 4256"/>
                              <a:gd name="connsiteX2" fmla="*/ 3924 w 4398"/>
                              <a:gd name="connsiteY2" fmla="*/ 3675 h 4256"/>
                              <a:gd name="connsiteX3" fmla="*/ 1381 w 4398"/>
                              <a:gd name="connsiteY3" fmla="*/ 3787 h 4256"/>
                              <a:gd name="connsiteX4" fmla="*/ 208 w 4398"/>
                              <a:gd name="connsiteY4" fmla="*/ 258 h 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8" h="4256">
                                <a:moveTo>
                                  <a:pt x="196" y="271"/>
                                </a:moveTo>
                                <a:cubicBezTo>
                                  <a:pt x="869" y="-465"/>
                                  <a:pt x="3076" y="458"/>
                                  <a:pt x="3812" y="1132"/>
                                </a:cubicBezTo>
                                <a:cubicBezTo>
                                  <a:pt x="4548" y="1805"/>
                                  <a:pt x="4598" y="2952"/>
                                  <a:pt x="3924" y="3675"/>
                                </a:cubicBezTo>
                                <a:cubicBezTo>
                                  <a:pt x="3251" y="4398"/>
                                  <a:pt x="2104" y="4461"/>
                                  <a:pt x="1381" y="3787"/>
                                </a:cubicBezTo>
                                <a:cubicBezTo>
                                  <a:pt x="645" y="3114"/>
                                  <a:pt x="-465" y="994"/>
                                  <a:pt x="208" y="258"/>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74" name="Graphic 525">
                          <a:extLst>
                            <a:ext uri="{FF2B5EF4-FFF2-40B4-BE49-F238E27FC236}">
                              <a16:creationId xmlns:a16="http://schemas.microsoft.com/office/drawing/2014/main" id="{6213D701-CD78-AA43-7A9C-CA93A9808FDE}"/>
                            </a:ext>
                          </a:extLst>
                        </p:cNvPr>
                        <p:cNvGrpSpPr/>
                        <p:nvPr/>
                      </p:nvGrpSpPr>
                      <p:grpSpPr>
                        <a:xfrm>
                          <a:off x="6706299" y="4356313"/>
                          <a:ext cx="17855" cy="17855"/>
                          <a:chOff x="6706299" y="4356313"/>
                          <a:chExt cx="17855" cy="17855"/>
                        </a:xfrm>
                      </p:grpSpPr>
                      <p:sp>
                        <p:nvSpPr>
                          <p:cNvPr id="2975" name="Freeform: Shape 2974">
                            <a:extLst>
                              <a:ext uri="{FF2B5EF4-FFF2-40B4-BE49-F238E27FC236}">
                                <a16:creationId xmlns:a16="http://schemas.microsoft.com/office/drawing/2014/main" id="{3D254CD0-C577-03B1-3035-2C1A362B8BD2}"/>
                              </a:ext>
                            </a:extLst>
                          </p:cNvPr>
                          <p:cNvSpPr/>
                          <p:nvPr/>
                        </p:nvSpPr>
                        <p:spPr>
                          <a:xfrm>
                            <a:off x="6706299" y="4356313"/>
                            <a:ext cx="17855" cy="17855"/>
                          </a:xfrm>
                          <a:custGeom>
                            <a:avLst/>
                            <a:gdLst>
                              <a:gd name="connsiteX0" fmla="*/ 17856 w 17855"/>
                              <a:gd name="connsiteY0" fmla="*/ 8928 h 17855"/>
                              <a:gd name="connsiteX1" fmla="*/ 8928 w 17855"/>
                              <a:gd name="connsiteY1" fmla="*/ 17856 h 17855"/>
                              <a:gd name="connsiteX2" fmla="*/ 0 w 17855"/>
                              <a:gd name="connsiteY2" fmla="*/ 8928 h 17855"/>
                              <a:gd name="connsiteX3" fmla="*/ 8928 w 17855"/>
                              <a:gd name="connsiteY3" fmla="*/ 0 h 17855"/>
                              <a:gd name="connsiteX4" fmla="*/ 17856 w 17855"/>
                              <a:gd name="connsiteY4" fmla="*/ 8928 h 17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5" h="17855">
                                <a:moveTo>
                                  <a:pt x="17856" y="8928"/>
                                </a:moveTo>
                                <a:cubicBezTo>
                                  <a:pt x="17856" y="13866"/>
                                  <a:pt x="13853" y="17856"/>
                                  <a:pt x="8928" y="17856"/>
                                </a:cubicBezTo>
                                <a:cubicBezTo>
                                  <a:pt x="4003" y="17856"/>
                                  <a:pt x="0" y="13853"/>
                                  <a:pt x="0" y="8928"/>
                                </a:cubicBezTo>
                                <a:cubicBezTo>
                                  <a:pt x="0" y="4003"/>
                                  <a:pt x="4003" y="0"/>
                                  <a:pt x="8928" y="0"/>
                                </a:cubicBezTo>
                                <a:cubicBezTo>
                                  <a:pt x="13853" y="0"/>
                                  <a:pt x="17856" y="4003"/>
                                  <a:pt x="17856" y="8928"/>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76" name="Freeform: Shape 2975">
                            <a:extLst>
                              <a:ext uri="{FF2B5EF4-FFF2-40B4-BE49-F238E27FC236}">
                                <a16:creationId xmlns:a16="http://schemas.microsoft.com/office/drawing/2014/main" id="{E9DE88B4-D06B-2432-9FA3-D0C2BFCF81F4}"/>
                              </a:ext>
                            </a:extLst>
                          </p:cNvPr>
                          <p:cNvSpPr/>
                          <p:nvPr/>
                        </p:nvSpPr>
                        <p:spPr>
                          <a:xfrm>
                            <a:off x="6709903" y="4359917"/>
                            <a:ext cx="10648" cy="10648"/>
                          </a:xfrm>
                          <a:custGeom>
                            <a:avLst/>
                            <a:gdLst>
                              <a:gd name="connsiteX0" fmla="*/ 10648 w 10648"/>
                              <a:gd name="connsiteY0" fmla="*/ 5324 h 10648"/>
                              <a:gd name="connsiteX1" fmla="*/ 5324 w 10648"/>
                              <a:gd name="connsiteY1" fmla="*/ 10649 h 10648"/>
                              <a:gd name="connsiteX2" fmla="*/ 0 w 10648"/>
                              <a:gd name="connsiteY2" fmla="*/ 5324 h 10648"/>
                              <a:gd name="connsiteX3" fmla="*/ 5324 w 10648"/>
                              <a:gd name="connsiteY3" fmla="*/ 0 h 10648"/>
                              <a:gd name="connsiteX4" fmla="*/ 10648 w 10648"/>
                              <a:gd name="connsiteY4" fmla="*/ 5324 h 10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8" h="10648">
                                <a:moveTo>
                                  <a:pt x="10648" y="5324"/>
                                </a:moveTo>
                                <a:cubicBezTo>
                                  <a:pt x="10648" y="8267"/>
                                  <a:pt x="8267" y="10649"/>
                                  <a:pt x="5324" y="10649"/>
                                </a:cubicBezTo>
                                <a:cubicBezTo>
                                  <a:pt x="2381" y="10649"/>
                                  <a:pt x="0" y="8267"/>
                                  <a:pt x="0" y="5324"/>
                                </a:cubicBezTo>
                                <a:cubicBezTo>
                                  <a:pt x="0" y="2381"/>
                                  <a:pt x="2381" y="0"/>
                                  <a:pt x="5324" y="0"/>
                                </a:cubicBezTo>
                                <a:cubicBezTo>
                                  <a:pt x="8267" y="0"/>
                                  <a:pt x="10648" y="2381"/>
                                  <a:pt x="10648" y="5324"/>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977" name="Freeform: Shape 2976">
                      <a:extLst>
                        <a:ext uri="{FF2B5EF4-FFF2-40B4-BE49-F238E27FC236}">
                          <a16:creationId xmlns:a16="http://schemas.microsoft.com/office/drawing/2014/main" id="{A1BD490D-663C-AC27-A6A1-6638D9B96E98}"/>
                        </a:ext>
                      </a:extLst>
                    </p:cNvPr>
                    <p:cNvSpPr/>
                    <p:nvPr/>
                  </p:nvSpPr>
                  <p:spPr>
                    <a:xfrm>
                      <a:off x="6728956" y="4212133"/>
                      <a:ext cx="84395" cy="110924"/>
                    </a:xfrm>
                    <a:custGeom>
                      <a:avLst/>
                      <a:gdLst>
                        <a:gd name="connsiteX0" fmla="*/ 0 w 84395"/>
                        <a:gd name="connsiteY0" fmla="*/ 110925 h 110924"/>
                        <a:gd name="connsiteX1" fmla="*/ 35150 w 84395"/>
                        <a:gd name="connsiteY1" fmla="*/ 58318 h 110924"/>
                        <a:gd name="connsiteX2" fmla="*/ 28866 w 84395"/>
                        <a:gd name="connsiteY2" fmla="*/ 52033 h 110924"/>
                        <a:gd name="connsiteX3" fmla="*/ 83979 w 84395"/>
                        <a:gd name="connsiteY3" fmla="*/ 8865 h 110924"/>
                        <a:gd name="connsiteX4" fmla="*/ 83979 w 84395"/>
                        <a:gd name="connsiteY4" fmla="*/ 7593 h 110924"/>
                        <a:gd name="connsiteX5" fmla="*/ 58629 w 84395"/>
                        <a:gd name="connsiteY5" fmla="*/ 0 h 110924"/>
                        <a:gd name="connsiteX6" fmla="*/ 0 w 84395"/>
                        <a:gd name="connsiteY6" fmla="*/ 110925 h 110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95" h="110924">
                          <a:moveTo>
                            <a:pt x="0" y="110925"/>
                          </a:moveTo>
                          <a:cubicBezTo>
                            <a:pt x="0" y="110925"/>
                            <a:pt x="16522" y="73218"/>
                            <a:pt x="35150" y="58318"/>
                          </a:cubicBezTo>
                          <a:cubicBezTo>
                            <a:pt x="35150" y="58318"/>
                            <a:pt x="33055" y="54128"/>
                            <a:pt x="28866" y="52033"/>
                          </a:cubicBezTo>
                          <a:cubicBezTo>
                            <a:pt x="28866" y="52033"/>
                            <a:pt x="60662" y="19165"/>
                            <a:pt x="83979" y="8865"/>
                          </a:cubicBezTo>
                          <a:cubicBezTo>
                            <a:pt x="84528" y="8616"/>
                            <a:pt x="84540" y="7843"/>
                            <a:pt x="83979" y="7593"/>
                          </a:cubicBezTo>
                          <a:cubicBezTo>
                            <a:pt x="79864" y="5761"/>
                            <a:pt x="66049" y="948"/>
                            <a:pt x="58629" y="0"/>
                          </a:cubicBezTo>
                          <a:cubicBezTo>
                            <a:pt x="58629" y="0"/>
                            <a:pt x="12569" y="42956"/>
                            <a:pt x="0" y="110925"/>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78" name="Freeform: Shape 2977">
                      <a:extLst>
                        <a:ext uri="{FF2B5EF4-FFF2-40B4-BE49-F238E27FC236}">
                          <a16:creationId xmlns:a16="http://schemas.microsoft.com/office/drawing/2014/main" id="{ED109437-E66A-3CD3-5985-B1F932C7AF2E}"/>
                        </a:ext>
                      </a:extLst>
                    </p:cNvPr>
                    <p:cNvSpPr/>
                    <p:nvPr/>
                  </p:nvSpPr>
                  <p:spPr>
                    <a:xfrm>
                      <a:off x="6720012" y="4220787"/>
                      <a:ext cx="17938" cy="100949"/>
                    </a:xfrm>
                    <a:custGeom>
                      <a:avLst/>
                      <a:gdLst>
                        <a:gd name="connsiteX0" fmla="*/ 16687 w 17938"/>
                        <a:gd name="connsiteY0" fmla="*/ 0 h 100949"/>
                        <a:gd name="connsiteX1" fmla="*/ 9255 w 17938"/>
                        <a:gd name="connsiteY1" fmla="*/ 100950 h 100949"/>
                        <a:gd name="connsiteX2" fmla="*/ 4991 w 17938"/>
                        <a:gd name="connsiteY2" fmla="*/ 41983 h 100949"/>
                        <a:gd name="connsiteX3" fmla="*/ 10116 w 17938"/>
                        <a:gd name="connsiteY3" fmla="*/ 40350 h 100949"/>
                        <a:gd name="connsiteX4" fmla="*/ 165 w 17938"/>
                        <a:gd name="connsiteY4" fmla="*/ 4414 h 100949"/>
                        <a:gd name="connsiteX5" fmla="*/ 988 w 17938"/>
                        <a:gd name="connsiteY5" fmla="*/ 2369 h 100949"/>
                        <a:gd name="connsiteX6" fmla="*/ 16700 w 17938"/>
                        <a:gd name="connsiteY6" fmla="*/ 12 h 10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8" h="100949">
                          <a:moveTo>
                            <a:pt x="16687" y="0"/>
                          </a:moveTo>
                          <a:cubicBezTo>
                            <a:pt x="16687" y="0"/>
                            <a:pt x="22448" y="54079"/>
                            <a:pt x="9255" y="100950"/>
                          </a:cubicBezTo>
                          <a:cubicBezTo>
                            <a:pt x="9255" y="100950"/>
                            <a:pt x="11737" y="56884"/>
                            <a:pt x="4991" y="41983"/>
                          </a:cubicBezTo>
                          <a:cubicBezTo>
                            <a:pt x="4991" y="41983"/>
                            <a:pt x="6388" y="40587"/>
                            <a:pt x="10116" y="40350"/>
                          </a:cubicBezTo>
                          <a:cubicBezTo>
                            <a:pt x="10116" y="40350"/>
                            <a:pt x="10116" y="23392"/>
                            <a:pt x="165" y="4414"/>
                          </a:cubicBezTo>
                          <a:cubicBezTo>
                            <a:pt x="-246" y="3628"/>
                            <a:pt x="141" y="2656"/>
                            <a:pt x="988" y="2369"/>
                          </a:cubicBezTo>
                          <a:cubicBezTo>
                            <a:pt x="3370" y="1559"/>
                            <a:pt x="8507" y="212"/>
                            <a:pt x="16700" y="12"/>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979" name="Graphic 525">
                <a:extLst>
                  <a:ext uri="{FF2B5EF4-FFF2-40B4-BE49-F238E27FC236}">
                    <a16:creationId xmlns:a16="http://schemas.microsoft.com/office/drawing/2014/main" id="{6EE82D74-11F5-393C-A58C-272500543D21}"/>
                  </a:ext>
                </a:extLst>
              </p:cNvPr>
              <p:cNvGrpSpPr/>
              <p:nvPr/>
            </p:nvGrpSpPr>
            <p:grpSpPr>
              <a:xfrm>
                <a:off x="6569759" y="4224752"/>
                <a:ext cx="278098" cy="219326"/>
                <a:chOff x="6569759" y="4224752"/>
                <a:chExt cx="278098" cy="219326"/>
              </a:xfrm>
            </p:grpSpPr>
            <p:sp>
              <p:nvSpPr>
                <p:cNvPr id="2980" name="Freeform: Shape 2979">
                  <a:extLst>
                    <a:ext uri="{FF2B5EF4-FFF2-40B4-BE49-F238E27FC236}">
                      <a16:creationId xmlns:a16="http://schemas.microsoft.com/office/drawing/2014/main" id="{EC96CF97-715B-754C-2150-EB4C849CE88F}"/>
                    </a:ext>
                  </a:extLst>
                </p:cNvPr>
                <p:cNvSpPr/>
                <p:nvPr/>
              </p:nvSpPr>
              <p:spPr>
                <a:xfrm>
                  <a:off x="6773606" y="4224752"/>
                  <a:ext cx="74251" cy="178246"/>
                </a:xfrm>
                <a:custGeom>
                  <a:avLst/>
                  <a:gdLst>
                    <a:gd name="connsiteX0" fmla="*/ 43356 w 74251"/>
                    <a:gd name="connsiteY0" fmla="*/ 0 h 178246"/>
                    <a:gd name="connsiteX1" fmla="*/ 24241 w 74251"/>
                    <a:gd name="connsiteY1" fmla="*/ 43293 h 178246"/>
                    <a:gd name="connsiteX2" fmla="*/ 63 w 74251"/>
                    <a:gd name="connsiteY2" fmla="*/ 156874 h 178246"/>
                    <a:gd name="connsiteX3" fmla="*/ 19740 w 74251"/>
                    <a:gd name="connsiteY3" fmla="*/ 178246 h 178246"/>
                    <a:gd name="connsiteX4" fmla="*/ 56287 w 74251"/>
                    <a:gd name="connsiteY4" fmla="*/ 144504 h 178246"/>
                    <a:gd name="connsiteX5" fmla="*/ 43356 w 74251"/>
                    <a:gd name="connsiteY5" fmla="*/ 0 h 17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251" h="178246">
                      <a:moveTo>
                        <a:pt x="43356" y="0"/>
                      </a:moveTo>
                      <a:cubicBezTo>
                        <a:pt x="43356" y="0"/>
                        <a:pt x="30426" y="16310"/>
                        <a:pt x="24241" y="43293"/>
                      </a:cubicBezTo>
                      <a:cubicBezTo>
                        <a:pt x="18056" y="70276"/>
                        <a:pt x="1186" y="142247"/>
                        <a:pt x="63" y="156874"/>
                      </a:cubicBezTo>
                      <a:cubicBezTo>
                        <a:pt x="-1059" y="171487"/>
                        <a:pt x="12994" y="178246"/>
                        <a:pt x="19740" y="178246"/>
                      </a:cubicBezTo>
                      <a:cubicBezTo>
                        <a:pt x="26485" y="178246"/>
                        <a:pt x="45601" y="178807"/>
                        <a:pt x="56287" y="144504"/>
                      </a:cubicBezTo>
                      <a:cubicBezTo>
                        <a:pt x="66972" y="110202"/>
                        <a:pt x="96774" y="1122"/>
                        <a:pt x="43356" y="0"/>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81" name="Graphic 525">
                  <a:extLst>
                    <a:ext uri="{FF2B5EF4-FFF2-40B4-BE49-F238E27FC236}">
                      <a16:creationId xmlns:a16="http://schemas.microsoft.com/office/drawing/2014/main" id="{3730E9F2-21C8-9057-7111-B9321BD43979}"/>
                    </a:ext>
                  </a:extLst>
                </p:cNvPr>
                <p:cNvGrpSpPr/>
                <p:nvPr/>
              </p:nvGrpSpPr>
              <p:grpSpPr>
                <a:xfrm>
                  <a:off x="6569759" y="4328740"/>
                  <a:ext cx="243155" cy="115338"/>
                  <a:chOff x="6569759" y="4328740"/>
                  <a:chExt cx="243155" cy="115338"/>
                </a:xfrm>
              </p:grpSpPr>
              <p:grpSp>
                <p:nvGrpSpPr>
                  <p:cNvPr id="2982" name="Graphic 525">
                    <a:extLst>
                      <a:ext uri="{FF2B5EF4-FFF2-40B4-BE49-F238E27FC236}">
                        <a16:creationId xmlns:a16="http://schemas.microsoft.com/office/drawing/2014/main" id="{BA13785B-5417-673F-3846-8248FC8A99CE}"/>
                      </a:ext>
                    </a:extLst>
                  </p:cNvPr>
                  <p:cNvGrpSpPr/>
                  <p:nvPr/>
                </p:nvGrpSpPr>
                <p:grpSpPr>
                  <a:xfrm>
                    <a:off x="6569759" y="4328740"/>
                    <a:ext cx="123064" cy="115338"/>
                    <a:chOff x="6569759" y="4328740"/>
                    <a:chExt cx="123064" cy="115338"/>
                  </a:xfrm>
                </p:grpSpPr>
                <p:sp>
                  <p:nvSpPr>
                    <p:cNvPr id="2983" name="Freeform: Shape 2982">
                      <a:extLst>
                        <a:ext uri="{FF2B5EF4-FFF2-40B4-BE49-F238E27FC236}">
                          <a16:creationId xmlns:a16="http://schemas.microsoft.com/office/drawing/2014/main" id="{4B20838B-A460-D184-B1B8-57CEC9225E7B}"/>
                        </a:ext>
                      </a:extLst>
                    </p:cNvPr>
                    <p:cNvSpPr/>
                    <p:nvPr/>
                  </p:nvSpPr>
                  <p:spPr>
                    <a:xfrm>
                      <a:off x="6571405" y="4328740"/>
                      <a:ext cx="121418" cy="114590"/>
                    </a:xfrm>
                    <a:custGeom>
                      <a:avLst/>
                      <a:gdLst>
                        <a:gd name="connsiteX0" fmla="*/ 74207 w 121418"/>
                        <a:gd name="connsiteY0" fmla="*/ 113161 h 114590"/>
                        <a:gd name="connsiteX1" fmla="*/ 1201 w 121418"/>
                        <a:gd name="connsiteY1" fmla="*/ 34381 h 114590"/>
                        <a:gd name="connsiteX2" fmla="*/ 1675 w 121418"/>
                        <a:gd name="connsiteY2" fmla="*/ 27810 h 114590"/>
                        <a:gd name="connsiteX3" fmla="*/ 34955 w 121418"/>
                        <a:gd name="connsiteY3" fmla="*/ 1002 h 114590"/>
                        <a:gd name="connsiteX4" fmla="*/ 41239 w 121418"/>
                        <a:gd name="connsiteY4" fmla="*/ 1613 h 114590"/>
                        <a:gd name="connsiteX5" fmla="*/ 120368 w 121418"/>
                        <a:gd name="connsiteY5" fmla="*/ 96141 h 114590"/>
                        <a:gd name="connsiteX6" fmla="*/ 118123 w 121418"/>
                        <a:gd name="connsiteY6" fmla="*/ 103373 h 114590"/>
                        <a:gd name="connsiteX7" fmla="*/ 78709 w 121418"/>
                        <a:gd name="connsiteY7" fmla="*/ 114421 h 114590"/>
                        <a:gd name="connsiteX8" fmla="*/ 74182 w 121418"/>
                        <a:gd name="connsiteY8" fmla="*/ 113149 h 1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8" h="114590">
                          <a:moveTo>
                            <a:pt x="74207" y="113161"/>
                          </a:moveTo>
                          <a:lnTo>
                            <a:pt x="1201" y="34381"/>
                          </a:lnTo>
                          <a:cubicBezTo>
                            <a:pt x="-570" y="32461"/>
                            <a:pt x="-358" y="29444"/>
                            <a:pt x="1675" y="27810"/>
                          </a:cubicBezTo>
                          <a:lnTo>
                            <a:pt x="34955" y="1002"/>
                          </a:lnTo>
                          <a:cubicBezTo>
                            <a:pt x="36862" y="-545"/>
                            <a:pt x="39656" y="-270"/>
                            <a:pt x="41239" y="1613"/>
                          </a:cubicBezTo>
                          <a:lnTo>
                            <a:pt x="120368" y="96141"/>
                          </a:lnTo>
                          <a:cubicBezTo>
                            <a:pt x="122463" y="98647"/>
                            <a:pt x="121278" y="102488"/>
                            <a:pt x="118123" y="103373"/>
                          </a:cubicBezTo>
                          <a:lnTo>
                            <a:pt x="78709" y="114421"/>
                          </a:lnTo>
                          <a:cubicBezTo>
                            <a:pt x="77075" y="114882"/>
                            <a:pt x="75329" y="114383"/>
                            <a:pt x="74182" y="113149"/>
                          </a:cubicBezTo>
                          <a:close/>
                        </a:path>
                      </a:pathLst>
                    </a:custGeom>
                    <a:solidFill>
                      <a:srgbClr val="F4CE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84" name="Freeform: Shape 2983">
                      <a:extLst>
                        <a:ext uri="{FF2B5EF4-FFF2-40B4-BE49-F238E27FC236}">
                          <a16:creationId xmlns:a16="http://schemas.microsoft.com/office/drawing/2014/main" id="{F46414EE-2C88-85B3-A14E-62846C945ED5}"/>
                        </a:ext>
                      </a:extLst>
                    </p:cNvPr>
                    <p:cNvSpPr/>
                    <p:nvPr/>
                  </p:nvSpPr>
                  <p:spPr>
                    <a:xfrm>
                      <a:off x="6569759" y="4329488"/>
                      <a:ext cx="121418" cy="114590"/>
                    </a:xfrm>
                    <a:custGeom>
                      <a:avLst/>
                      <a:gdLst>
                        <a:gd name="connsiteX0" fmla="*/ 74207 w 121418"/>
                        <a:gd name="connsiteY0" fmla="*/ 113161 h 114590"/>
                        <a:gd name="connsiteX1" fmla="*/ 1201 w 121418"/>
                        <a:gd name="connsiteY1" fmla="*/ 34382 h 114590"/>
                        <a:gd name="connsiteX2" fmla="*/ 1675 w 121418"/>
                        <a:gd name="connsiteY2" fmla="*/ 27810 h 114590"/>
                        <a:gd name="connsiteX3" fmla="*/ 34955 w 121418"/>
                        <a:gd name="connsiteY3" fmla="*/ 1002 h 114590"/>
                        <a:gd name="connsiteX4" fmla="*/ 41239 w 121418"/>
                        <a:gd name="connsiteY4" fmla="*/ 1613 h 114590"/>
                        <a:gd name="connsiteX5" fmla="*/ 120368 w 121418"/>
                        <a:gd name="connsiteY5" fmla="*/ 96141 h 114590"/>
                        <a:gd name="connsiteX6" fmla="*/ 118123 w 121418"/>
                        <a:gd name="connsiteY6" fmla="*/ 103373 h 114590"/>
                        <a:gd name="connsiteX7" fmla="*/ 78709 w 121418"/>
                        <a:gd name="connsiteY7" fmla="*/ 114421 h 114590"/>
                        <a:gd name="connsiteX8" fmla="*/ 74182 w 121418"/>
                        <a:gd name="connsiteY8" fmla="*/ 113149 h 11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8" h="114590">
                          <a:moveTo>
                            <a:pt x="74207" y="113161"/>
                          </a:moveTo>
                          <a:lnTo>
                            <a:pt x="1201" y="34382"/>
                          </a:lnTo>
                          <a:cubicBezTo>
                            <a:pt x="-570" y="32461"/>
                            <a:pt x="-358" y="29444"/>
                            <a:pt x="1675" y="27810"/>
                          </a:cubicBezTo>
                          <a:lnTo>
                            <a:pt x="34955" y="1002"/>
                          </a:lnTo>
                          <a:cubicBezTo>
                            <a:pt x="36862" y="-544"/>
                            <a:pt x="39668" y="-270"/>
                            <a:pt x="41239" y="1613"/>
                          </a:cubicBezTo>
                          <a:lnTo>
                            <a:pt x="120368" y="96141"/>
                          </a:lnTo>
                          <a:cubicBezTo>
                            <a:pt x="122463" y="98647"/>
                            <a:pt x="121278" y="102488"/>
                            <a:pt x="118123" y="103373"/>
                          </a:cubicBezTo>
                          <a:lnTo>
                            <a:pt x="78709" y="114421"/>
                          </a:lnTo>
                          <a:cubicBezTo>
                            <a:pt x="77075" y="114882"/>
                            <a:pt x="75330" y="114383"/>
                            <a:pt x="74182" y="113149"/>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85" name="Freeform: Shape 2984">
                      <a:extLst>
                        <a:ext uri="{FF2B5EF4-FFF2-40B4-BE49-F238E27FC236}">
                          <a16:creationId xmlns:a16="http://schemas.microsoft.com/office/drawing/2014/main" id="{86650F15-E0FA-9170-8ED5-5F3002FB4C06}"/>
                        </a:ext>
                      </a:extLst>
                    </p:cNvPr>
                    <p:cNvSpPr/>
                    <p:nvPr/>
                  </p:nvSpPr>
                  <p:spPr>
                    <a:xfrm>
                      <a:off x="6577648" y="4330628"/>
                      <a:ext cx="25516" cy="22452"/>
                    </a:xfrm>
                    <a:custGeom>
                      <a:avLst/>
                      <a:gdLst>
                        <a:gd name="connsiteX0" fmla="*/ 1317 w 25516"/>
                        <a:gd name="connsiteY0" fmla="*/ 18054 h 22452"/>
                        <a:gd name="connsiteX1" fmla="*/ 3698 w 25516"/>
                        <a:gd name="connsiteY1" fmla="*/ 21172 h 22452"/>
                        <a:gd name="connsiteX2" fmla="*/ 8212 w 25516"/>
                        <a:gd name="connsiteY2" fmla="*/ 21833 h 22452"/>
                        <a:gd name="connsiteX3" fmla="*/ 24172 w 25516"/>
                        <a:gd name="connsiteY3" fmla="*/ 10211 h 22452"/>
                        <a:gd name="connsiteX4" fmla="*/ 24833 w 25516"/>
                        <a:gd name="connsiteY4" fmla="*/ 5560 h 22452"/>
                        <a:gd name="connsiteX5" fmla="*/ 22202 w 25516"/>
                        <a:gd name="connsiteY5" fmla="*/ 2181 h 22452"/>
                        <a:gd name="connsiteX6" fmla="*/ 14297 w 25516"/>
                        <a:gd name="connsiteY6" fmla="*/ 1096 h 22452"/>
                        <a:gd name="connsiteX7" fmla="*/ 2389 w 25516"/>
                        <a:gd name="connsiteY7" fmla="*/ 9700 h 22452"/>
                        <a:gd name="connsiteX8" fmla="*/ 1317 w 25516"/>
                        <a:gd name="connsiteY8" fmla="*/ 18054 h 2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6" h="22452">
                          <a:moveTo>
                            <a:pt x="1317" y="18054"/>
                          </a:moveTo>
                          <a:lnTo>
                            <a:pt x="3698" y="21172"/>
                          </a:lnTo>
                          <a:cubicBezTo>
                            <a:pt x="4771" y="22581"/>
                            <a:pt x="6778" y="22867"/>
                            <a:pt x="8212" y="21833"/>
                          </a:cubicBezTo>
                          <a:lnTo>
                            <a:pt x="24172" y="10211"/>
                          </a:lnTo>
                          <a:cubicBezTo>
                            <a:pt x="25669" y="9126"/>
                            <a:pt x="25956" y="7019"/>
                            <a:pt x="24833" y="5560"/>
                          </a:cubicBezTo>
                          <a:lnTo>
                            <a:pt x="22202" y="2181"/>
                          </a:lnTo>
                          <a:cubicBezTo>
                            <a:pt x="20282" y="-238"/>
                            <a:pt x="16803" y="-712"/>
                            <a:pt x="14297" y="1096"/>
                          </a:cubicBezTo>
                          <a:lnTo>
                            <a:pt x="2389" y="9700"/>
                          </a:lnTo>
                          <a:cubicBezTo>
                            <a:pt x="-304" y="11658"/>
                            <a:pt x="-803" y="15473"/>
                            <a:pt x="1317" y="18054"/>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86" name="Freeform: Shape 2985">
                    <a:extLst>
                      <a:ext uri="{FF2B5EF4-FFF2-40B4-BE49-F238E27FC236}">
                        <a16:creationId xmlns:a16="http://schemas.microsoft.com/office/drawing/2014/main" id="{A55D3A64-BD34-B452-2C35-1021A8BA4B8E}"/>
                      </a:ext>
                    </a:extLst>
                  </p:cNvPr>
                  <p:cNvSpPr/>
                  <p:nvPr/>
                </p:nvSpPr>
                <p:spPr>
                  <a:xfrm>
                    <a:off x="6608980" y="4372117"/>
                    <a:ext cx="74836" cy="61347"/>
                  </a:xfrm>
                  <a:custGeom>
                    <a:avLst/>
                    <a:gdLst>
                      <a:gd name="connsiteX0" fmla="*/ 71346 w 74836"/>
                      <a:gd name="connsiteY0" fmla="*/ 24135 h 61347"/>
                      <a:gd name="connsiteX1" fmla="*/ 60099 w 74836"/>
                      <a:gd name="connsiteY1" fmla="*/ 17389 h 61347"/>
                      <a:gd name="connsiteX2" fmla="*/ 42667 w 74836"/>
                      <a:gd name="connsiteY2" fmla="*/ 1079 h 61347"/>
                      <a:gd name="connsiteX3" fmla="*/ 45473 w 74836"/>
                      <a:gd name="connsiteY3" fmla="*/ 12326 h 61347"/>
                      <a:gd name="connsiteX4" fmla="*/ 49974 w 74836"/>
                      <a:gd name="connsiteY4" fmla="*/ 29758 h 61347"/>
                      <a:gd name="connsiteX5" fmla="*/ 17367 w 74836"/>
                      <a:gd name="connsiteY5" fmla="*/ 37065 h 61347"/>
                      <a:gd name="connsiteX6" fmla="*/ 497 w 74836"/>
                      <a:gd name="connsiteY6" fmla="*/ 37065 h 61347"/>
                      <a:gd name="connsiteX7" fmla="*/ 14549 w 74836"/>
                      <a:gd name="connsiteY7" fmla="*/ 46055 h 61347"/>
                      <a:gd name="connsiteX8" fmla="*/ 20173 w 74836"/>
                      <a:gd name="connsiteY8" fmla="*/ 55045 h 61347"/>
                      <a:gd name="connsiteX9" fmla="*/ 32542 w 74836"/>
                      <a:gd name="connsiteY9" fmla="*/ 61230 h 61347"/>
                      <a:gd name="connsiteX10" fmla="*/ 74713 w 74836"/>
                      <a:gd name="connsiteY10" fmla="*/ 46043 h 61347"/>
                      <a:gd name="connsiteX11" fmla="*/ 71334 w 74836"/>
                      <a:gd name="connsiteY11" fmla="*/ 24110 h 6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836" h="61347">
                        <a:moveTo>
                          <a:pt x="71346" y="24135"/>
                        </a:moveTo>
                        <a:cubicBezTo>
                          <a:pt x="71346" y="24135"/>
                          <a:pt x="67406" y="21329"/>
                          <a:pt x="60099" y="17389"/>
                        </a:cubicBezTo>
                        <a:cubicBezTo>
                          <a:pt x="52792" y="13448"/>
                          <a:pt x="48290" y="-4544"/>
                          <a:pt x="42667" y="1079"/>
                        </a:cubicBezTo>
                        <a:cubicBezTo>
                          <a:pt x="39999" y="3748"/>
                          <a:pt x="44313" y="9109"/>
                          <a:pt x="45473" y="12326"/>
                        </a:cubicBezTo>
                        <a:cubicBezTo>
                          <a:pt x="47717" y="18511"/>
                          <a:pt x="49413" y="24135"/>
                          <a:pt x="49974" y="29758"/>
                        </a:cubicBezTo>
                        <a:cubicBezTo>
                          <a:pt x="50535" y="35382"/>
                          <a:pt x="27480" y="38748"/>
                          <a:pt x="17367" y="37065"/>
                        </a:cubicBezTo>
                        <a:cubicBezTo>
                          <a:pt x="7242" y="35382"/>
                          <a:pt x="-2309" y="32003"/>
                          <a:pt x="497" y="37065"/>
                        </a:cubicBezTo>
                        <a:cubicBezTo>
                          <a:pt x="3302" y="42127"/>
                          <a:pt x="11183" y="46055"/>
                          <a:pt x="14549" y="46055"/>
                        </a:cubicBezTo>
                        <a:cubicBezTo>
                          <a:pt x="14549" y="46055"/>
                          <a:pt x="11170" y="53362"/>
                          <a:pt x="20173" y="55045"/>
                        </a:cubicBezTo>
                        <a:cubicBezTo>
                          <a:pt x="20173" y="55045"/>
                          <a:pt x="23552" y="62352"/>
                          <a:pt x="32542" y="61230"/>
                        </a:cubicBezTo>
                        <a:cubicBezTo>
                          <a:pt x="41532" y="60108"/>
                          <a:pt x="61221" y="54484"/>
                          <a:pt x="74713" y="46043"/>
                        </a:cubicBezTo>
                        <a:cubicBezTo>
                          <a:pt x="74713" y="46043"/>
                          <a:pt x="75835" y="37053"/>
                          <a:pt x="71334" y="2411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87" name="Freeform: Shape 2986">
                    <a:extLst>
                      <a:ext uri="{FF2B5EF4-FFF2-40B4-BE49-F238E27FC236}">
                        <a16:creationId xmlns:a16="http://schemas.microsoft.com/office/drawing/2014/main" id="{00F62C41-9D88-64AD-193A-F520FF3F5494}"/>
                      </a:ext>
                    </a:extLst>
                  </p:cNvPr>
                  <p:cNvSpPr/>
                  <p:nvPr/>
                </p:nvSpPr>
                <p:spPr>
                  <a:xfrm>
                    <a:off x="6673797" y="4356871"/>
                    <a:ext cx="139117" cy="66363"/>
                  </a:xfrm>
                  <a:custGeom>
                    <a:avLst/>
                    <a:gdLst>
                      <a:gd name="connsiteX0" fmla="*/ 134724 w 139117"/>
                      <a:gd name="connsiteY0" fmla="*/ 43309 h 66363"/>
                      <a:gd name="connsiteX1" fmla="*/ 7652 w 139117"/>
                      <a:gd name="connsiteY1" fmla="*/ 66364 h 66363"/>
                      <a:gd name="connsiteX2" fmla="*/ 345 w 139117"/>
                      <a:gd name="connsiteY2" fmla="*/ 33757 h 66363"/>
                      <a:gd name="connsiteX3" fmla="*/ 76257 w 139117"/>
                      <a:gd name="connsiteY3" fmla="*/ 8457 h 66363"/>
                      <a:gd name="connsiteX4" fmla="*/ 134737 w 139117"/>
                      <a:gd name="connsiteY4" fmla="*/ 43321 h 6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117" h="66363">
                        <a:moveTo>
                          <a:pt x="134724" y="43309"/>
                        </a:moveTo>
                        <a:cubicBezTo>
                          <a:pt x="134724" y="43309"/>
                          <a:pt x="94237" y="61862"/>
                          <a:pt x="7652" y="66364"/>
                        </a:cubicBezTo>
                        <a:cubicBezTo>
                          <a:pt x="7652" y="66364"/>
                          <a:pt x="-1912" y="54555"/>
                          <a:pt x="345" y="33757"/>
                        </a:cubicBezTo>
                        <a:cubicBezTo>
                          <a:pt x="345" y="33757"/>
                          <a:pt x="50570" y="19405"/>
                          <a:pt x="76257" y="8457"/>
                        </a:cubicBezTo>
                        <a:cubicBezTo>
                          <a:pt x="114487" y="-7852"/>
                          <a:pt x="152168" y="-2790"/>
                          <a:pt x="134737" y="43321"/>
                        </a:cubicBezTo>
                        <a:close/>
                      </a:path>
                    </a:pathLst>
                  </a:custGeom>
                  <a:solidFill>
                    <a:srgbClr val="92C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989" name="Freeform: Shape 2988">
              <a:extLst>
                <a:ext uri="{FF2B5EF4-FFF2-40B4-BE49-F238E27FC236}">
                  <a16:creationId xmlns:a16="http://schemas.microsoft.com/office/drawing/2014/main" id="{E5D116C5-57DB-8F12-8F9C-3D4FFEFE4341}"/>
                </a:ext>
              </a:extLst>
            </p:cNvPr>
            <p:cNvSpPr/>
            <p:nvPr/>
          </p:nvSpPr>
          <p:spPr>
            <a:xfrm>
              <a:off x="4463001" y="3922158"/>
              <a:ext cx="28628" cy="33879"/>
            </a:xfrm>
            <a:custGeom>
              <a:avLst/>
              <a:gdLst>
                <a:gd name="connsiteX0" fmla="*/ 22408 w 34526"/>
                <a:gd name="connsiteY0" fmla="*/ 0 h 40860"/>
                <a:gd name="connsiteX1" fmla="*/ 34116 w 34526"/>
                <a:gd name="connsiteY1" fmla="*/ 23242 h 40860"/>
                <a:gd name="connsiteX2" fmla="*/ 1 w 34526"/>
                <a:gd name="connsiteY2" fmla="*/ 29602 h 40860"/>
                <a:gd name="connsiteX3" fmla="*/ 22408 w 34526"/>
                <a:gd name="connsiteY3" fmla="*/ 0 h 40860"/>
              </a:gdLst>
              <a:ahLst/>
              <a:cxnLst>
                <a:cxn ang="0">
                  <a:pos x="connsiteX0" y="connsiteY0"/>
                </a:cxn>
                <a:cxn ang="0">
                  <a:pos x="connsiteX1" y="connsiteY1"/>
                </a:cxn>
                <a:cxn ang="0">
                  <a:pos x="connsiteX2" y="connsiteY2"/>
                </a:cxn>
                <a:cxn ang="0">
                  <a:pos x="connsiteX3" y="connsiteY3"/>
                </a:cxn>
              </a:cxnLst>
              <a:rect l="l" t="t" r="r" b="b"/>
              <a:pathLst>
                <a:path w="34526" h="40860">
                  <a:moveTo>
                    <a:pt x="22408" y="0"/>
                  </a:moveTo>
                  <a:cubicBezTo>
                    <a:pt x="22408" y="0"/>
                    <a:pt x="37146" y="3541"/>
                    <a:pt x="34116" y="23242"/>
                  </a:cubicBezTo>
                  <a:cubicBezTo>
                    <a:pt x="31772" y="38454"/>
                    <a:pt x="6697" y="50662"/>
                    <a:pt x="1" y="29602"/>
                  </a:cubicBezTo>
                  <a:cubicBezTo>
                    <a:pt x="1" y="29602"/>
                    <a:pt x="-498" y="7868"/>
                    <a:pt x="22408" y="0"/>
                  </a:cubicBezTo>
                  <a:close/>
                </a:path>
              </a:pathLst>
            </a:custGeom>
            <a:solidFill>
              <a:srgbClr val="151A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90" name="Freeform: Shape 2989">
              <a:extLst>
                <a:ext uri="{FF2B5EF4-FFF2-40B4-BE49-F238E27FC236}">
                  <a16:creationId xmlns:a16="http://schemas.microsoft.com/office/drawing/2014/main" id="{6B2C4AEA-CF40-0193-EC68-80A343E24FB3}"/>
                </a:ext>
              </a:extLst>
            </p:cNvPr>
            <p:cNvSpPr/>
            <p:nvPr/>
          </p:nvSpPr>
          <p:spPr>
            <a:xfrm>
              <a:off x="4407091" y="3863840"/>
              <a:ext cx="68106" cy="89142"/>
            </a:xfrm>
            <a:custGeom>
              <a:avLst/>
              <a:gdLst>
                <a:gd name="connsiteX0" fmla="*/ 36059 w 82138"/>
                <a:gd name="connsiteY0" fmla="*/ 406 h 107509"/>
                <a:gd name="connsiteX1" fmla="*/ 5472 w 82138"/>
                <a:gd name="connsiteY1" fmla="*/ 30993 h 107509"/>
                <a:gd name="connsiteX2" fmla="*/ 9799 w 82138"/>
                <a:gd name="connsiteY2" fmla="*/ 105433 h 107509"/>
                <a:gd name="connsiteX3" fmla="*/ 66371 w 82138"/>
                <a:gd name="connsiteY3" fmla="*/ 88650 h 107509"/>
                <a:gd name="connsiteX4" fmla="*/ 72593 w 82138"/>
                <a:gd name="connsiteY4" fmla="*/ 13935 h 107509"/>
                <a:gd name="connsiteX5" fmla="*/ 36046 w 82138"/>
                <a:gd name="connsiteY5" fmla="*/ 406 h 1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38" h="107509">
                  <a:moveTo>
                    <a:pt x="36059" y="406"/>
                  </a:moveTo>
                  <a:cubicBezTo>
                    <a:pt x="36059" y="406"/>
                    <a:pt x="12504" y="3386"/>
                    <a:pt x="5472" y="30993"/>
                  </a:cubicBezTo>
                  <a:cubicBezTo>
                    <a:pt x="-1561" y="58599"/>
                    <a:pt x="-3456" y="99211"/>
                    <a:pt x="9799" y="105433"/>
                  </a:cubicBezTo>
                  <a:cubicBezTo>
                    <a:pt x="23066" y="111655"/>
                    <a:pt x="55273" y="103264"/>
                    <a:pt x="66371" y="88650"/>
                  </a:cubicBezTo>
                  <a:cubicBezTo>
                    <a:pt x="77468" y="74036"/>
                    <a:pt x="92082" y="38038"/>
                    <a:pt x="72593" y="13935"/>
                  </a:cubicBezTo>
                  <a:cubicBezTo>
                    <a:pt x="57430" y="-3659"/>
                    <a:pt x="36046" y="406"/>
                    <a:pt x="36046" y="40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992" name="Graphic 525">
              <a:extLst>
                <a:ext uri="{FF2B5EF4-FFF2-40B4-BE49-F238E27FC236}">
                  <a16:creationId xmlns:a16="http://schemas.microsoft.com/office/drawing/2014/main" id="{54B53880-A5E8-9BED-79FF-5DD7E9C40CA2}"/>
                </a:ext>
              </a:extLst>
            </p:cNvPr>
            <p:cNvGrpSpPr/>
            <p:nvPr/>
          </p:nvGrpSpPr>
          <p:grpSpPr>
            <a:xfrm>
              <a:off x="4411048" y="3860819"/>
              <a:ext cx="74102" cy="86570"/>
              <a:chOff x="6720301" y="4091684"/>
              <a:chExt cx="89369" cy="104408"/>
            </a:xfrm>
          </p:grpSpPr>
          <p:sp>
            <p:nvSpPr>
              <p:cNvPr id="2993" name="Freeform: Shape 2992">
                <a:extLst>
                  <a:ext uri="{FF2B5EF4-FFF2-40B4-BE49-F238E27FC236}">
                    <a16:creationId xmlns:a16="http://schemas.microsoft.com/office/drawing/2014/main" id="{8B4B5F51-8C4B-E5A6-C566-CB58779DB2BA}"/>
                  </a:ext>
                </a:extLst>
              </p:cNvPr>
              <p:cNvSpPr/>
              <p:nvPr/>
            </p:nvSpPr>
            <p:spPr>
              <a:xfrm>
                <a:off x="6720301" y="4091684"/>
                <a:ext cx="89369" cy="104408"/>
              </a:xfrm>
              <a:custGeom>
                <a:avLst/>
                <a:gdLst>
                  <a:gd name="connsiteX0" fmla="*/ 27857 w 89369"/>
                  <a:gd name="connsiteY0" fmla="*/ 14873 h 104408"/>
                  <a:gd name="connsiteX1" fmla="*/ 33094 w 89369"/>
                  <a:gd name="connsiteY1" fmla="*/ 43752 h 104408"/>
                  <a:gd name="connsiteX2" fmla="*/ 55651 w 89369"/>
                  <a:gd name="connsiteY2" fmla="*/ 77493 h 104408"/>
                  <a:gd name="connsiteX3" fmla="*/ 62658 w 89369"/>
                  <a:gd name="connsiteY3" fmla="*/ 104402 h 104408"/>
                  <a:gd name="connsiteX4" fmla="*/ 86736 w 89369"/>
                  <a:gd name="connsiteY4" fmla="*/ 32492 h 104408"/>
                  <a:gd name="connsiteX5" fmla="*/ 37970 w 89369"/>
                  <a:gd name="connsiteY5" fmla="*/ 970 h 104408"/>
                  <a:gd name="connsiteX6" fmla="*/ 14 w 89369"/>
                  <a:gd name="connsiteY6" fmla="*/ 37430 h 104408"/>
                  <a:gd name="connsiteX7" fmla="*/ 27857 w 89369"/>
                  <a:gd name="connsiteY7" fmla="*/ 14861 h 10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369" h="104408">
                    <a:moveTo>
                      <a:pt x="27857" y="14873"/>
                    </a:moveTo>
                    <a:cubicBezTo>
                      <a:pt x="27857" y="14873"/>
                      <a:pt x="26236" y="31831"/>
                      <a:pt x="33094" y="43752"/>
                    </a:cubicBezTo>
                    <a:cubicBezTo>
                      <a:pt x="39952" y="55660"/>
                      <a:pt x="55115" y="55124"/>
                      <a:pt x="55651" y="77493"/>
                    </a:cubicBezTo>
                    <a:cubicBezTo>
                      <a:pt x="56187" y="99875"/>
                      <a:pt x="61374" y="104614"/>
                      <a:pt x="62658" y="104402"/>
                    </a:cubicBezTo>
                    <a:cubicBezTo>
                      <a:pt x="90078" y="99888"/>
                      <a:pt x="92697" y="53790"/>
                      <a:pt x="86736" y="32492"/>
                    </a:cubicBezTo>
                    <a:cubicBezTo>
                      <a:pt x="80776" y="11195"/>
                      <a:pt x="61424" y="-4080"/>
                      <a:pt x="37970" y="970"/>
                    </a:cubicBezTo>
                    <a:cubicBezTo>
                      <a:pt x="37970" y="970"/>
                      <a:pt x="-834" y="-4977"/>
                      <a:pt x="14" y="37430"/>
                    </a:cubicBezTo>
                    <a:cubicBezTo>
                      <a:pt x="14" y="37430"/>
                      <a:pt x="7832" y="16308"/>
                      <a:pt x="27857" y="14861"/>
                    </a:cubicBezTo>
                    <a:close/>
                  </a:path>
                </a:pathLst>
              </a:custGeom>
              <a:solidFill>
                <a:srgbClr val="262F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94" name="Freeform: Shape 2993">
                <a:extLst>
                  <a:ext uri="{FF2B5EF4-FFF2-40B4-BE49-F238E27FC236}">
                    <a16:creationId xmlns:a16="http://schemas.microsoft.com/office/drawing/2014/main" id="{0CFFF0C6-EB5C-218F-5B99-B7EEAF8E77A4}"/>
                  </a:ext>
                </a:extLst>
              </p:cNvPr>
              <p:cNvSpPr/>
              <p:nvPr/>
            </p:nvSpPr>
            <p:spPr>
              <a:xfrm>
                <a:off x="6748158" y="4092654"/>
                <a:ext cx="10100" cy="13902"/>
              </a:xfrm>
              <a:custGeom>
                <a:avLst/>
                <a:gdLst>
                  <a:gd name="connsiteX0" fmla="*/ 0 w 10100"/>
                  <a:gd name="connsiteY0" fmla="*/ 13903 h 13902"/>
                  <a:gd name="connsiteX1" fmla="*/ 773 w 10100"/>
                  <a:gd name="connsiteY1" fmla="*/ 9402 h 13902"/>
                  <a:gd name="connsiteX2" fmla="*/ 2718 w 10100"/>
                  <a:gd name="connsiteY2" fmla="*/ 5237 h 13902"/>
                  <a:gd name="connsiteX3" fmla="*/ 5835 w 10100"/>
                  <a:gd name="connsiteY3" fmla="*/ 1771 h 13902"/>
                  <a:gd name="connsiteX4" fmla="*/ 7856 w 10100"/>
                  <a:gd name="connsiteY4" fmla="*/ 574 h 13902"/>
                  <a:gd name="connsiteX5" fmla="*/ 10100 w 10100"/>
                  <a:gd name="connsiteY5" fmla="*/ 0 h 13902"/>
                  <a:gd name="connsiteX6" fmla="*/ 8329 w 10100"/>
                  <a:gd name="connsiteY6" fmla="*/ 1347 h 13902"/>
                  <a:gd name="connsiteX7" fmla="*/ 6821 w 10100"/>
                  <a:gd name="connsiteY7" fmla="*/ 2843 h 13902"/>
                  <a:gd name="connsiteX8" fmla="*/ 4289 w 10100"/>
                  <a:gd name="connsiteY8" fmla="*/ 6235 h 13902"/>
                  <a:gd name="connsiteX9" fmla="*/ 2120 w 10100"/>
                  <a:gd name="connsiteY9" fmla="*/ 9963 h 13902"/>
                  <a:gd name="connsiteX10" fmla="*/ 0 w 10100"/>
                  <a:gd name="connsiteY10" fmla="*/ 13890 h 1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00" h="13902">
                    <a:moveTo>
                      <a:pt x="0" y="13903"/>
                    </a:moveTo>
                    <a:cubicBezTo>
                      <a:pt x="0" y="12369"/>
                      <a:pt x="312" y="10861"/>
                      <a:pt x="773" y="9402"/>
                    </a:cubicBezTo>
                    <a:cubicBezTo>
                      <a:pt x="1247" y="7955"/>
                      <a:pt x="1883" y="6546"/>
                      <a:pt x="2718" y="5237"/>
                    </a:cubicBezTo>
                    <a:cubicBezTo>
                      <a:pt x="3554" y="3928"/>
                      <a:pt x="4589" y="2731"/>
                      <a:pt x="5835" y="1771"/>
                    </a:cubicBezTo>
                    <a:cubicBezTo>
                      <a:pt x="6459" y="1297"/>
                      <a:pt x="7132" y="885"/>
                      <a:pt x="7856" y="574"/>
                    </a:cubicBezTo>
                    <a:cubicBezTo>
                      <a:pt x="8579" y="274"/>
                      <a:pt x="9339" y="62"/>
                      <a:pt x="10100" y="0"/>
                    </a:cubicBezTo>
                    <a:cubicBezTo>
                      <a:pt x="9464" y="437"/>
                      <a:pt x="8878" y="873"/>
                      <a:pt x="8329" y="1347"/>
                    </a:cubicBezTo>
                    <a:cubicBezTo>
                      <a:pt x="7793" y="1820"/>
                      <a:pt x="7295" y="2332"/>
                      <a:pt x="6821" y="2843"/>
                    </a:cubicBezTo>
                    <a:cubicBezTo>
                      <a:pt x="5885" y="3891"/>
                      <a:pt x="5050" y="5038"/>
                      <a:pt x="4289" y="6235"/>
                    </a:cubicBezTo>
                    <a:cubicBezTo>
                      <a:pt x="3516" y="7432"/>
                      <a:pt x="2818" y="8678"/>
                      <a:pt x="2120" y="9963"/>
                    </a:cubicBezTo>
                    <a:cubicBezTo>
                      <a:pt x="1421" y="11247"/>
                      <a:pt x="748" y="12544"/>
                      <a:pt x="0" y="13890"/>
                    </a:cubicBezTo>
                    <a:close/>
                  </a:path>
                </a:pathLst>
              </a:custGeom>
              <a:solidFill>
                <a:srgbClr val="151A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95" name="Graphic 525">
              <a:extLst>
                <a:ext uri="{FF2B5EF4-FFF2-40B4-BE49-F238E27FC236}">
                  <a16:creationId xmlns:a16="http://schemas.microsoft.com/office/drawing/2014/main" id="{6A38EE44-B5A7-1CFC-5B15-B42A5569EB00}"/>
                </a:ext>
              </a:extLst>
            </p:cNvPr>
            <p:cNvGrpSpPr/>
            <p:nvPr/>
          </p:nvGrpSpPr>
          <p:grpSpPr>
            <a:xfrm>
              <a:off x="4441797" y="3913225"/>
              <a:ext cx="19902" cy="32184"/>
              <a:chOff x="6757385" y="4154888"/>
              <a:chExt cx="24002" cy="38816"/>
            </a:xfrm>
            <a:solidFill>
              <a:srgbClr val="EAEAEA"/>
            </a:solidFill>
          </p:grpSpPr>
          <p:sp>
            <p:nvSpPr>
              <p:cNvPr id="2996" name="Freeform: Shape 2995">
                <a:extLst>
                  <a:ext uri="{FF2B5EF4-FFF2-40B4-BE49-F238E27FC236}">
                    <a16:creationId xmlns:a16="http://schemas.microsoft.com/office/drawing/2014/main" id="{41347EED-9068-2899-3721-A0B7DBCABFD9}"/>
                  </a:ext>
                </a:extLst>
              </p:cNvPr>
              <p:cNvSpPr/>
              <p:nvPr/>
            </p:nvSpPr>
            <p:spPr>
              <a:xfrm>
                <a:off x="6757385" y="4154888"/>
                <a:ext cx="15299" cy="11209"/>
              </a:xfrm>
              <a:custGeom>
                <a:avLst/>
                <a:gdLst>
                  <a:gd name="connsiteX0" fmla="*/ 25 w 15299"/>
                  <a:gd name="connsiteY0" fmla="*/ 11085 h 11209"/>
                  <a:gd name="connsiteX1" fmla="*/ 4015 w 15299"/>
                  <a:gd name="connsiteY1" fmla="*/ 8566 h 11209"/>
                  <a:gd name="connsiteX2" fmla="*/ 4988 w 15299"/>
                  <a:gd name="connsiteY2" fmla="*/ 7893 h 11209"/>
                  <a:gd name="connsiteX3" fmla="*/ 5935 w 15299"/>
                  <a:gd name="connsiteY3" fmla="*/ 7207 h 11209"/>
                  <a:gd name="connsiteX4" fmla="*/ 7806 w 15299"/>
                  <a:gd name="connsiteY4" fmla="*/ 5798 h 11209"/>
                  <a:gd name="connsiteX5" fmla="*/ 11384 w 15299"/>
                  <a:gd name="connsiteY5" fmla="*/ 2793 h 11209"/>
                  <a:gd name="connsiteX6" fmla="*/ 15200 w 15299"/>
                  <a:gd name="connsiteY6" fmla="*/ 0 h 11209"/>
                  <a:gd name="connsiteX7" fmla="*/ 15300 w 15299"/>
                  <a:gd name="connsiteY7" fmla="*/ 100 h 11209"/>
                  <a:gd name="connsiteX8" fmla="*/ 14651 w 15299"/>
                  <a:gd name="connsiteY8" fmla="*/ 1122 h 11209"/>
                  <a:gd name="connsiteX9" fmla="*/ 14302 w 15299"/>
                  <a:gd name="connsiteY9" fmla="*/ 1621 h 11209"/>
                  <a:gd name="connsiteX10" fmla="*/ 13928 w 15299"/>
                  <a:gd name="connsiteY10" fmla="*/ 2095 h 11209"/>
                  <a:gd name="connsiteX11" fmla="*/ 13142 w 15299"/>
                  <a:gd name="connsiteY11" fmla="*/ 3005 h 11209"/>
                  <a:gd name="connsiteX12" fmla="*/ 12295 w 15299"/>
                  <a:gd name="connsiteY12" fmla="*/ 3853 h 11209"/>
                  <a:gd name="connsiteX13" fmla="*/ 10437 w 15299"/>
                  <a:gd name="connsiteY13" fmla="*/ 5374 h 11209"/>
                  <a:gd name="connsiteX14" fmla="*/ 8442 w 15299"/>
                  <a:gd name="connsiteY14" fmla="*/ 6709 h 11209"/>
                  <a:gd name="connsiteX15" fmla="*/ 4352 w 15299"/>
                  <a:gd name="connsiteY15" fmla="*/ 9165 h 11209"/>
                  <a:gd name="connsiteX16" fmla="*/ 62 w 15299"/>
                  <a:gd name="connsiteY16" fmla="*/ 11210 h 11209"/>
                  <a:gd name="connsiteX17" fmla="*/ 0 w 15299"/>
                  <a:gd name="connsiteY17" fmla="*/ 11085 h 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99" h="11209">
                    <a:moveTo>
                      <a:pt x="25" y="11085"/>
                    </a:moveTo>
                    <a:cubicBezTo>
                      <a:pt x="1384" y="10299"/>
                      <a:pt x="2718" y="9464"/>
                      <a:pt x="4015" y="8566"/>
                    </a:cubicBezTo>
                    <a:lnTo>
                      <a:pt x="4988" y="7893"/>
                    </a:lnTo>
                    <a:lnTo>
                      <a:pt x="5935" y="7207"/>
                    </a:lnTo>
                    <a:cubicBezTo>
                      <a:pt x="6571" y="6746"/>
                      <a:pt x="7195" y="6284"/>
                      <a:pt x="7806" y="5798"/>
                    </a:cubicBezTo>
                    <a:cubicBezTo>
                      <a:pt x="9040" y="4838"/>
                      <a:pt x="10150" y="3728"/>
                      <a:pt x="11384" y="2793"/>
                    </a:cubicBezTo>
                    <a:cubicBezTo>
                      <a:pt x="12631" y="1858"/>
                      <a:pt x="13828" y="873"/>
                      <a:pt x="15200" y="0"/>
                    </a:cubicBezTo>
                    <a:lnTo>
                      <a:pt x="15300" y="100"/>
                    </a:lnTo>
                    <a:cubicBezTo>
                      <a:pt x="15100" y="462"/>
                      <a:pt x="14876" y="786"/>
                      <a:pt x="14651" y="1122"/>
                    </a:cubicBezTo>
                    <a:lnTo>
                      <a:pt x="14302" y="1621"/>
                    </a:lnTo>
                    <a:cubicBezTo>
                      <a:pt x="14178" y="1783"/>
                      <a:pt x="14053" y="1933"/>
                      <a:pt x="13928" y="2095"/>
                    </a:cubicBezTo>
                    <a:cubicBezTo>
                      <a:pt x="13679" y="2407"/>
                      <a:pt x="13404" y="2706"/>
                      <a:pt x="13142" y="3005"/>
                    </a:cubicBezTo>
                    <a:lnTo>
                      <a:pt x="12295" y="3853"/>
                    </a:lnTo>
                    <a:cubicBezTo>
                      <a:pt x="11721" y="4414"/>
                      <a:pt x="11085" y="4913"/>
                      <a:pt x="10437" y="5374"/>
                    </a:cubicBezTo>
                    <a:cubicBezTo>
                      <a:pt x="9776" y="5823"/>
                      <a:pt x="9115" y="6272"/>
                      <a:pt x="8442" y="6709"/>
                    </a:cubicBezTo>
                    <a:cubicBezTo>
                      <a:pt x="7120" y="7594"/>
                      <a:pt x="5748" y="8417"/>
                      <a:pt x="4352" y="9165"/>
                    </a:cubicBezTo>
                    <a:cubicBezTo>
                      <a:pt x="2943" y="9901"/>
                      <a:pt x="1534" y="10611"/>
                      <a:pt x="62" y="11210"/>
                    </a:cubicBezTo>
                    <a:lnTo>
                      <a:pt x="0" y="11085"/>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97" name="Freeform: Shape 2996">
                <a:extLst>
                  <a:ext uri="{FF2B5EF4-FFF2-40B4-BE49-F238E27FC236}">
                    <a16:creationId xmlns:a16="http://schemas.microsoft.com/office/drawing/2014/main" id="{538E5662-7D0C-0F59-186A-CBF9DE8DF1E2}"/>
                  </a:ext>
                </a:extLst>
              </p:cNvPr>
              <p:cNvSpPr/>
              <p:nvPr/>
            </p:nvSpPr>
            <p:spPr>
              <a:xfrm>
                <a:off x="6757996" y="4165312"/>
                <a:ext cx="23392" cy="28392"/>
              </a:xfrm>
              <a:custGeom>
                <a:avLst/>
                <a:gdLst>
                  <a:gd name="connsiteX0" fmla="*/ 12 w 23392"/>
                  <a:gd name="connsiteY0" fmla="*/ 28292 h 28392"/>
                  <a:gd name="connsiteX1" fmla="*/ 6746 w 23392"/>
                  <a:gd name="connsiteY1" fmla="*/ 21970 h 28392"/>
                  <a:gd name="connsiteX2" fmla="*/ 12943 w 23392"/>
                  <a:gd name="connsiteY2" fmla="*/ 15150 h 28392"/>
                  <a:gd name="connsiteX3" fmla="*/ 18404 w 23392"/>
                  <a:gd name="connsiteY3" fmla="*/ 7793 h 28392"/>
                  <a:gd name="connsiteX4" fmla="*/ 19689 w 23392"/>
                  <a:gd name="connsiteY4" fmla="*/ 5898 h 28392"/>
                  <a:gd name="connsiteX5" fmla="*/ 20936 w 23392"/>
                  <a:gd name="connsiteY5" fmla="*/ 3978 h 28392"/>
                  <a:gd name="connsiteX6" fmla="*/ 23268 w 23392"/>
                  <a:gd name="connsiteY6" fmla="*/ 0 h 28392"/>
                  <a:gd name="connsiteX7" fmla="*/ 23392 w 23392"/>
                  <a:gd name="connsiteY7" fmla="*/ 50 h 28392"/>
                  <a:gd name="connsiteX8" fmla="*/ 19564 w 23392"/>
                  <a:gd name="connsiteY8" fmla="*/ 8566 h 28392"/>
                  <a:gd name="connsiteX9" fmla="*/ 16833 w 23392"/>
                  <a:gd name="connsiteY9" fmla="*/ 12357 h 28392"/>
                  <a:gd name="connsiteX10" fmla="*/ 13778 w 23392"/>
                  <a:gd name="connsiteY10" fmla="*/ 15886 h 28392"/>
                  <a:gd name="connsiteX11" fmla="*/ 7220 w 23392"/>
                  <a:gd name="connsiteY11" fmla="*/ 22469 h 28392"/>
                  <a:gd name="connsiteX12" fmla="*/ 87 w 23392"/>
                  <a:gd name="connsiteY12" fmla="*/ 28392 h 28392"/>
                  <a:gd name="connsiteX13" fmla="*/ 0 w 23392"/>
                  <a:gd name="connsiteY13" fmla="*/ 28280 h 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92" h="28392">
                    <a:moveTo>
                      <a:pt x="12" y="28292"/>
                    </a:moveTo>
                    <a:cubicBezTo>
                      <a:pt x="2344" y="26285"/>
                      <a:pt x="4589" y="24165"/>
                      <a:pt x="6746" y="21970"/>
                    </a:cubicBezTo>
                    <a:cubicBezTo>
                      <a:pt x="8916" y="19788"/>
                      <a:pt x="10985" y="17519"/>
                      <a:pt x="12943" y="15150"/>
                    </a:cubicBezTo>
                    <a:cubicBezTo>
                      <a:pt x="14901" y="12793"/>
                      <a:pt x="16634" y="10262"/>
                      <a:pt x="18404" y="7793"/>
                    </a:cubicBezTo>
                    <a:cubicBezTo>
                      <a:pt x="18841" y="7170"/>
                      <a:pt x="19277" y="6546"/>
                      <a:pt x="19689" y="5898"/>
                    </a:cubicBezTo>
                    <a:cubicBezTo>
                      <a:pt x="20125" y="5274"/>
                      <a:pt x="20512" y="4614"/>
                      <a:pt x="20936" y="3978"/>
                    </a:cubicBezTo>
                    <a:cubicBezTo>
                      <a:pt x="21734" y="2681"/>
                      <a:pt x="22507" y="1347"/>
                      <a:pt x="23268" y="0"/>
                    </a:cubicBezTo>
                    <a:lnTo>
                      <a:pt x="23392" y="50"/>
                    </a:lnTo>
                    <a:cubicBezTo>
                      <a:pt x="22607" y="3067"/>
                      <a:pt x="21210" y="5910"/>
                      <a:pt x="19564" y="8566"/>
                    </a:cubicBezTo>
                    <a:cubicBezTo>
                      <a:pt x="18729" y="9888"/>
                      <a:pt x="17818" y="11147"/>
                      <a:pt x="16833" y="12357"/>
                    </a:cubicBezTo>
                    <a:cubicBezTo>
                      <a:pt x="15836" y="13554"/>
                      <a:pt x="14826" y="14726"/>
                      <a:pt x="13778" y="15886"/>
                    </a:cubicBezTo>
                    <a:cubicBezTo>
                      <a:pt x="11696" y="18180"/>
                      <a:pt x="9502" y="20375"/>
                      <a:pt x="7220" y="22469"/>
                    </a:cubicBezTo>
                    <a:cubicBezTo>
                      <a:pt x="4926" y="24539"/>
                      <a:pt x="2569" y="26559"/>
                      <a:pt x="87" y="28392"/>
                    </a:cubicBezTo>
                    <a:lnTo>
                      <a:pt x="0" y="28280"/>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998" name="Graphic 525">
              <a:extLst>
                <a:ext uri="{FF2B5EF4-FFF2-40B4-BE49-F238E27FC236}">
                  <a16:creationId xmlns:a16="http://schemas.microsoft.com/office/drawing/2014/main" id="{BC9E63AB-3DEA-A9A1-7903-4DAF18453E83}"/>
                </a:ext>
              </a:extLst>
            </p:cNvPr>
            <p:cNvGrpSpPr/>
            <p:nvPr/>
          </p:nvGrpSpPr>
          <p:grpSpPr>
            <a:xfrm>
              <a:off x="4451623" y="3908392"/>
              <a:ext cx="14767" cy="20886"/>
              <a:chOff x="6769235" y="4149059"/>
              <a:chExt cx="17810" cy="25190"/>
            </a:xfrm>
          </p:grpSpPr>
          <p:sp>
            <p:nvSpPr>
              <p:cNvPr id="2999" name="Freeform: Shape 2998">
                <a:extLst>
                  <a:ext uri="{FF2B5EF4-FFF2-40B4-BE49-F238E27FC236}">
                    <a16:creationId xmlns:a16="http://schemas.microsoft.com/office/drawing/2014/main" id="{9B0CEACF-8ACD-9DCE-DF81-25BA7FBFE8A6}"/>
                  </a:ext>
                </a:extLst>
              </p:cNvPr>
              <p:cNvSpPr/>
              <p:nvPr/>
            </p:nvSpPr>
            <p:spPr>
              <a:xfrm>
                <a:off x="6769235" y="4149059"/>
                <a:ext cx="17810" cy="25190"/>
              </a:xfrm>
              <a:custGeom>
                <a:avLst/>
                <a:gdLst>
                  <a:gd name="connsiteX0" fmla="*/ 2390 w 17810"/>
                  <a:gd name="connsiteY0" fmla="*/ 7587 h 25190"/>
                  <a:gd name="connsiteX1" fmla="*/ 15657 w 17810"/>
                  <a:gd name="connsiteY1" fmla="*/ 554 h 25190"/>
                  <a:gd name="connsiteX2" fmla="*/ 6455 w 17810"/>
                  <a:gd name="connsiteY2" fmla="*/ 25180 h 25190"/>
                  <a:gd name="connsiteX3" fmla="*/ 2390 w 17810"/>
                  <a:gd name="connsiteY3" fmla="*/ 7587 h 25190"/>
                </a:gdLst>
                <a:ahLst/>
                <a:cxnLst>
                  <a:cxn ang="0">
                    <a:pos x="connsiteX0" y="connsiteY0"/>
                  </a:cxn>
                  <a:cxn ang="0">
                    <a:pos x="connsiteX1" y="connsiteY1"/>
                  </a:cxn>
                  <a:cxn ang="0">
                    <a:pos x="connsiteX2" y="connsiteY2"/>
                  </a:cxn>
                  <a:cxn ang="0">
                    <a:pos x="connsiteX3" y="connsiteY3"/>
                  </a:cxn>
                </a:cxnLst>
                <a:rect l="l" t="t" r="r" b="b"/>
                <a:pathLst>
                  <a:path w="17810" h="25190">
                    <a:moveTo>
                      <a:pt x="2390" y="7587"/>
                    </a:moveTo>
                    <a:cubicBezTo>
                      <a:pt x="2390" y="7587"/>
                      <a:pt x="8076" y="-2426"/>
                      <a:pt x="15657" y="554"/>
                    </a:cubicBezTo>
                    <a:cubicBezTo>
                      <a:pt x="21642" y="2911"/>
                      <a:pt x="14036" y="25729"/>
                      <a:pt x="6455" y="25180"/>
                    </a:cubicBezTo>
                    <a:cubicBezTo>
                      <a:pt x="-1126" y="24632"/>
                      <a:pt x="-1400" y="16789"/>
                      <a:pt x="2390" y="7587"/>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00" name="Freeform: Shape 2999">
                <a:extLst>
                  <a:ext uri="{FF2B5EF4-FFF2-40B4-BE49-F238E27FC236}">
                    <a16:creationId xmlns:a16="http://schemas.microsoft.com/office/drawing/2014/main" id="{0E3D139B-7996-ACA6-9D76-0A6DFD8AFAC3}"/>
                  </a:ext>
                </a:extLst>
              </p:cNvPr>
              <p:cNvSpPr/>
              <p:nvPr/>
            </p:nvSpPr>
            <p:spPr>
              <a:xfrm>
                <a:off x="6772969" y="4155532"/>
                <a:ext cx="8933" cy="9767"/>
              </a:xfrm>
              <a:custGeom>
                <a:avLst/>
                <a:gdLst>
                  <a:gd name="connsiteX0" fmla="*/ 8045 w 8933"/>
                  <a:gd name="connsiteY0" fmla="*/ 1650 h 9767"/>
                  <a:gd name="connsiteX1" fmla="*/ 8931 w 8933"/>
                  <a:gd name="connsiteY1" fmla="*/ 914 h 9767"/>
                  <a:gd name="connsiteX2" fmla="*/ 8195 w 8933"/>
                  <a:gd name="connsiteY2" fmla="*/ 29 h 9767"/>
                  <a:gd name="connsiteX3" fmla="*/ 15 w 8933"/>
                  <a:gd name="connsiteY3" fmla="*/ 8807 h 9767"/>
                  <a:gd name="connsiteX4" fmla="*/ 664 w 8933"/>
                  <a:gd name="connsiteY4" fmla="*/ 9755 h 9767"/>
                  <a:gd name="connsiteX5" fmla="*/ 813 w 8933"/>
                  <a:gd name="connsiteY5" fmla="*/ 9767 h 9767"/>
                  <a:gd name="connsiteX6" fmla="*/ 1611 w 8933"/>
                  <a:gd name="connsiteY6" fmla="*/ 9106 h 9767"/>
                  <a:gd name="connsiteX7" fmla="*/ 2409 w 8933"/>
                  <a:gd name="connsiteY7" fmla="*/ 6475 h 9767"/>
                  <a:gd name="connsiteX8" fmla="*/ 2671 w 8933"/>
                  <a:gd name="connsiteY8" fmla="*/ 6338 h 9767"/>
                  <a:gd name="connsiteX9" fmla="*/ 6774 w 8933"/>
                  <a:gd name="connsiteY9" fmla="*/ 6313 h 9767"/>
                  <a:gd name="connsiteX10" fmla="*/ 7310 w 8933"/>
                  <a:gd name="connsiteY10" fmla="*/ 6512 h 9767"/>
                  <a:gd name="connsiteX11" fmla="*/ 7921 w 8933"/>
                  <a:gd name="connsiteY11" fmla="*/ 6238 h 9767"/>
                  <a:gd name="connsiteX12" fmla="*/ 7858 w 8933"/>
                  <a:gd name="connsiteY12" fmla="*/ 5091 h 9767"/>
                  <a:gd name="connsiteX13" fmla="*/ 3644 w 8933"/>
                  <a:gd name="connsiteY13" fmla="*/ 4094 h 9767"/>
                  <a:gd name="connsiteX14" fmla="*/ 8045 w 8933"/>
                  <a:gd name="connsiteY14" fmla="*/ 1637 h 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33" h="9767">
                    <a:moveTo>
                      <a:pt x="8045" y="1650"/>
                    </a:moveTo>
                    <a:cubicBezTo>
                      <a:pt x="8482" y="1687"/>
                      <a:pt x="8893" y="1363"/>
                      <a:pt x="8931" y="914"/>
                    </a:cubicBezTo>
                    <a:cubicBezTo>
                      <a:pt x="8968" y="465"/>
                      <a:pt x="8644" y="66"/>
                      <a:pt x="8195" y="29"/>
                    </a:cubicBezTo>
                    <a:cubicBezTo>
                      <a:pt x="1848" y="-570"/>
                      <a:pt x="78" y="8420"/>
                      <a:pt x="15" y="8807"/>
                    </a:cubicBezTo>
                    <a:cubicBezTo>
                      <a:pt x="-72" y="9243"/>
                      <a:pt x="227" y="9667"/>
                      <a:pt x="664" y="9755"/>
                    </a:cubicBezTo>
                    <a:cubicBezTo>
                      <a:pt x="713" y="9755"/>
                      <a:pt x="763" y="9767"/>
                      <a:pt x="813" y="9767"/>
                    </a:cubicBezTo>
                    <a:cubicBezTo>
                      <a:pt x="1200" y="9767"/>
                      <a:pt x="1536" y="9493"/>
                      <a:pt x="1611" y="9106"/>
                    </a:cubicBezTo>
                    <a:cubicBezTo>
                      <a:pt x="1611" y="9081"/>
                      <a:pt x="1848" y="7897"/>
                      <a:pt x="2409" y="6475"/>
                    </a:cubicBezTo>
                    <a:cubicBezTo>
                      <a:pt x="2496" y="6450"/>
                      <a:pt x="2584" y="6400"/>
                      <a:pt x="2671" y="6338"/>
                    </a:cubicBezTo>
                    <a:cubicBezTo>
                      <a:pt x="2758" y="6263"/>
                      <a:pt x="4891" y="4630"/>
                      <a:pt x="6774" y="6313"/>
                    </a:cubicBezTo>
                    <a:cubicBezTo>
                      <a:pt x="6923" y="6450"/>
                      <a:pt x="7122" y="6512"/>
                      <a:pt x="7310" y="6512"/>
                    </a:cubicBezTo>
                    <a:cubicBezTo>
                      <a:pt x="7534" y="6512"/>
                      <a:pt x="7758" y="6425"/>
                      <a:pt x="7921" y="6238"/>
                    </a:cubicBezTo>
                    <a:cubicBezTo>
                      <a:pt x="8220" y="5901"/>
                      <a:pt x="8182" y="5390"/>
                      <a:pt x="7858" y="5091"/>
                    </a:cubicBezTo>
                    <a:cubicBezTo>
                      <a:pt x="6449" y="3844"/>
                      <a:pt x="4903" y="3769"/>
                      <a:pt x="3644" y="4094"/>
                    </a:cubicBezTo>
                    <a:cubicBezTo>
                      <a:pt x="4641" y="2622"/>
                      <a:pt x="6075" y="1438"/>
                      <a:pt x="8045" y="1637"/>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010" name="Freeform: Shape 3009">
              <a:extLst>
                <a:ext uri="{FF2B5EF4-FFF2-40B4-BE49-F238E27FC236}">
                  <a16:creationId xmlns:a16="http://schemas.microsoft.com/office/drawing/2014/main" id="{1D07F8CC-42EC-89A5-B77F-68AD70D882DC}"/>
                </a:ext>
              </a:extLst>
            </p:cNvPr>
            <p:cNvSpPr/>
            <p:nvPr/>
          </p:nvSpPr>
          <p:spPr>
            <a:xfrm>
              <a:off x="3726679" y="4531165"/>
              <a:ext cx="334962" cy="67830"/>
            </a:xfrm>
            <a:custGeom>
              <a:avLst/>
              <a:gdLst>
                <a:gd name="connsiteX0" fmla="*/ 3591 w 403978"/>
                <a:gd name="connsiteY0" fmla="*/ 15041 h 81806"/>
                <a:gd name="connsiteX1" fmla="*/ 0 w 403978"/>
                <a:gd name="connsiteY1" fmla="*/ 15402 h 81806"/>
                <a:gd name="connsiteX2" fmla="*/ 30188 w 403978"/>
                <a:gd name="connsiteY2" fmla="*/ 67673 h 81806"/>
                <a:gd name="connsiteX3" fmla="*/ 113556 w 403978"/>
                <a:gd name="connsiteY3" fmla="*/ 75142 h 81806"/>
                <a:gd name="connsiteX4" fmla="*/ 140414 w 403978"/>
                <a:gd name="connsiteY4" fmla="*/ 43171 h 81806"/>
                <a:gd name="connsiteX5" fmla="*/ 220977 w 403978"/>
                <a:gd name="connsiteY5" fmla="*/ 61077 h 81806"/>
                <a:gd name="connsiteX6" fmla="*/ 327102 w 403978"/>
                <a:gd name="connsiteY6" fmla="*/ 45727 h 81806"/>
                <a:gd name="connsiteX7" fmla="*/ 403824 w 403978"/>
                <a:gd name="connsiteY7" fmla="*/ 17597 h 81806"/>
                <a:gd name="connsiteX8" fmla="*/ 3591 w 403978"/>
                <a:gd name="connsiteY8" fmla="*/ 15041 h 8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978" h="81806">
                  <a:moveTo>
                    <a:pt x="3591" y="15041"/>
                  </a:moveTo>
                  <a:cubicBezTo>
                    <a:pt x="3591" y="15041"/>
                    <a:pt x="2220" y="15153"/>
                    <a:pt x="0" y="15402"/>
                  </a:cubicBezTo>
                  <a:lnTo>
                    <a:pt x="30188" y="67673"/>
                  </a:lnTo>
                  <a:cubicBezTo>
                    <a:pt x="62745" y="79531"/>
                    <a:pt x="101286" y="88521"/>
                    <a:pt x="113556" y="75142"/>
                  </a:cubicBezTo>
                  <a:cubicBezTo>
                    <a:pt x="127621" y="59792"/>
                    <a:pt x="113556" y="45727"/>
                    <a:pt x="140414" y="43171"/>
                  </a:cubicBezTo>
                  <a:cubicBezTo>
                    <a:pt x="167273" y="40615"/>
                    <a:pt x="186450" y="63633"/>
                    <a:pt x="220977" y="61077"/>
                  </a:cubicBezTo>
                  <a:cubicBezTo>
                    <a:pt x="255504" y="58521"/>
                    <a:pt x="315605" y="66189"/>
                    <a:pt x="327102" y="45727"/>
                  </a:cubicBezTo>
                  <a:cubicBezTo>
                    <a:pt x="338611" y="25266"/>
                    <a:pt x="407664" y="43171"/>
                    <a:pt x="403824" y="17597"/>
                  </a:cubicBezTo>
                  <a:cubicBezTo>
                    <a:pt x="399984" y="-7977"/>
                    <a:pt x="99503" y="-2865"/>
                    <a:pt x="3591" y="15041"/>
                  </a:cubicBezTo>
                  <a:close/>
                </a:path>
              </a:pathLst>
            </a:custGeom>
            <a:solidFill>
              <a:srgbClr val="8DD9E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13" name="Graphic 525">
              <a:extLst>
                <a:ext uri="{FF2B5EF4-FFF2-40B4-BE49-F238E27FC236}">
                  <a16:creationId xmlns:a16="http://schemas.microsoft.com/office/drawing/2014/main" id="{29620872-E94E-5D6A-97C0-10991CAFF946}"/>
                </a:ext>
              </a:extLst>
            </p:cNvPr>
            <p:cNvGrpSpPr/>
            <p:nvPr/>
          </p:nvGrpSpPr>
          <p:grpSpPr>
            <a:xfrm>
              <a:off x="3711396" y="4080327"/>
              <a:ext cx="185212" cy="505945"/>
              <a:chOff x="5876491" y="4356420"/>
              <a:chExt cx="223373" cy="610191"/>
            </a:xfrm>
          </p:grpSpPr>
          <p:sp>
            <p:nvSpPr>
              <p:cNvPr id="3014" name="Freeform: Shape 3013">
                <a:extLst>
                  <a:ext uri="{FF2B5EF4-FFF2-40B4-BE49-F238E27FC236}">
                    <a16:creationId xmlns:a16="http://schemas.microsoft.com/office/drawing/2014/main" id="{20FBF279-7163-FC3A-199E-940A3E8836EE}"/>
                  </a:ext>
                </a:extLst>
              </p:cNvPr>
              <p:cNvSpPr/>
              <p:nvPr/>
            </p:nvSpPr>
            <p:spPr>
              <a:xfrm>
                <a:off x="5884603" y="4356420"/>
                <a:ext cx="136965" cy="188279"/>
              </a:xfrm>
              <a:custGeom>
                <a:avLst/>
                <a:gdLst>
                  <a:gd name="connsiteX0" fmla="*/ 74174 w 136965"/>
                  <a:gd name="connsiteY0" fmla="*/ 355 h 188279"/>
                  <a:gd name="connsiteX1" fmla="*/ 16193 w 136965"/>
                  <a:gd name="connsiteY1" fmla="*/ 53111 h 188279"/>
                  <a:gd name="connsiteX2" fmla="*/ 3774 w 136965"/>
                  <a:gd name="connsiteY2" fmla="*/ 98923 h 188279"/>
                  <a:gd name="connsiteX3" fmla="*/ 29335 w 136965"/>
                  <a:gd name="connsiteY3" fmla="*/ 175682 h 188279"/>
                  <a:gd name="connsiteX4" fmla="*/ 122791 w 136965"/>
                  <a:gd name="connsiteY4" fmla="*/ 152615 h 188279"/>
                  <a:gd name="connsiteX5" fmla="*/ 133265 w 136965"/>
                  <a:gd name="connsiteY5" fmla="*/ 48597 h 188279"/>
                  <a:gd name="connsiteX6" fmla="*/ 74174 w 136965"/>
                  <a:gd name="connsiteY6" fmla="*/ 367 h 18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965" h="188279">
                    <a:moveTo>
                      <a:pt x="74174" y="355"/>
                    </a:moveTo>
                    <a:cubicBezTo>
                      <a:pt x="74174" y="355"/>
                      <a:pt x="23325" y="-7713"/>
                      <a:pt x="16193" y="53111"/>
                    </a:cubicBezTo>
                    <a:cubicBezTo>
                      <a:pt x="14933" y="65693"/>
                      <a:pt x="11729" y="82152"/>
                      <a:pt x="3774" y="98923"/>
                    </a:cubicBezTo>
                    <a:cubicBezTo>
                      <a:pt x="-4194" y="115706"/>
                      <a:pt x="-1251" y="155133"/>
                      <a:pt x="29335" y="175682"/>
                    </a:cubicBezTo>
                    <a:cubicBezTo>
                      <a:pt x="59922" y="196231"/>
                      <a:pt x="105185" y="193713"/>
                      <a:pt x="122791" y="152615"/>
                    </a:cubicBezTo>
                    <a:cubicBezTo>
                      <a:pt x="140398" y="111504"/>
                      <a:pt x="138627" y="74907"/>
                      <a:pt x="133265" y="48597"/>
                    </a:cubicBezTo>
                    <a:cubicBezTo>
                      <a:pt x="128652" y="25941"/>
                      <a:pt x="107280" y="-3000"/>
                      <a:pt x="74174" y="367"/>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15" name="Graphic 525">
                <a:extLst>
                  <a:ext uri="{FF2B5EF4-FFF2-40B4-BE49-F238E27FC236}">
                    <a16:creationId xmlns:a16="http://schemas.microsoft.com/office/drawing/2014/main" id="{B2EEC0A4-CFF0-266C-770A-6ED1C9FFB2CC}"/>
                  </a:ext>
                </a:extLst>
              </p:cNvPr>
              <p:cNvGrpSpPr/>
              <p:nvPr/>
            </p:nvGrpSpPr>
            <p:grpSpPr>
              <a:xfrm>
                <a:off x="5876491" y="4414252"/>
                <a:ext cx="223373" cy="552360"/>
                <a:chOff x="5876491" y="4414252"/>
                <a:chExt cx="223373" cy="552360"/>
              </a:xfrm>
            </p:grpSpPr>
            <p:grpSp>
              <p:nvGrpSpPr>
                <p:cNvPr id="3016" name="Graphic 525">
                  <a:extLst>
                    <a:ext uri="{FF2B5EF4-FFF2-40B4-BE49-F238E27FC236}">
                      <a16:creationId xmlns:a16="http://schemas.microsoft.com/office/drawing/2014/main" id="{87ADEB9A-8AE5-120D-0D11-AC99991714A4}"/>
                    </a:ext>
                  </a:extLst>
                </p:cNvPr>
                <p:cNvGrpSpPr/>
                <p:nvPr/>
              </p:nvGrpSpPr>
              <p:grpSpPr>
                <a:xfrm>
                  <a:off x="5937698" y="4414252"/>
                  <a:ext cx="162167" cy="517710"/>
                  <a:chOff x="5937698" y="4414252"/>
                  <a:chExt cx="162167" cy="517710"/>
                </a:xfrm>
              </p:grpSpPr>
              <p:grpSp>
                <p:nvGrpSpPr>
                  <p:cNvPr id="3017" name="Graphic 525">
                    <a:extLst>
                      <a:ext uri="{FF2B5EF4-FFF2-40B4-BE49-F238E27FC236}">
                        <a16:creationId xmlns:a16="http://schemas.microsoft.com/office/drawing/2014/main" id="{4C8AE27D-625C-B2D6-5F2E-3678B82AD80B}"/>
                      </a:ext>
                    </a:extLst>
                  </p:cNvPr>
                  <p:cNvGrpSpPr/>
                  <p:nvPr/>
                </p:nvGrpSpPr>
                <p:grpSpPr>
                  <a:xfrm>
                    <a:off x="5937698" y="4414252"/>
                    <a:ext cx="111666" cy="286630"/>
                    <a:chOff x="5937698" y="4414252"/>
                    <a:chExt cx="111666" cy="286630"/>
                  </a:xfrm>
                </p:grpSpPr>
                <p:sp>
                  <p:nvSpPr>
                    <p:cNvPr id="3018" name="Freeform: Shape 3017">
                      <a:extLst>
                        <a:ext uri="{FF2B5EF4-FFF2-40B4-BE49-F238E27FC236}">
                          <a16:creationId xmlns:a16="http://schemas.microsoft.com/office/drawing/2014/main" id="{4BB53366-2059-625F-A157-9A21020CC8A1}"/>
                        </a:ext>
                      </a:extLst>
                    </p:cNvPr>
                    <p:cNvSpPr/>
                    <p:nvPr/>
                  </p:nvSpPr>
                  <p:spPr>
                    <a:xfrm>
                      <a:off x="5938402" y="4421839"/>
                      <a:ext cx="107879" cy="273902"/>
                    </a:xfrm>
                    <a:custGeom>
                      <a:avLst/>
                      <a:gdLst>
                        <a:gd name="connsiteX0" fmla="*/ 63107 w 107879"/>
                        <a:gd name="connsiteY0" fmla="*/ 12 h 273902"/>
                        <a:gd name="connsiteX1" fmla="*/ 84280 w 107879"/>
                        <a:gd name="connsiteY1" fmla="*/ 16870 h 273902"/>
                        <a:gd name="connsiteX2" fmla="*/ 102921 w 107879"/>
                        <a:gd name="connsiteY2" fmla="*/ 126199 h 273902"/>
                        <a:gd name="connsiteX3" fmla="*/ 78195 w 107879"/>
                        <a:gd name="connsiteY3" fmla="*/ 273846 h 273902"/>
                        <a:gd name="connsiteX4" fmla="*/ 33780 w 107879"/>
                        <a:gd name="connsiteY4" fmla="*/ 221002 h 273902"/>
                        <a:gd name="connsiteX5" fmla="*/ 1510 w 107879"/>
                        <a:gd name="connsiteY5" fmla="*/ 79652 h 273902"/>
                        <a:gd name="connsiteX6" fmla="*/ 33780 w 107879"/>
                        <a:gd name="connsiteY6" fmla="*/ 5411 h 273902"/>
                        <a:gd name="connsiteX7" fmla="*/ 63107 w 107879"/>
                        <a:gd name="connsiteY7" fmla="*/ 12 h 27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79" h="273902">
                          <a:moveTo>
                            <a:pt x="63107" y="12"/>
                          </a:moveTo>
                          <a:cubicBezTo>
                            <a:pt x="73132" y="236"/>
                            <a:pt x="81786" y="7144"/>
                            <a:pt x="84280" y="16870"/>
                          </a:cubicBezTo>
                          <a:cubicBezTo>
                            <a:pt x="88594" y="33641"/>
                            <a:pt x="97884" y="73879"/>
                            <a:pt x="102921" y="126199"/>
                          </a:cubicBezTo>
                          <a:cubicBezTo>
                            <a:pt x="109629" y="195827"/>
                            <a:pt x="115490" y="270068"/>
                            <a:pt x="78195" y="273846"/>
                          </a:cubicBezTo>
                          <a:cubicBezTo>
                            <a:pt x="70651" y="274681"/>
                            <a:pt x="48020" y="266713"/>
                            <a:pt x="33780" y="221002"/>
                          </a:cubicBezTo>
                          <a:cubicBezTo>
                            <a:pt x="19528" y="175278"/>
                            <a:pt x="7794" y="113630"/>
                            <a:pt x="1510" y="79652"/>
                          </a:cubicBezTo>
                          <a:cubicBezTo>
                            <a:pt x="-4774" y="45674"/>
                            <a:pt x="9054" y="13803"/>
                            <a:pt x="33780" y="5411"/>
                          </a:cubicBezTo>
                          <a:cubicBezTo>
                            <a:pt x="45102" y="1571"/>
                            <a:pt x="55102" y="-162"/>
                            <a:pt x="63107" y="12"/>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19" name="Graphic 525">
                      <a:extLst>
                        <a:ext uri="{FF2B5EF4-FFF2-40B4-BE49-F238E27FC236}">
                          <a16:creationId xmlns:a16="http://schemas.microsoft.com/office/drawing/2014/main" id="{F4BC6D9A-4D37-358C-3D4B-BB1C1219B2A2}"/>
                        </a:ext>
                      </a:extLst>
                    </p:cNvPr>
                    <p:cNvGrpSpPr/>
                    <p:nvPr/>
                  </p:nvGrpSpPr>
                  <p:grpSpPr>
                    <a:xfrm>
                      <a:off x="5937698" y="4414252"/>
                      <a:ext cx="111666" cy="286630"/>
                      <a:chOff x="5937698" y="4414252"/>
                      <a:chExt cx="111666" cy="286630"/>
                    </a:xfrm>
                  </p:grpSpPr>
                  <p:sp>
                    <p:nvSpPr>
                      <p:cNvPr id="3020" name="Freeform: Shape 3019">
                        <a:extLst>
                          <a:ext uri="{FF2B5EF4-FFF2-40B4-BE49-F238E27FC236}">
                            <a16:creationId xmlns:a16="http://schemas.microsoft.com/office/drawing/2014/main" id="{0CC5D228-9686-7FF5-4612-35D41294E4D8}"/>
                          </a:ext>
                        </a:extLst>
                      </p:cNvPr>
                      <p:cNvSpPr/>
                      <p:nvPr/>
                    </p:nvSpPr>
                    <p:spPr>
                      <a:xfrm>
                        <a:off x="5937698" y="4414252"/>
                        <a:ext cx="111666" cy="286630"/>
                      </a:xfrm>
                      <a:custGeom>
                        <a:avLst/>
                        <a:gdLst>
                          <a:gd name="connsiteX0" fmla="*/ 39060 w 111666"/>
                          <a:gd name="connsiteY0" fmla="*/ 2138 h 286630"/>
                          <a:gd name="connsiteX1" fmla="*/ 2538 w 111666"/>
                          <a:gd name="connsiteY1" fmla="*/ 86541 h 286630"/>
                          <a:gd name="connsiteX2" fmla="*/ 40544 w 111666"/>
                          <a:gd name="connsiteY2" fmla="*/ 253365 h 286630"/>
                          <a:gd name="connsiteX3" fmla="*/ 84298 w 111666"/>
                          <a:gd name="connsiteY3" fmla="*/ 286271 h 286630"/>
                          <a:gd name="connsiteX4" fmla="*/ 111618 w 111666"/>
                          <a:gd name="connsiteY4" fmla="*/ 218825 h 286630"/>
                          <a:gd name="connsiteX5" fmla="*/ 91879 w 111666"/>
                          <a:gd name="connsiteY5" fmla="*/ 37201 h 286630"/>
                          <a:gd name="connsiteX6" fmla="*/ 39072 w 111666"/>
                          <a:gd name="connsiteY6" fmla="*/ 2162 h 28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666" h="286630">
                            <a:moveTo>
                              <a:pt x="39060" y="2138"/>
                            </a:moveTo>
                            <a:cubicBezTo>
                              <a:pt x="15369" y="7076"/>
                              <a:pt x="-7824" y="25330"/>
                              <a:pt x="2538" y="86541"/>
                            </a:cubicBezTo>
                            <a:cubicBezTo>
                              <a:pt x="12900" y="147739"/>
                              <a:pt x="33137" y="233128"/>
                              <a:pt x="40544" y="253365"/>
                            </a:cubicBezTo>
                            <a:cubicBezTo>
                              <a:pt x="47950" y="273602"/>
                              <a:pt x="68001" y="289226"/>
                              <a:pt x="84298" y="286271"/>
                            </a:cubicBezTo>
                            <a:cubicBezTo>
                              <a:pt x="100582" y="283303"/>
                              <a:pt x="110633" y="255347"/>
                              <a:pt x="111618" y="218825"/>
                            </a:cubicBezTo>
                            <a:cubicBezTo>
                              <a:pt x="112603" y="182304"/>
                              <a:pt x="98463" y="64919"/>
                              <a:pt x="91879" y="37201"/>
                            </a:cubicBezTo>
                            <a:cubicBezTo>
                              <a:pt x="82502" y="-2289"/>
                              <a:pt x="62764" y="-2775"/>
                              <a:pt x="39072" y="2162"/>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21" name="Freeform: Shape 3020">
                        <a:extLst>
                          <a:ext uri="{FF2B5EF4-FFF2-40B4-BE49-F238E27FC236}">
                            <a16:creationId xmlns:a16="http://schemas.microsoft.com/office/drawing/2014/main" id="{1827ACB2-5A58-61CE-F455-008E108C651E}"/>
                          </a:ext>
                        </a:extLst>
                      </p:cNvPr>
                      <p:cNvSpPr/>
                      <p:nvPr/>
                    </p:nvSpPr>
                    <p:spPr>
                      <a:xfrm>
                        <a:off x="5946794" y="4493398"/>
                        <a:ext cx="53654" cy="156724"/>
                      </a:xfrm>
                      <a:custGeom>
                        <a:avLst/>
                        <a:gdLst>
                          <a:gd name="connsiteX0" fmla="*/ 0 w 53654"/>
                          <a:gd name="connsiteY0" fmla="*/ 42969 h 156724"/>
                          <a:gd name="connsiteX1" fmla="*/ 26123 w 53654"/>
                          <a:gd name="connsiteY1" fmla="*/ 156724 h 156724"/>
                          <a:gd name="connsiteX2" fmla="*/ 42794 w 53654"/>
                          <a:gd name="connsiteY2" fmla="*/ 20724 h 156724"/>
                          <a:gd name="connsiteX3" fmla="*/ 53655 w 53654"/>
                          <a:gd name="connsiteY3" fmla="*/ 0 h 156724"/>
                          <a:gd name="connsiteX4" fmla="*/ 0 w 53654"/>
                          <a:gd name="connsiteY4" fmla="*/ 42981 h 15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 h="156724">
                            <a:moveTo>
                              <a:pt x="0" y="42969"/>
                            </a:moveTo>
                            <a:cubicBezTo>
                              <a:pt x="8329" y="85251"/>
                              <a:pt x="18941" y="130626"/>
                              <a:pt x="26123" y="156724"/>
                            </a:cubicBezTo>
                            <a:cubicBezTo>
                              <a:pt x="30973" y="124492"/>
                              <a:pt x="39116" y="66934"/>
                              <a:pt x="42794" y="20724"/>
                            </a:cubicBezTo>
                            <a:cubicBezTo>
                              <a:pt x="42794" y="20724"/>
                              <a:pt x="50687" y="9377"/>
                              <a:pt x="53655" y="0"/>
                            </a:cubicBezTo>
                            <a:cubicBezTo>
                              <a:pt x="53655" y="0"/>
                              <a:pt x="30973" y="25599"/>
                              <a:pt x="0" y="42981"/>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22" name="Graphic 525">
                    <a:extLst>
                      <a:ext uri="{FF2B5EF4-FFF2-40B4-BE49-F238E27FC236}">
                        <a16:creationId xmlns:a16="http://schemas.microsoft.com/office/drawing/2014/main" id="{1A516DC4-0AA9-CE17-2E22-F537BE06D0AB}"/>
                      </a:ext>
                    </a:extLst>
                  </p:cNvPr>
                  <p:cNvGrpSpPr/>
                  <p:nvPr/>
                </p:nvGrpSpPr>
                <p:grpSpPr>
                  <a:xfrm>
                    <a:off x="5977011" y="4604560"/>
                    <a:ext cx="122854" cy="327402"/>
                    <a:chOff x="5977011" y="4604560"/>
                    <a:chExt cx="122854" cy="327402"/>
                  </a:xfrm>
                </p:grpSpPr>
                <p:grpSp>
                  <p:nvGrpSpPr>
                    <p:cNvPr id="3023" name="Graphic 525">
                      <a:extLst>
                        <a:ext uri="{FF2B5EF4-FFF2-40B4-BE49-F238E27FC236}">
                          <a16:creationId xmlns:a16="http://schemas.microsoft.com/office/drawing/2014/main" id="{CA5ACE7E-CC2E-D68B-9ED1-5C7838BFE9B2}"/>
                        </a:ext>
                      </a:extLst>
                    </p:cNvPr>
                    <p:cNvGrpSpPr/>
                    <p:nvPr/>
                  </p:nvGrpSpPr>
                  <p:grpSpPr>
                    <a:xfrm>
                      <a:off x="5994738" y="4870285"/>
                      <a:ext cx="105127" cy="61677"/>
                      <a:chOff x="5994738" y="4870285"/>
                      <a:chExt cx="105127" cy="61677"/>
                    </a:xfrm>
                  </p:grpSpPr>
                  <p:sp>
                    <p:nvSpPr>
                      <p:cNvPr id="3024" name="Freeform: Shape 3023">
                        <a:extLst>
                          <a:ext uri="{FF2B5EF4-FFF2-40B4-BE49-F238E27FC236}">
                            <a16:creationId xmlns:a16="http://schemas.microsoft.com/office/drawing/2014/main" id="{24D13960-9883-5C80-42DA-0196B69B1C93}"/>
                          </a:ext>
                        </a:extLst>
                      </p:cNvPr>
                      <p:cNvSpPr/>
                      <p:nvPr/>
                    </p:nvSpPr>
                    <p:spPr>
                      <a:xfrm>
                        <a:off x="5995777" y="4870285"/>
                        <a:ext cx="101415" cy="57462"/>
                      </a:xfrm>
                      <a:custGeom>
                        <a:avLst/>
                        <a:gdLst>
                          <a:gd name="connsiteX0" fmla="*/ 18126 w 101415"/>
                          <a:gd name="connsiteY0" fmla="*/ 17 h 57462"/>
                          <a:gd name="connsiteX1" fmla="*/ 7789 w 101415"/>
                          <a:gd name="connsiteY1" fmla="*/ 11202 h 57462"/>
                          <a:gd name="connsiteX2" fmla="*/ 1367 w 101415"/>
                          <a:gd name="connsiteY2" fmla="*/ 33571 h 57462"/>
                          <a:gd name="connsiteX3" fmla="*/ 11978 w 101415"/>
                          <a:gd name="connsiteY3" fmla="*/ 54819 h 57462"/>
                          <a:gd name="connsiteX4" fmla="*/ 58800 w 101415"/>
                          <a:gd name="connsiteY4" fmla="*/ 56764 h 57462"/>
                          <a:gd name="connsiteX5" fmla="*/ 101407 w 101415"/>
                          <a:gd name="connsiteY5" fmla="*/ 46564 h 57462"/>
                          <a:gd name="connsiteX6" fmla="*/ 65059 w 101415"/>
                          <a:gd name="connsiteY6" fmla="*/ 31040 h 57462"/>
                          <a:gd name="connsiteX7" fmla="*/ 37964 w 101415"/>
                          <a:gd name="connsiteY7" fmla="*/ 19020 h 57462"/>
                          <a:gd name="connsiteX8" fmla="*/ 18126 w 101415"/>
                          <a:gd name="connsiteY8" fmla="*/ 4 h 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415" h="57462">
                            <a:moveTo>
                              <a:pt x="18126" y="17"/>
                            </a:moveTo>
                            <a:cubicBezTo>
                              <a:pt x="18126" y="17"/>
                              <a:pt x="9460" y="-257"/>
                              <a:pt x="7789" y="11202"/>
                            </a:cubicBezTo>
                            <a:cubicBezTo>
                              <a:pt x="6118" y="22661"/>
                              <a:pt x="4160" y="27137"/>
                              <a:pt x="1367" y="33571"/>
                            </a:cubicBezTo>
                            <a:cubicBezTo>
                              <a:pt x="-1426" y="40005"/>
                              <a:pt x="-865" y="53422"/>
                              <a:pt x="11978" y="54819"/>
                            </a:cubicBezTo>
                            <a:cubicBezTo>
                              <a:pt x="24834" y="56215"/>
                              <a:pt x="46505" y="55367"/>
                              <a:pt x="58800" y="56764"/>
                            </a:cubicBezTo>
                            <a:cubicBezTo>
                              <a:pt x="71094" y="58160"/>
                              <a:pt x="100721" y="58622"/>
                              <a:pt x="101407" y="46564"/>
                            </a:cubicBezTo>
                            <a:cubicBezTo>
                              <a:pt x="101968" y="36776"/>
                              <a:pt x="75122" y="34955"/>
                              <a:pt x="65059" y="31040"/>
                            </a:cubicBezTo>
                            <a:cubicBezTo>
                              <a:pt x="55708" y="27399"/>
                              <a:pt x="43101" y="23746"/>
                              <a:pt x="37964" y="19020"/>
                            </a:cubicBezTo>
                            <a:cubicBezTo>
                              <a:pt x="30981" y="12586"/>
                              <a:pt x="28188" y="-270"/>
                              <a:pt x="18126" y="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25" name="Graphic 525">
                        <a:extLst>
                          <a:ext uri="{FF2B5EF4-FFF2-40B4-BE49-F238E27FC236}">
                            <a16:creationId xmlns:a16="http://schemas.microsoft.com/office/drawing/2014/main" id="{EE9E61E8-357B-7B47-9151-8A59CA742B1B}"/>
                          </a:ext>
                        </a:extLst>
                      </p:cNvPr>
                      <p:cNvGrpSpPr/>
                      <p:nvPr/>
                    </p:nvGrpSpPr>
                    <p:grpSpPr>
                      <a:xfrm>
                        <a:off x="5994738" y="4889070"/>
                        <a:ext cx="105127" cy="42892"/>
                        <a:chOff x="5994738" y="4889070"/>
                        <a:chExt cx="105127" cy="42892"/>
                      </a:xfrm>
                    </p:grpSpPr>
                    <p:sp>
                      <p:nvSpPr>
                        <p:cNvPr id="3026" name="Freeform: Shape 3025">
                          <a:extLst>
                            <a:ext uri="{FF2B5EF4-FFF2-40B4-BE49-F238E27FC236}">
                              <a16:creationId xmlns:a16="http://schemas.microsoft.com/office/drawing/2014/main" id="{F023959C-DCC4-3405-0105-404E0569CAB6}"/>
                            </a:ext>
                          </a:extLst>
                        </p:cNvPr>
                        <p:cNvSpPr/>
                        <p:nvPr/>
                      </p:nvSpPr>
                      <p:spPr>
                        <a:xfrm>
                          <a:off x="5996809" y="4919991"/>
                          <a:ext cx="102844" cy="11971"/>
                        </a:xfrm>
                        <a:custGeom>
                          <a:avLst/>
                          <a:gdLst>
                            <a:gd name="connsiteX0" fmla="*/ 348 w 102844"/>
                            <a:gd name="connsiteY0" fmla="*/ 3953 h 11971"/>
                            <a:gd name="connsiteX1" fmla="*/ 186 w 102844"/>
                            <a:gd name="connsiteY1" fmla="*/ 8728 h 11971"/>
                            <a:gd name="connsiteX2" fmla="*/ 15985 w 102844"/>
                            <a:gd name="connsiteY2" fmla="*/ 10699 h 11971"/>
                            <a:gd name="connsiteX3" fmla="*/ 55138 w 102844"/>
                            <a:gd name="connsiteY3" fmla="*/ 11846 h 11971"/>
                            <a:gd name="connsiteX4" fmla="*/ 102844 w 102844"/>
                            <a:gd name="connsiteY4" fmla="*/ 0 h 11971"/>
                            <a:gd name="connsiteX5" fmla="*/ 348 w 102844"/>
                            <a:gd name="connsiteY5" fmla="*/ 3953 h 1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44" h="11971">
                              <a:moveTo>
                                <a:pt x="348" y="3953"/>
                              </a:moveTo>
                              <a:cubicBezTo>
                                <a:pt x="348" y="3953"/>
                                <a:pt x="-313" y="8230"/>
                                <a:pt x="186" y="8728"/>
                              </a:cubicBezTo>
                              <a:cubicBezTo>
                                <a:pt x="685" y="9227"/>
                                <a:pt x="5610" y="10374"/>
                                <a:pt x="15985" y="10699"/>
                              </a:cubicBezTo>
                              <a:cubicBezTo>
                                <a:pt x="26346" y="11023"/>
                                <a:pt x="42469" y="11684"/>
                                <a:pt x="55138" y="11846"/>
                              </a:cubicBezTo>
                              <a:cubicBezTo>
                                <a:pt x="67806" y="12008"/>
                                <a:pt x="102844" y="13492"/>
                                <a:pt x="102844" y="0"/>
                              </a:cubicBezTo>
                              <a:lnTo>
                                <a:pt x="348" y="3953"/>
                              </a:ln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27" name="Freeform: Shape 3026">
                          <a:extLst>
                            <a:ext uri="{FF2B5EF4-FFF2-40B4-BE49-F238E27FC236}">
                              <a16:creationId xmlns:a16="http://schemas.microsoft.com/office/drawing/2014/main" id="{ED73CF27-9A52-902D-D2F2-C927037E740D}"/>
                            </a:ext>
                          </a:extLst>
                        </p:cNvPr>
                        <p:cNvSpPr/>
                        <p:nvPr/>
                      </p:nvSpPr>
                      <p:spPr>
                        <a:xfrm>
                          <a:off x="5994738" y="4889070"/>
                          <a:ext cx="105127" cy="39352"/>
                        </a:xfrm>
                        <a:custGeom>
                          <a:avLst/>
                          <a:gdLst>
                            <a:gd name="connsiteX0" fmla="*/ 5724 w 105127"/>
                            <a:gd name="connsiteY0" fmla="*/ 6544 h 39352"/>
                            <a:gd name="connsiteX1" fmla="*/ 4701 w 105127"/>
                            <a:gd name="connsiteY1" fmla="*/ 7391 h 39352"/>
                            <a:gd name="connsiteX2" fmla="*/ 187 w 105127"/>
                            <a:gd name="connsiteY2" fmla="*/ 22766 h 39352"/>
                            <a:gd name="connsiteX3" fmla="*/ 2419 w 105127"/>
                            <a:gd name="connsiteY3" fmla="*/ 34873 h 39352"/>
                            <a:gd name="connsiteX4" fmla="*/ 20026 w 105127"/>
                            <a:gd name="connsiteY4" fmla="*/ 37841 h 39352"/>
                            <a:gd name="connsiteX5" fmla="*/ 67570 w 105127"/>
                            <a:gd name="connsiteY5" fmla="*/ 39325 h 39352"/>
                            <a:gd name="connsiteX6" fmla="*/ 104915 w 105127"/>
                            <a:gd name="connsiteY6" fmla="*/ 30933 h 39352"/>
                            <a:gd name="connsiteX7" fmla="*/ 93731 w 105127"/>
                            <a:gd name="connsiteY7" fmla="*/ 17117 h 39352"/>
                            <a:gd name="connsiteX8" fmla="*/ 56386 w 105127"/>
                            <a:gd name="connsiteY8" fmla="*/ 6756 h 39352"/>
                            <a:gd name="connsiteX9" fmla="*/ 39440 w 105127"/>
                            <a:gd name="connsiteY9" fmla="*/ 334 h 39352"/>
                            <a:gd name="connsiteX10" fmla="*/ 34016 w 105127"/>
                            <a:gd name="connsiteY10" fmla="*/ 13826 h 39352"/>
                            <a:gd name="connsiteX11" fmla="*/ 5736 w 105127"/>
                            <a:gd name="connsiteY11" fmla="*/ 6556 h 3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7" h="39352">
                              <a:moveTo>
                                <a:pt x="5724" y="6544"/>
                              </a:moveTo>
                              <a:cubicBezTo>
                                <a:pt x="5724" y="6544"/>
                                <a:pt x="5287" y="6095"/>
                                <a:pt x="4701" y="7391"/>
                              </a:cubicBezTo>
                              <a:cubicBezTo>
                                <a:pt x="4028" y="8863"/>
                                <a:pt x="1173" y="15359"/>
                                <a:pt x="187" y="22766"/>
                              </a:cubicBezTo>
                              <a:cubicBezTo>
                                <a:pt x="-797" y="30172"/>
                                <a:pt x="2419" y="34873"/>
                                <a:pt x="2419" y="34873"/>
                              </a:cubicBezTo>
                              <a:cubicBezTo>
                                <a:pt x="2419" y="34873"/>
                                <a:pt x="7357" y="37504"/>
                                <a:pt x="20026" y="37841"/>
                              </a:cubicBezTo>
                              <a:cubicBezTo>
                                <a:pt x="30887" y="38128"/>
                                <a:pt x="54416" y="38988"/>
                                <a:pt x="67570" y="39325"/>
                              </a:cubicBezTo>
                              <a:cubicBezTo>
                                <a:pt x="80738" y="39649"/>
                                <a:pt x="103432" y="37180"/>
                                <a:pt x="104915" y="30933"/>
                              </a:cubicBezTo>
                              <a:cubicBezTo>
                                <a:pt x="106399" y="24686"/>
                                <a:pt x="99816" y="19412"/>
                                <a:pt x="93731" y="17117"/>
                              </a:cubicBezTo>
                              <a:cubicBezTo>
                                <a:pt x="87646" y="14811"/>
                                <a:pt x="64441" y="11033"/>
                                <a:pt x="56386" y="6756"/>
                              </a:cubicBezTo>
                              <a:cubicBezTo>
                                <a:pt x="48318" y="2479"/>
                                <a:pt x="41585" y="-1137"/>
                                <a:pt x="39440" y="334"/>
                              </a:cubicBezTo>
                              <a:cubicBezTo>
                                <a:pt x="37295" y="1818"/>
                                <a:pt x="35325" y="9387"/>
                                <a:pt x="34016" y="13826"/>
                              </a:cubicBezTo>
                              <a:cubicBezTo>
                                <a:pt x="33355" y="15970"/>
                                <a:pt x="21859" y="14786"/>
                                <a:pt x="5736" y="6556"/>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28" name="Graphic 525">
                      <a:extLst>
                        <a:ext uri="{FF2B5EF4-FFF2-40B4-BE49-F238E27FC236}">
                          <a16:creationId xmlns:a16="http://schemas.microsoft.com/office/drawing/2014/main" id="{35421FC8-9C54-723E-2443-4290E46C7ED6}"/>
                        </a:ext>
                      </a:extLst>
                    </p:cNvPr>
                    <p:cNvGrpSpPr/>
                    <p:nvPr/>
                  </p:nvGrpSpPr>
                  <p:grpSpPr>
                    <a:xfrm>
                      <a:off x="5977011" y="4604560"/>
                      <a:ext cx="74293" cy="293297"/>
                      <a:chOff x="5977011" y="4604560"/>
                      <a:chExt cx="74293" cy="293297"/>
                    </a:xfrm>
                  </p:grpSpPr>
                  <p:sp>
                    <p:nvSpPr>
                      <p:cNvPr id="3029" name="Freeform: Shape 3028">
                        <a:extLst>
                          <a:ext uri="{FF2B5EF4-FFF2-40B4-BE49-F238E27FC236}">
                            <a16:creationId xmlns:a16="http://schemas.microsoft.com/office/drawing/2014/main" id="{0A98939E-E554-0FD5-3156-17AAF468A33B}"/>
                          </a:ext>
                        </a:extLst>
                      </p:cNvPr>
                      <p:cNvSpPr/>
                      <p:nvPr/>
                    </p:nvSpPr>
                    <p:spPr>
                      <a:xfrm>
                        <a:off x="5980149" y="4610215"/>
                        <a:ext cx="66446" cy="287643"/>
                      </a:xfrm>
                      <a:custGeom>
                        <a:avLst/>
                        <a:gdLst>
                          <a:gd name="connsiteX0" fmla="*/ 0 w 66446"/>
                          <a:gd name="connsiteY0" fmla="*/ 42688 h 287643"/>
                          <a:gd name="connsiteX1" fmla="*/ 3354 w 66446"/>
                          <a:gd name="connsiteY1" fmla="*/ 114834 h 287643"/>
                          <a:gd name="connsiteX2" fmla="*/ 22208 w 66446"/>
                          <a:gd name="connsiteY2" fmla="*/ 266246 h 287643"/>
                          <a:gd name="connsiteX3" fmla="*/ 37719 w 66446"/>
                          <a:gd name="connsiteY3" fmla="*/ 287643 h 287643"/>
                          <a:gd name="connsiteX4" fmla="*/ 51971 w 66446"/>
                          <a:gd name="connsiteY4" fmla="*/ 246957 h 287643"/>
                          <a:gd name="connsiteX5" fmla="*/ 65799 w 66446"/>
                          <a:gd name="connsiteY5" fmla="*/ 30942 h 287643"/>
                          <a:gd name="connsiteX6" fmla="*/ 0 w 66446"/>
                          <a:gd name="connsiteY6" fmla="*/ 42688 h 28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46" h="287643">
                            <a:moveTo>
                              <a:pt x="0" y="42688"/>
                            </a:moveTo>
                            <a:cubicBezTo>
                              <a:pt x="0" y="42688"/>
                              <a:pt x="424" y="64920"/>
                              <a:pt x="3354" y="114834"/>
                            </a:cubicBezTo>
                            <a:cubicBezTo>
                              <a:pt x="6284" y="164748"/>
                              <a:pt x="18866" y="246957"/>
                              <a:pt x="22208" y="266246"/>
                            </a:cubicBezTo>
                            <a:cubicBezTo>
                              <a:pt x="25549" y="285536"/>
                              <a:pt x="32270" y="287643"/>
                              <a:pt x="37719" y="287643"/>
                            </a:cubicBezTo>
                            <a:cubicBezTo>
                              <a:pt x="47856" y="287643"/>
                              <a:pt x="48193" y="275897"/>
                              <a:pt x="51971" y="246957"/>
                            </a:cubicBezTo>
                            <a:cubicBezTo>
                              <a:pt x="55737" y="218016"/>
                              <a:pt x="69578" y="98051"/>
                              <a:pt x="65799" y="30942"/>
                            </a:cubicBezTo>
                            <a:cubicBezTo>
                              <a:pt x="65799" y="-7650"/>
                              <a:pt x="2943" y="-16877"/>
                              <a:pt x="0" y="42688"/>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30" name="Freeform: Shape 3029">
                        <a:extLst>
                          <a:ext uri="{FF2B5EF4-FFF2-40B4-BE49-F238E27FC236}">
                            <a16:creationId xmlns:a16="http://schemas.microsoft.com/office/drawing/2014/main" id="{CFA2609F-4A84-EA88-2F8D-EE7195D34D8C}"/>
                          </a:ext>
                        </a:extLst>
                      </p:cNvPr>
                      <p:cNvSpPr/>
                      <p:nvPr/>
                    </p:nvSpPr>
                    <p:spPr>
                      <a:xfrm>
                        <a:off x="5977011" y="4604560"/>
                        <a:ext cx="74293" cy="271192"/>
                      </a:xfrm>
                      <a:custGeom>
                        <a:avLst/>
                        <a:gdLst>
                          <a:gd name="connsiteX0" fmla="*/ 233 w 74293"/>
                          <a:gd name="connsiteY0" fmla="*/ 73418 h 271192"/>
                          <a:gd name="connsiteX1" fmla="*/ 8126 w 74293"/>
                          <a:gd name="connsiteY1" fmla="*/ 207673 h 271192"/>
                          <a:gd name="connsiteX2" fmla="*/ 15533 w 74293"/>
                          <a:gd name="connsiteY2" fmla="*/ 267637 h 271192"/>
                          <a:gd name="connsiteX3" fmla="*/ 59711 w 74293"/>
                          <a:gd name="connsiteY3" fmla="*/ 268135 h 271192"/>
                          <a:gd name="connsiteX4" fmla="*/ 68838 w 74293"/>
                          <a:gd name="connsiteY4" fmla="*/ 175103 h 271192"/>
                          <a:gd name="connsiteX5" fmla="*/ 70322 w 74293"/>
                          <a:gd name="connsiteY5" fmla="*/ 24078 h 271192"/>
                          <a:gd name="connsiteX6" fmla="*/ 22441 w 74293"/>
                          <a:gd name="connsiteY6" fmla="*/ 4825 h 271192"/>
                          <a:gd name="connsiteX7" fmla="*/ 233 w 74293"/>
                          <a:gd name="connsiteY7" fmla="*/ 73430 h 27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3" h="271192">
                            <a:moveTo>
                              <a:pt x="233" y="73418"/>
                            </a:moveTo>
                            <a:cubicBezTo>
                              <a:pt x="707" y="95139"/>
                              <a:pt x="5657" y="174592"/>
                              <a:pt x="8126" y="207673"/>
                            </a:cubicBezTo>
                            <a:cubicBezTo>
                              <a:pt x="10595" y="240741"/>
                              <a:pt x="15533" y="267637"/>
                              <a:pt x="15533" y="267637"/>
                            </a:cubicBezTo>
                            <a:cubicBezTo>
                              <a:pt x="15533" y="267637"/>
                              <a:pt x="37005" y="275293"/>
                              <a:pt x="59711" y="268135"/>
                            </a:cubicBezTo>
                            <a:cubicBezTo>
                              <a:pt x="59711" y="268135"/>
                              <a:pt x="62915" y="228895"/>
                              <a:pt x="68838" y="175103"/>
                            </a:cubicBezTo>
                            <a:cubicBezTo>
                              <a:pt x="74761" y="121299"/>
                              <a:pt x="76731" y="33455"/>
                              <a:pt x="70322" y="24078"/>
                            </a:cubicBezTo>
                            <a:cubicBezTo>
                              <a:pt x="70322" y="24078"/>
                              <a:pt x="56506" y="-12943"/>
                              <a:pt x="22441" y="4825"/>
                            </a:cubicBezTo>
                            <a:cubicBezTo>
                              <a:pt x="-2036" y="17594"/>
                              <a:pt x="-265" y="50724"/>
                              <a:pt x="233" y="73430"/>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031" name="Graphic 525">
                  <a:extLst>
                    <a:ext uri="{FF2B5EF4-FFF2-40B4-BE49-F238E27FC236}">
                      <a16:creationId xmlns:a16="http://schemas.microsoft.com/office/drawing/2014/main" id="{F94FE0CE-2C98-6674-79C9-CBE1CEF382A8}"/>
                    </a:ext>
                  </a:extLst>
                </p:cNvPr>
                <p:cNvGrpSpPr/>
                <p:nvPr/>
              </p:nvGrpSpPr>
              <p:grpSpPr>
                <a:xfrm>
                  <a:off x="5876491" y="4428188"/>
                  <a:ext cx="116636" cy="538423"/>
                  <a:chOff x="5876491" y="4428188"/>
                  <a:chExt cx="116636" cy="538423"/>
                </a:xfrm>
              </p:grpSpPr>
              <p:grpSp>
                <p:nvGrpSpPr>
                  <p:cNvPr id="3032" name="Graphic 525">
                    <a:extLst>
                      <a:ext uri="{FF2B5EF4-FFF2-40B4-BE49-F238E27FC236}">
                        <a16:creationId xmlns:a16="http://schemas.microsoft.com/office/drawing/2014/main" id="{2E41468D-6FD9-F189-29C6-8599F202219E}"/>
                      </a:ext>
                    </a:extLst>
                  </p:cNvPr>
                  <p:cNvGrpSpPr/>
                  <p:nvPr/>
                </p:nvGrpSpPr>
                <p:grpSpPr>
                  <a:xfrm>
                    <a:off x="5891718" y="4865277"/>
                    <a:ext cx="101409" cy="101335"/>
                    <a:chOff x="5891718" y="4865277"/>
                    <a:chExt cx="101409" cy="101335"/>
                  </a:xfrm>
                </p:grpSpPr>
                <p:sp>
                  <p:nvSpPr>
                    <p:cNvPr id="3033" name="Freeform: Shape 3032">
                      <a:extLst>
                        <a:ext uri="{FF2B5EF4-FFF2-40B4-BE49-F238E27FC236}">
                          <a16:creationId xmlns:a16="http://schemas.microsoft.com/office/drawing/2014/main" id="{E1787297-DC4E-2C76-08C7-AB9F11419950}"/>
                        </a:ext>
                      </a:extLst>
                    </p:cNvPr>
                    <p:cNvSpPr/>
                    <p:nvPr/>
                  </p:nvSpPr>
                  <p:spPr>
                    <a:xfrm>
                      <a:off x="5892354" y="4865277"/>
                      <a:ext cx="98768" cy="96380"/>
                    </a:xfrm>
                    <a:custGeom>
                      <a:avLst/>
                      <a:gdLst>
                        <a:gd name="connsiteX0" fmla="*/ 87608 w 98768"/>
                        <a:gd name="connsiteY0" fmla="*/ 69353 h 96380"/>
                        <a:gd name="connsiteX1" fmla="*/ 42694 w 98768"/>
                        <a:gd name="connsiteY1" fmla="*/ 41709 h 96380"/>
                        <a:gd name="connsiteX2" fmla="*/ 34552 w 98768"/>
                        <a:gd name="connsiteY2" fmla="*/ 15299 h 96380"/>
                        <a:gd name="connsiteX3" fmla="*/ 19003 w 98768"/>
                        <a:gd name="connsiteY3" fmla="*/ 0 h 96380"/>
                        <a:gd name="connsiteX4" fmla="*/ 5424 w 98768"/>
                        <a:gd name="connsiteY4" fmla="*/ 15549 h 96380"/>
                        <a:gd name="connsiteX5" fmla="*/ 2456 w 98768"/>
                        <a:gd name="connsiteY5" fmla="*/ 37507 h 96380"/>
                        <a:gd name="connsiteX6" fmla="*/ 0 w 98768"/>
                        <a:gd name="connsiteY6" fmla="*/ 45836 h 96380"/>
                        <a:gd name="connsiteX7" fmla="*/ 15773 w 98768"/>
                        <a:gd name="connsiteY7" fmla="*/ 73144 h 96380"/>
                        <a:gd name="connsiteX8" fmla="*/ 43916 w 98768"/>
                        <a:gd name="connsiteY8" fmla="*/ 88094 h 96380"/>
                        <a:gd name="connsiteX9" fmla="*/ 95987 w 98768"/>
                        <a:gd name="connsiteY9" fmla="*/ 91299 h 96380"/>
                        <a:gd name="connsiteX10" fmla="*/ 87595 w 98768"/>
                        <a:gd name="connsiteY10" fmla="*/ 69340 h 9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768" h="96380">
                          <a:moveTo>
                            <a:pt x="87608" y="69353"/>
                          </a:moveTo>
                          <a:cubicBezTo>
                            <a:pt x="82184" y="66385"/>
                            <a:pt x="52320" y="53555"/>
                            <a:pt x="42694" y="41709"/>
                          </a:cubicBezTo>
                          <a:cubicBezTo>
                            <a:pt x="33068" y="29863"/>
                            <a:pt x="34053" y="21222"/>
                            <a:pt x="34552" y="15299"/>
                          </a:cubicBezTo>
                          <a:cubicBezTo>
                            <a:pt x="35051" y="9376"/>
                            <a:pt x="31098" y="0"/>
                            <a:pt x="19003" y="0"/>
                          </a:cubicBezTo>
                          <a:cubicBezTo>
                            <a:pt x="4938" y="0"/>
                            <a:pt x="5424" y="15549"/>
                            <a:pt x="5424" y="15549"/>
                          </a:cubicBezTo>
                          <a:cubicBezTo>
                            <a:pt x="5424" y="15549"/>
                            <a:pt x="5424" y="29128"/>
                            <a:pt x="2456" y="37507"/>
                          </a:cubicBezTo>
                          <a:cubicBezTo>
                            <a:pt x="1621" y="39864"/>
                            <a:pt x="698" y="42756"/>
                            <a:pt x="0" y="45836"/>
                          </a:cubicBezTo>
                          <a:lnTo>
                            <a:pt x="15773" y="73144"/>
                          </a:lnTo>
                          <a:cubicBezTo>
                            <a:pt x="25088" y="78019"/>
                            <a:pt x="36223" y="83468"/>
                            <a:pt x="43916" y="88094"/>
                          </a:cubicBezTo>
                          <a:cubicBezTo>
                            <a:pt x="55026" y="94753"/>
                            <a:pt x="88094" y="101174"/>
                            <a:pt x="95987" y="91299"/>
                          </a:cubicBezTo>
                          <a:cubicBezTo>
                            <a:pt x="103880" y="81423"/>
                            <a:pt x="93019" y="72296"/>
                            <a:pt x="87595" y="6934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34" name="Graphic 525">
                      <a:extLst>
                        <a:ext uri="{FF2B5EF4-FFF2-40B4-BE49-F238E27FC236}">
                          <a16:creationId xmlns:a16="http://schemas.microsoft.com/office/drawing/2014/main" id="{B15A9275-1216-14AE-D642-F315133643E6}"/>
                        </a:ext>
                      </a:extLst>
                    </p:cNvPr>
                    <p:cNvGrpSpPr/>
                    <p:nvPr/>
                  </p:nvGrpSpPr>
                  <p:grpSpPr>
                    <a:xfrm>
                      <a:off x="5891718" y="4905265"/>
                      <a:ext cx="101409" cy="61346"/>
                      <a:chOff x="5891718" y="4905265"/>
                      <a:chExt cx="101409" cy="61346"/>
                    </a:xfrm>
                  </p:grpSpPr>
                  <p:sp>
                    <p:nvSpPr>
                      <p:cNvPr id="3035" name="Freeform: Shape 3034">
                        <a:extLst>
                          <a:ext uri="{FF2B5EF4-FFF2-40B4-BE49-F238E27FC236}">
                            <a16:creationId xmlns:a16="http://schemas.microsoft.com/office/drawing/2014/main" id="{99EA3534-A808-337F-9CED-EE1C4E60766E}"/>
                          </a:ext>
                        </a:extLst>
                      </p:cNvPr>
                      <p:cNvSpPr/>
                      <p:nvPr/>
                    </p:nvSpPr>
                    <p:spPr>
                      <a:xfrm>
                        <a:off x="5903951" y="4931176"/>
                        <a:ext cx="88966" cy="35436"/>
                      </a:xfrm>
                      <a:custGeom>
                        <a:avLst/>
                        <a:gdLst>
                          <a:gd name="connsiteX0" fmla="*/ 0 w 88966"/>
                          <a:gd name="connsiteY0" fmla="*/ 12 h 35436"/>
                          <a:gd name="connsiteX1" fmla="*/ 9003 w 88966"/>
                          <a:gd name="connsiteY1" fmla="*/ 15611 h 35436"/>
                          <a:gd name="connsiteX2" fmla="*/ 34789 w 88966"/>
                          <a:gd name="connsiteY2" fmla="*/ 28617 h 35436"/>
                          <a:gd name="connsiteX3" fmla="*/ 80201 w 88966"/>
                          <a:gd name="connsiteY3" fmla="*/ 33716 h 35436"/>
                          <a:gd name="connsiteX4" fmla="*/ 88967 w 88966"/>
                          <a:gd name="connsiteY4" fmla="*/ 20100 h 35436"/>
                          <a:gd name="connsiteX5" fmla="*/ 0 w 88966"/>
                          <a:gd name="connsiteY5" fmla="*/ 0 h 3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66" h="35436">
                            <a:moveTo>
                              <a:pt x="0" y="12"/>
                            </a:moveTo>
                            <a:lnTo>
                              <a:pt x="9003" y="15611"/>
                            </a:lnTo>
                            <a:cubicBezTo>
                              <a:pt x="16808" y="19203"/>
                              <a:pt x="26322" y="23205"/>
                              <a:pt x="34789" y="28617"/>
                            </a:cubicBezTo>
                            <a:cubicBezTo>
                              <a:pt x="44826" y="35038"/>
                              <a:pt x="72296" y="37345"/>
                              <a:pt x="80201" y="33716"/>
                            </a:cubicBezTo>
                            <a:cubicBezTo>
                              <a:pt x="88094" y="30101"/>
                              <a:pt x="88967" y="25038"/>
                              <a:pt x="88967" y="20100"/>
                            </a:cubicBezTo>
                            <a:lnTo>
                              <a:pt x="0" y="0"/>
                            </a:ln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36" name="Freeform: Shape 3035">
                        <a:extLst>
                          <a:ext uri="{FF2B5EF4-FFF2-40B4-BE49-F238E27FC236}">
                            <a16:creationId xmlns:a16="http://schemas.microsoft.com/office/drawing/2014/main" id="{BE569480-E3A1-8451-A623-294F7F1DC6E6}"/>
                          </a:ext>
                        </a:extLst>
                      </p:cNvPr>
                      <p:cNvSpPr/>
                      <p:nvPr/>
                    </p:nvSpPr>
                    <p:spPr>
                      <a:xfrm>
                        <a:off x="5891718" y="4905265"/>
                        <a:ext cx="101409" cy="58822"/>
                      </a:xfrm>
                      <a:custGeom>
                        <a:avLst/>
                        <a:gdLst>
                          <a:gd name="connsiteX0" fmla="*/ 95152 w 101409"/>
                          <a:gd name="connsiteY0" fmla="*/ 32819 h 58822"/>
                          <a:gd name="connsiteX1" fmla="*/ 64552 w 101409"/>
                          <a:gd name="connsiteY1" fmla="*/ 13816 h 58822"/>
                          <a:gd name="connsiteX2" fmla="*/ 42345 w 101409"/>
                          <a:gd name="connsiteY2" fmla="*/ 0 h 58822"/>
                          <a:gd name="connsiteX3" fmla="*/ 30749 w 101409"/>
                          <a:gd name="connsiteY3" fmla="*/ 15799 h 58822"/>
                          <a:gd name="connsiteX4" fmla="*/ 12980 w 101409"/>
                          <a:gd name="connsiteY4" fmla="*/ 12594 h 58822"/>
                          <a:gd name="connsiteX5" fmla="*/ 1671 w 101409"/>
                          <a:gd name="connsiteY5" fmla="*/ 2033 h 58822"/>
                          <a:gd name="connsiteX6" fmla="*/ 1583 w 101409"/>
                          <a:gd name="connsiteY6" fmla="*/ 2033 h 58822"/>
                          <a:gd name="connsiteX7" fmla="*/ 0 w 101409"/>
                          <a:gd name="connsiteY7" fmla="*/ 4751 h 58822"/>
                          <a:gd name="connsiteX8" fmla="*/ 17743 w 101409"/>
                          <a:gd name="connsiteY8" fmla="*/ 35475 h 58822"/>
                          <a:gd name="connsiteX9" fmla="*/ 45549 w 101409"/>
                          <a:gd name="connsiteY9" fmla="*/ 50600 h 58822"/>
                          <a:gd name="connsiteX10" fmla="*/ 95152 w 101409"/>
                          <a:gd name="connsiteY10" fmla="*/ 55039 h 58822"/>
                          <a:gd name="connsiteX11" fmla="*/ 95152 w 101409"/>
                          <a:gd name="connsiteY11" fmla="*/ 32831 h 5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409" h="58822">
                            <a:moveTo>
                              <a:pt x="95152" y="32819"/>
                            </a:moveTo>
                            <a:cubicBezTo>
                              <a:pt x="91199" y="28866"/>
                              <a:pt x="70687" y="16883"/>
                              <a:pt x="64552" y="13816"/>
                            </a:cubicBezTo>
                            <a:cubicBezTo>
                              <a:pt x="49989" y="6534"/>
                              <a:pt x="46784" y="0"/>
                              <a:pt x="42345" y="0"/>
                            </a:cubicBezTo>
                            <a:cubicBezTo>
                              <a:pt x="37906" y="0"/>
                              <a:pt x="33467" y="9876"/>
                              <a:pt x="30749" y="15799"/>
                            </a:cubicBezTo>
                            <a:cubicBezTo>
                              <a:pt x="28030" y="21721"/>
                              <a:pt x="18654" y="16783"/>
                              <a:pt x="12980" y="12594"/>
                            </a:cubicBezTo>
                            <a:cubicBezTo>
                              <a:pt x="7606" y="8616"/>
                              <a:pt x="2219" y="2656"/>
                              <a:pt x="1671" y="2033"/>
                            </a:cubicBezTo>
                            <a:cubicBezTo>
                              <a:pt x="1646" y="2008"/>
                              <a:pt x="1608" y="2008"/>
                              <a:pt x="1583" y="2033"/>
                            </a:cubicBezTo>
                            <a:cubicBezTo>
                              <a:pt x="1421" y="2269"/>
                              <a:pt x="761" y="3292"/>
                              <a:pt x="0" y="4751"/>
                            </a:cubicBezTo>
                            <a:lnTo>
                              <a:pt x="17743" y="35475"/>
                            </a:lnTo>
                            <a:cubicBezTo>
                              <a:pt x="28018" y="41011"/>
                              <a:pt x="39365" y="47058"/>
                              <a:pt x="45549" y="50600"/>
                            </a:cubicBezTo>
                            <a:cubicBezTo>
                              <a:pt x="55911" y="56522"/>
                              <a:pt x="83306" y="63181"/>
                              <a:pt x="95152" y="55039"/>
                            </a:cubicBezTo>
                            <a:cubicBezTo>
                              <a:pt x="106997" y="46896"/>
                              <a:pt x="99104" y="36771"/>
                              <a:pt x="95152" y="32831"/>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37" name="Graphic 525">
                    <a:extLst>
                      <a:ext uri="{FF2B5EF4-FFF2-40B4-BE49-F238E27FC236}">
                        <a16:creationId xmlns:a16="http://schemas.microsoft.com/office/drawing/2014/main" id="{211518C5-B1C1-422D-EC9D-EAD0CD8F9B91}"/>
                      </a:ext>
                    </a:extLst>
                  </p:cNvPr>
                  <p:cNvGrpSpPr/>
                  <p:nvPr/>
                </p:nvGrpSpPr>
                <p:grpSpPr>
                  <a:xfrm>
                    <a:off x="5876491" y="4428188"/>
                    <a:ext cx="112600" cy="290090"/>
                    <a:chOff x="5876491" y="4428188"/>
                    <a:chExt cx="112600" cy="290090"/>
                  </a:xfrm>
                </p:grpSpPr>
                <p:sp>
                  <p:nvSpPr>
                    <p:cNvPr id="3038" name="Freeform: Shape 3037">
                      <a:extLst>
                        <a:ext uri="{FF2B5EF4-FFF2-40B4-BE49-F238E27FC236}">
                          <a16:creationId xmlns:a16="http://schemas.microsoft.com/office/drawing/2014/main" id="{F6FD0A90-16F9-FC27-C77F-FB6C1837AE46}"/>
                        </a:ext>
                      </a:extLst>
                    </p:cNvPr>
                    <p:cNvSpPr/>
                    <p:nvPr/>
                  </p:nvSpPr>
                  <p:spPr>
                    <a:xfrm>
                      <a:off x="5879679" y="4433397"/>
                      <a:ext cx="98748" cy="284216"/>
                    </a:xfrm>
                    <a:custGeom>
                      <a:avLst/>
                      <a:gdLst>
                        <a:gd name="connsiteX0" fmla="*/ 44310 w 98748"/>
                        <a:gd name="connsiteY0" fmla="*/ 137 h 284216"/>
                        <a:gd name="connsiteX1" fmla="*/ 331 w 98748"/>
                        <a:gd name="connsiteY1" fmla="*/ 64428 h 284216"/>
                        <a:gd name="connsiteX2" fmla="*/ 21267 w 98748"/>
                        <a:gd name="connsiteY2" fmla="*/ 269420 h 284216"/>
                        <a:gd name="connsiteX3" fmla="*/ 75320 w 98748"/>
                        <a:gd name="connsiteY3" fmla="*/ 242997 h 284216"/>
                        <a:gd name="connsiteX4" fmla="*/ 98363 w 98748"/>
                        <a:gd name="connsiteY4" fmla="*/ 93256 h 284216"/>
                        <a:gd name="connsiteX5" fmla="*/ 44310 w 98748"/>
                        <a:gd name="connsiteY5" fmla="*/ 137 h 28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748" h="284216">
                          <a:moveTo>
                            <a:pt x="44310" y="137"/>
                          </a:moveTo>
                          <a:cubicBezTo>
                            <a:pt x="44310" y="137"/>
                            <a:pt x="2426" y="-6035"/>
                            <a:pt x="331" y="64428"/>
                          </a:cubicBezTo>
                          <a:cubicBezTo>
                            <a:pt x="-1764" y="134890"/>
                            <a:pt x="6179" y="246339"/>
                            <a:pt x="21267" y="269420"/>
                          </a:cubicBezTo>
                          <a:cubicBezTo>
                            <a:pt x="36354" y="292487"/>
                            <a:pt x="64011" y="292063"/>
                            <a:pt x="75320" y="242997"/>
                          </a:cubicBezTo>
                          <a:cubicBezTo>
                            <a:pt x="86630" y="193919"/>
                            <a:pt x="95433" y="124716"/>
                            <a:pt x="98363" y="93256"/>
                          </a:cubicBezTo>
                          <a:cubicBezTo>
                            <a:pt x="101293" y="61797"/>
                            <a:pt x="87889" y="-1958"/>
                            <a:pt x="44310" y="137"/>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39" name="Freeform: Shape 3038">
                      <a:extLst>
                        <a:ext uri="{FF2B5EF4-FFF2-40B4-BE49-F238E27FC236}">
                          <a16:creationId xmlns:a16="http://schemas.microsoft.com/office/drawing/2014/main" id="{FCE6A3A2-05B5-221F-ACE4-47615EB4DC34}"/>
                        </a:ext>
                      </a:extLst>
                    </p:cNvPr>
                    <p:cNvSpPr/>
                    <p:nvPr/>
                  </p:nvSpPr>
                  <p:spPr>
                    <a:xfrm>
                      <a:off x="5876491" y="4428188"/>
                      <a:ext cx="112600" cy="290090"/>
                    </a:xfrm>
                    <a:custGeom>
                      <a:avLst/>
                      <a:gdLst>
                        <a:gd name="connsiteX0" fmla="*/ 9691 w 112600"/>
                        <a:gd name="connsiteY0" fmla="*/ 26456 h 290090"/>
                        <a:gd name="connsiteX1" fmla="*/ 65 w 112600"/>
                        <a:gd name="connsiteY1" fmla="*/ 124426 h 290090"/>
                        <a:gd name="connsiteX2" fmla="*/ 41849 w 112600"/>
                        <a:gd name="connsiteY2" fmla="*/ 290090 h 290090"/>
                        <a:gd name="connsiteX3" fmla="*/ 88421 w 112600"/>
                        <a:gd name="connsiteY3" fmla="*/ 225600 h 290090"/>
                        <a:gd name="connsiteX4" fmla="*/ 107174 w 112600"/>
                        <a:gd name="connsiteY4" fmla="*/ 105660 h 290090"/>
                        <a:gd name="connsiteX5" fmla="*/ 112598 w 112600"/>
                        <a:gd name="connsiteY5" fmla="*/ 36070 h 290090"/>
                        <a:gd name="connsiteX6" fmla="*/ 9691 w 112600"/>
                        <a:gd name="connsiteY6" fmla="*/ 26444 h 29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600" h="290090">
                          <a:moveTo>
                            <a:pt x="9691" y="26456"/>
                          </a:moveTo>
                          <a:cubicBezTo>
                            <a:pt x="9691" y="26456"/>
                            <a:pt x="-921" y="43489"/>
                            <a:pt x="65" y="124426"/>
                          </a:cubicBezTo>
                          <a:cubicBezTo>
                            <a:pt x="1050" y="205375"/>
                            <a:pt x="1499" y="290090"/>
                            <a:pt x="41849" y="290090"/>
                          </a:cubicBezTo>
                          <a:cubicBezTo>
                            <a:pt x="82198" y="290090"/>
                            <a:pt x="84468" y="251262"/>
                            <a:pt x="88421" y="225600"/>
                          </a:cubicBezTo>
                          <a:cubicBezTo>
                            <a:pt x="92373" y="199939"/>
                            <a:pt x="103720" y="129850"/>
                            <a:pt x="107174" y="105660"/>
                          </a:cubicBezTo>
                          <a:cubicBezTo>
                            <a:pt x="110628" y="81470"/>
                            <a:pt x="112386" y="51868"/>
                            <a:pt x="112598" y="36070"/>
                          </a:cubicBezTo>
                          <a:cubicBezTo>
                            <a:pt x="113097" y="1032"/>
                            <a:pt x="30913" y="-19206"/>
                            <a:pt x="9691" y="26444"/>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40" name="Graphic 525">
                    <a:extLst>
                      <a:ext uri="{FF2B5EF4-FFF2-40B4-BE49-F238E27FC236}">
                        <a16:creationId xmlns:a16="http://schemas.microsoft.com/office/drawing/2014/main" id="{27C9A5E9-F994-44CC-1243-658E947DBB03}"/>
                      </a:ext>
                    </a:extLst>
                  </p:cNvPr>
                  <p:cNvGrpSpPr/>
                  <p:nvPr/>
                </p:nvGrpSpPr>
                <p:grpSpPr>
                  <a:xfrm>
                    <a:off x="5881288" y="4633135"/>
                    <a:ext cx="80598" cy="274233"/>
                    <a:chOff x="5881288" y="4633135"/>
                    <a:chExt cx="80598" cy="274233"/>
                  </a:xfrm>
                </p:grpSpPr>
                <p:sp>
                  <p:nvSpPr>
                    <p:cNvPr id="3041" name="Freeform: Shape 3040">
                      <a:extLst>
                        <a:ext uri="{FF2B5EF4-FFF2-40B4-BE49-F238E27FC236}">
                          <a16:creationId xmlns:a16="http://schemas.microsoft.com/office/drawing/2014/main" id="{D54502A4-0E91-249F-15B3-E53751890387}"/>
                        </a:ext>
                      </a:extLst>
                    </p:cNvPr>
                    <p:cNvSpPr/>
                    <p:nvPr/>
                  </p:nvSpPr>
                  <p:spPr>
                    <a:xfrm>
                      <a:off x="5885462" y="4648405"/>
                      <a:ext cx="69941" cy="258963"/>
                    </a:xfrm>
                    <a:custGeom>
                      <a:avLst/>
                      <a:gdLst>
                        <a:gd name="connsiteX0" fmla="*/ 13813 w 69941"/>
                        <a:gd name="connsiteY0" fmla="*/ 15820 h 258963"/>
                        <a:gd name="connsiteX1" fmla="*/ 2079 w 69941"/>
                        <a:gd name="connsiteY1" fmla="*/ 74537 h 258963"/>
                        <a:gd name="connsiteX2" fmla="*/ 6269 w 69941"/>
                        <a:gd name="connsiteY2" fmla="*/ 198268 h 258963"/>
                        <a:gd name="connsiteX3" fmla="*/ 23451 w 69941"/>
                        <a:gd name="connsiteY3" fmla="*/ 258668 h 258963"/>
                        <a:gd name="connsiteX4" fmla="*/ 47754 w 69941"/>
                        <a:gd name="connsiteY4" fmla="*/ 190724 h 258963"/>
                        <a:gd name="connsiteX5" fmla="*/ 69911 w 69941"/>
                        <a:gd name="connsiteY5" fmla="*/ 20521 h 258963"/>
                        <a:gd name="connsiteX6" fmla="*/ 13813 w 69941"/>
                        <a:gd name="connsiteY6" fmla="*/ 15820 h 25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41" h="258963">
                          <a:moveTo>
                            <a:pt x="13813" y="15820"/>
                          </a:moveTo>
                          <a:cubicBezTo>
                            <a:pt x="13813" y="15820"/>
                            <a:pt x="6269" y="30920"/>
                            <a:pt x="2079" y="74537"/>
                          </a:cubicBezTo>
                          <a:cubicBezTo>
                            <a:pt x="-2110" y="118154"/>
                            <a:pt x="408" y="161783"/>
                            <a:pt x="6269" y="198268"/>
                          </a:cubicBezTo>
                          <a:cubicBezTo>
                            <a:pt x="12142" y="234765"/>
                            <a:pt x="10459" y="255738"/>
                            <a:pt x="23451" y="258668"/>
                          </a:cubicBezTo>
                          <a:cubicBezTo>
                            <a:pt x="40210" y="262446"/>
                            <a:pt x="42055" y="229540"/>
                            <a:pt x="47754" y="190724"/>
                          </a:cubicBezTo>
                          <a:cubicBezTo>
                            <a:pt x="54038" y="147943"/>
                            <a:pt x="70747" y="43588"/>
                            <a:pt x="69911" y="20521"/>
                          </a:cubicBezTo>
                          <a:cubicBezTo>
                            <a:pt x="69076" y="-2547"/>
                            <a:pt x="26806" y="-8931"/>
                            <a:pt x="13813" y="1582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42" name="Freeform: Shape 3041">
                      <a:extLst>
                        <a:ext uri="{FF2B5EF4-FFF2-40B4-BE49-F238E27FC236}">
                          <a16:creationId xmlns:a16="http://schemas.microsoft.com/office/drawing/2014/main" id="{62C8DC86-D0DD-26F8-9625-B1EDB390653B}"/>
                        </a:ext>
                      </a:extLst>
                    </p:cNvPr>
                    <p:cNvSpPr/>
                    <p:nvPr/>
                  </p:nvSpPr>
                  <p:spPr>
                    <a:xfrm>
                      <a:off x="5881288" y="4633135"/>
                      <a:ext cx="80598" cy="255947"/>
                    </a:xfrm>
                    <a:custGeom>
                      <a:avLst/>
                      <a:gdLst>
                        <a:gd name="connsiteX0" fmla="*/ 35742 w 80598"/>
                        <a:gd name="connsiteY0" fmla="*/ 915 h 255947"/>
                        <a:gd name="connsiteX1" fmla="*/ 3173 w 80598"/>
                        <a:gd name="connsiteY1" fmla="*/ 46489 h 255947"/>
                        <a:gd name="connsiteX2" fmla="*/ 218 w 80598"/>
                        <a:gd name="connsiteY2" fmla="*/ 184023 h 255947"/>
                        <a:gd name="connsiteX3" fmla="*/ 4657 w 80598"/>
                        <a:gd name="connsiteY3" fmla="*/ 252878 h 255947"/>
                        <a:gd name="connsiteX4" fmla="*/ 52289 w 80598"/>
                        <a:gd name="connsiteY4" fmla="*/ 252878 h 255947"/>
                        <a:gd name="connsiteX5" fmla="*/ 64384 w 80598"/>
                        <a:gd name="connsiteY5" fmla="*/ 155893 h 255947"/>
                        <a:gd name="connsiteX6" fmla="*/ 80506 w 80598"/>
                        <a:gd name="connsiteY6" fmla="*/ 37936 h 255947"/>
                        <a:gd name="connsiteX7" fmla="*/ 35755 w 80598"/>
                        <a:gd name="connsiteY7" fmla="*/ 915 h 25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598" h="255947">
                          <a:moveTo>
                            <a:pt x="35742" y="915"/>
                          </a:moveTo>
                          <a:cubicBezTo>
                            <a:pt x="35742" y="915"/>
                            <a:pt x="5143" y="5516"/>
                            <a:pt x="3173" y="46489"/>
                          </a:cubicBezTo>
                          <a:cubicBezTo>
                            <a:pt x="1901" y="72787"/>
                            <a:pt x="-780" y="131217"/>
                            <a:pt x="218" y="184023"/>
                          </a:cubicBezTo>
                          <a:cubicBezTo>
                            <a:pt x="1203" y="236830"/>
                            <a:pt x="4657" y="252878"/>
                            <a:pt x="4657" y="252878"/>
                          </a:cubicBezTo>
                          <a:cubicBezTo>
                            <a:pt x="4657" y="252878"/>
                            <a:pt x="31553" y="259785"/>
                            <a:pt x="52289" y="252878"/>
                          </a:cubicBezTo>
                          <a:cubicBezTo>
                            <a:pt x="52289" y="252878"/>
                            <a:pt x="58461" y="194385"/>
                            <a:pt x="64384" y="155893"/>
                          </a:cubicBezTo>
                          <a:cubicBezTo>
                            <a:pt x="70306" y="117401"/>
                            <a:pt x="81741" y="56876"/>
                            <a:pt x="80506" y="37936"/>
                          </a:cubicBezTo>
                          <a:cubicBezTo>
                            <a:pt x="79185" y="17698"/>
                            <a:pt x="65369" y="-4846"/>
                            <a:pt x="35755" y="915"/>
                          </a:cubicBezTo>
                          <a:close/>
                        </a:path>
                      </a:pathLst>
                    </a:custGeom>
                    <a:solidFill>
                      <a:srgbClr val="29346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sp>
          <p:nvSpPr>
            <p:cNvPr id="3045" name="Freeform: Shape 3044">
              <a:extLst>
                <a:ext uri="{FF2B5EF4-FFF2-40B4-BE49-F238E27FC236}">
                  <a16:creationId xmlns:a16="http://schemas.microsoft.com/office/drawing/2014/main" id="{66B74DAE-B1EB-919E-7B7D-8FB5726671C9}"/>
                </a:ext>
              </a:extLst>
            </p:cNvPr>
            <p:cNvSpPr/>
            <p:nvPr/>
          </p:nvSpPr>
          <p:spPr>
            <a:xfrm>
              <a:off x="3823104" y="3967059"/>
              <a:ext cx="76599" cy="108760"/>
            </a:xfrm>
            <a:custGeom>
              <a:avLst/>
              <a:gdLst>
                <a:gd name="connsiteX0" fmla="*/ 10094 w 92382"/>
                <a:gd name="connsiteY0" fmla="*/ 0 h 131170"/>
                <a:gd name="connsiteX1" fmla="*/ 91069 w 92382"/>
                <a:gd name="connsiteY1" fmla="*/ 102608 h 131170"/>
                <a:gd name="connsiteX2" fmla="*/ 71093 w 92382"/>
                <a:gd name="connsiteY2" fmla="*/ 131162 h 131170"/>
                <a:gd name="connsiteX3" fmla="*/ 6528 w 92382"/>
                <a:gd name="connsiteY3" fmla="*/ 77446 h 131170"/>
                <a:gd name="connsiteX4" fmla="*/ 10082 w 92382"/>
                <a:gd name="connsiteY4" fmla="*/ 0 h 13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82" h="131170">
                  <a:moveTo>
                    <a:pt x="10094" y="0"/>
                  </a:moveTo>
                  <a:cubicBezTo>
                    <a:pt x="10094" y="0"/>
                    <a:pt x="59871" y="46934"/>
                    <a:pt x="91069" y="102608"/>
                  </a:cubicBezTo>
                  <a:cubicBezTo>
                    <a:pt x="95558" y="111923"/>
                    <a:pt x="88463" y="131636"/>
                    <a:pt x="71093" y="131162"/>
                  </a:cubicBezTo>
                  <a:cubicBezTo>
                    <a:pt x="59597" y="130851"/>
                    <a:pt x="23050" y="93581"/>
                    <a:pt x="6528" y="77446"/>
                  </a:cubicBezTo>
                  <a:cubicBezTo>
                    <a:pt x="-10006" y="61310"/>
                    <a:pt x="10082" y="0"/>
                    <a:pt x="10082"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46" name="Freeform: Shape 3045">
              <a:extLst>
                <a:ext uri="{FF2B5EF4-FFF2-40B4-BE49-F238E27FC236}">
                  <a16:creationId xmlns:a16="http://schemas.microsoft.com/office/drawing/2014/main" id="{FD7222F1-D054-F6A9-EB6A-64046A7CC1AF}"/>
                </a:ext>
              </a:extLst>
            </p:cNvPr>
            <p:cNvSpPr/>
            <p:nvPr/>
          </p:nvSpPr>
          <p:spPr>
            <a:xfrm>
              <a:off x="3823100" y="3986486"/>
              <a:ext cx="76593" cy="89344"/>
            </a:xfrm>
            <a:custGeom>
              <a:avLst/>
              <a:gdLst>
                <a:gd name="connsiteX0" fmla="*/ 91074 w 92375"/>
                <a:gd name="connsiteY0" fmla="*/ 79179 h 107753"/>
                <a:gd name="connsiteX1" fmla="*/ 58904 w 92375"/>
                <a:gd name="connsiteY1" fmla="*/ 31285 h 107753"/>
                <a:gd name="connsiteX2" fmla="*/ 55438 w 92375"/>
                <a:gd name="connsiteY2" fmla="*/ 41560 h 107753"/>
                <a:gd name="connsiteX3" fmla="*/ 46485 w 92375"/>
                <a:gd name="connsiteY3" fmla="*/ 59777 h 107753"/>
                <a:gd name="connsiteX4" fmla="*/ 45201 w 92375"/>
                <a:gd name="connsiteY4" fmla="*/ 58181 h 107753"/>
                <a:gd name="connsiteX5" fmla="*/ 32095 w 92375"/>
                <a:gd name="connsiteY5" fmla="*/ 63617 h 107753"/>
                <a:gd name="connsiteX6" fmla="*/ 28579 w 92375"/>
                <a:gd name="connsiteY6" fmla="*/ 38043 h 107753"/>
                <a:gd name="connsiteX7" fmla="*/ 19315 w 92375"/>
                <a:gd name="connsiteY7" fmla="*/ 0 h 107753"/>
                <a:gd name="connsiteX8" fmla="*/ 0 w 92375"/>
                <a:gd name="connsiteY8" fmla="*/ 30898 h 107753"/>
                <a:gd name="connsiteX9" fmla="*/ 6521 w 92375"/>
                <a:gd name="connsiteY9" fmla="*/ 54029 h 107753"/>
                <a:gd name="connsiteX10" fmla="*/ 71086 w 92375"/>
                <a:gd name="connsiteY10" fmla="*/ 107745 h 107753"/>
                <a:gd name="connsiteX11" fmla="*/ 91062 w 92375"/>
                <a:gd name="connsiteY11" fmla="*/ 79191 h 107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375" h="107753">
                  <a:moveTo>
                    <a:pt x="91074" y="79179"/>
                  </a:moveTo>
                  <a:cubicBezTo>
                    <a:pt x="81448" y="62009"/>
                    <a:pt x="70064" y="45662"/>
                    <a:pt x="58904" y="31285"/>
                  </a:cubicBezTo>
                  <a:cubicBezTo>
                    <a:pt x="57695" y="34091"/>
                    <a:pt x="56335" y="37719"/>
                    <a:pt x="55438" y="41560"/>
                  </a:cubicBezTo>
                  <a:cubicBezTo>
                    <a:pt x="53517" y="49876"/>
                    <a:pt x="46485" y="59777"/>
                    <a:pt x="46485" y="59777"/>
                  </a:cubicBezTo>
                  <a:lnTo>
                    <a:pt x="45201" y="58181"/>
                  </a:lnTo>
                  <a:lnTo>
                    <a:pt x="32095" y="63617"/>
                  </a:lnTo>
                  <a:cubicBezTo>
                    <a:pt x="32095" y="63617"/>
                    <a:pt x="30499" y="60425"/>
                    <a:pt x="28579" y="38043"/>
                  </a:cubicBezTo>
                  <a:cubicBezTo>
                    <a:pt x="26659" y="15661"/>
                    <a:pt x="19315" y="0"/>
                    <a:pt x="19315" y="0"/>
                  </a:cubicBezTo>
                  <a:cubicBezTo>
                    <a:pt x="19315" y="0"/>
                    <a:pt x="8267" y="12831"/>
                    <a:pt x="0" y="30898"/>
                  </a:cubicBezTo>
                  <a:cubicBezTo>
                    <a:pt x="-12" y="40699"/>
                    <a:pt x="1683" y="49303"/>
                    <a:pt x="6521" y="54029"/>
                  </a:cubicBezTo>
                  <a:cubicBezTo>
                    <a:pt x="23055" y="70164"/>
                    <a:pt x="59590" y="107434"/>
                    <a:pt x="71086" y="107745"/>
                  </a:cubicBezTo>
                  <a:cubicBezTo>
                    <a:pt x="88443" y="108219"/>
                    <a:pt x="95551" y="88493"/>
                    <a:pt x="91062" y="79191"/>
                  </a:cubicBez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49" name="Graphic 525">
              <a:extLst>
                <a:ext uri="{FF2B5EF4-FFF2-40B4-BE49-F238E27FC236}">
                  <a16:creationId xmlns:a16="http://schemas.microsoft.com/office/drawing/2014/main" id="{A9839C77-2375-5F7B-ABB6-72CBDCF6E8D4}"/>
                </a:ext>
              </a:extLst>
            </p:cNvPr>
            <p:cNvGrpSpPr/>
            <p:nvPr/>
          </p:nvGrpSpPr>
          <p:grpSpPr>
            <a:xfrm>
              <a:off x="3709817" y="3918972"/>
              <a:ext cx="131471" cy="240135"/>
              <a:chOff x="5874586" y="4161819"/>
              <a:chExt cx="158559" cy="289613"/>
            </a:xfrm>
          </p:grpSpPr>
          <p:sp>
            <p:nvSpPr>
              <p:cNvPr id="3050" name="Freeform: Shape 3049">
                <a:extLst>
                  <a:ext uri="{FF2B5EF4-FFF2-40B4-BE49-F238E27FC236}">
                    <a16:creationId xmlns:a16="http://schemas.microsoft.com/office/drawing/2014/main" id="{A6A2EA1A-5A96-B1A3-98BC-14367384E0FD}"/>
                  </a:ext>
                </a:extLst>
              </p:cNvPr>
              <p:cNvSpPr/>
              <p:nvPr/>
            </p:nvSpPr>
            <p:spPr>
              <a:xfrm>
                <a:off x="5874586" y="4202930"/>
                <a:ext cx="158559" cy="248502"/>
              </a:xfrm>
              <a:custGeom>
                <a:avLst/>
                <a:gdLst>
                  <a:gd name="connsiteX0" fmla="*/ 85388 w 158559"/>
                  <a:gd name="connsiteY0" fmla="*/ 151 h 248502"/>
                  <a:gd name="connsiteX1" fmla="*/ 15823 w 158559"/>
                  <a:gd name="connsiteY1" fmla="*/ 15812 h 248502"/>
                  <a:gd name="connsiteX2" fmla="*/ 11634 w 158559"/>
                  <a:gd name="connsiteY2" fmla="*/ 114243 h 248502"/>
                  <a:gd name="connsiteX3" fmla="*/ 24489 w 158559"/>
                  <a:gd name="connsiteY3" fmla="*/ 195903 h 248502"/>
                  <a:gd name="connsiteX4" fmla="*/ 84004 w 158559"/>
                  <a:gd name="connsiteY4" fmla="*/ 248473 h 248502"/>
                  <a:gd name="connsiteX5" fmla="*/ 143794 w 158559"/>
                  <a:gd name="connsiteY5" fmla="*/ 200928 h 248502"/>
                  <a:gd name="connsiteX6" fmla="*/ 154405 w 158559"/>
                  <a:gd name="connsiteY6" fmla="*/ 101101 h 248502"/>
                  <a:gd name="connsiteX7" fmla="*/ 137646 w 158559"/>
                  <a:gd name="connsiteY7" fmla="*/ 12732 h 248502"/>
                  <a:gd name="connsiteX8" fmla="*/ 85401 w 158559"/>
                  <a:gd name="connsiteY8" fmla="*/ 151 h 24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559" h="248502">
                    <a:moveTo>
                      <a:pt x="85388" y="151"/>
                    </a:moveTo>
                    <a:cubicBezTo>
                      <a:pt x="85388" y="151"/>
                      <a:pt x="42644" y="-2642"/>
                      <a:pt x="15823" y="15812"/>
                    </a:cubicBezTo>
                    <a:cubicBezTo>
                      <a:pt x="-10998" y="34266"/>
                      <a:pt x="2407" y="84878"/>
                      <a:pt x="11634" y="114243"/>
                    </a:cubicBezTo>
                    <a:cubicBezTo>
                      <a:pt x="20848" y="143608"/>
                      <a:pt x="21409" y="169606"/>
                      <a:pt x="24489" y="195903"/>
                    </a:cubicBezTo>
                    <a:cubicBezTo>
                      <a:pt x="27557" y="222188"/>
                      <a:pt x="35948" y="247351"/>
                      <a:pt x="84004" y="248473"/>
                    </a:cubicBezTo>
                    <a:cubicBezTo>
                      <a:pt x="132060" y="249595"/>
                      <a:pt x="140726" y="218834"/>
                      <a:pt x="143794" y="200928"/>
                    </a:cubicBezTo>
                    <a:cubicBezTo>
                      <a:pt x="146861" y="183035"/>
                      <a:pt x="149380" y="128495"/>
                      <a:pt x="154405" y="101101"/>
                    </a:cubicBezTo>
                    <a:cubicBezTo>
                      <a:pt x="159430" y="73693"/>
                      <a:pt x="165016" y="23917"/>
                      <a:pt x="137646" y="12732"/>
                    </a:cubicBezTo>
                    <a:cubicBezTo>
                      <a:pt x="110264" y="1547"/>
                      <a:pt x="99927" y="1547"/>
                      <a:pt x="85401" y="151"/>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51" name="Graphic 525">
                <a:extLst>
                  <a:ext uri="{FF2B5EF4-FFF2-40B4-BE49-F238E27FC236}">
                    <a16:creationId xmlns:a16="http://schemas.microsoft.com/office/drawing/2014/main" id="{A372D0A5-8DCD-FB16-2D13-B06F627147CB}"/>
                  </a:ext>
                </a:extLst>
              </p:cNvPr>
              <p:cNvGrpSpPr/>
              <p:nvPr/>
            </p:nvGrpSpPr>
            <p:grpSpPr>
              <a:xfrm>
                <a:off x="5938464" y="4161819"/>
                <a:ext cx="45559" cy="65334"/>
                <a:chOff x="5938464" y="4161819"/>
                <a:chExt cx="45559" cy="65334"/>
              </a:xfrm>
            </p:grpSpPr>
            <p:sp>
              <p:nvSpPr>
                <p:cNvPr id="3052" name="Freeform: Shape 3051">
                  <a:extLst>
                    <a:ext uri="{FF2B5EF4-FFF2-40B4-BE49-F238E27FC236}">
                      <a16:creationId xmlns:a16="http://schemas.microsoft.com/office/drawing/2014/main" id="{C6B4F342-C9D2-1832-E543-E0B1AB1220F2}"/>
                    </a:ext>
                  </a:extLst>
                </p:cNvPr>
                <p:cNvSpPr/>
                <p:nvPr/>
              </p:nvSpPr>
              <p:spPr>
                <a:xfrm>
                  <a:off x="5938464" y="4161819"/>
                  <a:ext cx="45559" cy="65334"/>
                </a:xfrm>
                <a:custGeom>
                  <a:avLst/>
                  <a:gdLst>
                    <a:gd name="connsiteX0" fmla="*/ 10724 w 45559"/>
                    <a:gd name="connsiteY0" fmla="*/ 5226 h 65334"/>
                    <a:gd name="connsiteX1" fmla="*/ 7108 w 45559"/>
                    <a:gd name="connsiteY1" fmla="*/ 14116 h 65334"/>
                    <a:gd name="connsiteX2" fmla="*/ 1123 w 45559"/>
                    <a:gd name="connsiteY2" fmla="*/ 40152 h 65334"/>
                    <a:gd name="connsiteX3" fmla="*/ 24590 w 45559"/>
                    <a:gd name="connsiteY3" fmla="*/ 65314 h 65334"/>
                    <a:gd name="connsiteX4" fmla="*/ 43867 w 45559"/>
                    <a:gd name="connsiteY4" fmla="*/ 47695 h 65334"/>
                    <a:gd name="connsiteX5" fmla="*/ 45538 w 45559"/>
                    <a:gd name="connsiteY5" fmla="*/ 23642 h 65334"/>
                    <a:gd name="connsiteX6" fmla="*/ 26822 w 45559"/>
                    <a:gd name="connsiteY6" fmla="*/ 151 h 65334"/>
                    <a:gd name="connsiteX7" fmla="*/ 10724 w 45559"/>
                    <a:gd name="connsiteY7" fmla="*/ 5213 h 6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59" h="65334">
                      <a:moveTo>
                        <a:pt x="10724" y="5226"/>
                      </a:moveTo>
                      <a:cubicBezTo>
                        <a:pt x="8567" y="7694"/>
                        <a:pt x="7345" y="10849"/>
                        <a:pt x="7108" y="14116"/>
                      </a:cubicBezTo>
                      <a:cubicBezTo>
                        <a:pt x="6709" y="19615"/>
                        <a:pt x="5375" y="32072"/>
                        <a:pt x="1123" y="40152"/>
                      </a:cubicBezTo>
                      <a:cubicBezTo>
                        <a:pt x="-4463" y="50775"/>
                        <a:pt x="11959" y="65963"/>
                        <a:pt x="24590" y="65314"/>
                      </a:cubicBezTo>
                      <a:cubicBezTo>
                        <a:pt x="38281" y="64616"/>
                        <a:pt x="42745" y="59716"/>
                        <a:pt x="43867" y="47695"/>
                      </a:cubicBezTo>
                      <a:cubicBezTo>
                        <a:pt x="44989" y="35675"/>
                        <a:pt x="45189" y="33294"/>
                        <a:pt x="45538" y="23642"/>
                      </a:cubicBezTo>
                      <a:cubicBezTo>
                        <a:pt x="46099" y="8268"/>
                        <a:pt x="35725" y="999"/>
                        <a:pt x="26822" y="151"/>
                      </a:cubicBezTo>
                      <a:cubicBezTo>
                        <a:pt x="18904" y="-610"/>
                        <a:pt x="13904" y="1572"/>
                        <a:pt x="10724" y="5213"/>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53" name="Freeform: Shape 3052">
                  <a:extLst>
                    <a:ext uri="{FF2B5EF4-FFF2-40B4-BE49-F238E27FC236}">
                      <a16:creationId xmlns:a16="http://schemas.microsoft.com/office/drawing/2014/main" id="{64D5581F-A778-2AD5-789F-51E700FF7EFF}"/>
                    </a:ext>
                  </a:extLst>
                </p:cNvPr>
                <p:cNvSpPr/>
                <p:nvPr/>
              </p:nvSpPr>
              <p:spPr>
                <a:xfrm>
                  <a:off x="5945198" y="4161832"/>
                  <a:ext cx="38825" cy="46984"/>
                </a:xfrm>
                <a:custGeom>
                  <a:avLst/>
                  <a:gdLst>
                    <a:gd name="connsiteX0" fmla="*/ 20088 w 38825"/>
                    <a:gd name="connsiteY0" fmla="*/ 151 h 46984"/>
                    <a:gd name="connsiteX1" fmla="*/ 3990 w 38825"/>
                    <a:gd name="connsiteY1" fmla="*/ 5213 h 46984"/>
                    <a:gd name="connsiteX2" fmla="*/ 374 w 38825"/>
                    <a:gd name="connsiteY2" fmla="*/ 14104 h 46984"/>
                    <a:gd name="connsiteX3" fmla="*/ 0 w 38825"/>
                    <a:gd name="connsiteY3" fmla="*/ 18169 h 46984"/>
                    <a:gd name="connsiteX4" fmla="*/ 37195 w 38825"/>
                    <a:gd name="connsiteY4" fmla="*/ 46985 h 46984"/>
                    <a:gd name="connsiteX5" fmla="*/ 38804 w 38825"/>
                    <a:gd name="connsiteY5" fmla="*/ 23630 h 46984"/>
                    <a:gd name="connsiteX6" fmla="*/ 20088 w 38825"/>
                    <a:gd name="connsiteY6" fmla="*/ 138 h 4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5" h="46984">
                      <a:moveTo>
                        <a:pt x="20088" y="151"/>
                      </a:moveTo>
                      <a:cubicBezTo>
                        <a:pt x="12170" y="-610"/>
                        <a:pt x="7170" y="1572"/>
                        <a:pt x="3990" y="5213"/>
                      </a:cubicBezTo>
                      <a:cubicBezTo>
                        <a:pt x="1833" y="7682"/>
                        <a:pt x="611" y="10837"/>
                        <a:pt x="374" y="14104"/>
                      </a:cubicBezTo>
                      <a:cubicBezTo>
                        <a:pt x="299" y="15201"/>
                        <a:pt x="174" y="16598"/>
                        <a:pt x="0" y="18169"/>
                      </a:cubicBezTo>
                      <a:cubicBezTo>
                        <a:pt x="9738" y="32944"/>
                        <a:pt x="23853" y="43182"/>
                        <a:pt x="37195" y="46985"/>
                      </a:cubicBezTo>
                      <a:cubicBezTo>
                        <a:pt x="38255" y="35575"/>
                        <a:pt x="38467" y="33094"/>
                        <a:pt x="38804" y="23630"/>
                      </a:cubicBezTo>
                      <a:cubicBezTo>
                        <a:pt x="39365" y="8256"/>
                        <a:pt x="28991" y="986"/>
                        <a:pt x="20088" y="138"/>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54" name="Graphic 525">
              <a:extLst>
                <a:ext uri="{FF2B5EF4-FFF2-40B4-BE49-F238E27FC236}">
                  <a16:creationId xmlns:a16="http://schemas.microsoft.com/office/drawing/2014/main" id="{F8244973-220C-7B83-5799-B0AE9F543817}"/>
                </a:ext>
              </a:extLst>
            </p:cNvPr>
            <p:cNvGrpSpPr/>
            <p:nvPr/>
          </p:nvGrpSpPr>
          <p:grpSpPr>
            <a:xfrm>
              <a:off x="3708174" y="3951489"/>
              <a:ext cx="139552" cy="242048"/>
              <a:chOff x="5872605" y="4201036"/>
              <a:chExt cx="168305" cy="291920"/>
            </a:xfrm>
          </p:grpSpPr>
          <p:sp>
            <p:nvSpPr>
              <p:cNvPr id="3055" name="Freeform: Shape 3054">
                <a:extLst>
                  <a:ext uri="{FF2B5EF4-FFF2-40B4-BE49-F238E27FC236}">
                    <a16:creationId xmlns:a16="http://schemas.microsoft.com/office/drawing/2014/main" id="{DC47DEBB-213A-D0C4-421F-EEFDC0BCE058}"/>
                  </a:ext>
                </a:extLst>
              </p:cNvPr>
              <p:cNvSpPr/>
              <p:nvPr/>
            </p:nvSpPr>
            <p:spPr>
              <a:xfrm>
                <a:off x="5872605" y="4201036"/>
                <a:ext cx="168305" cy="291920"/>
              </a:xfrm>
              <a:custGeom>
                <a:avLst/>
                <a:gdLst>
                  <a:gd name="connsiteX0" fmla="*/ 160662 w 168305"/>
                  <a:gd name="connsiteY0" fmla="*/ 201538 h 291920"/>
                  <a:gd name="connsiteX1" fmla="*/ 162146 w 168305"/>
                  <a:gd name="connsiteY1" fmla="*/ 87284 h 291920"/>
                  <a:gd name="connsiteX2" fmla="*/ 144877 w 168305"/>
                  <a:gd name="connsiteY2" fmla="*/ 15724 h 291920"/>
                  <a:gd name="connsiteX3" fmla="*/ 110212 w 168305"/>
                  <a:gd name="connsiteY3" fmla="*/ 3292 h 291920"/>
                  <a:gd name="connsiteX4" fmla="*/ 110063 w 168305"/>
                  <a:gd name="connsiteY4" fmla="*/ 4975 h 291920"/>
                  <a:gd name="connsiteX5" fmla="*/ 107507 w 168305"/>
                  <a:gd name="connsiteY5" fmla="*/ 20836 h 291920"/>
                  <a:gd name="connsiteX6" fmla="*/ 96896 w 168305"/>
                  <a:gd name="connsiteY6" fmla="*/ 24951 h 291920"/>
                  <a:gd name="connsiteX7" fmla="*/ 67917 w 168305"/>
                  <a:gd name="connsiteY7" fmla="*/ 4003 h 291920"/>
                  <a:gd name="connsiteX8" fmla="*/ 67456 w 168305"/>
                  <a:gd name="connsiteY8" fmla="*/ 0 h 291920"/>
                  <a:gd name="connsiteX9" fmla="*/ 31358 w 168305"/>
                  <a:gd name="connsiteY9" fmla="*/ 9065 h 291920"/>
                  <a:gd name="connsiteX10" fmla="*/ 11 w 168305"/>
                  <a:gd name="connsiteY10" fmla="*/ 53243 h 291920"/>
                  <a:gd name="connsiteX11" fmla="*/ 6869 w 168305"/>
                  <a:gd name="connsiteY11" fmla="*/ 178732 h 291920"/>
                  <a:gd name="connsiteX12" fmla="*/ 5185 w 168305"/>
                  <a:gd name="connsiteY12" fmla="*/ 271752 h 291920"/>
                  <a:gd name="connsiteX13" fmla="*/ 106858 w 168305"/>
                  <a:gd name="connsiteY13" fmla="*/ 291253 h 291920"/>
                  <a:gd name="connsiteX14" fmla="*/ 168306 w 168305"/>
                  <a:gd name="connsiteY14" fmla="*/ 278672 h 291920"/>
                  <a:gd name="connsiteX15" fmla="*/ 160650 w 168305"/>
                  <a:gd name="connsiteY15" fmla="*/ 201576 h 29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8305" h="291920">
                    <a:moveTo>
                      <a:pt x="160662" y="201538"/>
                    </a:moveTo>
                    <a:cubicBezTo>
                      <a:pt x="159179" y="174393"/>
                      <a:pt x="161647" y="107508"/>
                      <a:pt x="162146" y="87284"/>
                    </a:cubicBezTo>
                    <a:cubicBezTo>
                      <a:pt x="162645" y="67046"/>
                      <a:pt x="161897" y="26335"/>
                      <a:pt x="144877" y="15724"/>
                    </a:cubicBezTo>
                    <a:cubicBezTo>
                      <a:pt x="136959" y="10786"/>
                      <a:pt x="123829" y="6322"/>
                      <a:pt x="110212" y="3292"/>
                    </a:cubicBezTo>
                    <a:cubicBezTo>
                      <a:pt x="110150" y="3891"/>
                      <a:pt x="110063" y="4975"/>
                      <a:pt x="110063" y="4975"/>
                    </a:cubicBezTo>
                    <a:cubicBezTo>
                      <a:pt x="110063" y="4975"/>
                      <a:pt x="109676" y="17195"/>
                      <a:pt x="107507" y="20836"/>
                    </a:cubicBezTo>
                    <a:cubicBezTo>
                      <a:pt x="105487" y="24228"/>
                      <a:pt x="100686" y="26073"/>
                      <a:pt x="96896" y="24951"/>
                    </a:cubicBezTo>
                    <a:cubicBezTo>
                      <a:pt x="82057" y="20549"/>
                      <a:pt x="71583" y="8679"/>
                      <a:pt x="67917" y="4003"/>
                    </a:cubicBezTo>
                    <a:cubicBezTo>
                      <a:pt x="67020" y="2855"/>
                      <a:pt x="66832" y="1322"/>
                      <a:pt x="67456" y="0"/>
                    </a:cubicBezTo>
                    <a:cubicBezTo>
                      <a:pt x="64862" y="324"/>
                      <a:pt x="45797" y="3105"/>
                      <a:pt x="31358" y="9065"/>
                    </a:cubicBezTo>
                    <a:cubicBezTo>
                      <a:pt x="15809" y="15487"/>
                      <a:pt x="-476" y="26584"/>
                      <a:pt x="11" y="53243"/>
                    </a:cubicBezTo>
                    <a:cubicBezTo>
                      <a:pt x="509" y="79890"/>
                      <a:pt x="5884" y="153806"/>
                      <a:pt x="6869" y="178732"/>
                    </a:cubicBezTo>
                    <a:cubicBezTo>
                      <a:pt x="7854" y="203658"/>
                      <a:pt x="4948" y="253771"/>
                      <a:pt x="5185" y="271752"/>
                    </a:cubicBezTo>
                    <a:cubicBezTo>
                      <a:pt x="5185" y="271752"/>
                      <a:pt x="51184" y="296228"/>
                      <a:pt x="106858" y="291253"/>
                    </a:cubicBezTo>
                    <a:cubicBezTo>
                      <a:pt x="156460" y="286814"/>
                      <a:pt x="168306" y="278672"/>
                      <a:pt x="168306" y="278672"/>
                    </a:cubicBezTo>
                    <a:cubicBezTo>
                      <a:pt x="168306" y="278672"/>
                      <a:pt x="162134" y="228721"/>
                      <a:pt x="160650" y="20157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56" name="Freeform: Shape 3055">
                <a:extLst>
                  <a:ext uri="{FF2B5EF4-FFF2-40B4-BE49-F238E27FC236}">
                    <a16:creationId xmlns:a16="http://schemas.microsoft.com/office/drawing/2014/main" id="{279D9B48-EC85-6BB7-5826-997A84F0671E}"/>
                  </a:ext>
                </a:extLst>
              </p:cNvPr>
              <p:cNvSpPr/>
              <p:nvPr/>
            </p:nvSpPr>
            <p:spPr>
              <a:xfrm>
                <a:off x="5880550" y="4240752"/>
                <a:ext cx="153540" cy="171841"/>
              </a:xfrm>
              <a:custGeom>
                <a:avLst/>
                <a:gdLst>
                  <a:gd name="connsiteX0" fmla="*/ 93689 w 153540"/>
                  <a:gd name="connsiteY0" fmla="*/ 89987 h 171841"/>
                  <a:gd name="connsiteX1" fmla="*/ 54449 w 153540"/>
                  <a:gd name="connsiteY1" fmla="*/ 11520 h 171841"/>
                  <a:gd name="connsiteX2" fmla="*/ 358 w 153540"/>
                  <a:gd name="connsiteY2" fmla="*/ 23926 h 171841"/>
                  <a:gd name="connsiteX3" fmla="*/ 22416 w 153540"/>
                  <a:gd name="connsiteY3" fmla="*/ 122694 h 171841"/>
                  <a:gd name="connsiteX4" fmla="*/ 89238 w 153540"/>
                  <a:gd name="connsiteY4" fmla="*/ 168830 h 171841"/>
                  <a:gd name="connsiteX5" fmla="*/ 152257 w 153540"/>
                  <a:gd name="connsiteY5" fmla="*/ 133405 h 171841"/>
                  <a:gd name="connsiteX6" fmla="*/ 153541 w 153540"/>
                  <a:gd name="connsiteY6" fmla="*/ 70137 h 171841"/>
                  <a:gd name="connsiteX7" fmla="*/ 93677 w 153540"/>
                  <a:gd name="connsiteY7" fmla="*/ 89975 h 17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40" h="171841">
                    <a:moveTo>
                      <a:pt x="93689" y="89987"/>
                    </a:moveTo>
                    <a:cubicBezTo>
                      <a:pt x="93689" y="89987"/>
                      <a:pt x="66295" y="25946"/>
                      <a:pt x="54449" y="11520"/>
                    </a:cubicBezTo>
                    <a:cubicBezTo>
                      <a:pt x="42603" y="-2920"/>
                      <a:pt x="3326" y="-8655"/>
                      <a:pt x="358" y="23926"/>
                    </a:cubicBezTo>
                    <a:cubicBezTo>
                      <a:pt x="358" y="23926"/>
                      <a:pt x="-4605" y="54962"/>
                      <a:pt x="22416" y="122694"/>
                    </a:cubicBezTo>
                    <a:cubicBezTo>
                      <a:pt x="31668" y="146385"/>
                      <a:pt x="54075" y="182533"/>
                      <a:pt x="89238" y="168830"/>
                    </a:cubicBezTo>
                    <a:cubicBezTo>
                      <a:pt x="111882" y="160014"/>
                      <a:pt x="137144" y="143817"/>
                      <a:pt x="152257" y="133405"/>
                    </a:cubicBezTo>
                    <a:cubicBezTo>
                      <a:pt x="152356" y="112981"/>
                      <a:pt x="153005" y="88629"/>
                      <a:pt x="153541" y="70137"/>
                    </a:cubicBezTo>
                    <a:lnTo>
                      <a:pt x="93677" y="89975"/>
                    </a:ln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58" name="Graphic 525">
              <a:extLst>
                <a:ext uri="{FF2B5EF4-FFF2-40B4-BE49-F238E27FC236}">
                  <a16:creationId xmlns:a16="http://schemas.microsoft.com/office/drawing/2014/main" id="{DEF7A79F-2D54-C628-743F-D92E9B2E73CE}"/>
                </a:ext>
              </a:extLst>
            </p:cNvPr>
            <p:cNvGrpSpPr/>
            <p:nvPr/>
          </p:nvGrpSpPr>
          <p:grpSpPr>
            <a:xfrm>
              <a:off x="3747922" y="3854071"/>
              <a:ext cx="75281" cy="95946"/>
              <a:chOff x="5920543" y="4083546"/>
              <a:chExt cx="90792" cy="115715"/>
            </a:xfrm>
          </p:grpSpPr>
          <p:sp>
            <p:nvSpPr>
              <p:cNvPr id="3059" name="Freeform: Shape 3058">
                <a:extLst>
                  <a:ext uri="{FF2B5EF4-FFF2-40B4-BE49-F238E27FC236}">
                    <a16:creationId xmlns:a16="http://schemas.microsoft.com/office/drawing/2014/main" id="{DB1088B7-489E-22F8-1A40-2C2C86C00565}"/>
                  </a:ext>
                </a:extLst>
              </p:cNvPr>
              <p:cNvSpPr/>
              <p:nvPr/>
            </p:nvSpPr>
            <p:spPr>
              <a:xfrm>
                <a:off x="5926021" y="4087838"/>
                <a:ext cx="85314" cy="111423"/>
              </a:xfrm>
              <a:custGeom>
                <a:avLst/>
                <a:gdLst>
                  <a:gd name="connsiteX0" fmla="*/ 33953 w 85314"/>
                  <a:gd name="connsiteY0" fmla="*/ 590 h 111423"/>
                  <a:gd name="connsiteX1" fmla="*/ 78655 w 85314"/>
                  <a:gd name="connsiteY1" fmla="*/ 23794 h 111423"/>
                  <a:gd name="connsiteX2" fmla="*/ 68318 w 85314"/>
                  <a:gd name="connsiteY2" fmla="*/ 110205 h 111423"/>
                  <a:gd name="connsiteX3" fmla="*/ 4900 w 85314"/>
                  <a:gd name="connsiteY3" fmla="*/ 68259 h 111423"/>
                  <a:gd name="connsiteX4" fmla="*/ 33953 w 85314"/>
                  <a:gd name="connsiteY4" fmla="*/ 590 h 11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314" h="111423">
                    <a:moveTo>
                      <a:pt x="33953" y="590"/>
                    </a:moveTo>
                    <a:cubicBezTo>
                      <a:pt x="33953" y="590"/>
                      <a:pt x="68043" y="-5845"/>
                      <a:pt x="78655" y="23794"/>
                    </a:cubicBezTo>
                    <a:cubicBezTo>
                      <a:pt x="89266" y="53434"/>
                      <a:pt x="88156" y="104046"/>
                      <a:pt x="68318" y="110205"/>
                    </a:cubicBezTo>
                    <a:cubicBezTo>
                      <a:pt x="48480" y="116353"/>
                      <a:pt x="17469" y="98746"/>
                      <a:pt x="4900" y="68259"/>
                    </a:cubicBezTo>
                    <a:cubicBezTo>
                      <a:pt x="-7669" y="37772"/>
                      <a:pt x="4626" y="4505"/>
                      <a:pt x="33953" y="59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60" name="Freeform: Shape 3059">
                <a:extLst>
                  <a:ext uri="{FF2B5EF4-FFF2-40B4-BE49-F238E27FC236}">
                    <a16:creationId xmlns:a16="http://schemas.microsoft.com/office/drawing/2014/main" id="{75CFC0C5-03F4-E93A-65F0-696F3196EF3C}"/>
                  </a:ext>
                </a:extLst>
              </p:cNvPr>
              <p:cNvSpPr/>
              <p:nvPr/>
            </p:nvSpPr>
            <p:spPr>
              <a:xfrm>
                <a:off x="5920543" y="4083546"/>
                <a:ext cx="84700" cy="101529"/>
              </a:xfrm>
              <a:custGeom>
                <a:avLst/>
                <a:gdLst>
                  <a:gd name="connsiteX0" fmla="*/ 23982 w 84700"/>
                  <a:gd name="connsiteY0" fmla="*/ 101530 h 101529"/>
                  <a:gd name="connsiteX1" fmla="*/ 28570 w 84700"/>
                  <a:gd name="connsiteY1" fmla="*/ 82440 h 101529"/>
                  <a:gd name="connsiteX2" fmla="*/ 30715 w 84700"/>
                  <a:gd name="connsiteY2" fmla="*/ 54970 h 101529"/>
                  <a:gd name="connsiteX3" fmla="*/ 35316 w 84700"/>
                  <a:gd name="connsiteY3" fmla="*/ 30955 h 101529"/>
                  <a:gd name="connsiteX4" fmla="*/ 52761 w 84700"/>
                  <a:gd name="connsiteY4" fmla="*/ 32601 h 101529"/>
                  <a:gd name="connsiteX5" fmla="*/ 65753 w 84700"/>
                  <a:gd name="connsiteY5" fmla="*/ 22401 h 101529"/>
                  <a:gd name="connsiteX6" fmla="*/ 84507 w 84700"/>
                  <a:gd name="connsiteY6" fmla="*/ 29147 h 101529"/>
                  <a:gd name="connsiteX7" fmla="*/ 67237 w 84700"/>
                  <a:gd name="connsiteY7" fmla="*/ 2987 h 101529"/>
                  <a:gd name="connsiteX8" fmla="*/ 6525 w 84700"/>
                  <a:gd name="connsiteY8" fmla="*/ 27663 h 101529"/>
                  <a:gd name="connsiteX9" fmla="*/ 602 w 84700"/>
                  <a:gd name="connsiteY9" fmla="*/ 56454 h 101529"/>
                  <a:gd name="connsiteX10" fmla="*/ 23982 w 84700"/>
                  <a:gd name="connsiteY10" fmla="*/ 101530 h 10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700" h="101529">
                    <a:moveTo>
                      <a:pt x="23982" y="101530"/>
                    </a:moveTo>
                    <a:cubicBezTo>
                      <a:pt x="23982" y="101530"/>
                      <a:pt x="28246" y="87714"/>
                      <a:pt x="28570" y="82440"/>
                    </a:cubicBezTo>
                    <a:cubicBezTo>
                      <a:pt x="28895" y="77178"/>
                      <a:pt x="30877" y="63686"/>
                      <a:pt x="30715" y="54970"/>
                    </a:cubicBezTo>
                    <a:cubicBezTo>
                      <a:pt x="30553" y="46254"/>
                      <a:pt x="32523" y="35394"/>
                      <a:pt x="35316" y="30955"/>
                    </a:cubicBezTo>
                    <a:cubicBezTo>
                      <a:pt x="35316" y="30955"/>
                      <a:pt x="45192" y="35231"/>
                      <a:pt x="52761" y="32601"/>
                    </a:cubicBezTo>
                    <a:cubicBezTo>
                      <a:pt x="60329" y="29970"/>
                      <a:pt x="61314" y="23548"/>
                      <a:pt x="65753" y="22401"/>
                    </a:cubicBezTo>
                    <a:cubicBezTo>
                      <a:pt x="70192" y="21254"/>
                      <a:pt x="82038" y="25693"/>
                      <a:pt x="84507" y="29147"/>
                    </a:cubicBezTo>
                    <a:cubicBezTo>
                      <a:pt x="84507" y="29147"/>
                      <a:pt x="87799" y="10805"/>
                      <a:pt x="67237" y="2987"/>
                    </a:cubicBezTo>
                    <a:cubicBezTo>
                      <a:pt x="50292" y="-3448"/>
                      <a:pt x="10066" y="-1291"/>
                      <a:pt x="6525" y="27663"/>
                    </a:cubicBezTo>
                    <a:cubicBezTo>
                      <a:pt x="6525" y="27663"/>
                      <a:pt x="-2353" y="38187"/>
                      <a:pt x="602" y="56454"/>
                    </a:cubicBezTo>
                    <a:cubicBezTo>
                      <a:pt x="4019" y="77514"/>
                      <a:pt x="22336" y="97253"/>
                      <a:pt x="23982" y="101530"/>
                    </a:cubicBezTo>
                    <a:close/>
                  </a:path>
                </a:pathLst>
              </a:custGeom>
              <a:solidFill>
                <a:srgbClr val="1920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65" name="Graphic 525">
              <a:extLst>
                <a:ext uri="{FF2B5EF4-FFF2-40B4-BE49-F238E27FC236}">
                  <a16:creationId xmlns:a16="http://schemas.microsoft.com/office/drawing/2014/main" id="{B348F953-F077-7375-6B0B-68B64E33C6F7}"/>
                </a:ext>
              </a:extLst>
            </p:cNvPr>
            <p:cNvGrpSpPr/>
            <p:nvPr/>
          </p:nvGrpSpPr>
          <p:grpSpPr>
            <a:xfrm>
              <a:off x="3758662" y="3904864"/>
              <a:ext cx="15137" cy="20228"/>
              <a:chOff x="5933496" y="4144805"/>
              <a:chExt cx="18256" cy="24395"/>
            </a:xfrm>
          </p:grpSpPr>
          <p:sp>
            <p:nvSpPr>
              <p:cNvPr id="3066" name="Freeform: Shape 3065">
                <a:extLst>
                  <a:ext uri="{FF2B5EF4-FFF2-40B4-BE49-F238E27FC236}">
                    <a16:creationId xmlns:a16="http://schemas.microsoft.com/office/drawing/2014/main" id="{532CFFF8-818C-89F5-6C1E-5D6465D5A5F0}"/>
                  </a:ext>
                </a:extLst>
              </p:cNvPr>
              <p:cNvSpPr/>
              <p:nvPr/>
            </p:nvSpPr>
            <p:spPr>
              <a:xfrm>
                <a:off x="5933496" y="4144805"/>
                <a:ext cx="18256" cy="24395"/>
              </a:xfrm>
              <a:custGeom>
                <a:avLst/>
                <a:gdLst>
                  <a:gd name="connsiteX0" fmla="*/ 16142 w 18256"/>
                  <a:gd name="connsiteY0" fmla="*/ 7664 h 24395"/>
                  <a:gd name="connsiteX1" fmla="*/ 3286 w 18256"/>
                  <a:gd name="connsiteY1" fmla="*/ 669 h 24395"/>
                  <a:gd name="connsiteX2" fmla="*/ 14184 w 18256"/>
                  <a:gd name="connsiteY2" fmla="*/ 24161 h 24395"/>
                  <a:gd name="connsiteX3" fmla="*/ 16142 w 18256"/>
                  <a:gd name="connsiteY3" fmla="*/ 7664 h 24395"/>
                </a:gdLst>
                <a:ahLst/>
                <a:cxnLst>
                  <a:cxn ang="0">
                    <a:pos x="connsiteX0" y="connsiteY0"/>
                  </a:cxn>
                  <a:cxn ang="0">
                    <a:pos x="connsiteX1" y="connsiteY1"/>
                  </a:cxn>
                  <a:cxn ang="0">
                    <a:pos x="connsiteX2" y="connsiteY2"/>
                  </a:cxn>
                  <a:cxn ang="0">
                    <a:pos x="connsiteX3" y="connsiteY3"/>
                  </a:cxn>
                </a:cxnLst>
                <a:rect l="l" t="t" r="r" b="b"/>
                <a:pathLst>
                  <a:path w="18256" h="24395">
                    <a:moveTo>
                      <a:pt x="16142" y="7664"/>
                    </a:moveTo>
                    <a:cubicBezTo>
                      <a:pt x="16142" y="7664"/>
                      <a:pt x="12513" y="-2685"/>
                      <a:pt x="3286" y="669"/>
                    </a:cubicBezTo>
                    <a:cubicBezTo>
                      <a:pt x="-5928" y="4023"/>
                      <a:pt x="6354" y="26954"/>
                      <a:pt x="14184" y="24161"/>
                    </a:cubicBezTo>
                    <a:cubicBezTo>
                      <a:pt x="22015" y="21368"/>
                      <a:pt x="16142" y="7664"/>
                      <a:pt x="16142" y="766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67" name="Graphic 525">
                <a:extLst>
                  <a:ext uri="{FF2B5EF4-FFF2-40B4-BE49-F238E27FC236}">
                    <a16:creationId xmlns:a16="http://schemas.microsoft.com/office/drawing/2014/main" id="{267EB3B0-ACD2-ABCD-D987-B71108E536E2}"/>
                  </a:ext>
                </a:extLst>
              </p:cNvPr>
              <p:cNvGrpSpPr/>
              <p:nvPr/>
            </p:nvGrpSpPr>
            <p:grpSpPr>
              <a:xfrm>
                <a:off x="5939016" y="4150922"/>
                <a:ext cx="7843" cy="12868"/>
                <a:chOff x="5939016" y="4150922"/>
                <a:chExt cx="7843" cy="12868"/>
              </a:xfrm>
              <a:solidFill>
                <a:srgbClr val="EDAD9A"/>
              </a:solidFill>
            </p:grpSpPr>
            <p:sp>
              <p:nvSpPr>
                <p:cNvPr id="3068" name="Freeform: Shape 3067">
                  <a:extLst>
                    <a:ext uri="{FF2B5EF4-FFF2-40B4-BE49-F238E27FC236}">
                      <a16:creationId xmlns:a16="http://schemas.microsoft.com/office/drawing/2014/main" id="{E8DAC4AF-4E15-7CAC-32E5-E65663EA9760}"/>
                    </a:ext>
                  </a:extLst>
                </p:cNvPr>
                <p:cNvSpPr/>
                <p:nvPr/>
              </p:nvSpPr>
              <p:spPr>
                <a:xfrm>
                  <a:off x="5939724" y="4150922"/>
                  <a:ext cx="7135" cy="12868"/>
                </a:xfrm>
                <a:custGeom>
                  <a:avLst/>
                  <a:gdLst>
                    <a:gd name="connsiteX0" fmla="*/ 6285 w 7135"/>
                    <a:gd name="connsiteY0" fmla="*/ 12868 h 12868"/>
                    <a:gd name="connsiteX1" fmla="*/ 5449 w 7135"/>
                    <a:gd name="connsiteY1" fmla="*/ 12021 h 12868"/>
                    <a:gd name="connsiteX2" fmla="*/ 599 w 7135"/>
                    <a:gd name="connsiteY2" fmla="*/ 1646 h 12868"/>
                    <a:gd name="connsiteX3" fmla="*/ 38 w 7135"/>
                    <a:gd name="connsiteY3" fmla="*/ 599 h 12868"/>
                    <a:gd name="connsiteX4" fmla="*/ 1085 w 7135"/>
                    <a:gd name="connsiteY4" fmla="*/ 38 h 12868"/>
                    <a:gd name="connsiteX5" fmla="*/ 7133 w 7135"/>
                    <a:gd name="connsiteY5" fmla="*/ 12033 h 12868"/>
                    <a:gd name="connsiteX6" fmla="*/ 6297 w 7135"/>
                    <a:gd name="connsiteY6" fmla="*/ 12856 h 1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35" h="12868">
                      <a:moveTo>
                        <a:pt x="6285" y="12868"/>
                      </a:moveTo>
                      <a:cubicBezTo>
                        <a:pt x="5811" y="12868"/>
                        <a:pt x="5437" y="12482"/>
                        <a:pt x="5449" y="12021"/>
                      </a:cubicBezTo>
                      <a:cubicBezTo>
                        <a:pt x="5574" y="3242"/>
                        <a:pt x="649" y="1671"/>
                        <a:pt x="599" y="1646"/>
                      </a:cubicBezTo>
                      <a:cubicBezTo>
                        <a:pt x="150" y="1509"/>
                        <a:pt x="-100" y="1048"/>
                        <a:pt x="38" y="599"/>
                      </a:cubicBezTo>
                      <a:cubicBezTo>
                        <a:pt x="175" y="150"/>
                        <a:pt x="636" y="-100"/>
                        <a:pt x="1085" y="38"/>
                      </a:cubicBezTo>
                      <a:cubicBezTo>
                        <a:pt x="1334" y="113"/>
                        <a:pt x="7282" y="2008"/>
                        <a:pt x="7133" y="12033"/>
                      </a:cubicBezTo>
                      <a:cubicBezTo>
                        <a:pt x="7133" y="12494"/>
                        <a:pt x="6746" y="12856"/>
                        <a:pt x="6297" y="12856"/>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69" name="Freeform: Shape 3068">
                  <a:extLst>
                    <a:ext uri="{FF2B5EF4-FFF2-40B4-BE49-F238E27FC236}">
                      <a16:creationId xmlns:a16="http://schemas.microsoft.com/office/drawing/2014/main" id="{398D5E83-8D60-E09E-783A-52D00B73FFF6}"/>
                    </a:ext>
                  </a:extLst>
                </p:cNvPr>
                <p:cNvSpPr/>
                <p:nvPr/>
              </p:nvSpPr>
              <p:spPr>
                <a:xfrm>
                  <a:off x="5939016" y="4156958"/>
                  <a:ext cx="7264" cy="3066"/>
                </a:xfrm>
                <a:custGeom>
                  <a:avLst/>
                  <a:gdLst>
                    <a:gd name="connsiteX0" fmla="*/ 6432 w 7264"/>
                    <a:gd name="connsiteY0" fmla="*/ 3067 h 3066"/>
                    <a:gd name="connsiteX1" fmla="*/ 5883 w 7264"/>
                    <a:gd name="connsiteY1" fmla="*/ 2867 h 3066"/>
                    <a:gd name="connsiteX2" fmla="*/ 1207 w 7264"/>
                    <a:gd name="connsiteY2" fmla="*/ 2007 h 3066"/>
                    <a:gd name="connsiteX3" fmla="*/ 85 w 7264"/>
                    <a:gd name="connsiteY3" fmla="*/ 1620 h 3066"/>
                    <a:gd name="connsiteX4" fmla="*/ 459 w 7264"/>
                    <a:gd name="connsiteY4" fmla="*/ 498 h 3066"/>
                    <a:gd name="connsiteX5" fmla="*/ 6968 w 7264"/>
                    <a:gd name="connsiteY5" fmla="*/ 1583 h 3066"/>
                    <a:gd name="connsiteX6" fmla="*/ 7068 w 7264"/>
                    <a:gd name="connsiteY6" fmla="*/ 2767 h 3066"/>
                    <a:gd name="connsiteX7" fmla="*/ 6432 w 7264"/>
                    <a:gd name="connsiteY7" fmla="*/ 3067 h 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64" h="3066">
                      <a:moveTo>
                        <a:pt x="6432" y="3067"/>
                      </a:moveTo>
                      <a:cubicBezTo>
                        <a:pt x="6245" y="3067"/>
                        <a:pt x="6045" y="3004"/>
                        <a:pt x="5883" y="2867"/>
                      </a:cubicBezTo>
                      <a:cubicBezTo>
                        <a:pt x="3564" y="897"/>
                        <a:pt x="1307" y="1957"/>
                        <a:pt x="1207" y="2007"/>
                      </a:cubicBezTo>
                      <a:cubicBezTo>
                        <a:pt x="796" y="2206"/>
                        <a:pt x="297" y="2032"/>
                        <a:pt x="85" y="1620"/>
                      </a:cubicBezTo>
                      <a:cubicBezTo>
                        <a:pt x="-114" y="1209"/>
                        <a:pt x="48" y="710"/>
                        <a:pt x="459" y="498"/>
                      </a:cubicBezTo>
                      <a:cubicBezTo>
                        <a:pt x="596" y="435"/>
                        <a:pt x="3788" y="-1111"/>
                        <a:pt x="6968" y="1583"/>
                      </a:cubicBezTo>
                      <a:cubicBezTo>
                        <a:pt x="7317" y="1882"/>
                        <a:pt x="7367" y="2418"/>
                        <a:pt x="7068" y="2767"/>
                      </a:cubicBezTo>
                      <a:cubicBezTo>
                        <a:pt x="6906" y="2967"/>
                        <a:pt x="6669" y="3067"/>
                        <a:pt x="6432" y="3067"/>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73" name="Graphic 525">
              <a:extLst>
                <a:ext uri="{FF2B5EF4-FFF2-40B4-BE49-F238E27FC236}">
                  <a16:creationId xmlns:a16="http://schemas.microsoft.com/office/drawing/2014/main" id="{0FB0B5D1-01E7-F628-3B38-245CAB708F62}"/>
                </a:ext>
              </a:extLst>
            </p:cNvPr>
            <p:cNvGrpSpPr/>
            <p:nvPr/>
          </p:nvGrpSpPr>
          <p:grpSpPr>
            <a:xfrm>
              <a:off x="3919579" y="4145740"/>
              <a:ext cx="120368" cy="404700"/>
              <a:chOff x="6127569" y="4435311"/>
              <a:chExt cx="145168" cy="488085"/>
            </a:xfrm>
          </p:grpSpPr>
          <p:grpSp>
            <p:nvGrpSpPr>
              <p:cNvPr id="3074" name="Graphic 525">
                <a:extLst>
                  <a:ext uri="{FF2B5EF4-FFF2-40B4-BE49-F238E27FC236}">
                    <a16:creationId xmlns:a16="http://schemas.microsoft.com/office/drawing/2014/main" id="{25403BD1-6564-2418-8024-68CA858D7264}"/>
                  </a:ext>
                </a:extLst>
              </p:cNvPr>
              <p:cNvGrpSpPr/>
              <p:nvPr/>
            </p:nvGrpSpPr>
            <p:grpSpPr>
              <a:xfrm>
                <a:off x="6127569" y="4435311"/>
                <a:ext cx="101895" cy="265473"/>
                <a:chOff x="6127569" y="4435311"/>
                <a:chExt cx="101895" cy="265473"/>
              </a:xfrm>
            </p:grpSpPr>
            <p:sp>
              <p:nvSpPr>
                <p:cNvPr id="3075" name="Freeform: Shape 3074">
                  <a:extLst>
                    <a:ext uri="{FF2B5EF4-FFF2-40B4-BE49-F238E27FC236}">
                      <a16:creationId xmlns:a16="http://schemas.microsoft.com/office/drawing/2014/main" id="{E44294D1-CC9F-2A67-8899-F0AEBDD326C7}"/>
                    </a:ext>
                  </a:extLst>
                </p:cNvPr>
                <p:cNvSpPr/>
                <p:nvPr/>
              </p:nvSpPr>
              <p:spPr>
                <a:xfrm>
                  <a:off x="6127569" y="4435311"/>
                  <a:ext cx="101895" cy="265473"/>
                </a:xfrm>
                <a:custGeom>
                  <a:avLst/>
                  <a:gdLst>
                    <a:gd name="connsiteX0" fmla="*/ 39255 w 101895"/>
                    <a:gd name="connsiteY0" fmla="*/ 1939 h 265473"/>
                    <a:gd name="connsiteX1" fmla="*/ 88458 w 101895"/>
                    <a:gd name="connsiteY1" fmla="*/ 55669 h 265473"/>
                    <a:gd name="connsiteX2" fmla="*/ 95441 w 101895"/>
                    <a:gd name="connsiteY2" fmla="*/ 260511 h 265473"/>
                    <a:gd name="connsiteX3" fmla="*/ 51674 w 101895"/>
                    <a:gd name="connsiteY3" fmla="*/ 244688 h 265473"/>
                    <a:gd name="connsiteX4" fmla="*/ 12097 w 101895"/>
                    <a:gd name="connsiteY4" fmla="*/ 145533 h 265473"/>
                    <a:gd name="connsiteX5" fmla="*/ 39243 w 101895"/>
                    <a:gd name="connsiteY5" fmla="*/ 1964 h 26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895" h="265473">
                      <a:moveTo>
                        <a:pt x="39255" y="1939"/>
                      </a:moveTo>
                      <a:cubicBezTo>
                        <a:pt x="39255" y="1939"/>
                        <a:pt x="78869" y="-15742"/>
                        <a:pt x="88458" y="55669"/>
                      </a:cubicBezTo>
                      <a:cubicBezTo>
                        <a:pt x="95765" y="110096"/>
                        <a:pt x="110341" y="235834"/>
                        <a:pt x="95441" y="260511"/>
                      </a:cubicBezTo>
                      <a:cubicBezTo>
                        <a:pt x="91713" y="266559"/>
                        <a:pt x="66575" y="272145"/>
                        <a:pt x="51674" y="244688"/>
                      </a:cubicBezTo>
                      <a:cubicBezTo>
                        <a:pt x="36774" y="217218"/>
                        <a:pt x="20015" y="172068"/>
                        <a:pt x="12097" y="145533"/>
                      </a:cubicBezTo>
                      <a:cubicBezTo>
                        <a:pt x="4180" y="118999"/>
                        <a:pt x="-21282" y="7077"/>
                        <a:pt x="39243" y="196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76" name="Freeform: Shape 3075">
                  <a:extLst>
                    <a:ext uri="{FF2B5EF4-FFF2-40B4-BE49-F238E27FC236}">
                      <a16:creationId xmlns:a16="http://schemas.microsoft.com/office/drawing/2014/main" id="{24741772-02A5-2767-893D-8FA4BCA8636B}"/>
                    </a:ext>
                  </a:extLst>
                </p:cNvPr>
                <p:cNvSpPr/>
                <p:nvPr/>
              </p:nvSpPr>
              <p:spPr>
                <a:xfrm>
                  <a:off x="6127586" y="4435316"/>
                  <a:ext cx="72829" cy="214993"/>
                </a:xfrm>
                <a:custGeom>
                  <a:avLst/>
                  <a:gdLst>
                    <a:gd name="connsiteX0" fmla="*/ 72830 w 72829"/>
                    <a:gd name="connsiteY0" fmla="*/ 40326 h 214993"/>
                    <a:gd name="connsiteX1" fmla="*/ 53739 w 72829"/>
                    <a:gd name="connsiteY1" fmla="*/ 276 h 214993"/>
                    <a:gd name="connsiteX2" fmla="*/ 39238 w 72829"/>
                    <a:gd name="connsiteY2" fmla="*/ 1934 h 214993"/>
                    <a:gd name="connsiteX3" fmla="*/ 12093 w 72829"/>
                    <a:gd name="connsiteY3" fmla="*/ 145503 h 214993"/>
                    <a:gd name="connsiteX4" fmla="*/ 37542 w 72829"/>
                    <a:gd name="connsiteY4" fmla="*/ 214993 h 214993"/>
                    <a:gd name="connsiteX5" fmla="*/ 44899 w 72829"/>
                    <a:gd name="connsiteY5" fmla="*/ 132685 h 214993"/>
                    <a:gd name="connsiteX6" fmla="*/ 54039 w 72829"/>
                    <a:gd name="connsiteY6" fmla="*/ 94642 h 214993"/>
                    <a:gd name="connsiteX7" fmla="*/ 72817 w 72829"/>
                    <a:gd name="connsiteY7" fmla="*/ 40314 h 21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29" h="214993">
                      <a:moveTo>
                        <a:pt x="72830" y="40326"/>
                      </a:moveTo>
                      <a:cubicBezTo>
                        <a:pt x="72618" y="21647"/>
                        <a:pt x="64114" y="8892"/>
                        <a:pt x="53739" y="276"/>
                      </a:cubicBezTo>
                      <a:cubicBezTo>
                        <a:pt x="45547" y="-872"/>
                        <a:pt x="39238" y="1934"/>
                        <a:pt x="39238" y="1934"/>
                      </a:cubicBezTo>
                      <a:cubicBezTo>
                        <a:pt x="-21287" y="7059"/>
                        <a:pt x="4187" y="118969"/>
                        <a:pt x="12093" y="145503"/>
                      </a:cubicBezTo>
                      <a:cubicBezTo>
                        <a:pt x="17542" y="163783"/>
                        <a:pt x="27193" y="190903"/>
                        <a:pt x="37542" y="214993"/>
                      </a:cubicBezTo>
                      <a:cubicBezTo>
                        <a:pt x="43964" y="186177"/>
                        <a:pt x="45048" y="153832"/>
                        <a:pt x="44899" y="132685"/>
                      </a:cubicBezTo>
                      <a:cubicBezTo>
                        <a:pt x="44812" y="119455"/>
                        <a:pt x="48016" y="106437"/>
                        <a:pt x="54039" y="94642"/>
                      </a:cubicBezTo>
                      <a:cubicBezTo>
                        <a:pt x="63914" y="75289"/>
                        <a:pt x="72892" y="46561"/>
                        <a:pt x="72817" y="40314"/>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077" name="Freeform: Shape 3076">
                <a:extLst>
                  <a:ext uri="{FF2B5EF4-FFF2-40B4-BE49-F238E27FC236}">
                    <a16:creationId xmlns:a16="http://schemas.microsoft.com/office/drawing/2014/main" id="{6BF37FF0-A977-525F-D4F4-BFB3CF757718}"/>
                  </a:ext>
                </a:extLst>
              </p:cNvPr>
              <p:cNvSpPr/>
              <p:nvPr/>
            </p:nvSpPr>
            <p:spPr>
              <a:xfrm>
                <a:off x="6168870" y="4650083"/>
                <a:ext cx="59667" cy="246468"/>
              </a:xfrm>
              <a:custGeom>
                <a:avLst/>
                <a:gdLst>
                  <a:gd name="connsiteX0" fmla="*/ 36109 w 59667"/>
                  <a:gd name="connsiteY0" fmla="*/ 139 h 246468"/>
                  <a:gd name="connsiteX1" fmla="*/ 59663 w 59667"/>
                  <a:gd name="connsiteY1" fmla="*/ 26436 h 246468"/>
                  <a:gd name="connsiteX2" fmla="*/ 49027 w 59667"/>
                  <a:gd name="connsiteY2" fmla="*/ 150018 h 246468"/>
                  <a:gd name="connsiteX3" fmla="*/ 27144 w 59667"/>
                  <a:gd name="connsiteY3" fmla="*/ 246379 h 246468"/>
                  <a:gd name="connsiteX4" fmla="*/ 10847 w 59667"/>
                  <a:gd name="connsiteY4" fmla="*/ 199819 h 246468"/>
                  <a:gd name="connsiteX5" fmla="*/ 136 w 59667"/>
                  <a:gd name="connsiteY5" fmla="*/ 84829 h 246468"/>
                  <a:gd name="connsiteX6" fmla="*/ 29463 w 59667"/>
                  <a:gd name="connsiteY6" fmla="*/ 164 h 246468"/>
                  <a:gd name="connsiteX7" fmla="*/ 36097 w 59667"/>
                  <a:gd name="connsiteY7" fmla="*/ 126 h 24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67" h="246468">
                    <a:moveTo>
                      <a:pt x="36109" y="139"/>
                    </a:moveTo>
                    <a:cubicBezTo>
                      <a:pt x="49651" y="1249"/>
                      <a:pt x="59913" y="12858"/>
                      <a:pt x="59663" y="26436"/>
                    </a:cubicBezTo>
                    <a:cubicBezTo>
                      <a:pt x="59302" y="46711"/>
                      <a:pt x="56434" y="85714"/>
                      <a:pt x="49027" y="150018"/>
                    </a:cubicBezTo>
                    <a:cubicBezTo>
                      <a:pt x="38790" y="238935"/>
                      <a:pt x="37231" y="244147"/>
                      <a:pt x="27144" y="246379"/>
                    </a:cubicBezTo>
                    <a:cubicBezTo>
                      <a:pt x="18765" y="248237"/>
                      <a:pt x="13179" y="220780"/>
                      <a:pt x="10847" y="199819"/>
                    </a:cubicBezTo>
                    <a:cubicBezTo>
                      <a:pt x="8515" y="178871"/>
                      <a:pt x="-1261" y="115553"/>
                      <a:pt x="136" y="84829"/>
                    </a:cubicBezTo>
                    <a:cubicBezTo>
                      <a:pt x="1532" y="54105"/>
                      <a:pt x="8515" y="2022"/>
                      <a:pt x="29463" y="164"/>
                    </a:cubicBezTo>
                    <a:cubicBezTo>
                      <a:pt x="31820" y="-48"/>
                      <a:pt x="34027" y="-48"/>
                      <a:pt x="36097" y="12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078" name="Graphic 525">
                <a:extLst>
                  <a:ext uri="{FF2B5EF4-FFF2-40B4-BE49-F238E27FC236}">
                    <a16:creationId xmlns:a16="http://schemas.microsoft.com/office/drawing/2014/main" id="{AC65D20E-A99E-7F3F-F444-EEFFA317FF42}"/>
                  </a:ext>
                </a:extLst>
              </p:cNvPr>
              <p:cNvGrpSpPr/>
              <p:nvPr/>
            </p:nvGrpSpPr>
            <p:grpSpPr>
              <a:xfrm>
                <a:off x="6174480" y="4852020"/>
                <a:ext cx="98257" cy="71376"/>
                <a:chOff x="6174480" y="4852020"/>
                <a:chExt cx="98257" cy="71376"/>
              </a:xfrm>
            </p:grpSpPr>
            <p:sp>
              <p:nvSpPr>
                <p:cNvPr id="3079" name="Freeform: Shape 3078">
                  <a:extLst>
                    <a:ext uri="{FF2B5EF4-FFF2-40B4-BE49-F238E27FC236}">
                      <a16:creationId xmlns:a16="http://schemas.microsoft.com/office/drawing/2014/main" id="{1C61FDC7-18AB-9960-12F4-3B9A5AA79CC7}"/>
                    </a:ext>
                  </a:extLst>
                </p:cNvPr>
                <p:cNvSpPr/>
                <p:nvPr/>
              </p:nvSpPr>
              <p:spPr>
                <a:xfrm>
                  <a:off x="6174480" y="4907073"/>
                  <a:ext cx="25038" cy="15679"/>
                </a:xfrm>
                <a:custGeom>
                  <a:avLst/>
                  <a:gdLst>
                    <a:gd name="connsiteX0" fmla="*/ 225 w 25038"/>
                    <a:gd name="connsiteY0" fmla="*/ 0 h 15679"/>
                    <a:gd name="connsiteX1" fmla="*/ 0 w 25038"/>
                    <a:gd name="connsiteY1" fmla="*/ 11858 h 15679"/>
                    <a:gd name="connsiteX2" fmla="*/ 25038 w 25038"/>
                    <a:gd name="connsiteY2" fmla="*/ 15549 h 15679"/>
                    <a:gd name="connsiteX3" fmla="*/ 25038 w 25038"/>
                    <a:gd name="connsiteY3" fmla="*/ 7930 h 15679"/>
                    <a:gd name="connsiteX4" fmla="*/ 225 w 25038"/>
                    <a:gd name="connsiteY4" fmla="*/ 0 h 15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8" h="15679">
                      <a:moveTo>
                        <a:pt x="225" y="0"/>
                      </a:moveTo>
                      <a:lnTo>
                        <a:pt x="0" y="11858"/>
                      </a:lnTo>
                      <a:cubicBezTo>
                        <a:pt x="0" y="11858"/>
                        <a:pt x="9851" y="16509"/>
                        <a:pt x="25038" y="15549"/>
                      </a:cubicBezTo>
                      <a:lnTo>
                        <a:pt x="25038" y="7930"/>
                      </a:lnTo>
                      <a:lnTo>
                        <a:pt x="225" y="0"/>
                      </a:lnTo>
                      <a:close/>
                    </a:path>
                  </a:pathLst>
                </a:custGeom>
                <a:solidFill>
                  <a:srgbClr val="1929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0" name="Freeform: Shape 3079">
                  <a:extLst>
                    <a:ext uri="{FF2B5EF4-FFF2-40B4-BE49-F238E27FC236}">
                      <a16:creationId xmlns:a16="http://schemas.microsoft.com/office/drawing/2014/main" id="{2C74D30A-F5B6-82B4-57D0-98C74675E515}"/>
                    </a:ext>
                  </a:extLst>
                </p:cNvPr>
                <p:cNvSpPr/>
                <p:nvPr/>
              </p:nvSpPr>
              <p:spPr>
                <a:xfrm>
                  <a:off x="6199518" y="4915003"/>
                  <a:ext cx="9576" cy="7618"/>
                </a:xfrm>
                <a:custGeom>
                  <a:avLst/>
                  <a:gdLst>
                    <a:gd name="connsiteX0" fmla="*/ 0 w 9576"/>
                    <a:gd name="connsiteY0" fmla="*/ 7619 h 7618"/>
                    <a:gd name="connsiteX1" fmla="*/ 9576 w 9576"/>
                    <a:gd name="connsiteY1" fmla="*/ 6247 h 7618"/>
                    <a:gd name="connsiteX2" fmla="*/ 9576 w 9576"/>
                    <a:gd name="connsiteY2" fmla="*/ 0 h 7618"/>
                    <a:gd name="connsiteX3" fmla="*/ 0 w 9576"/>
                    <a:gd name="connsiteY3" fmla="*/ 0 h 7618"/>
                    <a:gd name="connsiteX4" fmla="*/ 0 w 9576"/>
                    <a:gd name="connsiteY4" fmla="*/ 7619 h 7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6" h="7618">
                      <a:moveTo>
                        <a:pt x="0" y="7619"/>
                      </a:moveTo>
                      <a:lnTo>
                        <a:pt x="9576" y="6247"/>
                      </a:lnTo>
                      <a:lnTo>
                        <a:pt x="9576" y="0"/>
                      </a:lnTo>
                      <a:lnTo>
                        <a:pt x="0" y="0"/>
                      </a:lnTo>
                      <a:lnTo>
                        <a:pt x="0" y="7619"/>
                      </a:lnTo>
                      <a:close/>
                    </a:path>
                  </a:pathLst>
                </a:custGeom>
                <a:solidFill>
                  <a:srgbClr val="1223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1" name="Freeform: Shape 3080">
                  <a:extLst>
                    <a:ext uri="{FF2B5EF4-FFF2-40B4-BE49-F238E27FC236}">
                      <a16:creationId xmlns:a16="http://schemas.microsoft.com/office/drawing/2014/main" id="{ACE479FB-176A-55F4-3CF7-017720EAB0B0}"/>
                    </a:ext>
                  </a:extLst>
                </p:cNvPr>
                <p:cNvSpPr/>
                <p:nvPr/>
              </p:nvSpPr>
              <p:spPr>
                <a:xfrm>
                  <a:off x="6174601" y="4905338"/>
                  <a:ext cx="98136" cy="18058"/>
                </a:xfrm>
                <a:custGeom>
                  <a:avLst/>
                  <a:gdLst>
                    <a:gd name="connsiteX0" fmla="*/ 3021 w 98136"/>
                    <a:gd name="connsiteY0" fmla="*/ 40 h 18058"/>
                    <a:gd name="connsiteX1" fmla="*/ 104 w 98136"/>
                    <a:gd name="connsiteY1" fmla="*/ 1137 h 18058"/>
                    <a:gd name="connsiteX2" fmla="*/ 15977 w 98136"/>
                    <a:gd name="connsiteY2" fmla="*/ 8980 h 18058"/>
                    <a:gd name="connsiteX3" fmla="*/ 47723 w 98136"/>
                    <a:gd name="connsiteY3" fmla="*/ 13718 h 18058"/>
                    <a:gd name="connsiteX4" fmla="*/ 96564 w 98136"/>
                    <a:gd name="connsiteY4" fmla="*/ 11985 h 18058"/>
                    <a:gd name="connsiteX5" fmla="*/ 95330 w 98136"/>
                    <a:gd name="connsiteY5" fmla="*/ 6187 h 18058"/>
                    <a:gd name="connsiteX6" fmla="*/ 3021 w 98136"/>
                    <a:gd name="connsiteY6" fmla="*/ 27 h 1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6" h="18058">
                      <a:moveTo>
                        <a:pt x="3021" y="40"/>
                      </a:moveTo>
                      <a:cubicBezTo>
                        <a:pt x="3021" y="40"/>
                        <a:pt x="465" y="-322"/>
                        <a:pt x="104" y="1137"/>
                      </a:cubicBezTo>
                      <a:cubicBezTo>
                        <a:pt x="-258" y="2596"/>
                        <a:pt x="-582" y="7247"/>
                        <a:pt x="15977" y="8980"/>
                      </a:cubicBezTo>
                      <a:cubicBezTo>
                        <a:pt x="27959" y="10239"/>
                        <a:pt x="37935" y="11561"/>
                        <a:pt x="47723" y="13718"/>
                      </a:cubicBezTo>
                      <a:cubicBezTo>
                        <a:pt x="72624" y="19242"/>
                        <a:pt x="86676" y="20339"/>
                        <a:pt x="96564" y="11985"/>
                      </a:cubicBezTo>
                      <a:cubicBezTo>
                        <a:pt x="98385" y="10339"/>
                        <a:pt x="99345" y="6561"/>
                        <a:pt x="95330" y="6187"/>
                      </a:cubicBezTo>
                      <a:cubicBezTo>
                        <a:pt x="91315" y="5813"/>
                        <a:pt x="3021" y="27"/>
                        <a:pt x="3021" y="27"/>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2" name="Freeform: Shape 3081">
                  <a:extLst>
                    <a:ext uri="{FF2B5EF4-FFF2-40B4-BE49-F238E27FC236}">
                      <a16:creationId xmlns:a16="http://schemas.microsoft.com/office/drawing/2014/main" id="{7BFD6EE3-A291-8DD0-9767-884AD3A9960B}"/>
                    </a:ext>
                  </a:extLst>
                </p:cNvPr>
                <p:cNvSpPr/>
                <p:nvPr/>
              </p:nvSpPr>
              <p:spPr>
                <a:xfrm>
                  <a:off x="6176518" y="4852020"/>
                  <a:ext cx="93991" cy="67230"/>
                </a:xfrm>
                <a:custGeom>
                  <a:avLst/>
                  <a:gdLst>
                    <a:gd name="connsiteX0" fmla="*/ 6391 w 93991"/>
                    <a:gd name="connsiteY0" fmla="*/ 13381 h 67230"/>
                    <a:gd name="connsiteX1" fmla="*/ 5481 w 93991"/>
                    <a:gd name="connsiteY1" fmla="*/ 33108 h 67230"/>
                    <a:gd name="connsiteX2" fmla="*/ 8037 w 93991"/>
                    <a:gd name="connsiteY2" fmla="*/ 57921 h 67230"/>
                    <a:gd name="connsiteX3" fmla="*/ 46890 w 93991"/>
                    <a:gd name="connsiteY3" fmla="*/ 63944 h 67230"/>
                    <a:gd name="connsiteX4" fmla="*/ 93961 w 93991"/>
                    <a:gd name="connsiteY4" fmla="*/ 62285 h 67230"/>
                    <a:gd name="connsiteX5" fmla="*/ 63499 w 93991"/>
                    <a:gd name="connsiteY5" fmla="*/ 46063 h 67230"/>
                    <a:gd name="connsiteX6" fmla="*/ 32302 w 93991"/>
                    <a:gd name="connsiteY6" fmla="*/ 28369 h 67230"/>
                    <a:gd name="connsiteX7" fmla="*/ 15631 w 93991"/>
                    <a:gd name="connsiteY7" fmla="*/ 52 h 67230"/>
                    <a:gd name="connsiteX8" fmla="*/ 6391 w 93991"/>
                    <a:gd name="connsiteY8" fmla="*/ 13394 h 6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991" h="67230">
                      <a:moveTo>
                        <a:pt x="6391" y="13381"/>
                      </a:moveTo>
                      <a:cubicBezTo>
                        <a:pt x="6391" y="13381"/>
                        <a:pt x="8585" y="27821"/>
                        <a:pt x="5481" y="33108"/>
                      </a:cubicBezTo>
                      <a:cubicBezTo>
                        <a:pt x="2376" y="38395"/>
                        <a:pt x="-6378" y="53719"/>
                        <a:pt x="8037" y="57921"/>
                      </a:cubicBezTo>
                      <a:cubicBezTo>
                        <a:pt x="22451" y="62111"/>
                        <a:pt x="32115" y="59567"/>
                        <a:pt x="46890" y="63944"/>
                      </a:cubicBezTo>
                      <a:cubicBezTo>
                        <a:pt x="61666" y="68320"/>
                        <a:pt x="93051" y="68856"/>
                        <a:pt x="93961" y="62285"/>
                      </a:cubicBezTo>
                      <a:cubicBezTo>
                        <a:pt x="94871" y="55714"/>
                        <a:pt x="75357" y="50078"/>
                        <a:pt x="63499" y="46063"/>
                      </a:cubicBezTo>
                      <a:cubicBezTo>
                        <a:pt x="51641" y="42048"/>
                        <a:pt x="32813" y="37559"/>
                        <a:pt x="32302" y="28369"/>
                      </a:cubicBezTo>
                      <a:cubicBezTo>
                        <a:pt x="31703" y="17771"/>
                        <a:pt x="36566" y="-1120"/>
                        <a:pt x="15631" y="52"/>
                      </a:cubicBezTo>
                      <a:cubicBezTo>
                        <a:pt x="7613" y="501"/>
                        <a:pt x="5842" y="5002"/>
                        <a:pt x="6391" y="1339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3" name="Freeform: Shape 3082">
                  <a:extLst>
                    <a:ext uri="{FF2B5EF4-FFF2-40B4-BE49-F238E27FC236}">
                      <a16:creationId xmlns:a16="http://schemas.microsoft.com/office/drawing/2014/main" id="{E12E9D37-C7FD-67B7-0622-1AC9E51A6459}"/>
                    </a:ext>
                  </a:extLst>
                </p:cNvPr>
                <p:cNvSpPr/>
                <p:nvPr/>
              </p:nvSpPr>
              <p:spPr>
                <a:xfrm>
                  <a:off x="6174705" y="4894905"/>
                  <a:ext cx="97825" cy="26294"/>
                </a:xfrm>
                <a:custGeom>
                  <a:avLst/>
                  <a:gdLst>
                    <a:gd name="connsiteX0" fmla="*/ 0 w 97825"/>
                    <a:gd name="connsiteY0" fmla="*/ 11570 h 26294"/>
                    <a:gd name="connsiteX1" fmla="*/ 2618 w 97825"/>
                    <a:gd name="connsiteY1" fmla="*/ 48 h 26294"/>
                    <a:gd name="connsiteX2" fmla="*/ 2768 w 97825"/>
                    <a:gd name="connsiteY2" fmla="*/ 36 h 26294"/>
                    <a:gd name="connsiteX3" fmla="*/ 23080 w 97825"/>
                    <a:gd name="connsiteY3" fmla="*/ 8652 h 26294"/>
                    <a:gd name="connsiteX4" fmla="*/ 75799 w 97825"/>
                    <a:gd name="connsiteY4" fmla="*/ 9151 h 26294"/>
                    <a:gd name="connsiteX5" fmla="*/ 64627 w 97825"/>
                    <a:gd name="connsiteY5" fmla="*/ 2941 h 26294"/>
                    <a:gd name="connsiteX6" fmla="*/ 97483 w 97825"/>
                    <a:gd name="connsiteY6" fmla="*/ 17268 h 26294"/>
                    <a:gd name="connsiteX7" fmla="*/ 97720 w 97825"/>
                    <a:gd name="connsiteY7" fmla="*/ 18528 h 26294"/>
                    <a:gd name="connsiteX8" fmla="*/ 75438 w 97825"/>
                    <a:gd name="connsiteY8" fmla="*/ 26258 h 26294"/>
                    <a:gd name="connsiteX9" fmla="*/ 24215 w 97825"/>
                    <a:gd name="connsiteY9" fmla="*/ 18253 h 26294"/>
                    <a:gd name="connsiteX10" fmla="*/ 0 w 97825"/>
                    <a:gd name="connsiteY10" fmla="*/ 11570 h 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825" h="26294">
                      <a:moveTo>
                        <a:pt x="0" y="11570"/>
                      </a:moveTo>
                      <a:cubicBezTo>
                        <a:pt x="0" y="11570"/>
                        <a:pt x="686" y="3826"/>
                        <a:pt x="2618" y="48"/>
                      </a:cubicBezTo>
                      <a:cubicBezTo>
                        <a:pt x="2643" y="-14"/>
                        <a:pt x="2718" y="-14"/>
                        <a:pt x="2768" y="36"/>
                      </a:cubicBezTo>
                      <a:cubicBezTo>
                        <a:pt x="3703" y="1046"/>
                        <a:pt x="10698" y="6819"/>
                        <a:pt x="23080" y="8652"/>
                      </a:cubicBezTo>
                      <a:cubicBezTo>
                        <a:pt x="39402" y="11071"/>
                        <a:pt x="64315" y="8602"/>
                        <a:pt x="75799" y="9151"/>
                      </a:cubicBezTo>
                      <a:cubicBezTo>
                        <a:pt x="75799" y="9151"/>
                        <a:pt x="68455" y="6919"/>
                        <a:pt x="64627" y="2941"/>
                      </a:cubicBezTo>
                      <a:cubicBezTo>
                        <a:pt x="64627" y="2941"/>
                        <a:pt x="85189" y="5909"/>
                        <a:pt x="97483" y="17268"/>
                      </a:cubicBezTo>
                      <a:cubicBezTo>
                        <a:pt x="97832" y="17592"/>
                        <a:pt x="97920" y="18103"/>
                        <a:pt x="97720" y="18528"/>
                      </a:cubicBezTo>
                      <a:cubicBezTo>
                        <a:pt x="96673" y="20710"/>
                        <a:pt x="92209" y="26819"/>
                        <a:pt x="75438" y="26258"/>
                      </a:cubicBezTo>
                      <a:cubicBezTo>
                        <a:pt x="55051" y="25572"/>
                        <a:pt x="44726" y="19463"/>
                        <a:pt x="24215" y="18253"/>
                      </a:cubicBezTo>
                      <a:cubicBezTo>
                        <a:pt x="-137" y="16819"/>
                        <a:pt x="0" y="11570"/>
                        <a:pt x="0" y="1157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084" name="Graphic 525">
              <a:extLst>
                <a:ext uri="{FF2B5EF4-FFF2-40B4-BE49-F238E27FC236}">
                  <a16:creationId xmlns:a16="http://schemas.microsoft.com/office/drawing/2014/main" id="{027DD214-C153-E953-979A-1EE2D76C1E04}"/>
                </a:ext>
              </a:extLst>
            </p:cNvPr>
            <p:cNvGrpSpPr/>
            <p:nvPr/>
          </p:nvGrpSpPr>
          <p:grpSpPr>
            <a:xfrm>
              <a:off x="3872098" y="4087041"/>
              <a:ext cx="115577" cy="152556"/>
              <a:chOff x="6070305" y="4364518"/>
              <a:chExt cx="139390" cy="183989"/>
            </a:xfrm>
          </p:grpSpPr>
          <p:sp>
            <p:nvSpPr>
              <p:cNvPr id="3085" name="Freeform: Shape 3084">
                <a:extLst>
                  <a:ext uri="{FF2B5EF4-FFF2-40B4-BE49-F238E27FC236}">
                    <a16:creationId xmlns:a16="http://schemas.microsoft.com/office/drawing/2014/main" id="{40C220F7-D614-F0E1-4EA9-11E2983CC338}"/>
                  </a:ext>
                </a:extLst>
              </p:cNvPr>
              <p:cNvSpPr/>
              <p:nvPr/>
            </p:nvSpPr>
            <p:spPr>
              <a:xfrm>
                <a:off x="6070305" y="4364518"/>
                <a:ext cx="139390" cy="183989"/>
              </a:xfrm>
              <a:custGeom>
                <a:avLst/>
                <a:gdLst>
                  <a:gd name="connsiteX0" fmla="*/ 123689 w 139390"/>
                  <a:gd name="connsiteY0" fmla="*/ 15175 h 183989"/>
                  <a:gd name="connsiteX1" fmla="*/ 134487 w 139390"/>
                  <a:gd name="connsiteY1" fmla="*/ 41971 h 183989"/>
                  <a:gd name="connsiteX2" fmla="*/ 139375 w 139390"/>
                  <a:gd name="connsiteY2" fmla="*/ 89927 h 183989"/>
                  <a:gd name="connsiteX3" fmla="*/ 118252 w 139390"/>
                  <a:gd name="connsiteY3" fmla="*/ 139978 h 183989"/>
                  <a:gd name="connsiteX4" fmla="*/ 42839 w 139390"/>
                  <a:gd name="connsiteY4" fmla="*/ 181874 h 183989"/>
                  <a:gd name="connsiteX5" fmla="*/ 1392 w 139390"/>
                  <a:gd name="connsiteY5" fmla="*/ 113818 h 183989"/>
                  <a:gd name="connsiteX6" fmla="*/ 28625 w 139390"/>
                  <a:gd name="connsiteY6" fmla="*/ 61448 h 183989"/>
                  <a:gd name="connsiteX7" fmla="*/ 32465 w 139390"/>
                  <a:gd name="connsiteY7" fmla="*/ 42445 h 183989"/>
                  <a:gd name="connsiteX8" fmla="*/ 45321 w 139390"/>
                  <a:gd name="connsiteY8" fmla="*/ 11496 h 183989"/>
                  <a:gd name="connsiteX9" fmla="*/ 82965 w 139390"/>
                  <a:gd name="connsiteY9" fmla="*/ 0 h 183989"/>
                  <a:gd name="connsiteX10" fmla="*/ 123702 w 139390"/>
                  <a:gd name="connsiteY10" fmla="*/ 15200 h 183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390" h="183989">
                    <a:moveTo>
                      <a:pt x="123689" y="15175"/>
                    </a:moveTo>
                    <a:cubicBezTo>
                      <a:pt x="131233" y="22881"/>
                      <a:pt x="133664" y="31210"/>
                      <a:pt x="134487" y="41971"/>
                    </a:cubicBezTo>
                    <a:cubicBezTo>
                      <a:pt x="135310" y="52694"/>
                      <a:pt x="139126" y="79216"/>
                      <a:pt x="139375" y="89927"/>
                    </a:cubicBezTo>
                    <a:cubicBezTo>
                      <a:pt x="139724" y="104591"/>
                      <a:pt x="134313" y="114142"/>
                      <a:pt x="118252" y="139978"/>
                    </a:cubicBezTo>
                    <a:cubicBezTo>
                      <a:pt x="102192" y="165814"/>
                      <a:pt x="88227" y="191650"/>
                      <a:pt x="42839" y="181874"/>
                    </a:cubicBezTo>
                    <a:cubicBezTo>
                      <a:pt x="-2548" y="172098"/>
                      <a:pt x="-2062" y="128668"/>
                      <a:pt x="1392" y="113818"/>
                    </a:cubicBezTo>
                    <a:cubicBezTo>
                      <a:pt x="6130" y="93431"/>
                      <a:pt x="12564" y="81348"/>
                      <a:pt x="28625" y="61448"/>
                    </a:cubicBezTo>
                    <a:cubicBezTo>
                      <a:pt x="31555" y="58268"/>
                      <a:pt x="32440" y="49615"/>
                      <a:pt x="32465" y="42445"/>
                    </a:cubicBezTo>
                    <a:cubicBezTo>
                      <a:pt x="32502" y="30437"/>
                      <a:pt x="35944" y="19003"/>
                      <a:pt x="45321" y="11496"/>
                    </a:cubicBezTo>
                    <a:cubicBezTo>
                      <a:pt x="53239" y="5162"/>
                      <a:pt x="65159" y="0"/>
                      <a:pt x="82965" y="0"/>
                    </a:cubicBezTo>
                    <a:cubicBezTo>
                      <a:pt x="103128" y="0"/>
                      <a:pt x="115809" y="7145"/>
                      <a:pt x="123702" y="1520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6" name="Freeform: Shape 3085">
                <a:extLst>
                  <a:ext uri="{FF2B5EF4-FFF2-40B4-BE49-F238E27FC236}">
                    <a16:creationId xmlns:a16="http://schemas.microsoft.com/office/drawing/2014/main" id="{D879C1A2-D768-76EF-1929-5BE272056A62}"/>
                  </a:ext>
                </a:extLst>
              </p:cNvPr>
              <p:cNvSpPr/>
              <p:nvPr/>
            </p:nvSpPr>
            <p:spPr>
              <a:xfrm>
                <a:off x="6071273" y="4467325"/>
                <a:ext cx="101024" cy="81168"/>
              </a:xfrm>
              <a:custGeom>
                <a:avLst/>
                <a:gdLst>
                  <a:gd name="connsiteX0" fmla="*/ 21110 w 101024"/>
                  <a:gd name="connsiteY0" fmla="*/ 3654 h 81168"/>
                  <a:gd name="connsiteX1" fmla="*/ 0 w 101024"/>
                  <a:gd name="connsiteY1" fmla="*/ 36124 h 81168"/>
                  <a:gd name="connsiteX2" fmla="*/ 41884 w 101024"/>
                  <a:gd name="connsiteY2" fmla="*/ 79055 h 81168"/>
                  <a:gd name="connsiteX3" fmla="*/ 101024 w 101024"/>
                  <a:gd name="connsiteY3" fmla="*/ 61287 h 81168"/>
                  <a:gd name="connsiteX4" fmla="*/ 83630 w 101024"/>
                  <a:gd name="connsiteY4" fmla="*/ 20525 h 81168"/>
                  <a:gd name="connsiteX5" fmla="*/ 21110 w 101024"/>
                  <a:gd name="connsiteY5" fmla="*/ 3667 h 8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24" h="81168">
                    <a:moveTo>
                      <a:pt x="21110" y="3654"/>
                    </a:moveTo>
                    <a:cubicBezTo>
                      <a:pt x="11334" y="8804"/>
                      <a:pt x="4339" y="21759"/>
                      <a:pt x="0" y="36124"/>
                    </a:cubicBezTo>
                    <a:cubicBezTo>
                      <a:pt x="2918" y="53418"/>
                      <a:pt x="13317" y="72907"/>
                      <a:pt x="41884" y="79055"/>
                    </a:cubicBezTo>
                    <a:cubicBezTo>
                      <a:pt x="72408" y="85626"/>
                      <a:pt x="88730" y="76087"/>
                      <a:pt x="101024" y="61287"/>
                    </a:cubicBezTo>
                    <a:cubicBezTo>
                      <a:pt x="97683" y="39166"/>
                      <a:pt x="83630" y="20525"/>
                      <a:pt x="83630" y="20525"/>
                    </a:cubicBezTo>
                    <a:cubicBezTo>
                      <a:pt x="77046" y="13530"/>
                      <a:pt x="44565" y="-8678"/>
                      <a:pt x="21110" y="3667"/>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87" name="Graphic 525">
              <a:extLst>
                <a:ext uri="{FF2B5EF4-FFF2-40B4-BE49-F238E27FC236}">
                  <a16:creationId xmlns:a16="http://schemas.microsoft.com/office/drawing/2014/main" id="{2B5542C2-C9E7-CCA8-8DAB-FBCB22DA0C34}"/>
                </a:ext>
              </a:extLst>
            </p:cNvPr>
            <p:cNvGrpSpPr/>
            <p:nvPr/>
          </p:nvGrpSpPr>
          <p:grpSpPr>
            <a:xfrm>
              <a:off x="3874436" y="4165855"/>
              <a:ext cx="95259" cy="409249"/>
              <a:chOff x="6073125" y="4459571"/>
              <a:chExt cx="114886" cy="493572"/>
            </a:xfrm>
          </p:grpSpPr>
          <p:sp>
            <p:nvSpPr>
              <p:cNvPr id="3088" name="Freeform: Shape 3087">
                <a:extLst>
                  <a:ext uri="{FF2B5EF4-FFF2-40B4-BE49-F238E27FC236}">
                    <a16:creationId xmlns:a16="http://schemas.microsoft.com/office/drawing/2014/main" id="{C80B61F4-A0C3-228E-3B77-1CB54498DD9E}"/>
                  </a:ext>
                </a:extLst>
              </p:cNvPr>
              <p:cNvSpPr/>
              <p:nvPr/>
            </p:nvSpPr>
            <p:spPr>
              <a:xfrm>
                <a:off x="6073125" y="4459571"/>
                <a:ext cx="91274" cy="264057"/>
              </a:xfrm>
              <a:custGeom>
                <a:avLst/>
                <a:gdLst>
                  <a:gd name="connsiteX0" fmla="*/ 9582 w 91274"/>
                  <a:gd name="connsiteY0" fmla="*/ 20610 h 264057"/>
                  <a:gd name="connsiteX1" fmla="*/ 66117 w 91274"/>
                  <a:gd name="connsiteY1" fmla="*/ 7143 h 264057"/>
                  <a:gd name="connsiteX2" fmla="*/ 89372 w 91274"/>
                  <a:gd name="connsiteY2" fmla="*/ 50037 h 264057"/>
                  <a:gd name="connsiteX3" fmla="*/ 84721 w 91274"/>
                  <a:gd name="connsiteY3" fmla="*/ 170152 h 264057"/>
                  <a:gd name="connsiteX4" fmla="*/ 72152 w 91274"/>
                  <a:gd name="connsiteY4" fmla="*/ 241375 h 264057"/>
                  <a:gd name="connsiteX5" fmla="*/ 42825 w 91274"/>
                  <a:gd name="connsiteY5" fmla="*/ 263720 h 264057"/>
                  <a:gd name="connsiteX6" fmla="*/ 14433 w 91274"/>
                  <a:gd name="connsiteY6" fmla="*/ 220888 h 264057"/>
                  <a:gd name="connsiteX7" fmla="*/ 1864 w 91274"/>
                  <a:gd name="connsiteY7" fmla="*/ 108692 h 264057"/>
                  <a:gd name="connsiteX8" fmla="*/ 9595 w 91274"/>
                  <a:gd name="connsiteY8" fmla="*/ 20610 h 2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74" h="264057">
                    <a:moveTo>
                      <a:pt x="9582" y="20610"/>
                    </a:moveTo>
                    <a:cubicBezTo>
                      <a:pt x="20430" y="-126"/>
                      <a:pt x="46989" y="-6336"/>
                      <a:pt x="66117" y="7143"/>
                    </a:cubicBezTo>
                    <a:cubicBezTo>
                      <a:pt x="76566" y="14500"/>
                      <a:pt x="87314" y="27468"/>
                      <a:pt x="89372" y="50037"/>
                    </a:cubicBezTo>
                    <a:cubicBezTo>
                      <a:pt x="93561" y="96123"/>
                      <a:pt x="90307" y="132907"/>
                      <a:pt x="84721" y="170152"/>
                    </a:cubicBezTo>
                    <a:cubicBezTo>
                      <a:pt x="79135" y="207397"/>
                      <a:pt x="77738" y="222759"/>
                      <a:pt x="72152" y="241375"/>
                    </a:cubicBezTo>
                    <a:cubicBezTo>
                      <a:pt x="66566" y="259992"/>
                      <a:pt x="52600" y="265578"/>
                      <a:pt x="42825" y="263720"/>
                    </a:cubicBezTo>
                    <a:cubicBezTo>
                      <a:pt x="33049" y="261862"/>
                      <a:pt x="18622" y="248358"/>
                      <a:pt x="14433" y="220888"/>
                    </a:cubicBezTo>
                    <a:cubicBezTo>
                      <a:pt x="10243" y="193419"/>
                      <a:pt x="3722" y="136623"/>
                      <a:pt x="1864" y="108692"/>
                    </a:cubicBezTo>
                    <a:cubicBezTo>
                      <a:pt x="604" y="89776"/>
                      <a:pt x="-4284" y="47169"/>
                      <a:pt x="9595" y="2061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9" name="Freeform: Shape 3088">
                <a:extLst>
                  <a:ext uri="{FF2B5EF4-FFF2-40B4-BE49-F238E27FC236}">
                    <a16:creationId xmlns:a16="http://schemas.microsoft.com/office/drawing/2014/main" id="{637B07ED-B4AF-06C3-BDDC-6F147A19154F}"/>
                  </a:ext>
                </a:extLst>
              </p:cNvPr>
              <p:cNvSpPr/>
              <p:nvPr/>
            </p:nvSpPr>
            <p:spPr>
              <a:xfrm>
                <a:off x="6080021" y="4667422"/>
                <a:ext cx="67129" cy="242486"/>
              </a:xfrm>
              <a:custGeom>
                <a:avLst/>
                <a:gdLst>
                  <a:gd name="connsiteX0" fmla="*/ 67114 w 67129"/>
                  <a:gd name="connsiteY0" fmla="*/ 26068 h 242486"/>
                  <a:gd name="connsiteX1" fmla="*/ 53149 w 67129"/>
                  <a:gd name="connsiteY1" fmla="*/ 107067 h 242486"/>
                  <a:gd name="connsiteX2" fmla="*/ 38248 w 67129"/>
                  <a:gd name="connsiteY2" fmla="*/ 229501 h 242486"/>
                  <a:gd name="connsiteX3" fmla="*/ 23822 w 67129"/>
                  <a:gd name="connsiteY3" fmla="*/ 241135 h 242486"/>
                  <a:gd name="connsiteX4" fmla="*/ 12649 w 67129"/>
                  <a:gd name="connsiteY4" fmla="*/ 218790 h 242486"/>
                  <a:gd name="connsiteX5" fmla="*/ 1477 w 67129"/>
                  <a:gd name="connsiteY5" fmla="*/ 143838 h 242486"/>
                  <a:gd name="connsiteX6" fmla="*/ 11253 w 67129"/>
                  <a:gd name="connsiteY6" fmla="*/ 20008 h 242486"/>
                  <a:gd name="connsiteX7" fmla="*/ 67114 w 67129"/>
                  <a:gd name="connsiteY7" fmla="*/ 26055 h 24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129" h="242486">
                    <a:moveTo>
                      <a:pt x="67114" y="26068"/>
                    </a:moveTo>
                    <a:cubicBezTo>
                      <a:pt x="67114" y="26068"/>
                      <a:pt x="58274" y="78213"/>
                      <a:pt x="53149" y="107067"/>
                    </a:cubicBezTo>
                    <a:cubicBezTo>
                      <a:pt x="48024" y="135933"/>
                      <a:pt x="39645" y="212743"/>
                      <a:pt x="38248" y="229501"/>
                    </a:cubicBezTo>
                    <a:cubicBezTo>
                      <a:pt x="36852" y="246259"/>
                      <a:pt x="27538" y="242531"/>
                      <a:pt x="23822" y="241135"/>
                    </a:cubicBezTo>
                    <a:cubicBezTo>
                      <a:pt x="20106" y="239738"/>
                      <a:pt x="14981" y="234152"/>
                      <a:pt x="12649" y="218790"/>
                    </a:cubicBezTo>
                    <a:cubicBezTo>
                      <a:pt x="10318" y="203428"/>
                      <a:pt x="4270" y="168976"/>
                      <a:pt x="1477" y="143838"/>
                    </a:cubicBezTo>
                    <a:cubicBezTo>
                      <a:pt x="-1316" y="118700"/>
                      <a:pt x="-1191" y="48200"/>
                      <a:pt x="11253" y="20008"/>
                    </a:cubicBezTo>
                    <a:cubicBezTo>
                      <a:pt x="25218" y="-11651"/>
                      <a:pt x="68050" y="-2798"/>
                      <a:pt x="67114" y="26055"/>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0" name="Freeform: Shape 3089">
                <a:extLst>
                  <a:ext uri="{FF2B5EF4-FFF2-40B4-BE49-F238E27FC236}">
                    <a16:creationId xmlns:a16="http://schemas.microsoft.com/office/drawing/2014/main" id="{A4BFB3F7-6225-0DF9-D5C6-C14417161A59}"/>
                  </a:ext>
                </a:extLst>
              </p:cNvPr>
              <p:cNvSpPr/>
              <p:nvPr/>
            </p:nvSpPr>
            <p:spPr>
              <a:xfrm>
                <a:off x="6083131" y="4926961"/>
                <a:ext cx="24800" cy="22955"/>
              </a:xfrm>
              <a:custGeom>
                <a:avLst/>
                <a:gdLst>
                  <a:gd name="connsiteX0" fmla="*/ 75 w 24800"/>
                  <a:gd name="connsiteY0" fmla="*/ 0 h 22955"/>
                  <a:gd name="connsiteX1" fmla="*/ 0 w 24800"/>
                  <a:gd name="connsiteY1" fmla="*/ 15300 h 22955"/>
                  <a:gd name="connsiteX2" fmla="*/ 24801 w 24800"/>
                  <a:gd name="connsiteY2" fmla="*/ 22955 h 22955"/>
                  <a:gd name="connsiteX3" fmla="*/ 24801 w 24800"/>
                  <a:gd name="connsiteY3" fmla="*/ 13205 h 22955"/>
                  <a:gd name="connsiteX4" fmla="*/ 75 w 24800"/>
                  <a:gd name="connsiteY4" fmla="*/ 0 h 2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0" h="22955">
                    <a:moveTo>
                      <a:pt x="75" y="0"/>
                    </a:moveTo>
                    <a:lnTo>
                      <a:pt x="0" y="15300"/>
                    </a:lnTo>
                    <a:cubicBezTo>
                      <a:pt x="0" y="15300"/>
                      <a:pt x="8392" y="21833"/>
                      <a:pt x="24801" y="22955"/>
                    </a:cubicBezTo>
                    <a:lnTo>
                      <a:pt x="24801" y="13205"/>
                    </a:lnTo>
                    <a:lnTo>
                      <a:pt x="75" y="0"/>
                    </a:lnTo>
                    <a:close/>
                  </a:path>
                </a:pathLst>
              </a:custGeom>
              <a:solidFill>
                <a:srgbClr val="1929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1" name="Freeform: Shape 3090">
                <a:extLst>
                  <a:ext uri="{FF2B5EF4-FFF2-40B4-BE49-F238E27FC236}">
                    <a16:creationId xmlns:a16="http://schemas.microsoft.com/office/drawing/2014/main" id="{C5586BF1-B673-7586-3C18-DA350AED118A}"/>
                  </a:ext>
                </a:extLst>
              </p:cNvPr>
              <p:cNvSpPr/>
              <p:nvPr/>
            </p:nvSpPr>
            <p:spPr>
              <a:xfrm>
                <a:off x="6107932" y="4940166"/>
                <a:ext cx="9863" cy="9738"/>
              </a:xfrm>
              <a:custGeom>
                <a:avLst/>
                <a:gdLst>
                  <a:gd name="connsiteX0" fmla="*/ 0 w 9863"/>
                  <a:gd name="connsiteY0" fmla="*/ 9738 h 9738"/>
                  <a:gd name="connsiteX1" fmla="*/ 9863 w 9863"/>
                  <a:gd name="connsiteY1" fmla="*/ 6534 h 9738"/>
                  <a:gd name="connsiteX2" fmla="*/ 9863 w 9863"/>
                  <a:gd name="connsiteY2" fmla="*/ 985 h 9738"/>
                  <a:gd name="connsiteX3" fmla="*/ 0 w 9863"/>
                  <a:gd name="connsiteY3" fmla="*/ 0 h 9738"/>
                  <a:gd name="connsiteX4" fmla="*/ 0 w 9863"/>
                  <a:gd name="connsiteY4" fmla="*/ 9738 h 9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 h="9738">
                    <a:moveTo>
                      <a:pt x="0" y="9738"/>
                    </a:moveTo>
                    <a:lnTo>
                      <a:pt x="9863" y="6534"/>
                    </a:lnTo>
                    <a:lnTo>
                      <a:pt x="9863" y="985"/>
                    </a:lnTo>
                    <a:lnTo>
                      <a:pt x="0" y="0"/>
                    </a:lnTo>
                    <a:lnTo>
                      <a:pt x="0" y="9738"/>
                    </a:lnTo>
                    <a:close/>
                  </a:path>
                </a:pathLst>
              </a:custGeom>
              <a:solidFill>
                <a:srgbClr val="12234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2" name="Freeform: Shape 3091">
                <a:extLst>
                  <a:ext uri="{FF2B5EF4-FFF2-40B4-BE49-F238E27FC236}">
                    <a16:creationId xmlns:a16="http://schemas.microsoft.com/office/drawing/2014/main" id="{D4ABBC39-6AC7-9F33-BF1C-8233565723D4}"/>
                  </a:ext>
                </a:extLst>
              </p:cNvPr>
              <p:cNvSpPr/>
              <p:nvPr/>
            </p:nvSpPr>
            <p:spPr>
              <a:xfrm>
                <a:off x="6083196" y="4924886"/>
                <a:ext cx="104816" cy="28258"/>
              </a:xfrm>
              <a:custGeom>
                <a:avLst/>
                <a:gdLst>
                  <a:gd name="connsiteX0" fmla="*/ 4699 w 104816"/>
                  <a:gd name="connsiteY0" fmla="*/ 93 h 28258"/>
                  <a:gd name="connsiteX1" fmla="*/ 1108 w 104816"/>
                  <a:gd name="connsiteY1" fmla="*/ 692 h 28258"/>
                  <a:gd name="connsiteX2" fmla="*/ 110 w 104816"/>
                  <a:gd name="connsiteY2" fmla="*/ 1664 h 28258"/>
                  <a:gd name="connsiteX3" fmla="*/ 15086 w 104816"/>
                  <a:gd name="connsiteY3" fmla="*/ 12687 h 28258"/>
                  <a:gd name="connsiteX4" fmla="*/ 51121 w 104816"/>
                  <a:gd name="connsiteY4" fmla="*/ 23211 h 28258"/>
                  <a:gd name="connsiteX5" fmla="*/ 95586 w 104816"/>
                  <a:gd name="connsiteY5" fmla="*/ 25517 h 28258"/>
                  <a:gd name="connsiteX6" fmla="*/ 101634 w 104816"/>
                  <a:gd name="connsiteY6" fmla="*/ 16640 h 28258"/>
                  <a:gd name="connsiteX7" fmla="*/ 4724 w 104816"/>
                  <a:gd name="connsiteY7" fmla="*/ 93 h 28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816" h="28258">
                    <a:moveTo>
                      <a:pt x="4699" y="93"/>
                    </a:moveTo>
                    <a:cubicBezTo>
                      <a:pt x="3465" y="-131"/>
                      <a:pt x="2180" y="43"/>
                      <a:pt x="1108" y="692"/>
                    </a:cubicBezTo>
                    <a:cubicBezTo>
                      <a:pt x="684" y="941"/>
                      <a:pt x="310" y="1265"/>
                      <a:pt x="110" y="1664"/>
                    </a:cubicBezTo>
                    <a:cubicBezTo>
                      <a:pt x="-550" y="2986"/>
                      <a:pt x="1432" y="8086"/>
                      <a:pt x="15086" y="12687"/>
                    </a:cubicBezTo>
                    <a:cubicBezTo>
                      <a:pt x="28739" y="17288"/>
                      <a:pt x="39762" y="18610"/>
                      <a:pt x="51121" y="23211"/>
                    </a:cubicBezTo>
                    <a:cubicBezTo>
                      <a:pt x="62468" y="27812"/>
                      <a:pt x="83204" y="30655"/>
                      <a:pt x="95586" y="25517"/>
                    </a:cubicBezTo>
                    <a:cubicBezTo>
                      <a:pt x="100898" y="23784"/>
                      <a:pt x="109527" y="19096"/>
                      <a:pt x="101634" y="16640"/>
                    </a:cubicBezTo>
                    <a:cubicBezTo>
                      <a:pt x="94327" y="14358"/>
                      <a:pt x="15210" y="2038"/>
                      <a:pt x="4724" y="93"/>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3" name="Freeform: Shape 3092">
                <a:extLst>
                  <a:ext uri="{FF2B5EF4-FFF2-40B4-BE49-F238E27FC236}">
                    <a16:creationId xmlns:a16="http://schemas.microsoft.com/office/drawing/2014/main" id="{E814C94D-C1B0-7505-66BB-167C941C6775}"/>
                  </a:ext>
                </a:extLst>
              </p:cNvPr>
              <p:cNvSpPr/>
              <p:nvPr/>
            </p:nvSpPr>
            <p:spPr>
              <a:xfrm>
                <a:off x="6084940" y="4868806"/>
                <a:ext cx="95838" cy="80520"/>
              </a:xfrm>
              <a:custGeom>
                <a:avLst/>
                <a:gdLst>
                  <a:gd name="connsiteX0" fmla="*/ 7007 w 95838"/>
                  <a:gd name="connsiteY0" fmla="*/ 12930 h 80520"/>
                  <a:gd name="connsiteX1" fmla="*/ 6571 w 95838"/>
                  <a:gd name="connsiteY1" fmla="*/ 31908 h 80520"/>
                  <a:gd name="connsiteX2" fmla="*/ 4763 w 95838"/>
                  <a:gd name="connsiteY2" fmla="*/ 61360 h 80520"/>
                  <a:gd name="connsiteX3" fmla="*/ 45237 w 95838"/>
                  <a:gd name="connsiteY3" fmla="*/ 73866 h 80520"/>
                  <a:gd name="connsiteX4" fmla="*/ 94752 w 95838"/>
                  <a:gd name="connsiteY4" fmla="*/ 76659 h 80520"/>
                  <a:gd name="connsiteX5" fmla="*/ 70076 w 95838"/>
                  <a:gd name="connsiteY5" fmla="*/ 53292 h 80520"/>
                  <a:gd name="connsiteX6" fmla="*/ 33055 w 95838"/>
                  <a:gd name="connsiteY6" fmla="*/ 31409 h 80520"/>
                  <a:gd name="connsiteX7" fmla="*/ 33055 w 95838"/>
                  <a:gd name="connsiteY7" fmla="*/ 11334 h 80520"/>
                  <a:gd name="connsiteX8" fmla="*/ 6995 w 95838"/>
                  <a:gd name="connsiteY8" fmla="*/ 12917 h 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838" h="80520">
                    <a:moveTo>
                      <a:pt x="7007" y="12930"/>
                    </a:moveTo>
                    <a:cubicBezTo>
                      <a:pt x="7007" y="12930"/>
                      <a:pt x="8142" y="27157"/>
                      <a:pt x="6571" y="31908"/>
                    </a:cubicBezTo>
                    <a:cubicBezTo>
                      <a:pt x="4102" y="39389"/>
                      <a:pt x="-5774" y="53791"/>
                      <a:pt x="4763" y="61360"/>
                    </a:cubicBezTo>
                    <a:cubicBezTo>
                      <a:pt x="15287" y="68928"/>
                      <a:pt x="33716" y="69091"/>
                      <a:pt x="45237" y="73866"/>
                    </a:cubicBezTo>
                    <a:cubicBezTo>
                      <a:pt x="56759" y="78642"/>
                      <a:pt x="88505" y="84565"/>
                      <a:pt x="94752" y="76659"/>
                    </a:cubicBezTo>
                    <a:cubicBezTo>
                      <a:pt x="100999" y="68766"/>
                      <a:pt x="78630" y="56921"/>
                      <a:pt x="70076" y="53292"/>
                    </a:cubicBezTo>
                    <a:cubicBezTo>
                      <a:pt x="61522" y="49664"/>
                      <a:pt x="34040" y="35362"/>
                      <a:pt x="33055" y="31409"/>
                    </a:cubicBezTo>
                    <a:cubicBezTo>
                      <a:pt x="32070" y="27456"/>
                      <a:pt x="33105" y="15623"/>
                      <a:pt x="33055" y="11334"/>
                    </a:cubicBezTo>
                    <a:cubicBezTo>
                      <a:pt x="32893" y="-1497"/>
                      <a:pt x="6833" y="-6497"/>
                      <a:pt x="6995" y="12917"/>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4" name="Freeform: Shape 3093">
                <a:extLst>
                  <a:ext uri="{FF2B5EF4-FFF2-40B4-BE49-F238E27FC236}">
                    <a16:creationId xmlns:a16="http://schemas.microsoft.com/office/drawing/2014/main" id="{2782C966-441A-3DE0-DBC7-064D60AEEF33}"/>
                  </a:ext>
                </a:extLst>
              </p:cNvPr>
              <p:cNvSpPr/>
              <p:nvPr/>
            </p:nvSpPr>
            <p:spPr>
              <a:xfrm>
                <a:off x="6083282" y="4912990"/>
                <a:ext cx="104328" cy="36720"/>
              </a:xfrm>
              <a:custGeom>
                <a:avLst/>
                <a:gdLst>
                  <a:gd name="connsiteX0" fmla="*/ 12 w 104328"/>
                  <a:gd name="connsiteY0" fmla="*/ 13560 h 36720"/>
                  <a:gd name="connsiteX1" fmla="*/ 3117 w 104328"/>
                  <a:gd name="connsiteY1" fmla="*/ 19 h 36720"/>
                  <a:gd name="connsiteX2" fmla="*/ 3191 w 104328"/>
                  <a:gd name="connsiteY2" fmla="*/ 19 h 36720"/>
                  <a:gd name="connsiteX3" fmla="*/ 28391 w 104328"/>
                  <a:gd name="connsiteY3" fmla="*/ 12401 h 36720"/>
                  <a:gd name="connsiteX4" fmla="*/ 81285 w 104328"/>
                  <a:gd name="connsiteY4" fmla="*/ 16927 h 36720"/>
                  <a:gd name="connsiteX5" fmla="*/ 65125 w 104328"/>
                  <a:gd name="connsiteY5" fmla="*/ 6029 h 36720"/>
                  <a:gd name="connsiteX6" fmla="*/ 104328 w 104328"/>
                  <a:gd name="connsiteY6" fmla="*/ 30069 h 36720"/>
                  <a:gd name="connsiteX7" fmla="*/ 63779 w 104328"/>
                  <a:gd name="connsiteY7" fmla="*/ 35269 h 36720"/>
                  <a:gd name="connsiteX8" fmla="*/ 41571 w 104328"/>
                  <a:gd name="connsiteY8" fmla="*/ 29259 h 36720"/>
                  <a:gd name="connsiteX9" fmla="*/ 24 w 104328"/>
                  <a:gd name="connsiteY9" fmla="*/ 13548 h 3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328" h="36720">
                    <a:moveTo>
                      <a:pt x="12" y="13560"/>
                    </a:moveTo>
                    <a:cubicBezTo>
                      <a:pt x="12" y="13560"/>
                      <a:pt x="-362" y="5742"/>
                      <a:pt x="3117" y="19"/>
                    </a:cubicBezTo>
                    <a:cubicBezTo>
                      <a:pt x="3129" y="-6"/>
                      <a:pt x="3179" y="-6"/>
                      <a:pt x="3191" y="19"/>
                    </a:cubicBezTo>
                    <a:cubicBezTo>
                      <a:pt x="3416" y="1066"/>
                      <a:pt x="9201" y="7401"/>
                      <a:pt x="28391" y="12401"/>
                    </a:cubicBezTo>
                    <a:cubicBezTo>
                      <a:pt x="49863" y="17999"/>
                      <a:pt x="60187" y="16067"/>
                      <a:pt x="81285" y="16927"/>
                    </a:cubicBezTo>
                    <a:cubicBezTo>
                      <a:pt x="81285" y="16927"/>
                      <a:pt x="74988" y="11129"/>
                      <a:pt x="65125" y="6029"/>
                    </a:cubicBezTo>
                    <a:cubicBezTo>
                      <a:pt x="65125" y="6029"/>
                      <a:pt x="98729" y="14109"/>
                      <a:pt x="104328" y="30069"/>
                    </a:cubicBezTo>
                    <a:cubicBezTo>
                      <a:pt x="104328" y="30069"/>
                      <a:pt x="90425" y="40456"/>
                      <a:pt x="63779" y="35269"/>
                    </a:cubicBezTo>
                    <a:cubicBezTo>
                      <a:pt x="58230" y="34284"/>
                      <a:pt x="46260" y="30493"/>
                      <a:pt x="41571" y="29259"/>
                    </a:cubicBezTo>
                    <a:cubicBezTo>
                      <a:pt x="36883" y="28025"/>
                      <a:pt x="8703" y="24483"/>
                      <a:pt x="24" y="13548"/>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097" name="Freeform: Shape 3096">
              <a:extLst>
                <a:ext uri="{FF2B5EF4-FFF2-40B4-BE49-F238E27FC236}">
                  <a16:creationId xmlns:a16="http://schemas.microsoft.com/office/drawing/2014/main" id="{3695CE4A-4A9E-C561-55F2-15E9B19743F2}"/>
                </a:ext>
              </a:extLst>
            </p:cNvPr>
            <p:cNvSpPr/>
            <p:nvPr/>
          </p:nvSpPr>
          <p:spPr>
            <a:xfrm>
              <a:off x="3950889" y="3989130"/>
              <a:ext cx="60333" cy="131710"/>
            </a:xfrm>
            <a:custGeom>
              <a:avLst/>
              <a:gdLst>
                <a:gd name="connsiteX0" fmla="*/ 5072 w 72764"/>
                <a:gd name="connsiteY0" fmla="*/ 1449 h 158848"/>
                <a:gd name="connsiteX1" fmla="*/ 16856 w 72764"/>
                <a:gd name="connsiteY1" fmla="*/ 2023 h 158848"/>
                <a:gd name="connsiteX2" fmla="*/ 52205 w 72764"/>
                <a:gd name="connsiteY2" fmla="*/ 48022 h 158848"/>
                <a:gd name="connsiteX3" fmla="*/ 70473 w 72764"/>
                <a:gd name="connsiteY3" fmla="*/ 155293 h 158848"/>
                <a:gd name="connsiteX4" fmla="*/ 43003 w 72764"/>
                <a:gd name="connsiteY4" fmla="*/ 139495 h 158848"/>
                <a:gd name="connsiteX5" fmla="*/ 18651 w 72764"/>
                <a:gd name="connsiteY5" fmla="*/ 60528 h 158848"/>
                <a:gd name="connsiteX6" fmla="*/ 5085 w 72764"/>
                <a:gd name="connsiteY6" fmla="*/ 1449 h 15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64" h="158848">
                  <a:moveTo>
                    <a:pt x="5072" y="1449"/>
                  </a:moveTo>
                  <a:cubicBezTo>
                    <a:pt x="8738" y="-708"/>
                    <a:pt x="13364" y="-408"/>
                    <a:pt x="16856" y="2023"/>
                  </a:cubicBezTo>
                  <a:cubicBezTo>
                    <a:pt x="24537" y="7385"/>
                    <a:pt x="41619" y="21637"/>
                    <a:pt x="52205" y="48022"/>
                  </a:cubicBezTo>
                  <a:cubicBezTo>
                    <a:pt x="66196" y="82898"/>
                    <a:pt x="77867" y="145916"/>
                    <a:pt x="70473" y="155293"/>
                  </a:cubicBezTo>
                  <a:cubicBezTo>
                    <a:pt x="63066" y="164670"/>
                    <a:pt x="48427" y="154146"/>
                    <a:pt x="43003" y="139495"/>
                  </a:cubicBezTo>
                  <a:cubicBezTo>
                    <a:pt x="37579" y="124856"/>
                    <a:pt x="23751" y="73845"/>
                    <a:pt x="18651" y="60528"/>
                  </a:cubicBezTo>
                  <a:cubicBezTo>
                    <a:pt x="14112" y="48683"/>
                    <a:pt x="-10439" y="10577"/>
                    <a:pt x="5085" y="1449"/>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98" name="Freeform: Shape 3097">
              <a:extLst>
                <a:ext uri="{FF2B5EF4-FFF2-40B4-BE49-F238E27FC236}">
                  <a16:creationId xmlns:a16="http://schemas.microsoft.com/office/drawing/2014/main" id="{40E91096-E9F4-AFC2-E696-3DFC57B722CF}"/>
                </a:ext>
              </a:extLst>
            </p:cNvPr>
            <p:cNvSpPr/>
            <p:nvPr/>
          </p:nvSpPr>
          <p:spPr>
            <a:xfrm>
              <a:off x="3948993" y="3988820"/>
              <a:ext cx="56917" cy="75097"/>
            </a:xfrm>
            <a:custGeom>
              <a:avLst/>
              <a:gdLst>
                <a:gd name="connsiteX0" fmla="*/ 15501 w 68644"/>
                <a:gd name="connsiteY0" fmla="*/ 364 h 90571"/>
                <a:gd name="connsiteX1" fmla="*/ 40178 w 68644"/>
                <a:gd name="connsiteY1" fmla="*/ 18631 h 90571"/>
                <a:gd name="connsiteX2" fmla="*/ 68645 w 68644"/>
                <a:gd name="connsiteY2" fmla="*/ 73083 h 90571"/>
                <a:gd name="connsiteX3" fmla="*/ 62722 w 68644"/>
                <a:gd name="connsiteY3" fmla="*/ 76375 h 90571"/>
                <a:gd name="connsiteX4" fmla="*/ 41001 w 68644"/>
                <a:gd name="connsiteY4" fmla="*/ 84605 h 90571"/>
                <a:gd name="connsiteX5" fmla="*/ 23731 w 68644"/>
                <a:gd name="connsiteY5" fmla="*/ 90029 h 90571"/>
                <a:gd name="connsiteX6" fmla="*/ 2671 w 68644"/>
                <a:gd name="connsiteY6" fmla="*/ 26362 h 90571"/>
                <a:gd name="connsiteX7" fmla="*/ 15501 w 68644"/>
                <a:gd name="connsiteY7" fmla="*/ 364 h 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44" h="90571">
                  <a:moveTo>
                    <a:pt x="15501" y="364"/>
                  </a:moveTo>
                  <a:cubicBezTo>
                    <a:pt x="15501" y="364"/>
                    <a:pt x="28008" y="2995"/>
                    <a:pt x="40178" y="18631"/>
                  </a:cubicBezTo>
                  <a:cubicBezTo>
                    <a:pt x="52348" y="34255"/>
                    <a:pt x="68645" y="73083"/>
                    <a:pt x="68645" y="73083"/>
                  </a:cubicBezTo>
                  <a:cubicBezTo>
                    <a:pt x="68645" y="73083"/>
                    <a:pt x="67984" y="75228"/>
                    <a:pt x="62722" y="76375"/>
                  </a:cubicBezTo>
                  <a:cubicBezTo>
                    <a:pt x="57460" y="77522"/>
                    <a:pt x="46275" y="79168"/>
                    <a:pt x="41001" y="84605"/>
                  </a:cubicBezTo>
                  <a:cubicBezTo>
                    <a:pt x="35739" y="90029"/>
                    <a:pt x="26686" y="91513"/>
                    <a:pt x="23731" y="90029"/>
                  </a:cubicBezTo>
                  <a:cubicBezTo>
                    <a:pt x="23731" y="90029"/>
                    <a:pt x="7771" y="39691"/>
                    <a:pt x="2671" y="26362"/>
                  </a:cubicBezTo>
                  <a:cubicBezTo>
                    <a:pt x="-2429" y="13032"/>
                    <a:pt x="-1282" y="-2591"/>
                    <a:pt x="15501" y="36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00" name="Graphic 525">
              <a:extLst>
                <a:ext uri="{FF2B5EF4-FFF2-40B4-BE49-F238E27FC236}">
                  <a16:creationId xmlns:a16="http://schemas.microsoft.com/office/drawing/2014/main" id="{7F93F315-B3AA-6274-CC3C-776B01FD1555}"/>
                </a:ext>
              </a:extLst>
            </p:cNvPr>
            <p:cNvGrpSpPr/>
            <p:nvPr/>
          </p:nvGrpSpPr>
          <p:grpSpPr>
            <a:xfrm>
              <a:off x="3878021" y="3982913"/>
              <a:ext cx="117744" cy="171743"/>
              <a:chOff x="6077448" y="4238935"/>
              <a:chExt cx="142003" cy="207130"/>
            </a:xfrm>
          </p:grpSpPr>
          <p:sp>
            <p:nvSpPr>
              <p:cNvPr id="3101" name="Freeform: Shape 3100">
                <a:extLst>
                  <a:ext uri="{FF2B5EF4-FFF2-40B4-BE49-F238E27FC236}">
                    <a16:creationId xmlns:a16="http://schemas.microsoft.com/office/drawing/2014/main" id="{B10C8D2F-FAB5-9497-03DF-6116FD761B49}"/>
                  </a:ext>
                </a:extLst>
              </p:cNvPr>
              <p:cNvSpPr/>
              <p:nvPr/>
            </p:nvSpPr>
            <p:spPr>
              <a:xfrm>
                <a:off x="6077448" y="4238935"/>
                <a:ext cx="142003" cy="207130"/>
              </a:xfrm>
              <a:custGeom>
                <a:avLst/>
                <a:gdLst>
                  <a:gd name="connsiteX0" fmla="*/ 48677 w 142003"/>
                  <a:gd name="connsiteY0" fmla="*/ 1490 h 207130"/>
                  <a:gd name="connsiteX1" fmla="*/ 98478 w 142003"/>
                  <a:gd name="connsiteY1" fmla="*/ 6940 h 207130"/>
                  <a:gd name="connsiteX2" fmla="*/ 113728 w 142003"/>
                  <a:gd name="connsiteY2" fmla="*/ 17476 h 207130"/>
                  <a:gd name="connsiteX3" fmla="*/ 135088 w 142003"/>
                  <a:gd name="connsiteY3" fmla="*/ 60943 h 207130"/>
                  <a:gd name="connsiteX4" fmla="*/ 141135 w 142003"/>
                  <a:gd name="connsiteY4" fmla="*/ 100520 h 207130"/>
                  <a:gd name="connsiteX5" fmla="*/ 132294 w 142003"/>
                  <a:gd name="connsiteY5" fmla="*/ 123800 h 207130"/>
                  <a:gd name="connsiteX6" fmla="*/ 127344 w 142003"/>
                  <a:gd name="connsiteY6" fmla="*/ 153127 h 207130"/>
                  <a:gd name="connsiteX7" fmla="*/ 123155 w 142003"/>
                  <a:gd name="connsiteY7" fmla="*/ 179898 h 207130"/>
                  <a:gd name="connsiteX8" fmla="*/ 83353 w 142003"/>
                  <a:gd name="connsiteY8" fmla="*/ 207131 h 207130"/>
                  <a:gd name="connsiteX9" fmla="*/ 29150 w 142003"/>
                  <a:gd name="connsiteY9" fmla="*/ 172005 h 207130"/>
                  <a:gd name="connsiteX10" fmla="*/ 16781 w 142003"/>
                  <a:gd name="connsiteY10" fmla="*/ 108438 h 207130"/>
                  <a:gd name="connsiteX11" fmla="*/ 85 w 142003"/>
                  <a:gd name="connsiteY11" fmla="*/ 48611 h 207130"/>
                  <a:gd name="connsiteX12" fmla="*/ 31744 w 142003"/>
                  <a:gd name="connsiteY12" fmla="*/ 6017 h 207130"/>
                  <a:gd name="connsiteX13" fmla="*/ 48677 w 142003"/>
                  <a:gd name="connsiteY13" fmla="*/ 1490 h 20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003" h="207130">
                    <a:moveTo>
                      <a:pt x="48677" y="1490"/>
                    </a:moveTo>
                    <a:cubicBezTo>
                      <a:pt x="65435" y="-1664"/>
                      <a:pt x="82805" y="206"/>
                      <a:pt x="98478" y="6940"/>
                    </a:cubicBezTo>
                    <a:cubicBezTo>
                      <a:pt x="104688" y="9608"/>
                      <a:pt x="110237" y="13324"/>
                      <a:pt x="113728" y="17476"/>
                    </a:cubicBezTo>
                    <a:cubicBezTo>
                      <a:pt x="123504" y="29109"/>
                      <a:pt x="127407" y="44409"/>
                      <a:pt x="135088" y="60943"/>
                    </a:cubicBezTo>
                    <a:cubicBezTo>
                      <a:pt x="142769" y="77465"/>
                      <a:pt x="142769" y="89335"/>
                      <a:pt x="141135" y="100520"/>
                    </a:cubicBezTo>
                    <a:cubicBezTo>
                      <a:pt x="139502" y="111692"/>
                      <a:pt x="134152" y="118214"/>
                      <a:pt x="132294" y="123800"/>
                    </a:cubicBezTo>
                    <a:cubicBezTo>
                      <a:pt x="130437" y="129386"/>
                      <a:pt x="128292" y="145421"/>
                      <a:pt x="127344" y="153127"/>
                    </a:cubicBezTo>
                    <a:cubicBezTo>
                      <a:pt x="125661" y="166856"/>
                      <a:pt x="124888" y="175098"/>
                      <a:pt x="123155" y="179898"/>
                    </a:cubicBezTo>
                    <a:cubicBezTo>
                      <a:pt x="120125" y="188277"/>
                      <a:pt x="114775" y="207131"/>
                      <a:pt x="83353" y="207131"/>
                    </a:cubicBezTo>
                    <a:cubicBezTo>
                      <a:pt x="41682" y="207131"/>
                      <a:pt x="33115" y="182255"/>
                      <a:pt x="29150" y="172005"/>
                    </a:cubicBezTo>
                    <a:cubicBezTo>
                      <a:pt x="23514" y="157429"/>
                      <a:pt x="21893" y="125421"/>
                      <a:pt x="16781" y="108438"/>
                    </a:cubicBezTo>
                    <a:cubicBezTo>
                      <a:pt x="11656" y="91442"/>
                      <a:pt x="783" y="61878"/>
                      <a:pt x="85" y="48611"/>
                    </a:cubicBezTo>
                    <a:cubicBezTo>
                      <a:pt x="-614" y="35344"/>
                      <a:pt x="2417" y="16266"/>
                      <a:pt x="31744" y="6017"/>
                    </a:cubicBezTo>
                    <a:cubicBezTo>
                      <a:pt x="37741" y="3922"/>
                      <a:pt x="43477" y="2476"/>
                      <a:pt x="48677" y="149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02" name="Freeform: Shape 3101">
                <a:extLst>
                  <a:ext uri="{FF2B5EF4-FFF2-40B4-BE49-F238E27FC236}">
                    <a16:creationId xmlns:a16="http://schemas.microsoft.com/office/drawing/2014/main" id="{1A5060FB-9F25-FB51-C39F-0417E6AF2518}"/>
                  </a:ext>
                </a:extLst>
              </p:cNvPr>
              <p:cNvSpPr/>
              <p:nvPr/>
            </p:nvSpPr>
            <p:spPr>
              <a:xfrm>
                <a:off x="6085438" y="4267147"/>
                <a:ext cx="133381" cy="163407"/>
              </a:xfrm>
              <a:custGeom>
                <a:avLst/>
                <a:gdLst>
                  <a:gd name="connsiteX0" fmla="*/ 133157 w 133381"/>
                  <a:gd name="connsiteY0" fmla="*/ 72296 h 163407"/>
                  <a:gd name="connsiteX1" fmla="*/ 133382 w 133381"/>
                  <a:gd name="connsiteY1" fmla="*/ 70663 h 163407"/>
                  <a:gd name="connsiteX2" fmla="*/ 120751 w 133381"/>
                  <a:gd name="connsiteY2" fmla="*/ 42108 h 163407"/>
                  <a:gd name="connsiteX3" fmla="*/ 119429 w 133381"/>
                  <a:gd name="connsiteY3" fmla="*/ 22208 h 163407"/>
                  <a:gd name="connsiteX4" fmla="*/ 94092 w 133381"/>
                  <a:gd name="connsiteY4" fmla="*/ 14477 h 163407"/>
                  <a:gd name="connsiteX5" fmla="*/ 80438 w 133381"/>
                  <a:gd name="connsiteY5" fmla="*/ 28629 h 163407"/>
                  <a:gd name="connsiteX6" fmla="*/ 66448 w 133381"/>
                  <a:gd name="connsiteY6" fmla="*/ 53143 h 163407"/>
                  <a:gd name="connsiteX7" fmla="*/ 44727 w 133381"/>
                  <a:gd name="connsiteY7" fmla="*/ 73867 h 163407"/>
                  <a:gd name="connsiteX8" fmla="*/ 40948 w 133381"/>
                  <a:gd name="connsiteY8" fmla="*/ 33068 h 163407"/>
                  <a:gd name="connsiteX9" fmla="*/ 30749 w 133381"/>
                  <a:gd name="connsiteY9" fmla="*/ 0 h 163407"/>
                  <a:gd name="connsiteX10" fmla="*/ 0 w 133381"/>
                  <a:gd name="connsiteY10" fmla="*/ 52807 h 163407"/>
                  <a:gd name="connsiteX11" fmla="*/ 8791 w 133381"/>
                  <a:gd name="connsiteY11" fmla="*/ 80214 h 163407"/>
                  <a:gd name="connsiteX12" fmla="*/ 21160 w 133381"/>
                  <a:gd name="connsiteY12" fmla="*/ 143781 h 163407"/>
                  <a:gd name="connsiteX13" fmla="*/ 32370 w 133381"/>
                  <a:gd name="connsiteY13" fmla="*/ 163408 h 163407"/>
                  <a:gd name="connsiteX14" fmla="*/ 56585 w 133381"/>
                  <a:gd name="connsiteY14" fmla="*/ 135078 h 163407"/>
                  <a:gd name="connsiteX15" fmla="*/ 85874 w 133381"/>
                  <a:gd name="connsiteY15" fmla="*/ 80787 h 163407"/>
                  <a:gd name="connsiteX16" fmla="*/ 99042 w 133381"/>
                  <a:gd name="connsiteY16" fmla="*/ 62857 h 163407"/>
                  <a:gd name="connsiteX17" fmla="*/ 106935 w 133381"/>
                  <a:gd name="connsiteY17" fmla="*/ 101349 h 163407"/>
                  <a:gd name="connsiteX18" fmla="*/ 119242 w 133381"/>
                  <a:gd name="connsiteY18" fmla="*/ 125900 h 163407"/>
                  <a:gd name="connsiteX19" fmla="*/ 119367 w 133381"/>
                  <a:gd name="connsiteY19" fmla="*/ 124903 h 163407"/>
                  <a:gd name="connsiteX20" fmla="*/ 124317 w 133381"/>
                  <a:gd name="connsiteY20" fmla="*/ 95576 h 163407"/>
                  <a:gd name="connsiteX21" fmla="*/ 133157 w 133381"/>
                  <a:gd name="connsiteY21" fmla="*/ 72296 h 16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81" h="163407">
                    <a:moveTo>
                      <a:pt x="133157" y="72296"/>
                    </a:moveTo>
                    <a:cubicBezTo>
                      <a:pt x="133232" y="71760"/>
                      <a:pt x="133307" y="71211"/>
                      <a:pt x="133382" y="70663"/>
                    </a:cubicBezTo>
                    <a:lnTo>
                      <a:pt x="120751" y="42108"/>
                    </a:lnTo>
                    <a:cubicBezTo>
                      <a:pt x="123544" y="31909"/>
                      <a:pt x="121411" y="25986"/>
                      <a:pt x="119429" y="22208"/>
                    </a:cubicBezTo>
                    <a:cubicBezTo>
                      <a:pt x="117459" y="18429"/>
                      <a:pt x="98369" y="12831"/>
                      <a:pt x="94092" y="14477"/>
                    </a:cubicBezTo>
                    <a:cubicBezTo>
                      <a:pt x="89815" y="16123"/>
                      <a:pt x="83069" y="21222"/>
                      <a:pt x="80438" y="28629"/>
                    </a:cubicBezTo>
                    <a:cubicBezTo>
                      <a:pt x="77807" y="36036"/>
                      <a:pt x="69914" y="47221"/>
                      <a:pt x="66448" y="53143"/>
                    </a:cubicBezTo>
                    <a:cubicBezTo>
                      <a:pt x="62994" y="59066"/>
                      <a:pt x="44727" y="73867"/>
                      <a:pt x="44727" y="73867"/>
                    </a:cubicBezTo>
                    <a:cubicBezTo>
                      <a:pt x="44727" y="73867"/>
                      <a:pt x="44066" y="58069"/>
                      <a:pt x="40948" y="33068"/>
                    </a:cubicBezTo>
                    <a:cubicBezTo>
                      <a:pt x="37819" y="8055"/>
                      <a:pt x="30749" y="0"/>
                      <a:pt x="30749" y="0"/>
                    </a:cubicBezTo>
                    <a:lnTo>
                      <a:pt x="0" y="52807"/>
                    </a:lnTo>
                    <a:cubicBezTo>
                      <a:pt x="3142" y="62732"/>
                      <a:pt x="6521" y="72695"/>
                      <a:pt x="8791" y="80214"/>
                    </a:cubicBezTo>
                    <a:cubicBezTo>
                      <a:pt x="13915" y="97209"/>
                      <a:pt x="15536" y="129217"/>
                      <a:pt x="21160" y="143781"/>
                    </a:cubicBezTo>
                    <a:cubicBezTo>
                      <a:pt x="22980" y="148507"/>
                      <a:pt x="25786" y="156338"/>
                      <a:pt x="32370" y="163408"/>
                    </a:cubicBezTo>
                    <a:cubicBezTo>
                      <a:pt x="44689" y="155627"/>
                      <a:pt x="53380" y="142023"/>
                      <a:pt x="56585" y="135078"/>
                    </a:cubicBezTo>
                    <a:cubicBezTo>
                      <a:pt x="62345" y="122571"/>
                      <a:pt x="81598" y="90326"/>
                      <a:pt x="85874" y="80787"/>
                    </a:cubicBezTo>
                    <a:cubicBezTo>
                      <a:pt x="90152" y="71249"/>
                      <a:pt x="99042" y="62857"/>
                      <a:pt x="99042" y="62857"/>
                    </a:cubicBezTo>
                    <a:cubicBezTo>
                      <a:pt x="99042" y="62857"/>
                      <a:pt x="100526" y="77171"/>
                      <a:pt x="106935" y="101349"/>
                    </a:cubicBezTo>
                    <a:cubicBezTo>
                      <a:pt x="110339" y="114180"/>
                      <a:pt x="115314" y="121686"/>
                      <a:pt x="119242" y="125900"/>
                    </a:cubicBezTo>
                    <a:cubicBezTo>
                      <a:pt x="119279" y="125576"/>
                      <a:pt x="119317" y="125240"/>
                      <a:pt x="119367" y="124903"/>
                    </a:cubicBezTo>
                    <a:cubicBezTo>
                      <a:pt x="120314" y="117197"/>
                      <a:pt x="122446" y="101162"/>
                      <a:pt x="124317" y="95576"/>
                    </a:cubicBezTo>
                    <a:cubicBezTo>
                      <a:pt x="126175" y="89990"/>
                      <a:pt x="131536" y="83468"/>
                      <a:pt x="133157" y="72296"/>
                    </a:cubicBez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03" name="Graphic 525">
              <a:extLst>
                <a:ext uri="{FF2B5EF4-FFF2-40B4-BE49-F238E27FC236}">
                  <a16:creationId xmlns:a16="http://schemas.microsoft.com/office/drawing/2014/main" id="{5A9CD4BB-B3B8-5D5C-0452-CCD811CA1DF8}"/>
                </a:ext>
              </a:extLst>
            </p:cNvPr>
            <p:cNvGrpSpPr/>
            <p:nvPr/>
          </p:nvGrpSpPr>
          <p:grpSpPr>
            <a:xfrm>
              <a:off x="3867618" y="3984703"/>
              <a:ext cx="144868" cy="478082"/>
              <a:chOff x="6064902" y="4241094"/>
              <a:chExt cx="174716" cy="576588"/>
            </a:xfrm>
          </p:grpSpPr>
          <p:sp>
            <p:nvSpPr>
              <p:cNvPr id="3104" name="Freeform: Shape 3103">
                <a:extLst>
                  <a:ext uri="{FF2B5EF4-FFF2-40B4-BE49-F238E27FC236}">
                    <a16:creationId xmlns:a16="http://schemas.microsoft.com/office/drawing/2014/main" id="{2C34E31D-E9D3-3903-95E2-758C081B5DCB}"/>
                  </a:ext>
                </a:extLst>
              </p:cNvPr>
              <p:cNvSpPr/>
              <p:nvPr/>
            </p:nvSpPr>
            <p:spPr>
              <a:xfrm>
                <a:off x="6064902" y="4241094"/>
                <a:ext cx="174716" cy="576588"/>
              </a:xfrm>
              <a:custGeom>
                <a:avLst/>
                <a:gdLst>
                  <a:gd name="connsiteX0" fmla="*/ 137746 w 174716"/>
                  <a:gd name="connsiteY0" fmla="*/ 60966 h 576588"/>
                  <a:gd name="connsiteX1" fmla="*/ 84528 w 174716"/>
                  <a:gd name="connsiteY1" fmla="*/ 71041 h 576588"/>
                  <a:gd name="connsiteX2" fmla="*/ 57632 w 174716"/>
                  <a:gd name="connsiteY2" fmla="*/ 291 h 576588"/>
                  <a:gd name="connsiteX3" fmla="*/ 56946 w 174716"/>
                  <a:gd name="connsiteY3" fmla="*/ 17 h 576588"/>
                  <a:gd name="connsiteX4" fmla="*/ 49440 w 174716"/>
                  <a:gd name="connsiteY4" fmla="*/ 1838 h 576588"/>
                  <a:gd name="connsiteX5" fmla="*/ 49091 w 174716"/>
                  <a:gd name="connsiteY5" fmla="*/ 2898 h 576588"/>
                  <a:gd name="connsiteX6" fmla="*/ 65837 w 174716"/>
                  <a:gd name="connsiteY6" fmla="*/ 83036 h 576588"/>
                  <a:gd name="connsiteX7" fmla="*/ 18704 w 174716"/>
                  <a:gd name="connsiteY7" fmla="*/ 89096 h 576588"/>
                  <a:gd name="connsiteX8" fmla="*/ 29851 w 174716"/>
                  <a:gd name="connsiteY8" fmla="*/ 152838 h 576588"/>
                  <a:gd name="connsiteX9" fmla="*/ 16771 w 174716"/>
                  <a:gd name="connsiteY9" fmla="*/ 197016 h 576588"/>
                  <a:gd name="connsiteX10" fmla="*/ 1721 w 174716"/>
                  <a:gd name="connsiteY10" fmla="*/ 260933 h 576588"/>
                  <a:gd name="connsiteX11" fmla="*/ 4190 w 174716"/>
                  <a:gd name="connsiteY11" fmla="*/ 408018 h 576588"/>
                  <a:gd name="connsiteX12" fmla="*/ 0 w 174716"/>
                  <a:gd name="connsiteY12" fmla="*/ 562747 h 576588"/>
                  <a:gd name="connsiteX13" fmla="*/ 55275 w 174716"/>
                  <a:gd name="connsiteY13" fmla="*/ 575578 h 576588"/>
                  <a:gd name="connsiteX14" fmla="*/ 103643 w 174716"/>
                  <a:gd name="connsiteY14" fmla="*/ 568670 h 576588"/>
                  <a:gd name="connsiteX15" fmla="*/ 174717 w 174716"/>
                  <a:gd name="connsiteY15" fmla="*/ 563732 h 576588"/>
                  <a:gd name="connsiteX16" fmla="*/ 168295 w 174716"/>
                  <a:gd name="connsiteY16" fmla="*/ 396908 h 576588"/>
                  <a:gd name="connsiteX17" fmla="*/ 147073 w 174716"/>
                  <a:gd name="connsiteY17" fmla="*/ 221206 h 576588"/>
                  <a:gd name="connsiteX18" fmla="*/ 144604 w 174716"/>
                  <a:gd name="connsiteY18" fmla="*/ 127426 h 576588"/>
                  <a:gd name="connsiteX19" fmla="*/ 154479 w 174716"/>
                  <a:gd name="connsiteY19" fmla="*/ 73136 h 576588"/>
                  <a:gd name="connsiteX20" fmla="*/ 106636 w 174716"/>
                  <a:gd name="connsiteY20" fmla="*/ 3047 h 576588"/>
                  <a:gd name="connsiteX21" fmla="*/ 137771 w 174716"/>
                  <a:gd name="connsiteY21" fmla="*/ 60991 h 57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4716" h="576588">
                    <a:moveTo>
                      <a:pt x="137746" y="60966"/>
                    </a:moveTo>
                    <a:cubicBezTo>
                      <a:pt x="118568" y="61926"/>
                      <a:pt x="84528" y="71041"/>
                      <a:pt x="84528" y="71041"/>
                    </a:cubicBezTo>
                    <a:cubicBezTo>
                      <a:pt x="75450" y="29220"/>
                      <a:pt x="62096" y="6900"/>
                      <a:pt x="57632" y="291"/>
                    </a:cubicBezTo>
                    <a:cubicBezTo>
                      <a:pt x="57482" y="67"/>
                      <a:pt x="57208" y="-45"/>
                      <a:pt x="56946" y="17"/>
                    </a:cubicBezTo>
                    <a:cubicBezTo>
                      <a:pt x="55001" y="428"/>
                      <a:pt x="52383" y="1040"/>
                      <a:pt x="49440" y="1838"/>
                    </a:cubicBezTo>
                    <a:cubicBezTo>
                      <a:pt x="48978" y="1962"/>
                      <a:pt x="48791" y="2523"/>
                      <a:pt x="49091" y="2898"/>
                    </a:cubicBezTo>
                    <a:cubicBezTo>
                      <a:pt x="68405" y="26988"/>
                      <a:pt x="75974" y="79345"/>
                      <a:pt x="65837" y="83036"/>
                    </a:cubicBezTo>
                    <a:cubicBezTo>
                      <a:pt x="56971" y="86266"/>
                      <a:pt x="27781" y="88473"/>
                      <a:pt x="18704" y="89096"/>
                    </a:cubicBezTo>
                    <a:cubicBezTo>
                      <a:pt x="23891" y="113585"/>
                      <a:pt x="29477" y="139372"/>
                      <a:pt x="29851" y="152838"/>
                    </a:cubicBezTo>
                    <a:cubicBezTo>
                      <a:pt x="30350" y="171105"/>
                      <a:pt x="24913" y="181717"/>
                      <a:pt x="16771" y="197016"/>
                    </a:cubicBezTo>
                    <a:cubicBezTo>
                      <a:pt x="8629" y="212316"/>
                      <a:pt x="2456" y="231568"/>
                      <a:pt x="1721" y="260933"/>
                    </a:cubicBezTo>
                    <a:cubicBezTo>
                      <a:pt x="985" y="290298"/>
                      <a:pt x="3454" y="387033"/>
                      <a:pt x="4190" y="408018"/>
                    </a:cubicBezTo>
                    <a:cubicBezTo>
                      <a:pt x="4925" y="428991"/>
                      <a:pt x="2456" y="542023"/>
                      <a:pt x="0" y="562747"/>
                    </a:cubicBezTo>
                    <a:cubicBezTo>
                      <a:pt x="0" y="562747"/>
                      <a:pt x="21721" y="581014"/>
                      <a:pt x="55275" y="575578"/>
                    </a:cubicBezTo>
                    <a:cubicBezTo>
                      <a:pt x="88842" y="570154"/>
                      <a:pt x="84391" y="564717"/>
                      <a:pt x="103643" y="568670"/>
                    </a:cubicBezTo>
                    <a:cubicBezTo>
                      <a:pt x="122895" y="572623"/>
                      <a:pt x="152011" y="581014"/>
                      <a:pt x="174717" y="563732"/>
                    </a:cubicBezTo>
                    <a:cubicBezTo>
                      <a:pt x="174717" y="563732"/>
                      <a:pt x="169779" y="438867"/>
                      <a:pt x="168295" y="396908"/>
                    </a:cubicBezTo>
                    <a:cubicBezTo>
                      <a:pt x="166812" y="354950"/>
                      <a:pt x="155951" y="274013"/>
                      <a:pt x="147073" y="221206"/>
                    </a:cubicBezTo>
                    <a:cubicBezTo>
                      <a:pt x="138195" y="168400"/>
                      <a:pt x="139180" y="143711"/>
                      <a:pt x="144604" y="127426"/>
                    </a:cubicBezTo>
                    <a:cubicBezTo>
                      <a:pt x="150028" y="111141"/>
                      <a:pt x="160889" y="96827"/>
                      <a:pt x="154479" y="73136"/>
                    </a:cubicBezTo>
                    <a:cubicBezTo>
                      <a:pt x="148058" y="49444"/>
                      <a:pt x="131237" y="6750"/>
                      <a:pt x="106636" y="3047"/>
                    </a:cubicBezTo>
                    <a:cubicBezTo>
                      <a:pt x="124404" y="18945"/>
                      <a:pt x="137771" y="60991"/>
                      <a:pt x="137771" y="60991"/>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05" name="Graphic 525">
                <a:extLst>
                  <a:ext uri="{FF2B5EF4-FFF2-40B4-BE49-F238E27FC236}">
                    <a16:creationId xmlns:a16="http://schemas.microsoft.com/office/drawing/2014/main" id="{B3D85E6D-3175-726A-5F32-1B30D8AD3EA3}"/>
                  </a:ext>
                </a:extLst>
              </p:cNvPr>
              <p:cNvGrpSpPr/>
              <p:nvPr/>
            </p:nvGrpSpPr>
            <p:grpSpPr>
              <a:xfrm>
                <a:off x="6081984" y="4284454"/>
                <a:ext cx="137920" cy="533128"/>
                <a:chOff x="6081984" y="4284454"/>
                <a:chExt cx="137920" cy="533128"/>
              </a:xfrm>
              <a:solidFill>
                <a:srgbClr val="CC6154"/>
              </a:solidFill>
            </p:grpSpPr>
            <p:grpSp>
              <p:nvGrpSpPr>
                <p:cNvPr id="3106" name="Graphic 525">
                  <a:extLst>
                    <a:ext uri="{FF2B5EF4-FFF2-40B4-BE49-F238E27FC236}">
                      <a16:creationId xmlns:a16="http://schemas.microsoft.com/office/drawing/2014/main" id="{16E12094-1439-35E3-4781-5112346DA8C1}"/>
                    </a:ext>
                  </a:extLst>
                </p:cNvPr>
                <p:cNvGrpSpPr/>
                <p:nvPr/>
              </p:nvGrpSpPr>
              <p:grpSpPr>
                <a:xfrm>
                  <a:off x="6081984" y="4520008"/>
                  <a:ext cx="133356" cy="297575"/>
                  <a:chOff x="6081984" y="4520008"/>
                  <a:chExt cx="133356" cy="297575"/>
                </a:xfrm>
                <a:solidFill>
                  <a:srgbClr val="CC6154"/>
                </a:solidFill>
              </p:grpSpPr>
              <p:sp>
                <p:nvSpPr>
                  <p:cNvPr id="3107" name="Freeform: Shape 3106">
                    <a:extLst>
                      <a:ext uri="{FF2B5EF4-FFF2-40B4-BE49-F238E27FC236}">
                        <a16:creationId xmlns:a16="http://schemas.microsoft.com/office/drawing/2014/main" id="{FD8C4536-70D7-EF99-1535-C79161622E54}"/>
                      </a:ext>
                    </a:extLst>
                  </p:cNvPr>
                  <p:cNvSpPr/>
                  <p:nvPr/>
                </p:nvSpPr>
                <p:spPr>
                  <a:xfrm>
                    <a:off x="6081984" y="4520008"/>
                    <a:ext cx="23071" cy="297575"/>
                  </a:xfrm>
                  <a:custGeom>
                    <a:avLst/>
                    <a:gdLst>
                      <a:gd name="connsiteX0" fmla="*/ 14464 w 23071"/>
                      <a:gd name="connsiteY0" fmla="*/ 12 h 297575"/>
                      <a:gd name="connsiteX1" fmla="*/ 8043 w 23071"/>
                      <a:gd name="connsiteY1" fmla="*/ 113032 h 297575"/>
                      <a:gd name="connsiteX2" fmla="*/ 7544 w 23071"/>
                      <a:gd name="connsiteY2" fmla="*/ 228035 h 297575"/>
                      <a:gd name="connsiteX3" fmla="*/ 0 w 23071"/>
                      <a:gd name="connsiteY3" fmla="*/ 293061 h 297575"/>
                      <a:gd name="connsiteX4" fmla="*/ 22582 w 23071"/>
                      <a:gd name="connsiteY4" fmla="*/ 297575 h 297575"/>
                      <a:gd name="connsiteX5" fmla="*/ 16422 w 23071"/>
                      <a:gd name="connsiteY5" fmla="*/ 105626 h 297575"/>
                      <a:gd name="connsiteX6" fmla="*/ 14452 w 23071"/>
                      <a:gd name="connsiteY6" fmla="*/ 0 h 29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71" h="297575">
                        <a:moveTo>
                          <a:pt x="14464" y="12"/>
                        </a:moveTo>
                        <a:cubicBezTo>
                          <a:pt x="10511" y="12"/>
                          <a:pt x="7058" y="67632"/>
                          <a:pt x="8043" y="113032"/>
                        </a:cubicBezTo>
                        <a:cubicBezTo>
                          <a:pt x="9028" y="158445"/>
                          <a:pt x="9526" y="197922"/>
                          <a:pt x="7544" y="228035"/>
                        </a:cubicBezTo>
                        <a:cubicBezTo>
                          <a:pt x="6010" y="251377"/>
                          <a:pt x="1808" y="280954"/>
                          <a:pt x="0" y="293061"/>
                        </a:cubicBezTo>
                        <a:cubicBezTo>
                          <a:pt x="6135" y="295331"/>
                          <a:pt x="13753" y="297213"/>
                          <a:pt x="22582" y="297575"/>
                        </a:cubicBezTo>
                        <a:cubicBezTo>
                          <a:pt x="24901" y="256901"/>
                          <a:pt x="18342" y="147784"/>
                          <a:pt x="16422" y="105626"/>
                        </a:cubicBezTo>
                        <a:cubicBezTo>
                          <a:pt x="14452" y="62196"/>
                          <a:pt x="18392" y="0"/>
                          <a:pt x="14452" y="0"/>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08" name="Freeform: Shape 3107">
                    <a:extLst>
                      <a:ext uri="{FF2B5EF4-FFF2-40B4-BE49-F238E27FC236}">
                        <a16:creationId xmlns:a16="http://schemas.microsoft.com/office/drawing/2014/main" id="{3C01D8AB-33FB-2B73-48CE-F578E3E88678}"/>
                      </a:ext>
                    </a:extLst>
                  </p:cNvPr>
                  <p:cNvSpPr/>
                  <p:nvPr/>
                </p:nvSpPr>
                <p:spPr>
                  <a:xfrm>
                    <a:off x="6136287" y="4566916"/>
                    <a:ext cx="32693" cy="246551"/>
                  </a:xfrm>
                  <a:custGeom>
                    <a:avLst/>
                    <a:gdLst>
                      <a:gd name="connsiteX0" fmla="*/ 31734 w 32693"/>
                      <a:gd name="connsiteY0" fmla="*/ 208770 h 246551"/>
                      <a:gd name="connsiteX1" fmla="*/ 27781 w 32693"/>
                      <a:gd name="connsiteY1" fmla="*/ 84889 h 246551"/>
                      <a:gd name="connsiteX2" fmla="*/ 28766 w 32693"/>
                      <a:gd name="connsiteY2" fmla="*/ 0 h 246551"/>
                      <a:gd name="connsiteX3" fmla="*/ 20873 w 32693"/>
                      <a:gd name="connsiteY3" fmla="*/ 65151 h 246551"/>
                      <a:gd name="connsiteX4" fmla="*/ 4090 w 32693"/>
                      <a:gd name="connsiteY4" fmla="*/ 187560 h 246551"/>
                      <a:gd name="connsiteX5" fmla="*/ 0 w 32693"/>
                      <a:gd name="connsiteY5" fmla="*/ 246551 h 246551"/>
                      <a:gd name="connsiteX6" fmla="*/ 32232 w 32693"/>
                      <a:gd name="connsiteY6" fmla="*/ 242836 h 246551"/>
                      <a:gd name="connsiteX7" fmla="*/ 32694 w 32693"/>
                      <a:gd name="connsiteY7" fmla="*/ 242935 h 246551"/>
                      <a:gd name="connsiteX8" fmla="*/ 31734 w 32693"/>
                      <a:gd name="connsiteY8" fmla="*/ 208782 h 24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93" h="246551">
                        <a:moveTo>
                          <a:pt x="31734" y="208770"/>
                        </a:moveTo>
                        <a:cubicBezTo>
                          <a:pt x="31235" y="174717"/>
                          <a:pt x="26796" y="123880"/>
                          <a:pt x="27781" y="84889"/>
                        </a:cubicBezTo>
                        <a:cubicBezTo>
                          <a:pt x="28766" y="45898"/>
                          <a:pt x="31734" y="0"/>
                          <a:pt x="28766" y="0"/>
                        </a:cubicBezTo>
                        <a:cubicBezTo>
                          <a:pt x="25798" y="0"/>
                          <a:pt x="24327" y="41958"/>
                          <a:pt x="20873" y="65151"/>
                        </a:cubicBezTo>
                        <a:cubicBezTo>
                          <a:pt x="17419" y="88343"/>
                          <a:pt x="7057" y="148070"/>
                          <a:pt x="4090" y="187560"/>
                        </a:cubicBezTo>
                        <a:cubicBezTo>
                          <a:pt x="1958" y="216002"/>
                          <a:pt x="586" y="237025"/>
                          <a:pt x="0" y="246551"/>
                        </a:cubicBezTo>
                        <a:cubicBezTo>
                          <a:pt x="16596" y="242511"/>
                          <a:pt x="16846" y="239693"/>
                          <a:pt x="32232" y="242836"/>
                        </a:cubicBezTo>
                        <a:cubicBezTo>
                          <a:pt x="32382" y="242873"/>
                          <a:pt x="32544" y="242898"/>
                          <a:pt x="32694" y="242935"/>
                        </a:cubicBezTo>
                        <a:cubicBezTo>
                          <a:pt x="32320" y="234494"/>
                          <a:pt x="31946" y="223072"/>
                          <a:pt x="31734" y="20878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09" name="Freeform: Shape 3108">
                    <a:extLst>
                      <a:ext uri="{FF2B5EF4-FFF2-40B4-BE49-F238E27FC236}">
                        <a16:creationId xmlns:a16="http://schemas.microsoft.com/office/drawing/2014/main" id="{5185D02C-0FB9-DB2F-26F4-3F34A65255C4}"/>
                      </a:ext>
                    </a:extLst>
                  </p:cNvPr>
                  <p:cNvSpPr/>
                  <p:nvPr/>
                </p:nvSpPr>
                <p:spPr>
                  <a:xfrm>
                    <a:off x="6199729" y="4545691"/>
                    <a:ext cx="15612" cy="269598"/>
                  </a:xfrm>
                  <a:custGeom>
                    <a:avLst/>
                    <a:gdLst>
                      <a:gd name="connsiteX0" fmla="*/ 15612 w 15612"/>
                      <a:gd name="connsiteY0" fmla="*/ 268948 h 269598"/>
                      <a:gd name="connsiteX1" fmla="*/ 7769 w 15612"/>
                      <a:gd name="connsiteY1" fmla="*/ 105129 h 269598"/>
                      <a:gd name="connsiteX2" fmla="*/ 2345 w 15612"/>
                      <a:gd name="connsiteY2" fmla="*/ 3 h 269598"/>
                      <a:gd name="connsiteX3" fmla="*/ 375 w 15612"/>
                      <a:gd name="connsiteY3" fmla="*/ 114020 h 269598"/>
                      <a:gd name="connsiteX4" fmla="*/ 3829 w 15612"/>
                      <a:gd name="connsiteY4" fmla="*/ 209271 h 269598"/>
                      <a:gd name="connsiteX5" fmla="*/ 3442 w 15612"/>
                      <a:gd name="connsiteY5" fmla="*/ 269559 h 269598"/>
                      <a:gd name="connsiteX6" fmla="*/ 15612 w 15612"/>
                      <a:gd name="connsiteY6" fmla="*/ 268948 h 26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2" h="269598">
                        <a:moveTo>
                          <a:pt x="15612" y="268948"/>
                        </a:moveTo>
                        <a:cubicBezTo>
                          <a:pt x="14989" y="223648"/>
                          <a:pt x="9627" y="134856"/>
                          <a:pt x="7769" y="105129"/>
                        </a:cubicBezTo>
                        <a:cubicBezTo>
                          <a:pt x="5799" y="73545"/>
                          <a:pt x="5300" y="-496"/>
                          <a:pt x="2345" y="3"/>
                        </a:cubicBezTo>
                        <a:cubicBezTo>
                          <a:pt x="-610" y="501"/>
                          <a:pt x="-124" y="89830"/>
                          <a:pt x="375" y="114020"/>
                        </a:cubicBezTo>
                        <a:cubicBezTo>
                          <a:pt x="874" y="138210"/>
                          <a:pt x="3330" y="175717"/>
                          <a:pt x="3829" y="209271"/>
                        </a:cubicBezTo>
                        <a:cubicBezTo>
                          <a:pt x="4216" y="235706"/>
                          <a:pt x="3692" y="260307"/>
                          <a:pt x="3442" y="269559"/>
                        </a:cubicBezTo>
                        <a:cubicBezTo>
                          <a:pt x="7482" y="269684"/>
                          <a:pt x="11560" y="269522"/>
                          <a:pt x="15612" y="268948"/>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110" name="Freeform: Shape 3109">
                  <a:extLst>
                    <a:ext uri="{FF2B5EF4-FFF2-40B4-BE49-F238E27FC236}">
                      <a16:creationId xmlns:a16="http://schemas.microsoft.com/office/drawing/2014/main" id="{7873C2FB-FCA5-A9A4-1BAC-F1CBDC2D6509}"/>
                    </a:ext>
                  </a:extLst>
                </p:cNvPr>
                <p:cNvSpPr/>
                <p:nvPr/>
              </p:nvSpPr>
              <p:spPr>
                <a:xfrm>
                  <a:off x="6083593" y="4284454"/>
                  <a:ext cx="136312" cy="151934"/>
                </a:xfrm>
                <a:custGeom>
                  <a:avLst/>
                  <a:gdLst>
                    <a:gd name="connsiteX0" fmla="*/ 125888 w 136312"/>
                    <a:gd name="connsiteY0" fmla="*/ 84042 h 151934"/>
                    <a:gd name="connsiteX1" fmla="*/ 136312 w 136312"/>
                    <a:gd name="connsiteY1" fmla="*/ 55812 h 151934"/>
                    <a:gd name="connsiteX2" fmla="*/ 122608 w 136312"/>
                    <a:gd name="connsiteY2" fmla="*/ 24813 h 151934"/>
                    <a:gd name="connsiteX3" fmla="*/ 121287 w 136312"/>
                    <a:gd name="connsiteY3" fmla="*/ 4913 h 151934"/>
                    <a:gd name="connsiteX4" fmla="*/ 112521 w 136312"/>
                    <a:gd name="connsiteY4" fmla="*/ 0 h 151934"/>
                    <a:gd name="connsiteX5" fmla="*/ 119067 w 136312"/>
                    <a:gd name="connsiteY5" fmla="*/ 17619 h 151934"/>
                    <a:gd name="connsiteX6" fmla="*/ 74827 w 136312"/>
                    <a:gd name="connsiteY6" fmla="*/ 25424 h 151934"/>
                    <a:gd name="connsiteX7" fmla="*/ 68318 w 136312"/>
                    <a:gd name="connsiteY7" fmla="*/ 35849 h 151934"/>
                    <a:gd name="connsiteX8" fmla="*/ 46597 w 136312"/>
                    <a:gd name="connsiteY8" fmla="*/ 56572 h 151934"/>
                    <a:gd name="connsiteX9" fmla="*/ 45437 w 136312"/>
                    <a:gd name="connsiteY9" fmla="*/ 40213 h 151934"/>
                    <a:gd name="connsiteX10" fmla="*/ 0 w 136312"/>
                    <a:gd name="connsiteY10" fmla="*/ 45724 h 151934"/>
                    <a:gd name="connsiteX11" fmla="*/ 11147 w 136312"/>
                    <a:gd name="connsiteY11" fmla="*/ 109466 h 151934"/>
                    <a:gd name="connsiteX12" fmla="*/ 860 w 136312"/>
                    <a:gd name="connsiteY12" fmla="*/ 148345 h 151934"/>
                    <a:gd name="connsiteX13" fmla="*/ 58443 w 136312"/>
                    <a:gd name="connsiteY13" fmla="*/ 117771 h 151934"/>
                    <a:gd name="connsiteX14" fmla="*/ 87732 w 136312"/>
                    <a:gd name="connsiteY14" fmla="*/ 63480 h 151934"/>
                    <a:gd name="connsiteX15" fmla="*/ 100900 w 136312"/>
                    <a:gd name="connsiteY15" fmla="*/ 45550 h 151934"/>
                    <a:gd name="connsiteX16" fmla="*/ 108793 w 136312"/>
                    <a:gd name="connsiteY16" fmla="*/ 84042 h 151934"/>
                    <a:gd name="connsiteX17" fmla="*/ 121848 w 136312"/>
                    <a:gd name="connsiteY17" fmla="*/ 109379 h 151934"/>
                    <a:gd name="connsiteX18" fmla="*/ 125900 w 136312"/>
                    <a:gd name="connsiteY18" fmla="*/ 84042 h 15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312" h="151934">
                      <a:moveTo>
                        <a:pt x="125888" y="84042"/>
                      </a:moveTo>
                      <a:cubicBezTo>
                        <a:pt x="129005" y="74690"/>
                        <a:pt x="133905" y="65999"/>
                        <a:pt x="136312" y="55812"/>
                      </a:cubicBezTo>
                      <a:lnTo>
                        <a:pt x="122608" y="24813"/>
                      </a:lnTo>
                      <a:cubicBezTo>
                        <a:pt x="125402" y="14614"/>
                        <a:pt x="123269" y="8691"/>
                        <a:pt x="121287" y="4913"/>
                      </a:cubicBezTo>
                      <a:cubicBezTo>
                        <a:pt x="120489" y="3367"/>
                        <a:pt x="116835" y="1534"/>
                        <a:pt x="112521" y="0"/>
                      </a:cubicBezTo>
                      <a:cubicBezTo>
                        <a:pt x="116648" y="10000"/>
                        <a:pt x="119067" y="17619"/>
                        <a:pt x="119067" y="17619"/>
                      </a:cubicBezTo>
                      <a:cubicBezTo>
                        <a:pt x="106075" y="18267"/>
                        <a:pt x="86261" y="22656"/>
                        <a:pt x="74827" y="25424"/>
                      </a:cubicBezTo>
                      <a:cubicBezTo>
                        <a:pt x="72346" y="29414"/>
                        <a:pt x="69877" y="33168"/>
                        <a:pt x="68318" y="35849"/>
                      </a:cubicBezTo>
                      <a:cubicBezTo>
                        <a:pt x="64864" y="41771"/>
                        <a:pt x="46597" y="56572"/>
                        <a:pt x="46597" y="56572"/>
                      </a:cubicBezTo>
                      <a:cubicBezTo>
                        <a:pt x="46597" y="56572"/>
                        <a:pt x="46348" y="50612"/>
                        <a:pt x="45437" y="40213"/>
                      </a:cubicBezTo>
                      <a:cubicBezTo>
                        <a:pt x="35013" y="43143"/>
                        <a:pt x="8579" y="45138"/>
                        <a:pt x="0" y="45724"/>
                      </a:cubicBezTo>
                      <a:cubicBezTo>
                        <a:pt x="5187" y="70214"/>
                        <a:pt x="10773" y="96000"/>
                        <a:pt x="11147" y="109466"/>
                      </a:cubicBezTo>
                      <a:cubicBezTo>
                        <a:pt x="11584" y="125551"/>
                        <a:pt x="7419" y="135701"/>
                        <a:pt x="860" y="148345"/>
                      </a:cubicBezTo>
                      <a:cubicBezTo>
                        <a:pt x="30262" y="162747"/>
                        <a:pt x="52819" y="129978"/>
                        <a:pt x="58443" y="117771"/>
                      </a:cubicBezTo>
                      <a:cubicBezTo>
                        <a:pt x="64203" y="105264"/>
                        <a:pt x="83456" y="73019"/>
                        <a:pt x="87732" y="63480"/>
                      </a:cubicBezTo>
                      <a:cubicBezTo>
                        <a:pt x="92009" y="53941"/>
                        <a:pt x="100900" y="45550"/>
                        <a:pt x="100900" y="45550"/>
                      </a:cubicBezTo>
                      <a:cubicBezTo>
                        <a:pt x="100900" y="45550"/>
                        <a:pt x="102384" y="59864"/>
                        <a:pt x="108793" y="84042"/>
                      </a:cubicBezTo>
                      <a:cubicBezTo>
                        <a:pt x="112421" y="97708"/>
                        <a:pt x="117833" y="105326"/>
                        <a:pt x="121848" y="109379"/>
                      </a:cubicBezTo>
                      <a:cubicBezTo>
                        <a:pt x="122222" y="98668"/>
                        <a:pt x="123693" y="90663"/>
                        <a:pt x="125900" y="84042"/>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112" name="Graphic 525">
              <a:extLst>
                <a:ext uri="{FF2B5EF4-FFF2-40B4-BE49-F238E27FC236}">
                  <a16:creationId xmlns:a16="http://schemas.microsoft.com/office/drawing/2014/main" id="{FACE1176-1A92-FF65-67D5-B56DEE07E5C8}"/>
                </a:ext>
              </a:extLst>
            </p:cNvPr>
            <p:cNvGrpSpPr/>
            <p:nvPr/>
          </p:nvGrpSpPr>
          <p:grpSpPr>
            <a:xfrm>
              <a:off x="3919982" y="3944027"/>
              <a:ext cx="36398" cy="57137"/>
              <a:chOff x="6128055" y="4192037"/>
              <a:chExt cx="43897" cy="68909"/>
            </a:xfrm>
          </p:grpSpPr>
          <p:sp>
            <p:nvSpPr>
              <p:cNvPr id="3113" name="Freeform: Shape 3112">
                <a:extLst>
                  <a:ext uri="{FF2B5EF4-FFF2-40B4-BE49-F238E27FC236}">
                    <a16:creationId xmlns:a16="http://schemas.microsoft.com/office/drawing/2014/main" id="{542988DF-E8DC-B8F3-AA27-DCC93B726D04}"/>
                  </a:ext>
                </a:extLst>
              </p:cNvPr>
              <p:cNvSpPr/>
              <p:nvPr/>
            </p:nvSpPr>
            <p:spPr>
              <a:xfrm>
                <a:off x="6128055" y="4192037"/>
                <a:ext cx="43897" cy="68909"/>
              </a:xfrm>
              <a:custGeom>
                <a:avLst/>
                <a:gdLst>
                  <a:gd name="connsiteX0" fmla="*/ 42821 w 43897"/>
                  <a:gd name="connsiteY0" fmla="*/ 33588 h 68909"/>
                  <a:gd name="connsiteX1" fmla="*/ 43058 w 43897"/>
                  <a:gd name="connsiteY1" fmla="*/ 50109 h 68909"/>
                  <a:gd name="connsiteX2" fmla="*/ 34442 w 43897"/>
                  <a:gd name="connsiteY2" fmla="*/ 68265 h 68909"/>
                  <a:gd name="connsiteX3" fmla="*/ 3381 w 43897"/>
                  <a:gd name="connsiteY3" fmla="*/ 57990 h 68909"/>
                  <a:gd name="connsiteX4" fmla="*/ 1386 w 43897"/>
                  <a:gd name="connsiteY4" fmla="*/ 45920 h 68909"/>
                  <a:gd name="connsiteX5" fmla="*/ 6274 w 43897"/>
                  <a:gd name="connsiteY5" fmla="*/ 11007 h 68909"/>
                  <a:gd name="connsiteX6" fmla="*/ 24192 w 43897"/>
                  <a:gd name="connsiteY6" fmla="*/ 1468 h 68909"/>
                  <a:gd name="connsiteX7" fmla="*/ 42809 w 43897"/>
                  <a:gd name="connsiteY7" fmla="*/ 33588 h 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97" h="68909">
                    <a:moveTo>
                      <a:pt x="42821" y="33588"/>
                    </a:moveTo>
                    <a:cubicBezTo>
                      <a:pt x="42821" y="33588"/>
                      <a:pt x="41424" y="42903"/>
                      <a:pt x="43058" y="50109"/>
                    </a:cubicBezTo>
                    <a:cubicBezTo>
                      <a:pt x="44692" y="57329"/>
                      <a:pt x="44916" y="65235"/>
                      <a:pt x="34442" y="68265"/>
                    </a:cubicBezTo>
                    <a:cubicBezTo>
                      <a:pt x="23968" y="71295"/>
                      <a:pt x="7446" y="62928"/>
                      <a:pt x="3381" y="57990"/>
                    </a:cubicBezTo>
                    <a:cubicBezTo>
                      <a:pt x="-559" y="53190"/>
                      <a:pt x="-821" y="51606"/>
                      <a:pt x="1386" y="45920"/>
                    </a:cubicBezTo>
                    <a:cubicBezTo>
                      <a:pt x="2608" y="42765"/>
                      <a:pt x="7434" y="35683"/>
                      <a:pt x="6274" y="11007"/>
                    </a:cubicBezTo>
                    <a:cubicBezTo>
                      <a:pt x="5813" y="3326"/>
                      <a:pt x="14890" y="-2959"/>
                      <a:pt x="24192" y="1468"/>
                    </a:cubicBezTo>
                    <a:cubicBezTo>
                      <a:pt x="30689" y="4548"/>
                      <a:pt x="45377" y="8912"/>
                      <a:pt x="42809" y="33588"/>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14" name="Freeform: Shape 3113">
                <a:extLst>
                  <a:ext uri="{FF2B5EF4-FFF2-40B4-BE49-F238E27FC236}">
                    <a16:creationId xmlns:a16="http://schemas.microsoft.com/office/drawing/2014/main" id="{EB1E8493-4675-D501-E78E-C3CF5D3FFC9C}"/>
                  </a:ext>
                </a:extLst>
              </p:cNvPr>
              <p:cNvSpPr/>
              <p:nvPr/>
            </p:nvSpPr>
            <p:spPr>
              <a:xfrm>
                <a:off x="6134312" y="4192037"/>
                <a:ext cx="36860" cy="49623"/>
              </a:xfrm>
              <a:custGeom>
                <a:avLst/>
                <a:gdLst>
                  <a:gd name="connsiteX0" fmla="*/ 17936 w 36860"/>
                  <a:gd name="connsiteY0" fmla="*/ 1468 h 49623"/>
                  <a:gd name="connsiteX1" fmla="*/ 18 w 36860"/>
                  <a:gd name="connsiteY1" fmla="*/ 11007 h 49623"/>
                  <a:gd name="connsiteX2" fmla="*/ 130 w 36860"/>
                  <a:gd name="connsiteY2" fmla="*/ 14199 h 49623"/>
                  <a:gd name="connsiteX3" fmla="*/ 666 w 36860"/>
                  <a:gd name="connsiteY3" fmla="*/ 15383 h 49623"/>
                  <a:gd name="connsiteX4" fmla="*/ 36689 w 36860"/>
                  <a:gd name="connsiteY4" fmla="*/ 49623 h 49623"/>
                  <a:gd name="connsiteX5" fmla="*/ 36565 w 36860"/>
                  <a:gd name="connsiteY5" fmla="*/ 33588 h 49623"/>
                  <a:gd name="connsiteX6" fmla="*/ 17948 w 36860"/>
                  <a:gd name="connsiteY6" fmla="*/ 1468 h 4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60" h="49623">
                    <a:moveTo>
                      <a:pt x="17936" y="1468"/>
                    </a:moveTo>
                    <a:cubicBezTo>
                      <a:pt x="8621" y="-2959"/>
                      <a:pt x="-456" y="3326"/>
                      <a:pt x="18" y="11007"/>
                    </a:cubicBezTo>
                    <a:cubicBezTo>
                      <a:pt x="68" y="12116"/>
                      <a:pt x="105" y="13164"/>
                      <a:pt x="130" y="14199"/>
                    </a:cubicBezTo>
                    <a:cubicBezTo>
                      <a:pt x="305" y="14598"/>
                      <a:pt x="479" y="14997"/>
                      <a:pt x="666" y="15383"/>
                    </a:cubicBezTo>
                    <a:cubicBezTo>
                      <a:pt x="8434" y="31917"/>
                      <a:pt x="22774" y="44212"/>
                      <a:pt x="36689" y="49623"/>
                    </a:cubicBezTo>
                    <a:cubicBezTo>
                      <a:pt x="35230" y="42479"/>
                      <a:pt x="36565" y="33588"/>
                      <a:pt x="36565" y="33588"/>
                    </a:cubicBezTo>
                    <a:cubicBezTo>
                      <a:pt x="39121" y="8912"/>
                      <a:pt x="24432" y="4548"/>
                      <a:pt x="17948" y="1468"/>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117" name="Freeform: Shape 3116">
              <a:extLst>
                <a:ext uri="{FF2B5EF4-FFF2-40B4-BE49-F238E27FC236}">
                  <a16:creationId xmlns:a16="http://schemas.microsoft.com/office/drawing/2014/main" id="{2C4B9128-1857-10C7-50B1-EDED2A64C3B1}"/>
                </a:ext>
              </a:extLst>
            </p:cNvPr>
            <p:cNvSpPr/>
            <p:nvPr/>
          </p:nvSpPr>
          <p:spPr>
            <a:xfrm>
              <a:off x="3915090" y="3889758"/>
              <a:ext cx="64676" cy="87944"/>
            </a:xfrm>
            <a:custGeom>
              <a:avLst/>
              <a:gdLst>
                <a:gd name="connsiteX0" fmla="*/ 35454 w 78001"/>
                <a:gd name="connsiteY0" fmla="*/ 109 h 106063"/>
                <a:gd name="connsiteX1" fmla="*/ 77350 w 78001"/>
                <a:gd name="connsiteY1" fmla="*/ 39449 h 106063"/>
                <a:gd name="connsiteX2" fmla="*/ 57799 w 78001"/>
                <a:gd name="connsiteY2" fmla="*/ 106022 h 106063"/>
                <a:gd name="connsiteX3" fmla="*/ 5429 w 78001"/>
                <a:gd name="connsiteY3" fmla="*/ 68777 h 106063"/>
                <a:gd name="connsiteX4" fmla="*/ 35454 w 78001"/>
                <a:gd name="connsiteY4" fmla="*/ 109 h 106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1" h="106063">
                  <a:moveTo>
                    <a:pt x="35454" y="109"/>
                  </a:moveTo>
                  <a:cubicBezTo>
                    <a:pt x="35454" y="109"/>
                    <a:pt x="74794" y="-4081"/>
                    <a:pt x="77350" y="39449"/>
                  </a:cubicBezTo>
                  <a:cubicBezTo>
                    <a:pt x="79907" y="82979"/>
                    <a:pt x="75256" y="105086"/>
                    <a:pt x="57799" y="106022"/>
                  </a:cubicBezTo>
                  <a:cubicBezTo>
                    <a:pt x="40342" y="106957"/>
                    <a:pt x="16364" y="92056"/>
                    <a:pt x="5429" y="68777"/>
                  </a:cubicBezTo>
                  <a:cubicBezTo>
                    <a:pt x="-5507" y="45497"/>
                    <a:pt x="-2015" y="4062"/>
                    <a:pt x="35454" y="109"/>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18" name="Freeform: Shape 3117">
              <a:extLst>
                <a:ext uri="{FF2B5EF4-FFF2-40B4-BE49-F238E27FC236}">
                  <a16:creationId xmlns:a16="http://schemas.microsoft.com/office/drawing/2014/main" id="{3A7E0447-6865-1AC5-88CB-5D4829041D9F}"/>
                </a:ext>
              </a:extLst>
            </p:cNvPr>
            <p:cNvSpPr/>
            <p:nvPr/>
          </p:nvSpPr>
          <p:spPr>
            <a:xfrm>
              <a:off x="3904666" y="3886141"/>
              <a:ext cx="75339" cy="90802"/>
            </a:xfrm>
            <a:custGeom>
              <a:avLst/>
              <a:gdLst>
                <a:gd name="connsiteX0" fmla="*/ 85334 w 90861"/>
                <a:gd name="connsiteY0" fmla="*/ 18486 h 109510"/>
                <a:gd name="connsiteX1" fmla="*/ 49298 w 90861"/>
                <a:gd name="connsiteY1" fmla="*/ 718 h 109510"/>
                <a:gd name="connsiteX2" fmla="*/ 5120 w 90861"/>
                <a:gd name="connsiteY2" fmla="*/ 23174 h 109510"/>
                <a:gd name="connsiteX3" fmla="*/ 1180 w 90861"/>
                <a:gd name="connsiteY3" fmla="*/ 81056 h 109510"/>
                <a:gd name="connsiteX4" fmla="*/ 36667 w 90861"/>
                <a:gd name="connsiteY4" fmla="*/ 109510 h 109510"/>
                <a:gd name="connsiteX5" fmla="*/ 55720 w 90861"/>
                <a:gd name="connsiteY5" fmla="*/ 33299 h 109510"/>
                <a:gd name="connsiteX6" fmla="*/ 60358 w 90861"/>
                <a:gd name="connsiteY6" fmla="*/ 27913 h 109510"/>
                <a:gd name="connsiteX7" fmla="*/ 66829 w 90861"/>
                <a:gd name="connsiteY7" fmla="*/ 43860 h 109510"/>
                <a:gd name="connsiteX8" fmla="*/ 80895 w 90861"/>
                <a:gd name="connsiteY8" fmla="*/ 43225 h 109510"/>
                <a:gd name="connsiteX9" fmla="*/ 81530 w 90861"/>
                <a:gd name="connsiteY9" fmla="*/ 35556 h 109510"/>
                <a:gd name="connsiteX10" fmla="*/ 84510 w 90861"/>
                <a:gd name="connsiteY10" fmla="*/ 44085 h 109510"/>
                <a:gd name="connsiteX11" fmla="*/ 90396 w 90861"/>
                <a:gd name="connsiteY11" fmla="*/ 45706 h 109510"/>
                <a:gd name="connsiteX12" fmla="*/ 90596 w 90861"/>
                <a:gd name="connsiteY12" fmla="*/ 45456 h 109510"/>
                <a:gd name="connsiteX13" fmla="*/ 85334 w 90861"/>
                <a:gd name="connsiteY13" fmla="*/ 18498 h 10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861" h="109510">
                  <a:moveTo>
                    <a:pt x="85334" y="18486"/>
                  </a:moveTo>
                  <a:cubicBezTo>
                    <a:pt x="74523" y="-2425"/>
                    <a:pt x="49298" y="718"/>
                    <a:pt x="49298" y="718"/>
                  </a:cubicBezTo>
                  <a:cubicBezTo>
                    <a:pt x="38936" y="-2238"/>
                    <a:pt x="13512" y="3685"/>
                    <a:pt x="5120" y="23174"/>
                  </a:cubicBezTo>
                  <a:cubicBezTo>
                    <a:pt x="-3272" y="42676"/>
                    <a:pt x="1180" y="81056"/>
                    <a:pt x="1180" y="81056"/>
                  </a:cubicBezTo>
                  <a:cubicBezTo>
                    <a:pt x="5332" y="102789"/>
                    <a:pt x="36667" y="109510"/>
                    <a:pt x="36667" y="109510"/>
                  </a:cubicBezTo>
                  <a:cubicBezTo>
                    <a:pt x="21005" y="53038"/>
                    <a:pt x="46093" y="42177"/>
                    <a:pt x="55720" y="33299"/>
                  </a:cubicBezTo>
                  <a:cubicBezTo>
                    <a:pt x="57664" y="31504"/>
                    <a:pt x="59186" y="29683"/>
                    <a:pt x="60358" y="27913"/>
                  </a:cubicBezTo>
                  <a:cubicBezTo>
                    <a:pt x="62665" y="31292"/>
                    <a:pt x="66007" y="37190"/>
                    <a:pt x="66829" y="43860"/>
                  </a:cubicBezTo>
                  <a:cubicBezTo>
                    <a:pt x="66829" y="43860"/>
                    <a:pt x="76418" y="44284"/>
                    <a:pt x="80895" y="43225"/>
                  </a:cubicBezTo>
                  <a:cubicBezTo>
                    <a:pt x="80895" y="43225"/>
                    <a:pt x="82391" y="39596"/>
                    <a:pt x="81530" y="35556"/>
                  </a:cubicBezTo>
                  <a:cubicBezTo>
                    <a:pt x="81530" y="35556"/>
                    <a:pt x="83663" y="38324"/>
                    <a:pt x="84510" y="44085"/>
                  </a:cubicBezTo>
                  <a:cubicBezTo>
                    <a:pt x="84510" y="44085"/>
                    <a:pt x="88201" y="46429"/>
                    <a:pt x="90396" y="45706"/>
                  </a:cubicBezTo>
                  <a:cubicBezTo>
                    <a:pt x="90508" y="45669"/>
                    <a:pt x="90583" y="45569"/>
                    <a:pt x="90596" y="45456"/>
                  </a:cubicBezTo>
                  <a:cubicBezTo>
                    <a:pt x="90820" y="43836"/>
                    <a:pt x="92217" y="31803"/>
                    <a:pt x="85334" y="18498"/>
                  </a:cubicBezTo>
                  <a:close/>
                </a:path>
              </a:pathLst>
            </a:custGeom>
            <a:solidFill>
              <a:srgbClr val="1920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23" name="Graphic 525">
              <a:extLst>
                <a:ext uri="{FF2B5EF4-FFF2-40B4-BE49-F238E27FC236}">
                  <a16:creationId xmlns:a16="http://schemas.microsoft.com/office/drawing/2014/main" id="{5662811B-DF22-930A-0C0C-7984ADCAE16A}"/>
                </a:ext>
              </a:extLst>
            </p:cNvPr>
            <p:cNvGrpSpPr/>
            <p:nvPr/>
          </p:nvGrpSpPr>
          <p:grpSpPr>
            <a:xfrm>
              <a:off x="3919532" y="3933717"/>
              <a:ext cx="14146" cy="17817"/>
              <a:chOff x="6127512" y="4179602"/>
              <a:chExt cx="17061" cy="21488"/>
            </a:xfrm>
          </p:grpSpPr>
          <p:sp>
            <p:nvSpPr>
              <p:cNvPr id="3124" name="Freeform: Shape 3123">
                <a:extLst>
                  <a:ext uri="{FF2B5EF4-FFF2-40B4-BE49-F238E27FC236}">
                    <a16:creationId xmlns:a16="http://schemas.microsoft.com/office/drawing/2014/main" id="{75BF9D1A-296D-EADC-5C8D-77812A2D4624}"/>
                  </a:ext>
                </a:extLst>
              </p:cNvPr>
              <p:cNvSpPr/>
              <p:nvPr/>
            </p:nvSpPr>
            <p:spPr>
              <a:xfrm>
                <a:off x="6127512" y="4179602"/>
                <a:ext cx="17061" cy="21488"/>
              </a:xfrm>
              <a:custGeom>
                <a:avLst/>
                <a:gdLst>
                  <a:gd name="connsiteX0" fmla="*/ 15658 w 17061"/>
                  <a:gd name="connsiteY0" fmla="*/ 10411 h 21488"/>
                  <a:gd name="connsiteX1" fmla="*/ 3089 w 17061"/>
                  <a:gd name="connsiteY1" fmla="*/ 398 h 21488"/>
                  <a:gd name="connsiteX2" fmla="*/ 7042 w 17061"/>
                  <a:gd name="connsiteY2" fmla="*/ 19015 h 21488"/>
                  <a:gd name="connsiteX3" fmla="*/ 15658 w 17061"/>
                  <a:gd name="connsiteY3" fmla="*/ 10399 h 21488"/>
                </a:gdLst>
                <a:ahLst/>
                <a:cxnLst>
                  <a:cxn ang="0">
                    <a:pos x="connsiteX0" y="connsiteY0"/>
                  </a:cxn>
                  <a:cxn ang="0">
                    <a:pos x="connsiteX1" y="connsiteY1"/>
                  </a:cxn>
                  <a:cxn ang="0">
                    <a:pos x="connsiteX2" y="connsiteY2"/>
                  </a:cxn>
                  <a:cxn ang="0">
                    <a:pos x="connsiteX3" y="connsiteY3"/>
                  </a:cxn>
                </a:cxnLst>
                <a:rect l="l" t="t" r="r" b="b"/>
                <a:pathLst>
                  <a:path w="17061" h="21488">
                    <a:moveTo>
                      <a:pt x="15658" y="10411"/>
                    </a:moveTo>
                    <a:cubicBezTo>
                      <a:pt x="15658" y="10411"/>
                      <a:pt x="10770" y="-2395"/>
                      <a:pt x="3089" y="398"/>
                    </a:cubicBezTo>
                    <a:cubicBezTo>
                      <a:pt x="-4592" y="3192"/>
                      <a:pt x="4112" y="15885"/>
                      <a:pt x="7042" y="19015"/>
                    </a:cubicBezTo>
                    <a:cubicBezTo>
                      <a:pt x="10533" y="22743"/>
                      <a:pt x="20770" y="23903"/>
                      <a:pt x="15658" y="10399"/>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25" name="Graphic 525">
                <a:extLst>
                  <a:ext uri="{FF2B5EF4-FFF2-40B4-BE49-F238E27FC236}">
                    <a16:creationId xmlns:a16="http://schemas.microsoft.com/office/drawing/2014/main" id="{990B3984-FA39-EAF4-6D91-01DB09A3D333}"/>
                  </a:ext>
                </a:extLst>
              </p:cNvPr>
              <p:cNvGrpSpPr/>
              <p:nvPr/>
            </p:nvGrpSpPr>
            <p:grpSpPr>
              <a:xfrm>
                <a:off x="6132570" y="4184760"/>
                <a:ext cx="7931" cy="11188"/>
                <a:chOff x="6132570" y="4184760"/>
                <a:chExt cx="7931" cy="11188"/>
              </a:xfrm>
              <a:solidFill>
                <a:srgbClr val="EDAD9A"/>
              </a:solidFill>
            </p:grpSpPr>
            <p:sp>
              <p:nvSpPr>
                <p:cNvPr id="3126" name="Freeform: Shape 3125">
                  <a:extLst>
                    <a:ext uri="{FF2B5EF4-FFF2-40B4-BE49-F238E27FC236}">
                      <a16:creationId xmlns:a16="http://schemas.microsoft.com/office/drawing/2014/main" id="{A8A26E1D-0CDA-E6CB-581C-70A61ACD4864}"/>
                    </a:ext>
                  </a:extLst>
                </p:cNvPr>
                <p:cNvSpPr/>
                <p:nvPr/>
              </p:nvSpPr>
              <p:spPr>
                <a:xfrm>
                  <a:off x="6133038" y="4184760"/>
                  <a:ext cx="7463" cy="11188"/>
                </a:xfrm>
                <a:custGeom>
                  <a:avLst/>
                  <a:gdLst>
                    <a:gd name="connsiteX0" fmla="*/ 6641 w 7463"/>
                    <a:gd name="connsiteY0" fmla="*/ 11188 h 11188"/>
                    <a:gd name="connsiteX1" fmla="*/ 5818 w 7463"/>
                    <a:gd name="connsiteY1" fmla="*/ 10390 h 11188"/>
                    <a:gd name="connsiteX2" fmla="*/ 656 w 7463"/>
                    <a:gd name="connsiteY2" fmla="*/ 1624 h 11188"/>
                    <a:gd name="connsiteX3" fmla="*/ 20 w 7463"/>
                    <a:gd name="connsiteY3" fmla="*/ 652 h 11188"/>
                    <a:gd name="connsiteX4" fmla="*/ 992 w 7463"/>
                    <a:gd name="connsiteY4" fmla="*/ 16 h 11188"/>
                    <a:gd name="connsiteX5" fmla="*/ 7464 w 7463"/>
                    <a:gd name="connsiteY5" fmla="*/ 10340 h 11188"/>
                    <a:gd name="connsiteX6" fmla="*/ 6666 w 7463"/>
                    <a:gd name="connsiteY6" fmla="*/ 11188 h 11188"/>
                    <a:gd name="connsiteX7" fmla="*/ 6641 w 7463"/>
                    <a:gd name="connsiteY7" fmla="*/ 11188 h 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3" h="11188">
                      <a:moveTo>
                        <a:pt x="6641" y="11188"/>
                      </a:moveTo>
                      <a:cubicBezTo>
                        <a:pt x="6205" y="11188"/>
                        <a:pt x="5830" y="10839"/>
                        <a:pt x="5818" y="10390"/>
                      </a:cubicBezTo>
                      <a:cubicBezTo>
                        <a:pt x="5818" y="10315"/>
                        <a:pt x="5531" y="2647"/>
                        <a:pt x="656" y="1624"/>
                      </a:cubicBezTo>
                      <a:cubicBezTo>
                        <a:pt x="207" y="1537"/>
                        <a:pt x="-80" y="1101"/>
                        <a:pt x="20" y="652"/>
                      </a:cubicBezTo>
                      <a:cubicBezTo>
                        <a:pt x="107" y="203"/>
                        <a:pt x="544" y="-71"/>
                        <a:pt x="992" y="16"/>
                      </a:cubicBezTo>
                      <a:cubicBezTo>
                        <a:pt x="7140" y="1300"/>
                        <a:pt x="7451" y="9979"/>
                        <a:pt x="7464" y="10340"/>
                      </a:cubicBezTo>
                      <a:cubicBezTo>
                        <a:pt x="7464" y="10789"/>
                        <a:pt x="7115" y="11176"/>
                        <a:pt x="6666" y="11188"/>
                      </a:cubicBezTo>
                      <a:cubicBezTo>
                        <a:pt x="6666" y="11188"/>
                        <a:pt x="6653" y="11188"/>
                        <a:pt x="6641" y="11188"/>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27" name="Freeform: Shape 3126">
                  <a:extLst>
                    <a:ext uri="{FF2B5EF4-FFF2-40B4-BE49-F238E27FC236}">
                      <a16:creationId xmlns:a16="http://schemas.microsoft.com/office/drawing/2014/main" id="{6E911051-5D29-6733-8DDC-1954C08C692C}"/>
                    </a:ext>
                  </a:extLst>
                </p:cNvPr>
                <p:cNvSpPr/>
                <p:nvPr/>
              </p:nvSpPr>
              <p:spPr>
                <a:xfrm>
                  <a:off x="6132570" y="4188693"/>
                  <a:ext cx="7074" cy="3377"/>
                </a:xfrm>
                <a:custGeom>
                  <a:avLst/>
                  <a:gdLst>
                    <a:gd name="connsiteX0" fmla="*/ 6261 w 7074"/>
                    <a:gd name="connsiteY0" fmla="*/ 3378 h 3377"/>
                    <a:gd name="connsiteX1" fmla="*/ 5712 w 7074"/>
                    <a:gd name="connsiteY1" fmla="*/ 3178 h 3377"/>
                    <a:gd name="connsiteX2" fmla="*/ 1074 w 7074"/>
                    <a:gd name="connsiteY2" fmla="*/ 1794 h 3377"/>
                    <a:gd name="connsiteX3" fmla="*/ 39 w 7074"/>
                    <a:gd name="connsiteY3" fmla="*/ 1258 h 3377"/>
                    <a:gd name="connsiteX4" fmla="*/ 575 w 7074"/>
                    <a:gd name="connsiteY4" fmla="*/ 223 h 3377"/>
                    <a:gd name="connsiteX5" fmla="*/ 6797 w 7074"/>
                    <a:gd name="connsiteY5" fmla="*/ 1944 h 3377"/>
                    <a:gd name="connsiteX6" fmla="*/ 6872 w 7074"/>
                    <a:gd name="connsiteY6" fmla="*/ 3103 h 3377"/>
                    <a:gd name="connsiteX7" fmla="*/ 6261 w 7074"/>
                    <a:gd name="connsiteY7" fmla="*/ 3378 h 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4" h="3377">
                      <a:moveTo>
                        <a:pt x="6261" y="3378"/>
                      </a:moveTo>
                      <a:cubicBezTo>
                        <a:pt x="6061" y="3378"/>
                        <a:pt x="5874" y="3315"/>
                        <a:pt x="5712" y="3178"/>
                      </a:cubicBezTo>
                      <a:cubicBezTo>
                        <a:pt x="5687" y="3153"/>
                        <a:pt x="3306" y="1096"/>
                        <a:pt x="1074" y="1794"/>
                      </a:cubicBezTo>
                      <a:cubicBezTo>
                        <a:pt x="637" y="1931"/>
                        <a:pt x="176" y="1694"/>
                        <a:pt x="39" y="1258"/>
                      </a:cubicBezTo>
                      <a:cubicBezTo>
                        <a:pt x="-98" y="821"/>
                        <a:pt x="139" y="360"/>
                        <a:pt x="575" y="223"/>
                      </a:cubicBezTo>
                      <a:cubicBezTo>
                        <a:pt x="3705" y="-762"/>
                        <a:pt x="6673" y="1831"/>
                        <a:pt x="6797" y="1944"/>
                      </a:cubicBezTo>
                      <a:cubicBezTo>
                        <a:pt x="7134" y="2243"/>
                        <a:pt x="7171" y="2767"/>
                        <a:pt x="6872" y="3103"/>
                      </a:cubicBezTo>
                      <a:cubicBezTo>
                        <a:pt x="6710" y="3290"/>
                        <a:pt x="6485" y="3378"/>
                        <a:pt x="6261" y="3378"/>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128" name="Graphic 525">
              <a:extLst>
                <a:ext uri="{FF2B5EF4-FFF2-40B4-BE49-F238E27FC236}">
                  <a16:creationId xmlns:a16="http://schemas.microsoft.com/office/drawing/2014/main" id="{E9CB9AC7-4EFD-9C22-024E-7E74224B9C6E}"/>
                </a:ext>
              </a:extLst>
            </p:cNvPr>
            <p:cNvGrpSpPr/>
            <p:nvPr/>
          </p:nvGrpSpPr>
          <p:grpSpPr>
            <a:xfrm>
              <a:off x="3865106" y="3993982"/>
              <a:ext cx="146155" cy="147210"/>
              <a:chOff x="6061872" y="4252285"/>
              <a:chExt cx="176269" cy="177541"/>
            </a:xfrm>
          </p:grpSpPr>
          <p:grpSp>
            <p:nvGrpSpPr>
              <p:cNvPr id="3129" name="Graphic 525">
                <a:extLst>
                  <a:ext uri="{FF2B5EF4-FFF2-40B4-BE49-F238E27FC236}">
                    <a16:creationId xmlns:a16="http://schemas.microsoft.com/office/drawing/2014/main" id="{70A75DF8-DACD-E612-E70E-7ED0C9EAB82D}"/>
                  </a:ext>
                </a:extLst>
              </p:cNvPr>
              <p:cNvGrpSpPr/>
              <p:nvPr/>
            </p:nvGrpSpPr>
            <p:grpSpPr>
              <a:xfrm>
                <a:off x="6061872" y="4252285"/>
                <a:ext cx="62719" cy="177410"/>
                <a:chOff x="6061872" y="4252285"/>
                <a:chExt cx="62719" cy="177410"/>
              </a:xfrm>
            </p:grpSpPr>
            <p:sp>
              <p:nvSpPr>
                <p:cNvPr id="3130" name="Freeform: Shape 3129">
                  <a:extLst>
                    <a:ext uri="{FF2B5EF4-FFF2-40B4-BE49-F238E27FC236}">
                      <a16:creationId xmlns:a16="http://schemas.microsoft.com/office/drawing/2014/main" id="{56F0721A-8259-6335-93B3-7CD84E52166A}"/>
                    </a:ext>
                  </a:extLst>
                </p:cNvPr>
                <p:cNvSpPr/>
                <p:nvPr/>
              </p:nvSpPr>
              <p:spPr>
                <a:xfrm>
                  <a:off x="6075214" y="4254615"/>
                  <a:ext cx="42706" cy="175080"/>
                </a:xfrm>
                <a:custGeom>
                  <a:avLst/>
                  <a:gdLst>
                    <a:gd name="connsiteX0" fmla="*/ 21484 w 42706"/>
                    <a:gd name="connsiteY0" fmla="*/ 112 h 175080"/>
                    <a:gd name="connsiteX1" fmla="*/ 12 w 42706"/>
                    <a:gd name="connsiteY1" fmla="*/ 38118 h 175080"/>
                    <a:gd name="connsiteX2" fmla="*/ 3965 w 42706"/>
                    <a:gd name="connsiteY2" fmla="*/ 136587 h 175080"/>
                    <a:gd name="connsiteX3" fmla="*/ 23703 w 42706"/>
                    <a:gd name="connsiteY3" fmla="*/ 175079 h 175080"/>
                    <a:gd name="connsiteX4" fmla="*/ 39502 w 42706"/>
                    <a:gd name="connsiteY4" fmla="*/ 129916 h 175080"/>
                    <a:gd name="connsiteX5" fmla="*/ 42706 w 42706"/>
                    <a:gd name="connsiteY5" fmla="*/ 40088 h 175080"/>
                    <a:gd name="connsiteX6" fmla="*/ 21484 w 42706"/>
                    <a:gd name="connsiteY6" fmla="*/ 112 h 17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6" h="175080">
                      <a:moveTo>
                        <a:pt x="21484" y="112"/>
                      </a:moveTo>
                      <a:cubicBezTo>
                        <a:pt x="21484" y="112"/>
                        <a:pt x="262" y="848"/>
                        <a:pt x="12" y="38118"/>
                      </a:cubicBezTo>
                      <a:cubicBezTo>
                        <a:pt x="-237" y="75376"/>
                        <a:pt x="3466" y="108207"/>
                        <a:pt x="3965" y="136587"/>
                      </a:cubicBezTo>
                      <a:cubicBezTo>
                        <a:pt x="4464" y="164966"/>
                        <a:pt x="11858" y="174842"/>
                        <a:pt x="23703" y="175079"/>
                      </a:cubicBezTo>
                      <a:cubicBezTo>
                        <a:pt x="35549" y="175328"/>
                        <a:pt x="38754" y="152622"/>
                        <a:pt x="39502" y="129916"/>
                      </a:cubicBezTo>
                      <a:cubicBezTo>
                        <a:pt x="40237" y="107210"/>
                        <a:pt x="42706" y="57358"/>
                        <a:pt x="42706" y="40088"/>
                      </a:cubicBezTo>
                      <a:cubicBezTo>
                        <a:pt x="42706" y="22819"/>
                        <a:pt x="35549" y="-1870"/>
                        <a:pt x="21484" y="112"/>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31" name="Freeform: Shape 3130">
                  <a:extLst>
                    <a:ext uri="{FF2B5EF4-FFF2-40B4-BE49-F238E27FC236}">
                      <a16:creationId xmlns:a16="http://schemas.microsoft.com/office/drawing/2014/main" id="{CF7F6025-863A-5671-D48C-855724BE79E8}"/>
                    </a:ext>
                  </a:extLst>
                </p:cNvPr>
                <p:cNvSpPr/>
                <p:nvPr/>
              </p:nvSpPr>
              <p:spPr>
                <a:xfrm>
                  <a:off x="6093544" y="4354892"/>
                  <a:ext cx="22331" cy="49984"/>
                </a:xfrm>
                <a:custGeom>
                  <a:avLst/>
                  <a:gdLst>
                    <a:gd name="connsiteX0" fmla="*/ 22331 w 22331"/>
                    <a:gd name="connsiteY0" fmla="*/ 0 h 49984"/>
                    <a:gd name="connsiteX1" fmla="*/ 436 w 22331"/>
                    <a:gd name="connsiteY1" fmla="*/ 41497 h 49984"/>
                    <a:gd name="connsiteX2" fmla="*/ 20972 w 22331"/>
                    <a:gd name="connsiteY2" fmla="*/ 34415 h 49984"/>
                    <a:gd name="connsiteX3" fmla="*/ 21172 w 22331"/>
                    <a:gd name="connsiteY3" fmla="*/ 29652 h 49984"/>
                    <a:gd name="connsiteX4" fmla="*/ 22331 w 22331"/>
                    <a:gd name="connsiteY4" fmla="*/ 0 h 49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31" h="49984">
                      <a:moveTo>
                        <a:pt x="22331" y="0"/>
                      </a:moveTo>
                      <a:cubicBezTo>
                        <a:pt x="17743" y="4501"/>
                        <a:pt x="4301" y="19302"/>
                        <a:pt x="436" y="41497"/>
                      </a:cubicBezTo>
                      <a:cubicBezTo>
                        <a:pt x="-2619" y="59004"/>
                        <a:pt x="11047" y="45786"/>
                        <a:pt x="20972" y="34415"/>
                      </a:cubicBezTo>
                      <a:cubicBezTo>
                        <a:pt x="21047" y="32831"/>
                        <a:pt x="21109" y="31235"/>
                        <a:pt x="21172" y="29652"/>
                      </a:cubicBezTo>
                      <a:cubicBezTo>
                        <a:pt x="21421" y="22058"/>
                        <a:pt x="21858" y="11434"/>
                        <a:pt x="22331" y="0"/>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32" name="Freeform: Shape 3131">
                  <a:extLst>
                    <a:ext uri="{FF2B5EF4-FFF2-40B4-BE49-F238E27FC236}">
                      <a16:creationId xmlns:a16="http://schemas.microsoft.com/office/drawing/2014/main" id="{CD61BCCF-2EF3-3A88-445A-878A2515F861}"/>
                    </a:ext>
                  </a:extLst>
                </p:cNvPr>
                <p:cNvSpPr/>
                <p:nvPr/>
              </p:nvSpPr>
              <p:spPr>
                <a:xfrm>
                  <a:off x="6061872" y="4252285"/>
                  <a:ext cx="62719" cy="98424"/>
                </a:xfrm>
                <a:custGeom>
                  <a:avLst/>
                  <a:gdLst>
                    <a:gd name="connsiteX0" fmla="*/ 32120 w 62719"/>
                    <a:gd name="connsiteY0" fmla="*/ 472 h 98424"/>
                    <a:gd name="connsiteX1" fmla="*/ 11883 w 62719"/>
                    <a:gd name="connsiteY1" fmla="*/ 25897 h 98424"/>
                    <a:gd name="connsiteX2" fmla="*/ 0 w 62719"/>
                    <a:gd name="connsiteY2" fmla="*/ 94215 h 98424"/>
                    <a:gd name="connsiteX3" fmla="*/ 10873 w 62719"/>
                    <a:gd name="connsiteY3" fmla="*/ 96771 h 98424"/>
                    <a:gd name="connsiteX4" fmla="*/ 27170 w 62719"/>
                    <a:gd name="connsiteY4" fmla="*/ 95811 h 98424"/>
                    <a:gd name="connsiteX5" fmla="*/ 43791 w 62719"/>
                    <a:gd name="connsiteY5" fmla="*/ 97095 h 98424"/>
                    <a:gd name="connsiteX6" fmla="*/ 62720 w 62719"/>
                    <a:gd name="connsiteY6" fmla="*/ 93517 h 98424"/>
                    <a:gd name="connsiteX7" fmla="*/ 59016 w 62719"/>
                    <a:gd name="connsiteY7" fmla="*/ 30585 h 98424"/>
                    <a:gd name="connsiteX8" fmla="*/ 32120 w 62719"/>
                    <a:gd name="connsiteY8" fmla="*/ 472 h 9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19" h="98424">
                      <a:moveTo>
                        <a:pt x="32120" y="472"/>
                      </a:moveTo>
                      <a:cubicBezTo>
                        <a:pt x="32120" y="472"/>
                        <a:pt x="17320" y="2941"/>
                        <a:pt x="11883" y="25897"/>
                      </a:cubicBezTo>
                      <a:cubicBezTo>
                        <a:pt x="6447" y="48852"/>
                        <a:pt x="2955" y="84352"/>
                        <a:pt x="0" y="94215"/>
                      </a:cubicBezTo>
                      <a:cubicBezTo>
                        <a:pt x="0" y="94215"/>
                        <a:pt x="5935" y="94053"/>
                        <a:pt x="10873" y="96771"/>
                      </a:cubicBezTo>
                      <a:cubicBezTo>
                        <a:pt x="15811" y="99489"/>
                        <a:pt x="21995" y="97781"/>
                        <a:pt x="27170" y="95811"/>
                      </a:cubicBezTo>
                      <a:cubicBezTo>
                        <a:pt x="32345" y="93841"/>
                        <a:pt x="37869" y="94128"/>
                        <a:pt x="43791" y="97095"/>
                      </a:cubicBezTo>
                      <a:cubicBezTo>
                        <a:pt x="49714" y="100063"/>
                        <a:pt x="56797" y="97706"/>
                        <a:pt x="62720" y="93517"/>
                      </a:cubicBezTo>
                      <a:cubicBezTo>
                        <a:pt x="62720" y="93517"/>
                        <a:pt x="61734" y="48104"/>
                        <a:pt x="59016" y="30585"/>
                      </a:cubicBezTo>
                      <a:cubicBezTo>
                        <a:pt x="56298" y="13066"/>
                        <a:pt x="47171" y="-2982"/>
                        <a:pt x="32120" y="472"/>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33" name="Graphic 525">
                <a:extLst>
                  <a:ext uri="{FF2B5EF4-FFF2-40B4-BE49-F238E27FC236}">
                    <a16:creationId xmlns:a16="http://schemas.microsoft.com/office/drawing/2014/main" id="{7874CB0B-2BF9-F205-4922-53EF9B59C138}"/>
                  </a:ext>
                </a:extLst>
              </p:cNvPr>
              <p:cNvGrpSpPr/>
              <p:nvPr/>
            </p:nvGrpSpPr>
            <p:grpSpPr>
              <a:xfrm>
                <a:off x="6086306" y="4277407"/>
                <a:ext cx="151835" cy="152420"/>
                <a:chOff x="6086306" y="4277407"/>
                <a:chExt cx="151835" cy="152420"/>
              </a:xfrm>
            </p:grpSpPr>
            <p:grpSp>
              <p:nvGrpSpPr>
                <p:cNvPr id="3134" name="Graphic 525">
                  <a:extLst>
                    <a:ext uri="{FF2B5EF4-FFF2-40B4-BE49-F238E27FC236}">
                      <a16:creationId xmlns:a16="http://schemas.microsoft.com/office/drawing/2014/main" id="{30E6B61D-73F3-CCDB-0FC6-19167764D423}"/>
                    </a:ext>
                  </a:extLst>
                </p:cNvPr>
                <p:cNvGrpSpPr/>
                <p:nvPr/>
              </p:nvGrpSpPr>
              <p:grpSpPr>
                <a:xfrm>
                  <a:off x="6181693" y="4298242"/>
                  <a:ext cx="56448" cy="109727"/>
                  <a:chOff x="6181693" y="4298242"/>
                  <a:chExt cx="56448" cy="109727"/>
                </a:xfrm>
              </p:grpSpPr>
              <p:sp>
                <p:nvSpPr>
                  <p:cNvPr id="3135" name="Freeform: Shape 3134">
                    <a:extLst>
                      <a:ext uri="{FF2B5EF4-FFF2-40B4-BE49-F238E27FC236}">
                        <a16:creationId xmlns:a16="http://schemas.microsoft.com/office/drawing/2014/main" id="{049FAB42-564F-41AB-FDF3-49C57BF5C410}"/>
                      </a:ext>
                    </a:extLst>
                  </p:cNvPr>
                  <p:cNvSpPr/>
                  <p:nvPr/>
                </p:nvSpPr>
                <p:spPr>
                  <a:xfrm>
                    <a:off x="6181693" y="4298242"/>
                    <a:ext cx="56448" cy="109727"/>
                  </a:xfrm>
                  <a:custGeom>
                    <a:avLst/>
                    <a:gdLst>
                      <a:gd name="connsiteX0" fmla="*/ 1952 w 56448"/>
                      <a:gd name="connsiteY0" fmla="*/ 1487 h 109727"/>
                      <a:gd name="connsiteX1" fmla="*/ 2276 w 56448"/>
                      <a:gd name="connsiteY1" fmla="*/ 17285 h 109727"/>
                      <a:gd name="connsiteX2" fmla="*/ 18237 w 56448"/>
                      <a:gd name="connsiteY2" fmla="*/ 78159 h 109727"/>
                      <a:gd name="connsiteX3" fmla="*/ 50482 w 56448"/>
                      <a:gd name="connsiteY3" fmla="*/ 108097 h 109727"/>
                      <a:gd name="connsiteX4" fmla="*/ 48175 w 56448"/>
                      <a:gd name="connsiteY4" fmla="*/ 66638 h 109727"/>
                      <a:gd name="connsiteX5" fmla="*/ 19384 w 56448"/>
                      <a:gd name="connsiteY5" fmla="*/ 11524 h 109727"/>
                      <a:gd name="connsiteX6" fmla="*/ 1940 w 56448"/>
                      <a:gd name="connsiteY6" fmla="*/ 1487 h 1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48" h="109727">
                        <a:moveTo>
                          <a:pt x="1952" y="1487"/>
                        </a:moveTo>
                        <a:cubicBezTo>
                          <a:pt x="1952" y="1487"/>
                          <a:pt x="-2649" y="4454"/>
                          <a:pt x="2276" y="17285"/>
                        </a:cubicBezTo>
                        <a:cubicBezTo>
                          <a:pt x="6628" y="28594"/>
                          <a:pt x="11865" y="62735"/>
                          <a:pt x="18237" y="78159"/>
                        </a:cubicBezTo>
                        <a:cubicBezTo>
                          <a:pt x="26466" y="98072"/>
                          <a:pt x="39621" y="115180"/>
                          <a:pt x="50482" y="108097"/>
                        </a:cubicBezTo>
                        <a:cubicBezTo>
                          <a:pt x="61342" y="101027"/>
                          <a:pt x="55419" y="79630"/>
                          <a:pt x="48175" y="66638"/>
                        </a:cubicBezTo>
                        <a:cubicBezTo>
                          <a:pt x="40931" y="53645"/>
                          <a:pt x="23823" y="20901"/>
                          <a:pt x="19384" y="11524"/>
                        </a:cubicBezTo>
                        <a:cubicBezTo>
                          <a:pt x="14945" y="2147"/>
                          <a:pt x="7538" y="-2628"/>
                          <a:pt x="1940" y="1487"/>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36" name="Freeform: Shape 3135">
                    <a:extLst>
                      <a:ext uri="{FF2B5EF4-FFF2-40B4-BE49-F238E27FC236}">
                        <a16:creationId xmlns:a16="http://schemas.microsoft.com/office/drawing/2014/main" id="{9010C6A0-1F43-DC0C-4CFF-FED474C83EA5}"/>
                      </a:ext>
                    </a:extLst>
                  </p:cNvPr>
                  <p:cNvSpPr/>
                  <p:nvPr/>
                </p:nvSpPr>
                <p:spPr>
                  <a:xfrm>
                    <a:off x="6181693" y="4298242"/>
                    <a:ext cx="21017" cy="26973"/>
                  </a:xfrm>
                  <a:custGeom>
                    <a:avLst/>
                    <a:gdLst>
                      <a:gd name="connsiteX0" fmla="*/ 19396 w 21017"/>
                      <a:gd name="connsiteY0" fmla="*/ 11524 h 26973"/>
                      <a:gd name="connsiteX1" fmla="*/ 1952 w 21017"/>
                      <a:gd name="connsiteY1" fmla="*/ 1487 h 26973"/>
                      <a:gd name="connsiteX2" fmla="*/ 2276 w 21017"/>
                      <a:gd name="connsiteY2" fmla="*/ 17285 h 26973"/>
                      <a:gd name="connsiteX3" fmla="*/ 5119 w 21017"/>
                      <a:gd name="connsiteY3" fmla="*/ 26973 h 26973"/>
                      <a:gd name="connsiteX4" fmla="*/ 10007 w 21017"/>
                      <a:gd name="connsiteY4" fmla="*/ 21886 h 26973"/>
                      <a:gd name="connsiteX5" fmla="*/ 21017 w 21017"/>
                      <a:gd name="connsiteY5" fmla="*/ 14878 h 26973"/>
                      <a:gd name="connsiteX6" fmla="*/ 19384 w 21017"/>
                      <a:gd name="connsiteY6" fmla="*/ 11512 h 2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17" h="26973">
                        <a:moveTo>
                          <a:pt x="19396" y="11524"/>
                        </a:moveTo>
                        <a:cubicBezTo>
                          <a:pt x="14957" y="2147"/>
                          <a:pt x="7551" y="-2628"/>
                          <a:pt x="1952" y="1487"/>
                        </a:cubicBezTo>
                        <a:cubicBezTo>
                          <a:pt x="1952" y="1487"/>
                          <a:pt x="-2649" y="4454"/>
                          <a:pt x="2276" y="17285"/>
                        </a:cubicBezTo>
                        <a:cubicBezTo>
                          <a:pt x="3187" y="19642"/>
                          <a:pt x="4134" y="23008"/>
                          <a:pt x="5119" y="26973"/>
                        </a:cubicBezTo>
                        <a:cubicBezTo>
                          <a:pt x="6616" y="25664"/>
                          <a:pt x="8935" y="23494"/>
                          <a:pt x="10007" y="21886"/>
                        </a:cubicBezTo>
                        <a:cubicBezTo>
                          <a:pt x="10007" y="21886"/>
                          <a:pt x="15556" y="25240"/>
                          <a:pt x="21017" y="14878"/>
                        </a:cubicBezTo>
                        <a:cubicBezTo>
                          <a:pt x="20369" y="13569"/>
                          <a:pt x="19808" y="12422"/>
                          <a:pt x="19384" y="11512"/>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37" name="Graphic 525">
                  <a:extLst>
                    <a:ext uri="{FF2B5EF4-FFF2-40B4-BE49-F238E27FC236}">
                      <a16:creationId xmlns:a16="http://schemas.microsoft.com/office/drawing/2014/main" id="{A599318D-5713-1852-43F1-BD1FCEDC916E}"/>
                    </a:ext>
                  </a:extLst>
                </p:cNvPr>
                <p:cNvGrpSpPr/>
                <p:nvPr/>
              </p:nvGrpSpPr>
              <p:grpSpPr>
                <a:xfrm>
                  <a:off x="6086306" y="4277407"/>
                  <a:ext cx="118499" cy="152420"/>
                  <a:chOff x="6086306" y="4277407"/>
                  <a:chExt cx="118499" cy="152420"/>
                </a:xfrm>
              </p:grpSpPr>
              <p:sp>
                <p:nvSpPr>
                  <p:cNvPr id="3138" name="Freeform: Shape 3137">
                    <a:extLst>
                      <a:ext uri="{FF2B5EF4-FFF2-40B4-BE49-F238E27FC236}">
                        <a16:creationId xmlns:a16="http://schemas.microsoft.com/office/drawing/2014/main" id="{8A6A7914-6344-87A3-DC15-5EF1EA54A64A}"/>
                      </a:ext>
                    </a:extLst>
                  </p:cNvPr>
                  <p:cNvSpPr/>
                  <p:nvPr/>
                </p:nvSpPr>
                <p:spPr>
                  <a:xfrm>
                    <a:off x="6086306" y="4309620"/>
                    <a:ext cx="92953" cy="120207"/>
                  </a:xfrm>
                  <a:custGeom>
                    <a:avLst/>
                    <a:gdLst>
                      <a:gd name="connsiteX0" fmla="*/ 30 w 92953"/>
                      <a:gd name="connsiteY0" fmla="*/ 106508 h 120207"/>
                      <a:gd name="connsiteX1" fmla="*/ 12125 w 92953"/>
                      <a:gd name="connsiteY1" fmla="*/ 76894 h 120207"/>
                      <a:gd name="connsiteX2" fmla="*/ 73573 w 92953"/>
                      <a:gd name="connsiteY2" fmla="*/ 8538 h 120207"/>
                      <a:gd name="connsiteX3" fmla="*/ 90605 w 92953"/>
                      <a:gd name="connsiteY3" fmla="*/ 1381 h 120207"/>
                      <a:gd name="connsiteX4" fmla="*/ 85668 w 92953"/>
                      <a:gd name="connsiteY4" fmla="*/ 28277 h 120207"/>
                      <a:gd name="connsiteX5" fmla="*/ 41989 w 92953"/>
                      <a:gd name="connsiteY5" fmla="*/ 100086 h 120207"/>
                      <a:gd name="connsiteX6" fmla="*/ 30 w 92953"/>
                      <a:gd name="connsiteY6" fmla="*/ 106508 h 12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3" h="120207">
                        <a:moveTo>
                          <a:pt x="30" y="106508"/>
                        </a:moveTo>
                        <a:cubicBezTo>
                          <a:pt x="30" y="106508"/>
                          <a:pt x="-1204" y="99350"/>
                          <a:pt x="12125" y="76894"/>
                        </a:cubicBezTo>
                        <a:cubicBezTo>
                          <a:pt x="25455" y="54437"/>
                          <a:pt x="65680" y="18164"/>
                          <a:pt x="73573" y="8538"/>
                        </a:cubicBezTo>
                        <a:cubicBezTo>
                          <a:pt x="81466" y="-1088"/>
                          <a:pt x="86154" y="-1088"/>
                          <a:pt x="90605" y="1381"/>
                        </a:cubicBezTo>
                        <a:cubicBezTo>
                          <a:pt x="95045" y="3850"/>
                          <a:pt x="93075" y="14211"/>
                          <a:pt x="85668" y="28277"/>
                        </a:cubicBezTo>
                        <a:cubicBezTo>
                          <a:pt x="78261" y="42342"/>
                          <a:pt x="55555" y="82081"/>
                          <a:pt x="41989" y="100086"/>
                        </a:cubicBezTo>
                        <a:cubicBezTo>
                          <a:pt x="28410" y="118104"/>
                          <a:pt x="7187" y="131433"/>
                          <a:pt x="30" y="106508"/>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39" name="Graphic 525">
                    <a:extLst>
                      <a:ext uri="{FF2B5EF4-FFF2-40B4-BE49-F238E27FC236}">
                        <a16:creationId xmlns:a16="http://schemas.microsoft.com/office/drawing/2014/main" id="{A228D4B6-3387-960E-D137-8C0F6ECBE6EC}"/>
                      </a:ext>
                    </a:extLst>
                  </p:cNvPr>
                  <p:cNvGrpSpPr/>
                  <p:nvPr/>
                </p:nvGrpSpPr>
                <p:grpSpPr>
                  <a:xfrm>
                    <a:off x="6149506" y="4277407"/>
                    <a:ext cx="55298" cy="67478"/>
                    <a:chOff x="6149506" y="4277407"/>
                    <a:chExt cx="55298" cy="67478"/>
                  </a:xfrm>
                </p:grpSpPr>
                <p:sp>
                  <p:nvSpPr>
                    <p:cNvPr id="3140" name="Freeform: Shape 3139">
                      <a:extLst>
                        <a:ext uri="{FF2B5EF4-FFF2-40B4-BE49-F238E27FC236}">
                          <a16:creationId xmlns:a16="http://schemas.microsoft.com/office/drawing/2014/main" id="{2CD27E63-0C04-906D-1939-D7C5EAAA99C5}"/>
                        </a:ext>
                      </a:extLst>
                    </p:cNvPr>
                    <p:cNvSpPr/>
                    <p:nvPr/>
                  </p:nvSpPr>
                  <p:spPr>
                    <a:xfrm>
                      <a:off x="6175426" y="4277407"/>
                      <a:ext cx="28144" cy="22669"/>
                    </a:xfrm>
                    <a:custGeom>
                      <a:avLst/>
                      <a:gdLst>
                        <a:gd name="connsiteX0" fmla="*/ 2296 w 28144"/>
                        <a:gd name="connsiteY0" fmla="*/ 1922 h 22669"/>
                        <a:gd name="connsiteX1" fmla="*/ 9865 w 28144"/>
                        <a:gd name="connsiteY1" fmla="*/ 276 h 22669"/>
                        <a:gd name="connsiteX2" fmla="*/ 27957 w 28144"/>
                        <a:gd name="connsiteY2" fmla="*/ 11462 h 22669"/>
                        <a:gd name="connsiteX3" fmla="*/ 23842 w 28144"/>
                        <a:gd name="connsiteY3" fmla="*/ 22646 h 22669"/>
                        <a:gd name="connsiteX4" fmla="*/ 313 w 28144"/>
                        <a:gd name="connsiteY4" fmla="*/ 9977 h 22669"/>
                        <a:gd name="connsiteX5" fmla="*/ 2283 w 28144"/>
                        <a:gd name="connsiteY5" fmla="*/ 1910 h 2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44" h="22669">
                          <a:moveTo>
                            <a:pt x="2296" y="1922"/>
                          </a:moveTo>
                          <a:cubicBezTo>
                            <a:pt x="2296" y="1922"/>
                            <a:pt x="5251" y="-871"/>
                            <a:pt x="9865" y="276"/>
                          </a:cubicBezTo>
                          <a:cubicBezTo>
                            <a:pt x="13593" y="1212"/>
                            <a:pt x="26972" y="3893"/>
                            <a:pt x="27957" y="11462"/>
                          </a:cubicBezTo>
                          <a:cubicBezTo>
                            <a:pt x="28942" y="19030"/>
                            <a:pt x="25812" y="22160"/>
                            <a:pt x="23842" y="22646"/>
                          </a:cubicBezTo>
                          <a:cubicBezTo>
                            <a:pt x="21872" y="23145"/>
                            <a:pt x="1635" y="15576"/>
                            <a:pt x="313" y="9977"/>
                          </a:cubicBezTo>
                          <a:cubicBezTo>
                            <a:pt x="-1009" y="4379"/>
                            <a:pt x="2283" y="1910"/>
                            <a:pt x="2283" y="191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41" name="Graphic 525">
                      <a:extLst>
                        <a:ext uri="{FF2B5EF4-FFF2-40B4-BE49-F238E27FC236}">
                          <a16:creationId xmlns:a16="http://schemas.microsoft.com/office/drawing/2014/main" id="{080CA977-461C-F908-E274-890159FB78E4}"/>
                        </a:ext>
                      </a:extLst>
                    </p:cNvPr>
                    <p:cNvGrpSpPr/>
                    <p:nvPr/>
                  </p:nvGrpSpPr>
                  <p:grpSpPr>
                    <a:xfrm>
                      <a:off x="6149506" y="4281054"/>
                      <a:ext cx="55298" cy="63831"/>
                      <a:chOff x="6149506" y="4281054"/>
                      <a:chExt cx="55298" cy="63831"/>
                    </a:xfrm>
                  </p:grpSpPr>
                  <p:sp>
                    <p:nvSpPr>
                      <p:cNvPr id="3142" name="Freeform: Shape 3141">
                        <a:extLst>
                          <a:ext uri="{FF2B5EF4-FFF2-40B4-BE49-F238E27FC236}">
                            <a16:creationId xmlns:a16="http://schemas.microsoft.com/office/drawing/2014/main" id="{1CA78255-A6AA-44AB-4828-6EB0D431469D}"/>
                          </a:ext>
                        </a:extLst>
                      </p:cNvPr>
                      <p:cNvSpPr/>
                      <p:nvPr/>
                    </p:nvSpPr>
                    <p:spPr>
                      <a:xfrm>
                        <a:off x="6149506" y="4281054"/>
                        <a:ext cx="55298" cy="63831"/>
                      </a:xfrm>
                      <a:custGeom>
                        <a:avLst/>
                        <a:gdLst>
                          <a:gd name="connsiteX0" fmla="*/ 5522 w 55298"/>
                          <a:gd name="connsiteY0" fmla="*/ 42366 h 63831"/>
                          <a:gd name="connsiteX1" fmla="*/ 15560 w 55298"/>
                          <a:gd name="connsiteY1" fmla="*/ 25583 h 63831"/>
                          <a:gd name="connsiteX2" fmla="*/ 26258 w 55298"/>
                          <a:gd name="connsiteY2" fmla="*/ 2715 h 63831"/>
                          <a:gd name="connsiteX3" fmla="*/ 34974 w 55298"/>
                          <a:gd name="connsiteY3" fmla="*/ 907 h 63831"/>
                          <a:gd name="connsiteX4" fmla="*/ 44351 w 55298"/>
                          <a:gd name="connsiteY4" fmla="*/ 3375 h 63831"/>
                          <a:gd name="connsiteX5" fmla="*/ 50772 w 55298"/>
                          <a:gd name="connsiteY5" fmla="*/ 8475 h 63831"/>
                          <a:gd name="connsiteX6" fmla="*/ 55212 w 55298"/>
                          <a:gd name="connsiteY6" fmla="*/ 17029 h 63831"/>
                          <a:gd name="connsiteX7" fmla="*/ 45585 w 55298"/>
                          <a:gd name="connsiteY7" fmla="*/ 35533 h 63831"/>
                          <a:gd name="connsiteX8" fmla="*/ 42705 w 55298"/>
                          <a:gd name="connsiteY8" fmla="*/ 32329 h 63831"/>
                          <a:gd name="connsiteX9" fmla="*/ 35797 w 55298"/>
                          <a:gd name="connsiteY9" fmla="*/ 40059 h 63831"/>
                          <a:gd name="connsiteX10" fmla="*/ 21981 w 55298"/>
                          <a:gd name="connsiteY10" fmla="*/ 57990 h 63831"/>
                          <a:gd name="connsiteX11" fmla="*/ 2891 w 55298"/>
                          <a:gd name="connsiteY11" fmla="*/ 60459 h 63831"/>
                          <a:gd name="connsiteX12" fmla="*/ 5522 w 55298"/>
                          <a:gd name="connsiteY12" fmla="*/ 42366 h 6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298" h="63831">
                            <a:moveTo>
                              <a:pt x="5522" y="42366"/>
                            </a:moveTo>
                            <a:cubicBezTo>
                              <a:pt x="5522" y="42366"/>
                              <a:pt x="13415" y="32004"/>
                              <a:pt x="15560" y="25583"/>
                            </a:cubicBezTo>
                            <a:cubicBezTo>
                              <a:pt x="17705" y="19161"/>
                              <a:pt x="24612" y="5844"/>
                              <a:pt x="26258" y="2715"/>
                            </a:cubicBezTo>
                            <a:cubicBezTo>
                              <a:pt x="27904" y="-415"/>
                              <a:pt x="32019" y="-577"/>
                              <a:pt x="34974" y="907"/>
                            </a:cubicBezTo>
                            <a:cubicBezTo>
                              <a:pt x="37930" y="2390"/>
                              <a:pt x="42381" y="-241"/>
                              <a:pt x="44351" y="3375"/>
                            </a:cubicBezTo>
                            <a:cubicBezTo>
                              <a:pt x="46321" y="6991"/>
                              <a:pt x="50112" y="3537"/>
                              <a:pt x="50772" y="8475"/>
                            </a:cubicBezTo>
                            <a:cubicBezTo>
                              <a:pt x="50772" y="8475"/>
                              <a:pt x="56035" y="9623"/>
                              <a:pt x="55212" y="17029"/>
                            </a:cubicBezTo>
                            <a:cubicBezTo>
                              <a:pt x="54389" y="24436"/>
                              <a:pt x="51010" y="32827"/>
                              <a:pt x="45585" y="35533"/>
                            </a:cubicBezTo>
                            <a:cubicBezTo>
                              <a:pt x="41471" y="37591"/>
                              <a:pt x="42705" y="32329"/>
                              <a:pt x="42705" y="32329"/>
                            </a:cubicBezTo>
                            <a:cubicBezTo>
                              <a:pt x="42705" y="32329"/>
                              <a:pt x="40735" y="35783"/>
                              <a:pt x="35797" y="40059"/>
                            </a:cubicBezTo>
                            <a:cubicBezTo>
                              <a:pt x="30859" y="44336"/>
                              <a:pt x="25435" y="51905"/>
                              <a:pt x="21981" y="57990"/>
                            </a:cubicBezTo>
                            <a:cubicBezTo>
                              <a:pt x="18528" y="64075"/>
                              <a:pt x="9974" y="66220"/>
                              <a:pt x="2891" y="60459"/>
                            </a:cubicBezTo>
                            <a:cubicBezTo>
                              <a:pt x="-4179" y="54698"/>
                              <a:pt x="3714" y="45484"/>
                              <a:pt x="5522" y="4236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43" name="Freeform: Shape 3142">
                        <a:extLst>
                          <a:ext uri="{FF2B5EF4-FFF2-40B4-BE49-F238E27FC236}">
                            <a16:creationId xmlns:a16="http://schemas.microsoft.com/office/drawing/2014/main" id="{37AC2D70-817C-EC19-ABC2-EC0BAC392062}"/>
                          </a:ext>
                        </a:extLst>
                      </p:cNvPr>
                      <p:cNvSpPr/>
                      <p:nvPr/>
                    </p:nvSpPr>
                    <p:spPr>
                      <a:xfrm>
                        <a:off x="6192149" y="4301471"/>
                        <a:ext cx="7281" cy="11979"/>
                      </a:xfrm>
                      <a:custGeom>
                        <a:avLst/>
                        <a:gdLst>
                          <a:gd name="connsiteX0" fmla="*/ 0 w 7281"/>
                          <a:gd name="connsiteY0" fmla="*/ 11861 h 11979"/>
                          <a:gd name="connsiteX1" fmla="*/ 1833 w 7281"/>
                          <a:gd name="connsiteY1" fmla="*/ 8906 h 11979"/>
                          <a:gd name="connsiteX2" fmla="*/ 2706 w 7281"/>
                          <a:gd name="connsiteY2" fmla="*/ 7410 h 11979"/>
                          <a:gd name="connsiteX3" fmla="*/ 3554 w 7281"/>
                          <a:gd name="connsiteY3" fmla="*/ 5913 h 11979"/>
                          <a:gd name="connsiteX4" fmla="*/ 4314 w 7281"/>
                          <a:gd name="connsiteY4" fmla="*/ 4367 h 11979"/>
                          <a:gd name="connsiteX5" fmla="*/ 5137 w 7281"/>
                          <a:gd name="connsiteY5" fmla="*/ 2871 h 11979"/>
                          <a:gd name="connsiteX6" fmla="*/ 7145 w 7281"/>
                          <a:gd name="connsiteY6" fmla="*/ 28 h 11979"/>
                          <a:gd name="connsiteX7" fmla="*/ 7257 w 7281"/>
                          <a:gd name="connsiteY7" fmla="*/ 28 h 11979"/>
                          <a:gd name="connsiteX8" fmla="*/ 7282 w 7281"/>
                          <a:gd name="connsiteY8" fmla="*/ 90 h 11979"/>
                          <a:gd name="connsiteX9" fmla="*/ 7020 w 7281"/>
                          <a:gd name="connsiteY9" fmla="*/ 1886 h 11979"/>
                          <a:gd name="connsiteX10" fmla="*/ 6446 w 7281"/>
                          <a:gd name="connsiteY10" fmla="*/ 3569 h 11979"/>
                          <a:gd name="connsiteX11" fmla="*/ 5586 w 7281"/>
                          <a:gd name="connsiteY11" fmla="*/ 5116 h 11979"/>
                          <a:gd name="connsiteX12" fmla="*/ 4564 w 7281"/>
                          <a:gd name="connsiteY12" fmla="*/ 6549 h 11979"/>
                          <a:gd name="connsiteX13" fmla="*/ 3529 w 7281"/>
                          <a:gd name="connsiteY13" fmla="*/ 7971 h 11979"/>
                          <a:gd name="connsiteX14" fmla="*/ 2444 w 7281"/>
                          <a:gd name="connsiteY14" fmla="*/ 9342 h 11979"/>
                          <a:gd name="connsiteX15" fmla="*/ 125 w 7281"/>
                          <a:gd name="connsiteY15" fmla="*/ 11961 h 11979"/>
                          <a:gd name="connsiteX16" fmla="*/ 25 w 7281"/>
                          <a:gd name="connsiteY16" fmla="*/ 11961 h 11979"/>
                          <a:gd name="connsiteX17" fmla="*/ 25 w 7281"/>
                          <a:gd name="connsiteY17" fmla="*/ 11874 h 11979"/>
                          <a:gd name="connsiteX18" fmla="*/ 25 w 7281"/>
                          <a:gd name="connsiteY18" fmla="*/ 11874 h 1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81" h="11979">
                            <a:moveTo>
                              <a:pt x="0" y="11861"/>
                            </a:moveTo>
                            <a:cubicBezTo>
                              <a:pt x="623" y="10889"/>
                              <a:pt x="1247" y="9904"/>
                              <a:pt x="1833" y="8906"/>
                            </a:cubicBezTo>
                            <a:cubicBezTo>
                              <a:pt x="2132" y="8407"/>
                              <a:pt x="2419" y="7921"/>
                              <a:pt x="2706" y="7410"/>
                            </a:cubicBezTo>
                            <a:cubicBezTo>
                              <a:pt x="3005" y="6911"/>
                              <a:pt x="3279" y="6412"/>
                              <a:pt x="3554" y="5913"/>
                            </a:cubicBezTo>
                            <a:cubicBezTo>
                              <a:pt x="3828" y="5402"/>
                              <a:pt x="4077" y="4891"/>
                              <a:pt x="4314" y="4367"/>
                            </a:cubicBezTo>
                            <a:cubicBezTo>
                              <a:pt x="4564" y="3856"/>
                              <a:pt x="4825" y="3345"/>
                              <a:pt x="5137" y="2871"/>
                            </a:cubicBezTo>
                            <a:cubicBezTo>
                              <a:pt x="5748" y="1911"/>
                              <a:pt x="6359" y="963"/>
                              <a:pt x="7145" y="28"/>
                            </a:cubicBezTo>
                            <a:cubicBezTo>
                              <a:pt x="7170" y="-9"/>
                              <a:pt x="7219" y="-9"/>
                              <a:pt x="7257" y="28"/>
                            </a:cubicBezTo>
                            <a:cubicBezTo>
                              <a:pt x="7269" y="41"/>
                              <a:pt x="7282" y="66"/>
                              <a:pt x="7282" y="90"/>
                            </a:cubicBezTo>
                            <a:cubicBezTo>
                              <a:pt x="7269" y="701"/>
                              <a:pt x="7182" y="1312"/>
                              <a:pt x="7020" y="1886"/>
                            </a:cubicBezTo>
                            <a:cubicBezTo>
                              <a:pt x="6883" y="2472"/>
                              <a:pt x="6671" y="3021"/>
                              <a:pt x="6446" y="3569"/>
                            </a:cubicBezTo>
                            <a:cubicBezTo>
                              <a:pt x="6210" y="4106"/>
                              <a:pt x="5923" y="4629"/>
                              <a:pt x="5586" y="5116"/>
                            </a:cubicBezTo>
                            <a:cubicBezTo>
                              <a:pt x="5249" y="5602"/>
                              <a:pt x="4888" y="6063"/>
                              <a:pt x="4564" y="6549"/>
                            </a:cubicBezTo>
                            <a:cubicBezTo>
                              <a:pt x="4227" y="7023"/>
                              <a:pt x="3878" y="7497"/>
                              <a:pt x="3529" y="7971"/>
                            </a:cubicBezTo>
                            <a:cubicBezTo>
                              <a:pt x="3179" y="8432"/>
                              <a:pt x="2806" y="8894"/>
                              <a:pt x="2444" y="9342"/>
                            </a:cubicBezTo>
                            <a:cubicBezTo>
                              <a:pt x="1696" y="10240"/>
                              <a:pt x="935" y="11125"/>
                              <a:pt x="125" y="11961"/>
                            </a:cubicBezTo>
                            <a:cubicBezTo>
                              <a:pt x="100" y="11986"/>
                              <a:pt x="50" y="11986"/>
                              <a:pt x="25" y="11961"/>
                            </a:cubicBezTo>
                            <a:cubicBezTo>
                              <a:pt x="0" y="11936"/>
                              <a:pt x="0" y="11899"/>
                              <a:pt x="25" y="11874"/>
                            </a:cubicBezTo>
                            <a:lnTo>
                              <a:pt x="25" y="11874"/>
                            </a:ln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44" name="Freeform: Shape 3143">
                        <a:extLst>
                          <a:ext uri="{FF2B5EF4-FFF2-40B4-BE49-F238E27FC236}">
                            <a16:creationId xmlns:a16="http://schemas.microsoft.com/office/drawing/2014/main" id="{68F366BB-0FF1-D093-FCD3-A72779167691}"/>
                          </a:ext>
                        </a:extLst>
                      </p:cNvPr>
                      <p:cNvSpPr/>
                      <p:nvPr/>
                    </p:nvSpPr>
                    <p:spPr>
                      <a:xfrm>
                        <a:off x="6168894" y="4281054"/>
                        <a:ext cx="34776" cy="20557"/>
                      </a:xfrm>
                      <a:custGeom>
                        <a:avLst/>
                        <a:gdLst>
                          <a:gd name="connsiteX0" fmla="*/ 26272 w 34776"/>
                          <a:gd name="connsiteY0" fmla="*/ 16742 h 20557"/>
                          <a:gd name="connsiteX1" fmla="*/ 34776 w 34776"/>
                          <a:gd name="connsiteY1" fmla="*/ 11081 h 20557"/>
                          <a:gd name="connsiteX2" fmla="*/ 31372 w 34776"/>
                          <a:gd name="connsiteY2" fmla="*/ 8475 h 20557"/>
                          <a:gd name="connsiteX3" fmla="*/ 24951 w 34776"/>
                          <a:gd name="connsiteY3" fmla="*/ 3375 h 20557"/>
                          <a:gd name="connsiteX4" fmla="*/ 15574 w 34776"/>
                          <a:gd name="connsiteY4" fmla="*/ 907 h 20557"/>
                          <a:gd name="connsiteX5" fmla="*/ 6858 w 34776"/>
                          <a:gd name="connsiteY5" fmla="*/ 2715 h 20557"/>
                          <a:gd name="connsiteX6" fmla="*/ 0 w 34776"/>
                          <a:gd name="connsiteY6" fmla="*/ 16456 h 20557"/>
                          <a:gd name="connsiteX7" fmla="*/ 6895 w 34776"/>
                          <a:gd name="connsiteY7" fmla="*/ 11929 h 20557"/>
                          <a:gd name="connsiteX8" fmla="*/ 14302 w 34776"/>
                          <a:gd name="connsiteY8" fmla="*/ 2677 h 20557"/>
                          <a:gd name="connsiteX9" fmla="*/ 8317 w 34776"/>
                          <a:gd name="connsiteY9" fmla="*/ 14149 h 20557"/>
                          <a:gd name="connsiteX10" fmla="*/ 15911 w 34776"/>
                          <a:gd name="connsiteY10" fmla="*/ 14760 h 20557"/>
                          <a:gd name="connsiteX11" fmla="*/ 16035 w 34776"/>
                          <a:gd name="connsiteY11" fmla="*/ 20246 h 20557"/>
                          <a:gd name="connsiteX12" fmla="*/ 26272 w 34776"/>
                          <a:gd name="connsiteY12" fmla="*/ 16730 h 2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76" h="20557">
                            <a:moveTo>
                              <a:pt x="26272" y="16742"/>
                            </a:moveTo>
                            <a:cubicBezTo>
                              <a:pt x="28754" y="14598"/>
                              <a:pt x="33891" y="11592"/>
                              <a:pt x="34776" y="11081"/>
                            </a:cubicBezTo>
                            <a:cubicBezTo>
                              <a:pt x="33430" y="8924"/>
                              <a:pt x="31372" y="8475"/>
                              <a:pt x="31372" y="8475"/>
                            </a:cubicBezTo>
                            <a:cubicBezTo>
                              <a:pt x="30712" y="3537"/>
                              <a:pt x="26933" y="6991"/>
                              <a:pt x="24951" y="3375"/>
                            </a:cubicBezTo>
                            <a:cubicBezTo>
                              <a:pt x="22980" y="-241"/>
                              <a:pt x="18529" y="2390"/>
                              <a:pt x="15574" y="907"/>
                            </a:cubicBezTo>
                            <a:cubicBezTo>
                              <a:pt x="12606" y="-577"/>
                              <a:pt x="8504" y="-415"/>
                              <a:pt x="6858" y="2715"/>
                            </a:cubicBezTo>
                            <a:cubicBezTo>
                              <a:pt x="5823" y="4685"/>
                              <a:pt x="2706" y="10682"/>
                              <a:pt x="0" y="16456"/>
                            </a:cubicBezTo>
                            <a:cubicBezTo>
                              <a:pt x="1459" y="16069"/>
                              <a:pt x="4888" y="14884"/>
                              <a:pt x="6895" y="11929"/>
                            </a:cubicBezTo>
                            <a:cubicBezTo>
                              <a:pt x="9489" y="8101"/>
                              <a:pt x="14302" y="2677"/>
                              <a:pt x="14302" y="2677"/>
                            </a:cubicBezTo>
                            <a:cubicBezTo>
                              <a:pt x="14302" y="2677"/>
                              <a:pt x="9552" y="8538"/>
                              <a:pt x="8317" y="14149"/>
                            </a:cubicBezTo>
                            <a:cubicBezTo>
                              <a:pt x="7082" y="19760"/>
                              <a:pt x="13504" y="17852"/>
                              <a:pt x="15911" y="14760"/>
                            </a:cubicBezTo>
                            <a:cubicBezTo>
                              <a:pt x="15911" y="14760"/>
                              <a:pt x="13130" y="19074"/>
                              <a:pt x="16035" y="20246"/>
                            </a:cubicBezTo>
                            <a:cubicBezTo>
                              <a:pt x="18940" y="21418"/>
                              <a:pt x="23567" y="19074"/>
                              <a:pt x="26272" y="16730"/>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45" name="Graphic 525">
                      <a:extLst>
                        <a:ext uri="{FF2B5EF4-FFF2-40B4-BE49-F238E27FC236}">
                          <a16:creationId xmlns:a16="http://schemas.microsoft.com/office/drawing/2014/main" id="{B4787120-3CFE-D340-FE7D-4876E3EF4A01}"/>
                        </a:ext>
                      </a:extLst>
                    </p:cNvPr>
                    <p:cNvGrpSpPr/>
                    <p:nvPr/>
                  </p:nvGrpSpPr>
                  <p:grpSpPr>
                    <a:xfrm>
                      <a:off x="6168814" y="4278406"/>
                      <a:ext cx="32273" cy="21091"/>
                      <a:chOff x="6168814" y="4278406"/>
                      <a:chExt cx="32273" cy="21091"/>
                    </a:xfrm>
                    <a:solidFill>
                      <a:srgbClr val="F9C4B9"/>
                    </a:solidFill>
                  </p:grpSpPr>
                  <p:sp>
                    <p:nvSpPr>
                      <p:cNvPr id="3146" name="Freeform: Shape 3145">
                        <a:extLst>
                          <a:ext uri="{FF2B5EF4-FFF2-40B4-BE49-F238E27FC236}">
                            <a16:creationId xmlns:a16="http://schemas.microsoft.com/office/drawing/2014/main" id="{5495BC5A-A4C5-4276-3F29-4E835A7AEDD7}"/>
                          </a:ext>
                        </a:extLst>
                      </p:cNvPr>
                      <p:cNvSpPr/>
                      <p:nvPr/>
                    </p:nvSpPr>
                    <p:spPr>
                      <a:xfrm>
                        <a:off x="6177524" y="4279479"/>
                        <a:ext cx="16102" cy="17314"/>
                      </a:xfrm>
                      <a:custGeom>
                        <a:avLst/>
                        <a:gdLst>
                          <a:gd name="connsiteX0" fmla="*/ 10323 w 16102"/>
                          <a:gd name="connsiteY0" fmla="*/ 12 h 17314"/>
                          <a:gd name="connsiteX1" fmla="*/ 4313 w 16102"/>
                          <a:gd name="connsiteY1" fmla="*/ 4950 h 17314"/>
                          <a:gd name="connsiteX2" fmla="*/ 535 w 16102"/>
                          <a:gd name="connsiteY2" fmla="*/ 17120 h 17314"/>
                          <a:gd name="connsiteX3" fmla="*/ 9251 w 16102"/>
                          <a:gd name="connsiteY3" fmla="*/ 9713 h 17314"/>
                          <a:gd name="connsiteX4" fmla="*/ 16034 w 16102"/>
                          <a:gd name="connsiteY4" fmla="*/ 3466 h 17314"/>
                          <a:gd name="connsiteX5" fmla="*/ 10323 w 16102"/>
                          <a:gd name="connsiteY5" fmla="*/ 12 h 1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02" h="17314">
                            <a:moveTo>
                              <a:pt x="10323" y="12"/>
                            </a:moveTo>
                            <a:cubicBezTo>
                              <a:pt x="10323" y="12"/>
                              <a:pt x="7443" y="-487"/>
                              <a:pt x="4313" y="4950"/>
                            </a:cubicBezTo>
                            <a:cubicBezTo>
                              <a:pt x="1931" y="9090"/>
                              <a:pt x="-1285" y="15810"/>
                              <a:pt x="535" y="17120"/>
                            </a:cubicBezTo>
                            <a:cubicBezTo>
                              <a:pt x="2343" y="18441"/>
                              <a:pt x="6570" y="12705"/>
                              <a:pt x="9251" y="9713"/>
                            </a:cubicBezTo>
                            <a:cubicBezTo>
                              <a:pt x="13366" y="5149"/>
                              <a:pt x="15548" y="4937"/>
                              <a:pt x="16034" y="3466"/>
                            </a:cubicBezTo>
                            <a:cubicBezTo>
                              <a:pt x="16533" y="1982"/>
                              <a:pt x="14264" y="-150"/>
                              <a:pt x="10323" y="12"/>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47" name="Freeform: Shape 3146">
                        <a:extLst>
                          <a:ext uri="{FF2B5EF4-FFF2-40B4-BE49-F238E27FC236}">
                            <a16:creationId xmlns:a16="http://schemas.microsoft.com/office/drawing/2014/main" id="{39B6BC0A-BF86-9BB3-7AB9-D6C8BB69DC89}"/>
                          </a:ext>
                        </a:extLst>
                      </p:cNvPr>
                      <p:cNvSpPr/>
                      <p:nvPr/>
                    </p:nvSpPr>
                    <p:spPr>
                      <a:xfrm>
                        <a:off x="6183347" y="4282435"/>
                        <a:ext cx="17740" cy="17063"/>
                      </a:xfrm>
                      <a:custGeom>
                        <a:avLst/>
                        <a:gdLst>
                          <a:gd name="connsiteX0" fmla="*/ 13827 w 17740"/>
                          <a:gd name="connsiteY0" fmla="*/ 260 h 17063"/>
                          <a:gd name="connsiteX1" fmla="*/ 9176 w 17740"/>
                          <a:gd name="connsiteY1" fmla="*/ 1595 h 17063"/>
                          <a:gd name="connsiteX2" fmla="*/ 186 w 17740"/>
                          <a:gd name="connsiteY2" fmla="*/ 16271 h 17063"/>
                          <a:gd name="connsiteX3" fmla="*/ 9625 w 17740"/>
                          <a:gd name="connsiteY3" fmla="*/ 12281 h 17063"/>
                          <a:gd name="connsiteX4" fmla="*/ 17730 w 17740"/>
                          <a:gd name="connsiteY4" fmla="*/ 5859 h 17063"/>
                          <a:gd name="connsiteX5" fmla="*/ 13814 w 17740"/>
                          <a:gd name="connsiteY5" fmla="*/ 260 h 1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40" h="17063">
                            <a:moveTo>
                              <a:pt x="13827" y="260"/>
                            </a:moveTo>
                            <a:cubicBezTo>
                              <a:pt x="12193" y="-413"/>
                              <a:pt x="10373" y="285"/>
                              <a:pt x="9176" y="1595"/>
                            </a:cubicBezTo>
                            <a:cubicBezTo>
                              <a:pt x="5996" y="5061"/>
                              <a:pt x="-1248" y="14425"/>
                              <a:pt x="186" y="16271"/>
                            </a:cubicBezTo>
                            <a:cubicBezTo>
                              <a:pt x="2006" y="18615"/>
                              <a:pt x="6707" y="15298"/>
                              <a:pt x="9625" y="12281"/>
                            </a:cubicBezTo>
                            <a:cubicBezTo>
                              <a:pt x="12543" y="9263"/>
                              <a:pt x="17505" y="7193"/>
                              <a:pt x="17730" y="5859"/>
                            </a:cubicBezTo>
                            <a:cubicBezTo>
                              <a:pt x="17879" y="4974"/>
                              <a:pt x="16458" y="1345"/>
                              <a:pt x="13814" y="26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48" name="Freeform: Shape 3147">
                        <a:extLst>
                          <a:ext uri="{FF2B5EF4-FFF2-40B4-BE49-F238E27FC236}">
                            <a16:creationId xmlns:a16="http://schemas.microsoft.com/office/drawing/2014/main" id="{0C864759-ADB2-C5EC-28C1-394B1024FF02}"/>
                          </a:ext>
                        </a:extLst>
                      </p:cNvPr>
                      <p:cNvSpPr/>
                      <p:nvPr/>
                    </p:nvSpPr>
                    <p:spPr>
                      <a:xfrm>
                        <a:off x="6168814" y="4278406"/>
                        <a:ext cx="15637" cy="16977"/>
                      </a:xfrm>
                      <a:custGeom>
                        <a:avLst/>
                        <a:gdLst>
                          <a:gd name="connsiteX0" fmla="*/ 12325 w 15637"/>
                          <a:gd name="connsiteY0" fmla="*/ 0 h 16977"/>
                          <a:gd name="connsiteX1" fmla="*/ 4706 w 15637"/>
                          <a:gd name="connsiteY1" fmla="*/ 5761 h 16977"/>
                          <a:gd name="connsiteX2" fmla="*/ 404 w 15637"/>
                          <a:gd name="connsiteY2" fmla="*/ 16946 h 16977"/>
                          <a:gd name="connsiteX3" fmla="*/ 13023 w 15637"/>
                          <a:gd name="connsiteY3" fmla="*/ 5761 h 16977"/>
                          <a:gd name="connsiteX4" fmla="*/ 12325 w 15637"/>
                          <a:gd name="connsiteY4" fmla="*/ 0 h 16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7" h="16977">
                            <a:moveTo>
                              <a:pt x="12325" y="0"/>
                            </a:moveTo>
                            <a:cubicBezTo>
                              <a:pt x="12325" y="0"/>
                              <a:pt x="7836" y="262"/>
                              <a:pt x="4706" y="5761"/>
                            </a:cubicBezTo>
                            <a:cubicBezTo>
                              <a:pt x="1576" y="11260"/>
                              <a:pt x="-1030" y="16322"/>
                              <a:pt x="404" y="16946"/>
                            </a:cubicBezTo>
                            <a:cubicBezTo>
                              <a:pt x="1838" y="17569"/>
                              <a:pt x="10766" y="8866"/>
                              <a:pt x="13023" y="5761"/>
                            </a:cubicBezTo>
                            <a:cubicBezTo>
                              <a:pt x="15280" y="2656"/>
                              <a:pt x="17861" y="835"/>
                              <a:pt x="12325" y="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nvGrpSpPr>
            <p:cNvPr id="3150" name="Graphic 525">
              <a:extLst>
                <a:ext uri="{FF2B5EF4-FFF2-40B4-BE49-F238E27FC236}">
                  <a16:creationId xmlns:a16="http://schemas.microsoft.com/office/drawing/2014/main" id="{2C7772A1-C03B-C767-232F-ADD8F9F10DA7}"/>
                </a:ext>
              </a:extLst>
            </p:cNvPr>
            <p:cNvGrpSpPr/>
            <p:nvPr/>
          </p:nvGrpSpPr>
          <p:grpSpPr>
            <a:xfrm>
              <a:off x="3713467" y="3966057"/>
              <a:ext cx="72880" cy="148244"/>
              <a:chOff x="5878989" y="4218606"/>
              <a:chExt cx="87896" cy="178789"/>
            </a:xfrm>
          </p:grpSpPr>
          <p:sp>
            <p:nvSpPr>
              <p:cNvPr id="3151" name="Freeform: Shape 3150">
                <a:extLst>
                  <a:ext uri="{FF2B5EF4-FFF2-40B4-BE49-F238E27FC236}">
                    <a16:creationId xmlns:a16="http://schemas.microsoft.com/office/drawing/2014/main" id="{21FB8951-CC9F-DC1C-195B-69459889209D}"/>
                  </a:ext>
                </a:extLst>
              </p:cNvPr>
              <p:cNvSpPr/>
              <p:nvPr/>
            </p:nvSpPr>
            <p:spPr>
              <a:xfrm>
                <a:off x="5881345" y="4221631"/>
                <a:ext cx="85540" cy="175764"/>
              </a:xfrm>
              <a:custGeom>
                <a:avLst/>
                <a:gdLst>
                  <a:gd name="connsiteX0" fmla="*/ 12493 w 85540"/>
                  <a:gd name="connsiteY0" fmla="*/ 1774 h 175764"/>
                  <a:gd name="connsiteX1" fmla="*/ 5087 w 85540"/>
                  <a:gd name="connsiteY1" fmla="*/ 59518 h 175764"/>
                  <a:gd name="connsiteX2" fmla="*/ 66784 w 85540"/>
                  <a:gd name="connsiteY2" fmla="*/ 175506 h 175764"/>
                  <a:gd name="connsiteX3" fmla="*/ 82582 w 85540"/>
                  <a:gd name="connsiteY3" fmla="*/ 121215 h 175764"/>
                  <a:gd name="connsiteX4" fmla="*/ 56921 w 85540"/>
                  <a:gd name="connsiteY4" fmla="*/ 36812 h 175764"/>
                  <a:gd name="connsiteX5" fmla="*/ 12506 w 85540"/>
                  <a:gd name="connsiteY5" fmla="*/ 1774 h 17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40" h="175764">
                    <a:moveTo>
                      <a:pt x="12493" y="1774"/>
                    </a:moveTo>
                    <a:cubicBezTo>
                      <a:pt x="12493" y="1774"/>
                      <a:pt x="-9714" y="5228"/>
                      <a:pt x="5087" y="59518"/>
                    </a:cubicBezTo>
                    <a:cubicBezTo>
                      <a:pt x="19888" y="113809"/>
                      <a:pt x="48030" y="180444"/>
                      <a:pt x="66784" y="175506"/>
                    </a:cubicBezTo>
                    <a:cubicBezTo>
                      <a:pt x="85537" y="170568"/>
                      <a:pt x="88991" y="153299"/>
                      <a:pt x="82582" y="121215"/>
                    </a:cubicBezTo>
                    <a:cubicBezTo>
                      <a:pt x="76161" y="89132"/>
                      <a:pt x="65312" y="67411"/>
                      <a:pt x="56921" y="36812"/>
                    </a:cubicBezTo>
                    <a:cubicBezTo>
                      <a:pt x="48529" y="6213"/>
                      <a:pt x="30761" y="-4648"/>
                      <a:pt x="12506" y="177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52" name="Freeform: Shape 3151">
                <a:extLst>
                  <a:ext uri="{FF2B5EF4-FFF2-40B4-BE49-F238E27FC236}">
                    <a16:creationId xmlns:a16="http://schemas.microsoft.com/office/drawing/2014/main" id="{9D0CAE6C-AE7C-C709-B095-8769D9703616}"/>
                  </a:ext>
                </a:extLst>
              </p:cNvPr>
              <p:cNvSpPr/>
              <p:nvPr/>
            </p:nvSpPr>
            <p:spPr>
              <a:xfrm>
                <a:off x="5878989" y="4218606"/>
                <a:ext cx="84077" cy="130474"/>
              </a:xfrm>
              <a:custGeom>
                <a:avLst/>
                <a:gdLst>
                  <a:gd name="connsiteX0" fmla="*/ 84065 w 84077"/>
                  <a:gd name="connsiteY0" fmla="*/ 110986 h 130474"/>
                  <a:gd name="connsiteX1" fmla="*/ 75063 w 84077"/>
                  <a:gd name="connsiteY1" fmla="*/ 81796 h 130474"/>
                  <a:gd name="connsiteX2" fmla="*/ 58778 w 84077"/>
                  <a:gd name="connsiteY2" fmla="*/ 30460 h 130474"/>
                  <a:gd name="connsiteX3" fmla="*/ 15348 w 84077"/>
                  <a:gd name="connsiteY3" fmla="*/ 1831 h 130474"/>
                  <a:gd name="connsiteX4" fmla="*/ 547 w 84077"/>
                  <a:gd name="connsiteY4" fmla="*/ 37119 h 130474"/>
                  <a:gd name="connsiteX5" fmla="*/ 27830 w 84077"/>
                  <a:gd name="connsiteY5" fmla="*/ 130475 h 130474"/>
                  <a:gd name="connsiteX6" fmla="*/ 84078 w 84077"/>
                  <a:gd name="connsiteY6" fmla="*/ 110961 h 13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77" h="130474">
                    <a:moveTo>
                      <a:pt x="84065" y="110986"/>
                    </a:moveTo>
                    <a:cubicBezTo>
                      <a:pt x="81995" y="102718"/>
                      <a:pt x="79140" y="93255"/>
                      <a:pt x="75063" y="81796"/>
                    </a:cubicBezTo>
                    <a:cubicBezTo>
                      <a:pt x="63466" y="49226"/>
                      <a:pt x="62481" y="42306"/>
                      <a:pt x="58778" y="30460"/>
                    </a:cubicBezTo>
                    <a:cubicBezTo>
                      <a:pt x="55075" y="18614"/>
                      <a:pt x="39039" y="-7047"/>
                      <a:pt x="15348" y="1831"/>
                    </a:cubicBezTo>
                    <a:cubicBezTo>
                      <a:pt x="15348" y="1831"/>
                      <a:pt x="-3405" y="7505"/>
                      <a:pt x="547" y="37119"/>
                    </a:cubicBezTo>
                    <a:cubicBezTo>
                      <a:pt x="4101" y="63777"/>
                      <a:pt x="17455" y="104452"/>
                      <a:pt x="27830" y="130475"/>
                    </a:cubicBezTo>
                    <a:cubicBezTo>
                      <a:pt x="40623" y="126871"/>
                      <a:pt x="65125" y="119502"/>
                      <a:pt x="84078" y="11096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53" name="Graphic 525">
              <a:extLst>
                <a:ext uri="{FF2B5EF4-FFF2-40B4-BE49-F238E27FC236}">
                  <a16:creationId xmlns:a16="http://schemas.microsoft.com/office/drawing/2014/main" id="{8C7BEB7D-7DDF-27E2-140D-1DC4554E4808}"/>
                </a:ext>
              </a:extLst>
            </p:cNvPr>
            <p:cNvGrpSpPr/>
            <p:nvPr/>
          </p:nvGrpSpPr>
          <p:grpSpPr>
            <a:xfrm>
              <a:off x="3846342" y="4008099"/>
              <a:ext cx="65129" cy="55704"/>
              <a:chOff x="6039242" y="4269311"/>
              <a:chExt cx="78548" cy="67182"/>
            </a:xfrm>
          </p:grpSpPr>
          <p:sp>
            <p:nvSpPr>
              <p:cNvPr id="3154" name="Freeform: Shape 3153">
                <a:extLst>
                  <a:ext uri="{FF2B5EF4-FFF2-40B4-BE49-F238E27FC236}">
                    <a16:creationId xmlns:a16="http://schemas.microsoft.com/office/drawing/2014/main" id="{12288318-FB3C-7C97-6B01-BA03A2C0F80E}"/>
                  </a:ext>
                </a:extLst>
              </p:cNvPr>
              <p:cNvSpPr/>
              <p:nvPr/>
            </p:nvSpPr>
            <p:spPr>
              <a:xfrm>
                <a:off x="6039242" y="4269311"/>
                <a:ext cx="78548" cy="67182"/>
              </a:xfrm>
              <a:custGeom>
                <a:avLst/>
                <a:gdLst>
                  <a:gd name="connsiteX0" fmla="*/ 10559 w 78548"/>
                  <a:gd name="connsiteY0" fmla="*/ 44420 h 67182"/>
                  <a:gd name="connsiteX1" fmla="*/ 22904 w 78548"/>
                  <a:gd name="connsiteY1" fmla="*/ 33310 h 67182"/>
                  <a:gd name="connsiteX2" fmla="*/ 36233 w 78548"/>
                  <a:gd name="connsiteY2" fmla="*/ 11352 h 67182"/>
                  <a:gd name="connsiteX3" fmla="*/ 72506 w 78548"/>
                  <a:gd name="connsiteY3" fmla="*/ 5 h 67182"/>
                  <a:gd name="connsiteX4" fmla="*/ 72256 w 78548"/>
                  <a:gd name="connsiteY4" fmla="*/ 6178 h 67182"/>
                  <a:gd name="connsiteX5" fmla="*/ 78429 w 78548"/>
                  <a:gd name="connsiteY5" fmla="*/ 8646 h 67182"/>
                  <a:gd name="connsiteX6" fmla="*/ 73989 w 78548"/>
                  <a:gd name="connsiteY6" fmla="*/ 12836 h 67182"/>
                  <a:gd name="connsiteX7" fmla="*/ 78429 w 78548"/>
                  <a:gd name="connsiteY7" fmla="*/ 16539 h 67182"/>
                  <a:gd name="connsiteX8" fmla="*/ 73491 w 78548"/>
                  <a:gd name="connsiteY8" fmla="*/ 21477 h 67182"/>
                  <a:gd name="connsiteX9" fmla="*/ 74725 w 78548"/>
                  <a:gd name="connsiteY9" fmla="*/ 26165 h 67182"/>
                  <a:gd name="connsiteX10" fmla="*/ 66334 w 78548"/>
                  <a:gd name="connsiteY10" fmla="*/ 30604 h 67182"/>
                  <a:gd name="connsiteX11" fmla="*/ 53503 w 78548"/>
                  <a:gd name="connsiteY11" fmla="*/ 35792 h 67182"/>
                  <a:gd name="connsiteX12" fmla="*/ 27841 w 78548"/>
                  <a:gd name="connsiteY12" fmla="*/ 63186 h 67182"/>
                  <a:gd name="connsiteX13" fmla="*/ 1195 w 78548"/>
                  <a:gd name="connsiteY13" fmla="*/ 62201 h 67182"/>
                  <a:gd name="connsiteX14" fmla="*/ 10572 w 78548"/>
                  <a:gd name="connsiteY14" fmla="*/ 44433 h 6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548" h="67182">
                    <a:moveTo>
                      <a:pt x="10559" y="44420"/>
                    </a:moveTo>
                    <a:cubicBezTo>
                      <a:pt x="10559" y="44420"/>
                      <a:pt x="19936" y="37014"/>
                      <a:pt x="22904" y="33310"/>
                    </a:cubicBezTo>
                    <a:cubicBezTo>
                      <a:pt x="25859" y="29607"/>
                      <a:pt x="32530" y="14058"/>
                      <a:pt x="36233" y="11352"/>
                    </a:cubicBezTo>
                    <a:cubicBezTo>
                      <a:pt x="39936" y="8634"/>
                      <a:pt x="67331" y="-244"/>
                      <a:pt x="72506" y="5"/>
                    </a:cubicBezTo>
                    <a:cubicBezTo>
                      <a:pt x="77693" y="255"/>
                      <a:pt x="74239" y="4943"/>
                      <a:pt x="72256" y="6178"/>
                    </a:cubicBezTo>
                    <a:cubicBezTo>
                      <a:pt x="72256" y="6178"/>
                      <a:pt x="77443" y="5928"/>
                      <a:pt x="78429" y="8646"/>
                    </a:cubicBezTo>
                    <a:cubicBezTo>
                      <a:pt x="79414" y="11365"/>
                      <a:pt x="73989" y="12836"/>
                      <a:pt x="73989" y="12836"/>
                    </a:cubicBezTo>
                    <a:cubicBezTo>
                      <a:pt x="73989" y="12836"/>
                      <a:pt x="78179" y="13335"/>
                      <a:pt x="78429" y="16539"/>
                    </a:cubicBezTo>
                    <a:cubicBezTo>
                      <a:pt x="78678" y="19744"/>
                      <a:pt x="73491" y="21477"/>
                      <a:pt x="73491" y="21477"/>
                    </a:cubicBezTo>
                    <a:cubicBezTo>
                      <a:pt x="73491" y="21477"/>
                      <a:pt x="75461" y="24195"/>
                      <a:pt x="74725" y="26165"/>
                    </a:cubicBezTo>
                    <a:cubicBezTo>
                      <a:pt x="73989" y="28135"/>
                      <a:pt x="72506" y="28385"/>
                      <a:pt x="66334" y="30604"/>
                    </a:cubicBezTo>
                    <a:cubicBezTo>
                      <a:pt x="60161" y="32824"/>
                      <a:pt x="56458" y="33572"/>
                      <a:pt x="53503" y="35792"/>
                    </a:cubicBezTo>
                    <a:cubicBezTo>
                      <a:pt x="50535" y="38011"/>
                      <a:pt x="57456" y="47637"/>
                      <a:pt x="27841" y="63186"/>
                    </a:cubicBezTo>
                    <a:cubicBezTo>
                      <a:pt x="21183" y="66890"/>
                      <a:pt x="6619" y="70343"/>
                      <a:pt x="1195" y="62201"/>
                    </a:cubicBezTo>
                    <a:cubicBezTo>
                      <a:pt x="-4229" y="54059"/>
                      <a:pt x="10572" y="44433"/>
                      <a:pt x="10572" y="44433"/>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55" name="Freeform: Shape 3154">
                <a:extLst>
                  <a:ext uri="{FF2B5EF4-FFF2-40B4-BE49-F238E27FC236}">
                    <a16:creationId xmlns:a16="http://schemas.microsoft.com/office/drawing/2014/main" id="{1CFFC331-D067-9DD0-3139-992145E3C082}"/>
                  </a:ext>
                </a:extLst>
              </p:cNvPr>
              <p:cNvSpPr/>
              <p:nvPr/>
            </p:nvSpPr>
            <p:spPr>
              <a:xfrm>
                <a:off x="6079310" y="4275439"/>
                <a:ext cx="32263" cy="10467"/>
              </a:xfrm>
              <a:custGeom>
                <a:avLst/>
                <a:gdLst>
                  <a:gd name="connsiteX0" fmla="*/ 32201 w 32263"/>
                  <a:gd name="connsiteY0" fmla="*/ 100 h 10467"/>
                  <a:gd name="connsiteX1" fmla="*/ 24096 w 32263"/>
                  <a:gd name="connsiteY1" fmla="*/ 2618 h 10467"/>
                  <a:gd name="connsiteX2" fmla="*/ 15967 w 32263"/>
                  <a:gd name="connsiteY2" fmla="*/ 5075 h 10467"/>
                  <a:gd name="connsiteX3" fmla="*/ 11914 w 32263"/>
                  <a:gd name="connsiteY3" fmla="*/ 6322 h 10467"/>
                  <a:gd name="connsiteX4" fmla="*/ 7837 w 32263"/>
                  <a:gd name="connsiteY4" fmla="*/ 7469 h 10467"/>
                  <a:gd name="connsiteX5" fmla="*/ 5817 w 32263"/>
                  <a:gd name="connsiteY5" fmla="*/ 8030 h 10467"/>
                  <a:gd name="connsiteX6" fmla="*/ 3822 w 32263"/>
                  <a:gd name="connsiteY6" fmla="*/ 8653 h 10467"/>
                  <a:gd name="connsiteX7" fmla="*/ 1877 w 32263"/>
                  <a:gd name="connsiteY7" fmla="*/ 9389 h 10467"/>
                  <a:gd name="connsiteX8" fmla="*/ 106 w 32263"/>
                  <a:gd name="connsiteY8" fmla="*/ 10449 h 10467"/>
                  <a:gd name="connsiteX9" fmla="*/ 19 w 32263"/>
                  <a:gd name="connsiteY9" fmla="*/ 10449 h 10467"/>
                  <a:gd name="connsiteX10" fmla="*/ 19 w 32263"/>
                  <a:gd name="connsiteY10" fmla="*/ 10374 h 10467"/>
                  <a:gd name="connsiteX11" fmla="*/ 1615 w 32263"/>
                  <a:gd name="connsiteY11" fmla="*/ 8903 h 10467"/>
                  <a:gd name="connsiteX12" fmla="*/ 3510 w 32263"/>
                  <a:gd name="connsiteY12" fmla="*/ 7855 h 10467"/>
                  <a:gd name="connsiteX13" fmla="*/ 7513 w 32263"/>
                  <a:gd name="connsiteY13" fmla="*/ 6284 h 10467"/>
                  <a:gd name="connsiteX14" fmla="*/ 11615 w 32263"/>
                  <a:gd name="connsiteY14" fmla="*/ 5150 h 10467"/>
                  <a:gd name="connsiteX15" fmla="*/ 15730 w 32263"/>
                  <a:gd name="connsiteY15" fmla="*/ 4127 h 10467"/>
                  <a:gd name="connsiteX16" fmla="*/ 23947 w 32263"/>
                  <a:gd name="connsiteY16" fmla="*/ 2032 h 10467"/>
                  <a:gd name="connsiteX17" fmla="*/ 32189 w 32263"/>
                  <a:gd name="connsiteY17" fmla="*/ 0 h 10467"/>
                  <a:gd name="connsiteX18" fmla="*/ 32264 w 32263"/>
                  <a:gd name="connsiteY18" fmla="*/ 50 h 10467"/>
                  <a:gd name="connsiteX19" fmla="*/ 32226 w 32263"/>
                  <a:gd name="connsiteY19" fmla="*/ 125 h 1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263" h="10467">
                    <a:moveTo>
                      <a:pt x="32201" y="100"/>
                    </a:moveTo>
                    <a:cubicBezTo>
                      <a:pt x="29508" y="948"/>
                      <a:pt x="26790" y="1771"/>
                      <a:pt x="24096" y="2618"/>
                    </a:cubicBezTo>
                    <a:lnTo>
                      <a:pt x="15967" y="5075"/>
                    </a:lnTo>
                    <a:cubicBezTo>
                      <a:pt x="14607" y="5486"/>
                      <a:pt x="13261" y="5898"/>
                      <a:pt x="11914" y="6322"/>
                    </a:cubicBezTo>
                    <a:cubicBezTo>
                      <a:pt x="10568" y="6733"/>
                      <a:pt x="9183" y="7120"/>
                      <a:pt x="7837" y="7469"/>
                    </a:cubicBezTo>
                    <a:cubicBezTo>
                      <a:pt x="7163" y="7643"/>
                      <a:pt x="6490" y="7831"/>
                      <a:pt x="5817" y="8030"/>
                    </a:cubicBezTo>
                    <a:cubicBezTo>
                      <a:pt x="5143" y="8217"/>
                      <a:pt x="4483" y="8442"/>
                      <a:pt x="3822" y="8653"/>
                    </a:cubicBezTo>
                    <a:cubicBezTo>
                      <a:pt x="3161" y="8878"/>
                      <a:pt x="2500" y="9115"/>
                      <a:pt x="1877" y="9389"/>
                    </a:cubicBezTo>
                    <a:cubicBezTo>
                      <a:pt x="1241" y="9664"/>
                      <a:pt x="617" y="9975"/>
                      <a:pt x="106" y="10449"/>
                    </a:cubicBezTo>
                    <a:cubicBezTo>
                      <a:pt x="81" y="10474"/>
                      <a:pt x="44" y="10474"/>
                      <a:pt x="19" y="10449"/>
                    </a:cubicBezTo>
                    <a:cubicBezTo>
                      <a:pt x="-6" y="10424"/>
                      <a:pt x="-6" y="10399"/>
                      <a:pt x="19" y="10374"/>
                    </a:cubicBezTo>
                    <a:cubicBezTo>
                      <a:pt x="418" y="9751"/>
                      <a:pt x="1029" y="9302"/>
                      <a:pt x="1615" y="8903"/>
                    </a:cubicBezTo>
                    <a:cubicBezTo>
                      <a:pt x="2226" y="8504"/>
                      <a:pt x="2862" y="8167"/>
                      <a:pt x="3510" y="7855"/>
                    </a:cubicBezTo>
                    <a:cubicBezTo>
                      <a:pt x="4807" y="7232"/>
                      <a:pt x="6154" y="6733"/>
                      <a:pt x="7513" y="6284"/>
                    </a:cubicBezTo>
                    <a:cubicBezTo>
                      <a:pt x="8884" y="5860"/>
                      <a:pt x="10231" y="5486"/>
                      <a:pt x="11615" y="5150"/>
                    </a:cubicBezTo>
                    <a:cubicBezTo>
                      <a:pt x="12987" y="4813"/>
                      <a:pt x="14358" y="4476"/>
                      <a:pt x="15730" y="4127"/>
                    </a:cubicBezTo>
                    <a:lnTo>
                      <a:pt x="23947" y="2032"/>
                    </a:lnTo>
                    <a:cubicBezTo>
                      <a:pt x="26690" y="1359"/>
                      <a:pt x="29433" y="661"/>
                      <a:pt x="32189" y="0"/>
                    </a:cubicBezTo>
                    <a:cubicBezTo>
                      <a:pt x="32226" y="0"/>
                      <a:pt x="32251" y="0"/>
                      <a:pt x="32264" y="50"/>
                    </a:cubicBezTo>
                    <a:cubicBezTo>
                      <a:pt x="32264" y="87"/>
                      <a:pt x="32264" y="112"/>
                      <a:pt x="32226" y="125"/>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56" name="Freeform: Shape 3155">
                <a:extLst>
                  <a:ext uri="{FF2B5EF4-FFF2-40B4-BE49-F238E27FC236}">
                    <a16:creationId xmlns:a16="http://schemas.microsoft.com/office/drawing/2014/main" id="{2C88A601-6F27-23D0-9259-CD1FEA72A3AA}"/>
                  </a:ext>
                </a:extLst>
              </p:cNvPr>
              <p:cNvSpPr/>
              <p:nvPr/>
            </p:nvSpPr>
            <p:spPr>
              <a:xfrm>
                <a:off x="6081406" y="4282072"/>
                <a:ext cx="31888" cy="11728"/>
              </a:xfrm>
              <a:custGeom>
                <a:avLst/>
                <a:gdLst>
                  <a:gd name="connsiteX0" fmla="*/ 31838 w 31888"/>
                  <a:gd name="connsiteY0" fmla="*/ 137 h 11728"/>
                  <a:gd name="connsiteX1" fmla="*/ 23659 w 31888"/>
                  <a:gd name="connsiteY1" fmla="*/ 2743 h 11728"/>
                  <a:gd name="connsiteX2" fmla="*/ 15466 w 31888"/>
                  <a:gd name="connsiteY2" fmla="*/ 5287 h 11728"/>
                  <a:gd name="connsiteX3" fmla="*/ 11377 w 31888"/>
                  <a:gd name="connsiteY3" fmla="*/ 6584 h 11728"/>
                  <a:gd name="connsiteX4" fmla="*/ 9319 w 31888"/>
                  <a:gd name="connsiteY4" fmla="*/ 7207 h 11728"/>
                  <a:gd name="connsiteX5" fmla="*/ 7287 w 31888"/>
                  <a:gd name="connsiteY5" fmla="*/ 7768 h 11728"/>
                  <a:gd name="connsiteX6" fmla="*/ 5292 w 31888"/>
                  <a:gd name="connsiteY6" fmla="*/ 8417 h 11728"/>
                  <a:gd name="connsiteX7" fmla="*/ 3347 w 31888"/>
                  <a:gd name="connsiteY7" fmla="*/ 9202 h 11728"/>
                  <a:gd name="connsiteX8" fmla="*/ 1539 w 31888"/>
                  <a:gd name="connsiteY8" fmla="*/ 10212 h 11728"/>
                  <a:gd name="connsiteX9" fmla="*/ 117 w 31888"/>
                  <a:gd name="connsiteY9" fmla="*/ 11696 h 11728"/>
                  <a:gd name="connsiteX10" fmla="*/ 30 w 31888"/>
                  <a:gd name="connsiteY10" fmla="*/ 11721 h 11728"/>
                  <a:gd name="connsiteX11" fmla="*/ 5 w 31888"/>
                  <a:gd name="connsiteY11" fmla="*/ 11646 h 11728"/>
                  <a:gd name="connsiteX12" fmla="*/ 1177 w 31888"/>
                  <a:gd name="connsiteY12" fmla="*/ 9776 h 11728"/>
                  <a:gd name="connsiteX13" fmla="*/ 2935 w 31888"/>
                  <a:gd name="connsiteY13" fmla="*/ 8429 h 11728"/>
                  <a:gd name="connsiteX14" fmla="*/ 6913 w 31888"/>
                  <a:gd name="connsiteY14" fmla="*/ 6596 h 11728"/>
                  <a:gd name="connsiteX15" fmla="*/ 7960 w 31888"/>
                  <a:gd name="connsiteY15" fmla="*/ 6260 h 11728"/>
                  <a:gd name="connsiteX16" fmla="*/ 8484 w 31888"/>
                  <a:gd name="connsiteY16" fmla="*/ 6110 h 11728"/>
                  <a:gd name="connsiteX17" fmla="*/ 8995 w 31888"/>
                  <a:gd name="connsiteY17" fmla="*/ 5960 h 11728"/>
                  <a:gd name="connsiteX18" fmla="*/ 11065 w 31888"/>
                  <a:gd name="connsiteY18" fmla="*/ 5399 h 11728"/>
                  <a:gd name="connsiteX19" fmla="*/ 15217 w 31888"/>
                  <a:gd name="connsiteY19" fmla="*/ 4327 h 11728"/>
                  <a:gd name="connsiteX20" fmla="*/ 23509 w 31888"/>
                  <a:gd name="connsiteY20" fmla="*/ 2132 h 11728"/>
                  <a:gd name="connsiteX21" fmla="*/ 31814 w 31888"/>
                  <a:gd name="connsiteY21" fmla="*/ 0 h 11728"/>
                  <a:gd name="connsiteX22" fmla="*/ 31888 w 31888"/>
                  <a:gd name="connsiteY22" fmla="*/ 50 h 11728"/>
                  <a:gd name="connsiteX23" fmla="*/ 31851 w 31888"/>
                  <a:gd name="connsiteY23" fmla="*/ 125 h 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888" h="11728">
                    <a:moveTo>
                      <a:pt x="31838" y="137"/>
                    </a:moveTo>
                    <a:cubicBezTo>
                      <a:pt x="29120" y="1023"/>
                      <a:pt x="26389" y="1870"/>
                      <a:pt x="23659" y="2743"/>
                    </a:cubicBezTo>
                    <a:lnTo>
                      <a:pt x="15466" y="5287"/>
                    </a:lnTo>
                    <a:cubicBezTo>
                      <a:pt x="14095" y="5711"/>
                      <a:pt x="12736" y="6147"/>
                      <a:pt x="11377" y="6584"/>
                    </a:cubicBezTo>
                    <a:cubicBezTo>
                      <a:pt x="10691" y="6796"/>
                      <a:pt x="10005" y="7008"/>
                      <a:pt x="9319" y="7207"/>
                    </a:cubicBezTo>
                    <a:cubicBezTo>
                      <a:pt x="8621" y="7407"/>
                      <a:pt x="7960" y="7569"/>
                      <a:pt x="7287" y="7768"/>
                    </a:cubicBezTo>
                    <a:cubicBezTo>
                      <a:pt x="6613" y="7955"/>
                      <a:pt x="5940" y="8180"/>
                      <a:pt x="5292" y="8417"/>
                    </a:cubicBezTo>
                    <a:cubicBezTo>
                      <a:pt x="4631" y="8654"/>
                      <a:pt x="3982" y="8916"/>
                      <a:pt x="3347" y="9202"/>
                    </a:cubicBezTo>
                    <a:cubicBezTo>
                      <a:pt x="2711" y="9502"/>
                      <a:pt x="2100" y="9813"/>
                      <a:pt x="1539" y="10212"/>
                    </a:cubicBezTo>
                    <a:cubicBezTo>
                      <a:pt x="977" y="10599"/>
                      <a:pt x="454" y="11073"/>
                      <a:pt x="117" y="11696"/>
                    </a:cubicBezTo>
                    <a:cubicBezTo>
                      <a:pt x="105" y="11734"/>
                      <a:pt x="67" y="11734"/>
                      <a:pt x="30" y="11721"/>
                    </a:cubicBezTo>
                    <a:cubicBezTo>
                      <a:pt x="5" y="11709"/>
                      <a:pt x="-8" y="11684"/>
                      <a:pt x="5" y="11646"/>
                    </a:cubicBezTo>
                    <a:cubicBezTo>
                      <a:pt x="179" y="10923"/>
                      <a:pt x="653" y="10287"/>
                      <a:pt x="1177" y="9776"/>
                    </a:cubicBezTo>
                    <a:cubicBezTo>
                      <a:pt x="1713" y="9252"/>
                      <a:pt x="2312" y="8816"/>
                      <a:pt x="2935" y="8429"/>
                    </a:cubicBezTo>
                    <a:cubicBezTo>
                      <a:pt x="4194" y="7656"/>
                      <a:pt x="5541" y="7083"/>
                      <a:pt x="6913" y="6596"/>
                    </a:cubicBezTo>
                    <a:cubicBezTo>
                      <a:pt x="7262" y="6484"/>
                      <a:pt x="7599" y="6372"/>
                      <a:pt x="7960" y="6260"/>
                    </a:cubicBezTo>
                    <a:cubicBezTo>
                      <a:pt x="8135" y="6210"/>
                      <a:pt x="8322" y="6160"/>
                      <a:pt x="8484" y="6110"/>
                    </a:cubicBezTo>
                    <a:lnTo>
                      <a:pt x="8995" y="5960"/>
                    </a:lnTo>
                    <a:cubicBezTo>
                      <a:pt x="9681" y="5761"/>
                      <a:pt x="10367" y="5574"/>
                      <a:pt x="11065" y="5399"/>
                    </a:cubicBezTo>
                    <a:cubicBezTo>
                      <a:pt x="12449" y="5050"/>
                      <a:pt x="13833" y="4688"/>
                      <a:pt x="15217" y="4327"/>
                    </a:cubicBezTo>
                    <a:lnTo>
                      <a:pt x="23509" y="2132"/>
                    </a:lnTo>
                    <a:cubicBezTo>
                      <a:pt x="26277" y="1422"/>
                      <a:pt x="29045" y="698"/>
                      <a:pt x="31814" y="0"/>
                    </a:cubicBezTo>
                    <a:cubicBezTo>
                      <a:pt x="31851" y="0"/>
                      <a:pt x="31876" y="0"/>
                      <a:pt x="31888" y="50"/>
                    </a:cubicBezTo>
                    <a:cubicBezTo>
                      <a:pt x="31888" y="87"/>
                      <a:pt x="31888" y="112"/>
                      <a:pt x="31851" y="125"/>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57" name="Freeform: Shape 3156">
                <a:extLst>
                  <a:ext uri="{FF2B5EF4-FFF2-40B4-BE49-F238E27FC236}">
                    <a16:creationId xmlns:a16="http://schemas.microsoft.com/office/drawing/2014/main" id="{CB6CB63B-C0D4-7F7A-5768-73F9BAE43E40}"/>
                  </a:ext>
                </a:extLst>
              </p:cNvPr>
              <p:cNvSpPr/>
              <p:nvPr/>
            </p:nvSpPr>
            <p:spPr>
              <a:xfrm>
                <a:off x="6085045" y="4290714"/>
                <a:ext cx="27774" cy="11215"/>
              </a:xfrm>
              <a:custGeom>
                <a:avLst/>
                <a:gdLst>
                  <a:gd name="connsiteX0" fmla="*/ 27700 w 27774"/>
                  <a:gd name="connsiteY0" fmla="*/ 125 h 11215"/>
                  <a:gd name="connsiteX1" fmla="*/ 20406 w 27774"/>
                  <a:gd name="connsiteY1" fmla="*/ 2294 h 11215"/>
                  <a:gd name="connsiteX2" fmla="*/ 13111 w 27774"/>
                  <a:gd name="connsiteY2" fmla="*/ 4439 h 11215"/>
                  <a:gd name="connsiteX3" fmla="*/ 9483 w 27774"/>
                  <a:gd name="connsiteY3" fmla="*/ 5549 h 11215"/>
                  <a:gd name="connsiteX4" fmla="*/ 7675 w 27774"/>
                  <a:gd name="connsiteY4" fmla="*/ 6097 h 11215"/>
                  <a:gd name="connsiteX5" fmla="*/ 6839 w 27774"/>
                  <a:gd name="connsiteY5" fmla="*/ 6384 h 11215"/>
                  <a:gd name="connsiteX6" fmla="*/ 6428 w 27774"/>
                  <a:gd name="connsiteY6" fmla="*/ 6559 h 11215"/>
                  <a:gd name="connsiteX7" fmla="*/ 6216 w 27774"/>
                  <a:gd name="connsiteY7" fmla="*/ 6646 h 11215"/>
                  <a:gd name="connsiteX8" fmla="*/ 6016 w 27774"/>
                  <a:gd name="connsiteY8" fmla="*/ 6746 h 11215"/>
                  <a:gd name="connsiteX9" fmla="*/ 106 w 27774"/>
                  <a:gd name="connsiteY9" fmla="*/ 11197 h 11215"/>
                  <a:gd name="connsiteX10" fmla="*/ 19 w 27774"/>
                  <a:gd name="connsiteY10" fmla="*/ 11197 h 11215"/>
                  <a:gd name="connsiteX11" fmla="*/ 19 w 27774"/>
                  <a:gd name="connsiteY11" fmla="*/ 11122 h 11215"/>
                  <a:gd name="connsiteX12" fmla="*/ 2363 w 27774"/>
                  <a:gd name="connsiteY12" fmla="*/ 8043 h 11215"/>
                  <a:gd name="connsiteX13" fmla="*/ 5468 w 27774"/>
                  <a:gd name="connsiteY13" fmla="*/ 5636 h 11215"/>
                  <a:gd name="connsiteX14" fmla="*/ 5692 w 27774"/>
                  <a:gd name="connsiteY14" fmla="*/ 5511 h 11215"/>
                  <a:gd name="connsiteX15" fmla="*/ 5917 w 27774"/>
                  <a:gd name="connsiteY15" fmla="*/ 5399 h 11215"/>
                  <a:gd name="connsiteX16" fmla="*/ 6378 w 27774"/>
                  <a:gd name="connsiteY16" fmla="*/ 5187 h 11215"/>
                  <a:gd name="connsiteX17" fmla="*/ 7338 w 27774"/>
                  <a:gd name="connsiteY17" fmla="*/ 4850 h 11215"/>
                  <a:gd name="connsiteX18" fmla="*/ 9183 w 27774"/>
                  <a:gd name="connsiteY18" fmla="*/ 4364 h 11215"/>
                  <a:gd name="connsiteX19" fmla="*/ 12887 w 27774"/>
                  <a:gd name="connsiteY19" fmla="*/ 3479 h 11215"/>
                  <a:gd name="connsiteX20" fmla="*/ 20281 w 27774"/>
                  <a:gd name="connsiteY20" fmla="*/ 1696 h 11215"/>
                  <a:gd name="connsiteX21" fmla="*/ 27700 w 27774"/>
                  <a:gd name="connsiteY21" fmla="*/ 0 h 11215"/>
                  <a:gd name="connsiteX22" fmla="*/ 27775 w 27774"/>
                  <a:gd name="connsiteY22" fmla="*/ 50 h 11215"/>
                  <a:gd name="connsiteX23" fmla="*/ 27737 w 27774"/>
                  <a:gd name="connsiteY23" fmla="*/ 125 h 1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774" h="11215">
                    <a:moveTo>
                      <a:pt x="27700" y="125"/>
                    </a:moveTo>
                    <a:lnTo>
                      <a:pt x="20406" y="2294"/>
                    </a:lnTo>
                    <a:lnTo>
                      <a:pt x="13111" y="4439"/>
                    </a:lnTo>
                    <a:cubicBezTo>
                      <a:pt x="11902" y="4800"/>
                      <a:pt x="10680" y="5175"/>
                      <a:pt x="9483" y="5549"/>
                    </a:cubicBezTo>
                    <a:lnTo>
                      <a:pt x="7675" y="6097"/>
                    </a:lnTo>
                    <a:cubicBezTo>
                      <a:pt x="7388" y="6197"/>
                      <a:pt x="7114" y="6284"/>
                      <a:pt x="6839" y="6384"/>
                    </a:cubicBezTo>
                    <a:lnTo>
                      <a:pt x="6428" y="6559"/>
                    </a:lnTo>
                    <a:lnTo>
                      <a:pt x="6216" y="6646"/>
                    </a:lnTo>
                    <a:lnTo>
                      <a:pt x="6016" y="6746"/>
                    </a:lnTo>
                    <a:cubicBezTo>
                      <a:pt x="3847" y="7793"/>
                      <a:pt x="1902" y="9426"/>
                      <a:pt x="106" y="11197"/>
                    </a:cubicBezTo>
                    <a:cubicBezTo>
                      <a:pt x="81" y="11222"/>
                      <a:pt x="44" y="11222"/>
                      <a:pt x="19" y="11197"/>
                    </a:cubicBezTo>
                    <a:cubicBezTo>
                      <a:pt x="-6" y="11172"/>
                      <a:pt x="-6" y="11147"/>
                      <a:pt x="19" y="11122"/>
                    </a:cubicBezTo>
                    <a:cubicBezTo>
                      <a:pt x="642" y="10000"/>
                      <a:pt x="1453" y="8978"/>
                      <a:pt x="2363" y="8043"/>
                    </a:cubicBezTo>
                    <a:cubicBezTo>
                      <a:pt x="3273" y="7107"/>
                      <a:pt x="4308" y="6284"/>
                      <a:pt x="5468" y="5636"/>
                    </a:cubicBezTo>
                    <a:lnTo>
                      <a:pt x="5692" y="5511"/>
                    </a:lnTo>
                    <a:lnTo>
                      <a:pt x="5917" y="5399"/>
                    </a:lnTo>
                    <a:lnTo>
                      <a:pt x="6378" y="5187"/>
                    </a:lnTo>
                    <a:cubicBezTo>
                      <a:pt x="6690" y="5062"/>
                      <a:pt x="7014" y="4950"/>
                      <a:pt x="7338" y="4850"/>
                    </a:cubicBezTo>
                    <a:cubicBezTo>
                      <a:pt x="7949" y="4676"/>
                      <a:pt x="8572" y="4514"/>
                      <a:pt x="9183" y="4364"/>
                    </a:cubicBezTo>
                    <a:lnTo>
                      <a:pt x="12887" y="3479"/>
                    </a:lnTo>
                    <a:lnTo>
                      <a:pt x="20281" y="1696"/>
                    </a:lnTo>
                    <a:cubicBezTo>
                      <a:pt x="22750" y="1122"/>
                      <a:pt x="25219" y="549"/>
                      <a:pt x="27700" y="0"/>
                    </a:cubicBezTo>
                    <a:cubicBezTo>
                      <a:pt x="27737" y="0"/>
                      <a:pt x="27762" y="12"/>
                      <a:pt x="27775" y="50"/>
                    </a:cubicBezTo>
                    <a:cubicBezTo>
                      <a:pt x="27775" y="87"/>
                      <a:pt x="27775" y="112"/>
                      <a:pt x="27737" y="125"/>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158" name="Freeform: Shape 3157">
              <a:extLst>
                <a:ext uri="{FF2B5EF4-FFF2-40B4-BE49-F238E27FC236}">
                  <a16:creationId xmlns:a16="http://schemas.microsoft.com/office/drawing/2014/main" id="{A3C78B1B-5903-D495-96C1-6E5080635E96}"/>
                </a:ext>
              </a:extLst>
            </p:cNvPr>
            <p:cNvSpPr/>
            <p:nvPr/>
          </p:nvSpPr>
          <p:spPr>
            <a:xfrm>
              <a:off x="3758255" y="4042129"/>
              <a:ext cx="114364" cy="73857"/>
            </a:xfrm>
            <a:custGeom>
              <a:avLst/>
              <a:gdLst>
                <a:gd name="connsiteX0" fmla="*/ 9201 w 137928"/>
                <a:gd name="connsiteY0" fmla="*/ 86298 h 89075"/>
                <a:gd name="connsiteX1" fmla="*/ 47207 w 137928"/>
                <a:gd name="connsiteY1" fmla="*/ 84328 h 89075"/>
                <a:gd name="connsiteX2" fmla="*/ 134079 w 137928"/>
                <a:gd name="connsiteY2" fmla="*/ 22145 h 89075"/>
                <a:gd name="connsiteX3" fmla="*/ 120824 w 137928"/>
                <a:gd name="connsiteY3" fmla="*/ 1147 h 89075"/>
                <a:gd name="connsiteX4" fmla="*/ 63816 w 137928"/>
                <a:gd name="connsiteY4" fmla="*/ 22245 h 89075"/>
                <a:gd name="connsiteX5" fmla="*/ 9201 w 137928"/>
                <a:gd name="connsiteY5" fmla="*/ 86311 h 8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28" h="89075">
                  <a:moveTo>
                    <a:pt x="9201" y="86298"/>
                  </a:moveTo>
                  <a:cubicBezTo>
                    <a:pt x="9201" y="86298"/>
                    <a:pt x="24501" y="93705"/>
                    <a:pt x="47207" y="84328"/>
                  </a:cubicBezTo>
                  <a:cubicBezTo>
                    <a:pt x="69913" y="74952"/>
                    <a:pt x="125189" y="30524"/>
                    <a:pt x="134079" y="22145"/>
                  </a:cubicBezTo>
                  <a:cubicBezTo>
                    <a:pt x="142957" y="13753"/>
                    <a:pt x="135625" y="-4776"/>
                    <a:pt x="120824" y="1147"/>
                  </a:cubicBezTo>
                  <a:cubicBezTo>
                    <a:pt x="106024" y="7070"/>
                    <a:pt x="86522" y="15823"/>
                    <a:pt x="63816" y="22245"/>
                  </a:cubicBezTo>
                  <a:cubicBezTo>
                    <a:pt x="41109" y="28666"/>
                    <a:pt x="-23867" y="46335"/>
                    <a:pt x="9201" y="86311"/>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60" name="Graphic 525">
              <a:extLst>
                <a:ext uri="{FF2B5EF4-FFF2-40B4-BE49-F238E27FC236}">
                  <a16:creationId xmlns:a16="http://schemas.microsoft.com/office/drawing/2014/main" id="{5C8AF800-4CA1-28C7-064A-8B03EDA6A2FB}"/>
                </a:ext>
              </a:extLst>
            </p:cNvPr>
            <p:cNvGrpSpPr/>
            <p:nvPr/>
          </p:nvGrpSpPr>
          <p:grpSpPr>
            <a:xfrm>
              <a:off x="3942130" y="4100286"/>
              <a:ext cx="488407" cy="534331"/>
              <a:chOff x="6154766" y="4380491"/>
              <a:chExt cx="589039" cy="644427"/>
            </a:xfrm>
          </p:grpSpPr>
          <p:grpSp>
            <p:nvGrpSpPr>
              <p:cNvPr id="3161" name="Graphic 525">
                <a:extLst>
                  <a:ext uri="{FF2B5EF4-FFF2-40B4-BE49-F238E27FC236}">
                    <a16:creationId xmlns:a16="http://schemas.microsoft.com/office/drawing/2014/main" id="{C634F99E-D693-4FF5-225C-589AF8C0EFEF}"/>
                  </a:ext>
                </a:extLst>
              </p:cNvPr>
              <p:cNvGrpSpPr/>
              <p:nvPr/>
            </p:nvGrpSpPr>
            <p:grpSpPr>
              <a:xfrm>
                <a:off x="6194518" y="4706283"/>
                <a:ext cx="511307" cy="318635"/>
                <a:chOff x="6194518" y="4706283"/>
                <a:chExt cx="511307" cy="318635"/>
              </a:xfrm>
            </p:grpSpPr>
            <p:grpSp>
              <p:nvGrpSpPr>
                <p:cNvPr id="3162" name="Graphic 525">
                  <a:extLst>
                    <a:ext uri="{FF2B5EF4-FFF2-40B4-BE49-F238E27FC236}">
                      <a16:creationId xmlns:a16="http://schemas.microsoft.com/office/drawing/2014/main" id="{634952AA-0FFE-2CDD-350A-7032DF2530FC}"/>
                    </a:ext>
                  </a:extLst>
                </p:cNvPr>
                <p:cNvGrpSpPr/>
                <p:nvPr/>
              </p:nvGrpSpPr>
              <p:grpSpPr>
                <a:xfrm>
                  <a:off x="6263709" y="4706283"/>
                  <a:ext cx="374097" cy="195926"/>
                  <a:chOff x="6263709" y="4706283"/>
                  <a:chExt cx="374097" cy="195926"/>
                </a:xfrm>
              </p:grpSpPr>
              <p:grpSp>
                <p:nvGrpSpPr>
                  <p:cNvPr id="3163" name="Graphic 525">
                    <a:extLst>
                      <a:ext uri="{FF2B5EF4-FFF2-40B4-BE49-F238E27FC236}">
                        <a16:creationId xmlns:a16="http://schemas.microsoft.com/office/drawing/2014/main" id="{691E14C6-4542-D4F8-AF9A-03029B0512DC}"/>
                      </a:ext>
                    </a:extLst>
                  </p:cNvPr>
                  <p:cNvGrpSpPr/>
                  <p:nvPr/>
                </p:nvGrpSpPr>
                <p:grpSpPr>
                  <a:xfrm>
                    <a:off x="6263709" y="4706283"/>
                    <a:ext cx="374097" cy="195926"/>
                    <a:chOff x="6263709" y="4706283"/>
                    <a:chExt cx="374097" cy="195926"/>
                  </a:xfrm>
                </p:grpSpPr>
                <p:grpSp>
                  <p:nvGrpSpPr>
                    <p:cNvPr id="3164" name="Graphic 525">
                      <a:extLst>
                        <a:ext uri="{FF2B5EF4-FFF2-40B4-BE49-F238E27FC236}">
                          <a16:creationId xmlns:a16="http://schemas.microsoft.com/office/drawing/2014/main" id="{A0161A4C-A447-8220-34BA-596E2C4FD75F}"/>
                        </a:ext>
                      </a:extLst>
                    </p:cNvPr>
                    <p:cNvGrpSpPr/>
                    <p:nvPr/>
                  </p:nvGrpSpPr>
                  <p:grpSpPr>
                    <a:xfrm>
                      <a:off x="6602394" y="4706283"/>
                      <a:ext cx="35412" cy="195926"/>
                      <a:chOff x="6602394" y="4706283"/>
                      <a:chExt cx="35412" cy="195926"/>
                    </a:xfrm>
                  </p:grpSpPr>
                  <p:sp>
                    <p:nvSpPr>
                      <p:cNvPr id="3165" name="Freeform: Shape 3164">
                        <a:extLst>
                          <a:ext uri="{FF2B5EF4-FFF2-40B4-BE49-F238E27FC236}">
                            <a16:creationId xmlns:a16="http://schemas.microsoft.com/office/drawing/2014/main" id="{04D10338-4A0B-BE89-E33A-E3412EE7842F}"/>
                          </a:ext>
                        </a:extLst>
                      </p:cNvPr>
                      <p:cNvSpPr/>
                      <p:nvPr/>
                    </p:nvSpPr>
                    <p:spPr>
                      <a:xfrm>
                        <a:off x="6602394" y="4706283"/>
                        <a:ext cx="30623" cy="156262"/>
                      </a:xfrm>
                      <a:custGeom>
                        <a:avLst/>
                        <a:gdLst>
                          <a:gd name="connsiteX0" fmla="*/ 14788 w 30623"/>
                          <a:gd name="connsiteY0" fmla="*/ 156262 h 156262"/>
                          <a:gd name="connsiteX1" fmla="*/ 30624 w 30623"/>
                          <a:gd name="connsiteY1" fmla="*/ 156262 h 156262"/>
                          <a:gd name="connsiteX2" fmla="*/ 30624 w 30623"/>
                          <a:gd name="connsiteY2" fmla="*/ 0 h 156262"/>
                          <a:gd name="connsiteX3" fmla="*/ 0 w 30623"/>
                          <a:gd name="connsiteY3" fmla="*/ 0 h 156262"/>
                          <a:gd name="connsiteX4" fmla="*/ 14788 w 30623"/>
                          <a:gd name="connsiteY4" fmla="*/ 156262 h 15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3" h="156262">
                            <a:moveTo>
                              <a:pt x="14788" y="156262"/>
                            </a:moveTo>
                            <a:lnTo>
                              <a:pt x="30624" y="156262"/>
                            </a:lnTo>
                            <a:lnTo>
                              <a:pt x="30624" y="0"/>
                            </a:lnTo>
                            <a:lnTo>
                              <a:pt x="0" y="0"/>
                            </a:lnTo>
                            <a:lnTo>
                              <a:pt x="14788" y="156262"/>
                            </a:ln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66" name="Freeform: Shape 3165">
                        <a:extLst>
                          <a:ext uri="{FF2B5EF4-FFF2-40B4-BE49-F238E27FC236}">
                            <a16:creationId xmlns:a16="http://schemas.microsoft.com/office/drawing/2014/main" id="{C387F8C5-C5E8-E325-0955-B15249469C09}"/>
                          </a:ext>
                        </a:extLst>
                      </p:cNvPr>
                      <p:cNvSpPr/>
                      <p:nvPr/>
                    </p:nvSpPr>
                    <p:spPr>
                      <a:xfrm>
                        <a:off x="6612694" y="4854067"/>
                        <a:ext cx="25112" cy="48143"/>
                      </a:xfrm>
                      <a:custGeom>
                        <a:avLst/>
                        <a:gdLst>
                          <a:gd name="connsiteX0" fmla="*/ 12033 w 25112"/>
                          <a:gd name="connsiteY0" fmla="*/ 0 h 48143"/>
                          <a:gd name="connsiteX1" fmla="*/ 13080 w 25112"/>
                          <a:gd name="connsiteY1" fmla="*/ 0 h 48143"/>
                          <a:gd name="connsiteX2" fmla="*/ 25113 w 25112"/>
                          <a:gd name="connsiteY2" fmla="*/ 12033 h 48143"/>
                          <a:gd name="connsiteX3" fmla="*/ 25113 w 25112"/>
                          <a:gd name="connsiteY3" fmla="*/ 36111 h 48143"/>
                          <a:gd name="connsiteX4" fmla="*/ 13080 w 25112"/>
                          <a:gd name="connsiteY4" fmla="*/ 48143 h 48143"/>
                          <a:gd name="connsiteX5" fmla="*/ 12033 w 25112"/>
                          <a:gd name="connsiteY5" fmla="*/ 48143 h 48143"/>
                          <a:gd name="connsiteX6" fmla="*/ 0 w 25112"/>
                          <a:gd name="connsiteY6" fmla="*/ 36111 h 48143"/>
                          <a:gd name="connsiteX7" fmla="*/ 0 w 25112"/>
                          <a:gd name="connsiteY7" fmla="*/ 12033 h 48143"/>
                          <a:gd name="connsiteX8" fmla="*/ 12033 w 25112"/>
                          <a:gd name="connsiteY8" fmla="*/ 0 h 48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2" h="48143">
                            <a:moveTo>
                              <a:pt x="12033" y="0"/>
                            </a:moveTo>
                            <a:lnTo>
                              <a:pt x="13080" y="0"/>
                            </a:lnTo>
                            <a:cubicBezTo>
                              <a:pt x="19726" y="0"/>
                              <a:pt x="25113" y="5399"/>
                              <a:pt x="25113" y="12033"/>
                            </a:cubicBezTo>
                            <a:lnTo>
                              <a:pt x="25113" y="36111"/>
                            </a:lnTo>
                            <a:cubicBezTo>
                              <a:pt x="25113" y="42757"/>
                              <a:pt x="19714" y="48143"/>
                              <a:pt x="13080" y="48143"/>
                            </a:cubicBezTo>
                            <a:lnTo>
                              <a:pt x="12033" y="48143"/>
                            </a:lnTo>
                            <a:cubicBezTo>
                              <a:pt x="5387" y="48143"/>
                              <a:pt x="0" y="42744"/>
                              <a:pt x="0" y="36111"/>
                            </a:cubicBezTo>
                            <a:lnTo>
                              <a:pt x="0" y="12033"/>
                            </a:lnTo>
                            <a:cubicBezTo>
                              <a:pt x="0" y="5387"/>
                              <a:pt x="5399" y="0"/>
                              <a:pt x="12033" y="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67" name="Graphic 525">
                      <a:extLst>
                        <a:ext uri="{FF2B5EF4-FFF2-40B4-BE49-F238E27FC236}">
                          <a16:creationId xmlns:a16="http://schemas.microsoft.com/office/drawing/2014/main" id="{DE583C03-98B8-2187-BDC1-481D9C210741}"/>
                        </a:ext>
                      </a:extLst>
                    </p:cNvPr>
                    <p:cNvGrpSpPr/>
                    <p:nvPr/>
                  </p:nvGrpSpPr>
                  <p:grpSpPr>
                    <a:xfrm>
                      <a:off x="6263709" y="4706283"/>
                      <a:ext cx="34601" cy="195926"/>
                      <a:chOff x="6263709" y="4706283"/>
                      <a:chExt cx="34601" cy="195926"/>
                    </a:xfrm>
                  </p:grpSpPr>
                  <p:sp>
                    <p:nvSpPr>
                      <p:cNvPr id="3168" name="Freeform: Shape 3167">
                        <a:extLst>
                          <a:ext uri="{FF2B5EF4-FFF2-40B4-BE49-F238E27FC236}">
                            <a16:creationId xmlns:a16="http://schemas.microsoft.com/office/drawing/2014/main" id="{2F85BFCB-0596-1458-0CD0-BC5FC20EE44C}"/>
                          </a:ext>
                        </a:extLst>
                      </p:cNvPr>
                      <p:cNvSpPr/>
                      <p:nvPr/>
                    </p:nvSpPr>
                    <p:spPr>
                      <a:xfrm>
                        <a:off x="6267686" y="4706283"/>
                        <a:ext cx="30624" cy="156262"/>
                      </a:xfrm>
                      <a:custGeom>
                        <a:avLst/>
                        <a:gdLst>
                          <a:gd name="connsiteX0" fmla="*/ 15848 w 30624"/>
                          <a:gd name="connsiteY0" fmla="*/ 156262 h 156262"/>
                          <a:gd name="connsiteX1" fmla="*/ 0 w 30624"/>
                          <a:gd name="connsiteY1" fmla="*/ 156262 h 156262"/>
                          <a:gd name="connsiteX2" fmla="*/ 0 w 30624"/>
                          <a:gd name="connsiteY2" fmla="*/ 0 h 156262"/>
                          <a:gd name="connsiteX3" fmla="*/ 30624 w 30624"/>
                          <a:gd name="connsiteY3" fmla="*/ 0 h 156262"/>
                          <a:gd name="connsiteX4" fmla="*/ 15848 w 30624"/>
                          <a:gd name="connsiteY4" fmla="*/ 156262 h 15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4" h="156262">
                            <a:moveTo>
                              <a:pt x="15848" y="156262"/>
                            </a:moveTo>
                            <a:lnTo>
                              <a:pt x="0" y="156262"/>
                            </a:lnTo>
                            <a:lnTo>
                              <a:pt x="0" y="0"/>
                            </a:lnTo>
                            <a:lnTo>
                              <a:pt x="30624" y="0"/>
                            </a:lnTo>
                            <a:lnTo>
                              <a:pt x="15848" y="156262"/>
                            </a:ln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69" name="Freeform: Shape 3168">
                        <a:extLst>
                          <a:ext uri="{FF2B5EF4-FFF2-40B4-BE49-F238E27FC236}">
                            <a16:creationId xmlns:a16="http://schemas.microsoft.com/office/drawing/2014/main" id="{06FBAEF6-D7B7-F6E2-DED5-56511AA12A6C}"/>
                          </a:ext>
                        </a:extLst>
                      </p:cNvPr>
                      <p:cNvSpPr/>
                      <p:nvPr/>
                    </p:nvSpPr>
                    <p:spPr>
                      <a:xfrm>
                        <a:off x="6263709" y="4854067"/>
                        <a:ext cx="25112" cy="48143"/>
                      </a:xfrm>
                      <a:custGeom>
                        <a:avLst/>
                        <a:gdLst>
                          <a:gd name="connsiteX0" fmla="*/ 12033 w 25112"/>
                          <a:gd name="connsiteY0" fmla="*/ 0 h 48143"/>
                          <a:gd name="connsiteX1" fmla="*/ 13080 w 25112"/>
                          <a:gd name="connsiteY1" fmla="*/ 0 h 48143"/>
                          <a:gd name="connsiteX2" fmla="*/ 25113 w 25112"/>
                          <a:gd name="connsiteY2" fmla="*/ 12033 h 48143"/>
                          <a:gd name="connsiteX3" fmla="*/ 25113 w 25112"/>
                          <a:gd name="connsiteY3" fmla="*/ 36111 h 48143"/>
                          <a:gd name="connsiteX4" fmla="*/ 13080 w 25112"/>
                          <a:gd name="connsiteY4" fmla="*/ 48143 h 48143"/>
                          <a:gd name="connsiteX5" fmla="*/ 12033 w 25112"/>
                          <a:gd name="connsiteY5" fmla="*/ 48143 h 48143"/>
                          <a:gd name="connsiteX6" fmla="*/ 0 w 25112"/>
                          <a:gd name="connsiteY6" fmla="*/ 36111 h 48143"/>
                          <a:gd name="connsiteX7" fmla="*/ 0 w 25112"/>
                          <a:gd name="connsiteY7" fmla="*/ 12033 h 48143"/>
                          <a:gd name="connsiteX8" fmla="*/ 12033 w 25112"/>
                          <a:gd name="connsiteY8" fmla="*/ 0 h 48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2" h="48143">
                            <a:moveTo>
                              <a:pt x="12033" y="0"/>
                            </a:moveTo>
                            <a:lnTo>
                              <a:pt x="13080" y="0"/>
                            </a:lnTo>
                            <a:cubicBezTo>
                              <a:pt x="19726" y="0"/>
                              <a:pt x="25113" y="5399"/>
                              <a:pt x="25113" y="12033"/>
                            </a:cubicBezTo>
                            <a:lnTo>
                              <a:pt x="25113" y="36111"/>
                            </a:lnTo>
                            <a:cubicBezTo>
                              <a:pt x="25113" y="42757"/>
                              <a:pt x="19714" y="48143"/>
                              <a:pt x="13080" y="48143"/>
                            </a:cubicBezTo>
                            <a:lnTo>
                              <a:pt x="12033" y="48143"/>
                            </a:lnTo>
                            <a:cubicBezTo>
                              <a:pt x="5387" y="48143"/>
                              <a:pt x="0" y="42744"/>
                              <a:pt x="0" y="36111"/>
                            </a:cubicBezTo>
                            <a:lnTo>
                              <a:pt x="0" y="12033"/>
                            </a:lnTo>
                            <a:cubicBezTo>
                              <a:pt x="0" y="5387"/>
                              <a:pt x="5399" y="0"/>
                              <a:pt x="12033" y="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170" name="Freeform: Shape 3169">
                    <a:extLst>
                      <a:ext uri="{FF2B5EF4-FFF2-40B4-BE49-F238E27FC236}">
                        <a16:creationId xmlns:a16="http://schemas.microsoft.com/office/drawing/2014/main" id="{8CB4AEB7-CF02-8D54-5F45-26F203DDCADF}"/>
                      </a:ext>
                    </a:extLst>
                  </p:cNvPr>
                  <p:cNvSpPr/>
                  <p:nvPr/>
                </p:nvSpPr>
                <p:spPr>
                  <a:xfrm>
                    <a:off x="6280143" y="4814565"/>
                    <a:ext cx="341067" cy="12955"/>
                  </a:xfrm>
                  <a:custGeom>
                    <a:avLst/>
                    <a:gdLst>
                      <a:gd name="connsiteX0" fmla="*/ 0 w 341067"/>
                      <a:gd name="connsiteY0" fmla="*/ 0 h 12955"/>
                      <a:gd name="connsiteX1" fmla="*/ 341067 w 341067"/>
                      <a:gd name="connsiteY1" fmla="*/ 0 h 12955"/>
                      <a:gd name="connsiteX2" fmla="*/ 341067 w 341067"/>
                      <a:gd name="connsiteY2" fmla="*/ 12955 h 12955"/>
                      <a:gd name="connsiteX3" fmla="*/ 0 w 341067"/>
                      <a:gd name="connsiteY3" fmla="*/ 12955 h 12955"/>
                    </a:gdLst>
                    <a:ahLst/>
                    <a:cxnLst>
                      <a:cxn ang="0">
                        <a:pos x="connsiteX0" y="connsiteY0"/>
                      </a:cxn>
                      <a:cxn ang="0">
                        <a:pos x="connsiteX1" y="connsiteY1"/>
                      </a:cxn>
                      <a:cxn ang="0">
                        <a:pos x="connsiteX2" y="connsiteY2"/>
                      </a:cxn>
                      <a:cxn ang="0">
                        <a:pos x="connsiteX3" y="connsiteY3"/>
                      </a:cxn>
                    </a:cxnLst>
                    <a:rect l="l" t="t" r="r" b="b"/>
                    <a:pathLst>
                      <a:path w="341067" h="12955">
                        <a:moveTo>
                          <a:pt x="0" y="0"/>
                        </a:moveTo>
                        <a:lnTo>
                          <a:pt x="341067" y="0"/>
                        </a:lnTo>
                        <a:lnTo>
                          <a:pt x="341067" y="12955"/>
                        </a:lnTo>
                        <a:lnTo>
                          <a:pt x="0" y="12955"/>
                        </a:ln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71" name="Graphic 525">
                  <a:extLst>
                    <a:ext uri="{FF2B5EF4-FFF2-40B4-BE49-F238E27FC236}">
                      <a16:creationId xmlns:a16="http://schemas.microsoft.com/office/drawing/2014/main" id="{D22CC1AD-B08A-35CE-D1FF-8E9403E322A8}"/>
                    </a:ext>
                  </a:extLst>
                </p:cNvPr>
                <p:cNvGrpSpPr/>
                <p:nvPr/>
              </p:nvGrpSpPr>
              <p:grpSpPr>
                <a:xfrm>
                  <a:off x="6194518" y="4752768"/>
                  <a:ext cx="511307" cy="272150"/>
                  <a:chOff x="6194518" y="4752768"/>
                  <a:chExt cx="511307" cy="272150"/>
                </a:xfrm>
              </p:grpSpPr>
              <p:grpSp>
                <p:nvGrpSpPr>
                  <p:cNvPr id="3172" name="Graphic 525">
                    <a:extLst>
                      <a:ext uri="{FF2B5EF4-FFF2-40B4-BE49-F238E27FC236}">
                        <a16:creationId xmlns:a16="http://schemas.microsoft.com/office/drawing/2014/main" id="{8158A04E-DA0A-0084-64BA-84B7ECBD1CEF}"/>
                      </a:ext>
                    </a:extLst>
                  </p:cNvPr>
                  <p:cNvGrpSpPr/>
                  <p:nvPr/>
                </p:nvGrpSpPr>
                <p:grpSpPr>
                  <a:xfrm>
                    <a:off x="6194518" y="4752768"/>
                    <a:ext cx="511307" cy="272150"/>
                    <a:chOff x="6194518" y="4752768"/>
                    <a:chExt cx="511307" cy="272150"/>
                  </a:xfrm>
                </p:grpSpPr>
                <p:grpSp>
                  <p:nvGrpSpPr>
                    <p:cNvPr id="3173" name="Graphic 525">
                      <a:extLst>
                        <a:ext uri="{FF2B5EF4-FFF2-40B4-BE49-F238E27FC236}">
                          <a16:creationId xmlns:a16="http://schemas.microsoft.com/office/drawing/2014/main" id="{A39E0BA1-141B-342A-259B-43F2822ED8E7}"/>
                        </a:ext>
                      </a:extLst>
                    </p:cNvPr>
                    <p:cNvGrpSpPr/>
                    <p:nvPr/>
                  </p:nvGrpSpPr>
                  <p:grpSpPr>
                    <a:xfrm>
                      <a:off x="6194518" y="4752768"/>
                      <a:ext cx="48666" cy="272150"/>
                      <a:chOff x="6194518" y="4752768"/>
                      <a:chExt cx="48666" cy="272150"/>
                    </a:xfrm>
                  </p:grpSpPr>
                  <p:sp>
                    <p:nvSpPr>
                      <p:cNvPr id="3174" name="Freeform: Shape 3173">
                        <a:extLst>
                          <a:ext uri="{FF2B5EF4-FFF2-40B4-BE49-F238E27FC236}">
                            <a16:creationId xmlns:a16="http://schemas.microsoft.com/office/drawing/2014/main" id="{0A093D8F-941B-8164-129A-2CBB08408205}"/>
                          </a:ext>
                        </a:extLst>
                      </p:cNvPr>
                      <p:cNvSpPr/>
                      <p:nvPr/>
                    </p:nvSpPr>
                    <p:spPr>
                      <a:xfrm>
                        <a:off x="6201463" y="4752768"/>
                        <a:ext cx="41721" cy="212922"/>
                      </a:xfrm>
                      <a:custGeom>
                        <a:avLst/>
                        <a:gdLst>
                          <a:gd name="connsiteX0" fmla="*/ 21584 w 41721"/>
                          <a:gd name="connsiteY0" fmla="*/ 212922 h 212922"/>
                          <a:gd name="connsiteX1" fmla="*/ 0 w 41721"/>
                          <a:gd name="connsiteY1" fmla="*/ 212922 h 212922"/>
                          <a:gd name="connsiteX2" fmla="*/ 0 w 41721"/>
                          <a:gd name="connsiteY2" fmla="*/ 0 h 212922"/>
                          <a:gd name="connsiteX3" fmla="*/ 41722 w 41721"/>
                          <a:gd name="connsiteY3" fmla="*/ 0 h 212922"/>
                          <a:gd name="connsiteX4" fmla="*/ 21584 w 41721"/>
                          <a:gd name="connsiteY4" fmla="*/ 212922 h 21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21" h="212922">
                            <a:moveTo>
                              <a:pt x="21584" y="212922"/>
                            </a:moveTo>
                            <a:lnTo>
                              <a:pt x="0" y="212922"/>
                            </a:lnTo>
                            <a:lnTo>
                              <a:pt x="0" y="0"/>
                            </a:lnTo>
                            <a:lnTo>
                              <a:pt x="41722" y="0"/>
                            </a:lnTo>
                            <a:lnTo>
                              <a:pt x="21584" y="212922"/>
                            </a:ln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75" name="Freeform: Shape 3174">
                        <a:extLst>
                          <a:ext uri="{FF2B5EF4-FFF2-40B4-BE49-F238E27FC236}">
                            <a16:creationId xmlns:a16="http://schemas.microsoft.com/office/drawing/2014/main" id="{AF8C7490-8EF3-76C7-B443-7E58F49BCA6A}"/>
                          </a:ext>
                        </a:extLst>
                      </p:cNvPr>
                      <p:cNvSpPr/>
                      <p:nvPr/>
                    </p:nvSpPr>
                    <p:spPr>
                      <a:xfrm>
                        <a:off x="6194518" y="4958720"/>
                        <a:ext cx="34539" cy="66198"/>
                      </a:xfrm>
                      <a:custGeom>
                        <a:avLst/>
                        <a:gdLst>
                          <a:gd name="connsiteX0" fmla="*/ 17993 w 34539"/>
                          <a:gd name="connsiteY0" fmla="*/ 0 h 66198"/>
                          <a:gd name="connsiteX1" fmla="*/ 34539 w 34539"/>
                          <a:gd name="connsiteY1" fmla="*/ 16547 h 66198"/>
                          <a:gd name="connsiteX2" fmla="*/ 34539 w 34539"/>
                          <a:gd name="connsiteY2" fmla="*/ 49652 h 66198"/>
                          <a:gd name="connsiteX3" fmla="*/ 17993 w 34539"/>
                          <a:gd name="connsiteY3" fmla="*/ 66199 h 66198"/>
                          <a:gd name="connsiteX4" fmla="*/ 16547 w 34539"/>
                          <a:gd name="connsiteY4" fmla="*/ 66199 h 66198"/>
                          <a:gd name="connsiteX5" fmla="*/ 0 w 34539"/>
                          <a:gd name="connsiteY5" fmla="*/ 49652 h 66198"/>
                          <a:gd name="connsiteX6" fmla="*/ 0 w 34539"/>
                          <a:gd name="connsiteY6" fmla="*/ 16547 h 66198"/>
                          <a:gd name="connsiteX7" fmla="*/ 16547 w 34539"/>
                          <a:gd name="connsiteY7" fmla="*/ 0 h 6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9" h="66198">
                            <a:moveTo>
                              <a:pt x="17993" y="0"/>
                            </a:moveTo>
                            <a:cubicBezTo>
                              <a:pt x="27131" y="0"/>
                              <a:pt x="34539" y="7408"/>
                              <a:pt x="34539" y="16547"/>
                            </a:cubicBezTo>
                            <a:lnTo>
                              <a:pt x="34539" y="49652"/>
                            </a:lnTo>
                            <a:cubicBezTo>
                              <a:pt x="34539" y="58790"/>
                              <a:pt x="27131" y="66199"/>
                              <a:pt x="17993" y="66199"/>
                            </a:cubicBezTo>
                            <a:lnTo>
                              <a:pt x="16547" y="66199"/>
                            </a:lnTo>
                            <a:cubicBezTo>
                              <a:pt x="7408" y="66199"/>
                              <a:pt x="0" y="58790"/>
                              <a:pt x="0" y="49652"/>
                            </a:cubicBezTo>
                            <a:lnTo>
                              <a:pt x="0" y="16547"/>
                            </a:lnTo>
                            <a:cubicBezTo>
                              <a:pt x="0" y="7408"/>
                              <a:pt x="7408" y="0"/>
                              <a:pt x="16547" y="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76" name="Graphic 525">
                      <a:extLst>
                        <a:ext uri="{FF2B5EF4-FFF2-40B4-BE49-F238E27FC236}">
                          <a16:creationId xmlns:a16="http://schemas.microsoft.com/office/drawing/2014/main" id="{06D7FD98-FDC7-30A3-1E0F-D193A4A0A44F}"/>
                        </a:ext>
                      </a:extLst>
                    </p:cNvPr>
                    <p:cNvGrpSpPr/>
                    <p:nvPr/>
                  </p:nvGrpSpPr>
                  <p:grpSpPr>
                    <a:xfrm>
                      <a:off x="6657520" y="4752768"/>
                      <a:ext cx="48305" cy="272150"/>
                      <a:chOff x="6657520" y="4752768"/>
                      <a:chExt cx="48305" cy="272150"/>
                    </a:xfrm>
                  </p:grpSpPr>
                  <p:sp>
                    <p:nvSpPr>
                      <p:cNvPr id="3177" name="Freeform: Shape 3176">
                        <a:extLst>
                          <a:ext uri="{FF2B5EF4-FFF2-40B4-BE49-F238E27FC236}">
                            <a16:creationId xmlns:a16="http://schemas.microsoft.com/office/drawing/2014/main" id="{9AC6316D-F1DE-9A04-9CAE-B8AC43683E31}"/>
                          </a:ext>
                        </a:extLst>
                      </p:cNvPr>
                      <p:cNvSpPr/>
                      <p:nvPr/>
                    </p:nvSpPr>
                    <p:spPr>
                      <a:xfrm>
                        <a:off x="6657520" y="4752768"/>
                        <a:ext cx="41721" cy="212922"/>
                      </a:xfrm>
                      <a:custGeom>
                        <a:avLst/>
                        <a:gdLst>
                          <a:gd name="connsiteX0" fmla="*/ 20150 w 41721"/>
                          <a:gd name="connsiteY0" fmla="*/ 212922 h 212922"/>
                          <a:gd name="connsiteX1" fmla="*/ 41722 w 41721"/>
                          <a:gd name="connsiteY1" fmla="*/ 212922 h 212922"/>
                          <a:gd name="connsiteX2" fmla="*/ 41722 w 41721"/>
                          <a:gd name="connsiteY2" fmla="*/ 0 h 212922"/>
                          <a:gd name="connsiteX3" fmla="*/ 0 w 41721"/>
                          <a:gd name="connsiteY3" fmla="*/ 0 h 212922"/>
                          <a:gd name="connsiteX4" fmla="*/ 20150 w 41721"/>
                          <a:gd name="connsiteY4" fmla="*/ 212922 h 21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21" h="212922">
                            <a:moveTo>
                              <a:pt x="20150" y="212922"/>
                            </a:moveTo>
                            <a:lnTo>
                              <a:pt x="41722" y="212922"/>
                            </a:lnTo>
                            <a:lnTo>
                              <a:pt x="41722" y="0"/>
                            </a:lnTo>
                            <a:lnTo>
                              <a:pt x="0" y="0"/>
                            </a:lnTo>
                            <a:lnTo>
                              <a:pt x="20150" y="212922"/>
                            </a:ln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78" name="Freeform: Shape 3177">
                        <a:extLst>
                          <a:ext uri="{FF2B5EF4-FFF2-40B4-BE49-F238E27FC236}">
                            <a16:creationId xmlns:a16="http://schemas.microsoft.com/office/drawing/2014/main" id="{DE5E9F2B-7046-319D-4401-0D875C88FDD4}"/>
                          </a:ext>
                        </a:extLst>
                      </p:cNvPr>
                      <p:cNvSpPr/>
                      <p:nvPr/>
                    </p:nvSpPr>
                    <p:spPr>
                      <a:xfrm>
                        <a:off x="6671286" y="4958720"/>
                        <a:ext cx="34539" cy="66198"/>
                      </a:xfrm>
                      <a:custGeom>
                        <a:avLst/>
                        <a:gdLst>
                          <a:gd name="connsiteX0" fmla="*/ 17993 w 34539"/>
                          <a:gd name="connsiteY0" fmla="*/ 0 h 66198"/>
                          <a:gd name="connsiteX1" fmla="*/ 34539 w 34539"/>
                          <a:gd name="connsiteY1" fmla="*/ 16547 h 66198"/>
                          <a:gd name="connsiteX2" fmla="*/ 34539 w 34539"/>
                          <a:gd name="connsiteY2" fmla="*/ 49652 h 66198"/>
                          <a:gd name="connsiteX3" fmla="*/ 17993 w 34539"/>
                          <a:gd name="connsiteY3" fmla="*/ 66199 h 66198"/>
                          <a:gd name="connsiteX4" fmla="*/ 16547 w 34539"/>
                          <a:gd name="connsiteY4" fmla="*/ 66199 h 66198"/>
                          <a:gd name="connsiteX5" fmla="*/ 0 w 34539"/>
                          <a:gd name="connsiteY5" fmla="*/ 49652 h 66198"/>
                          <a:gd name="connsiteX6" fmla="*/ 0 w 34539"/>
                          <a:gd name="connsiteY6" fmla="*/ 16547 h 66198"/>
                          <a:gd name="connsiteX7" fmla="*/ 16547 w 34539"/>
                          <a:gd name="connsiteY7" fmla="*/ 0 h 6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9" h="66198">
                            <a:moveTo>
                              <a:pt x="17993" y="0"/>
                            </a:moveTo>
                            <a:cubicBezTo>
                              <a:pt x="27131" y="0"/>
                              <a:pt x="34539" y="7408"/>
                              <a:pt x="34539" y="16547"/>
                            </a:cubicBezTo>
                            <a:lnTo>
                              <a:pt x="34539" y="49652"/>
                            </a:lnTo>
                            <a:cubicBezTo>
                              <a:pt x="34539" y="58790"/>
                              <a:pt x="27131" y="66199"/>
                              <a:pt x="17993" y="66199"/>
                            </a:cubicBezTo>
                            <a:lnTo>
                              <a:pt x="16547" y="66199"/>
                            </a:lnTo>
                            <a:cubicBezTo>
                              <a:pt x="7408" y="66199"/>
                              <a:pt x="0" y="58790"/>
                              <a:pt x="0" y="49652"/>
                            </a:cubicBezTo>
                            <a:lnTo>
                              <a:pt x="0" y="16547"/>
                            </a:lnTo>
                            <a:cubicBezTo>
                              <a:pt x="0" y="7408"/>
                              <a:pt x="7408" y="0"/>
                              <a:pt x="16547" y="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179" name="Freeform: Shape 3178">
                    <a:extLst>
                      <a:ext uri="{FF2B5EF4-FFF2-40B4-BE49-F238E27FC236}">
                        <a16:creationId xmlns:a16="http://schemas.microsoft.com/office/drawing/2014/main" id="{DF6E57E7-AAA8-CC7E-E361-D604684E9079}"/>
                      </a:ext>
                    </a:extLst>
                  </p:cNvPr>
                  <p:cNvSpPr/>
                  <p:nvPr/>
                </p:nvSpPr>
                <p:spPr>
                  <a:xfrm>
                    <a:off x="6221850" y="4917460"/>
                    <a:ext cx="456194" cy="14551"/>
                  </a:xfrm>
                  <a:custGeom>
                    <a:avLst/>
                    <a:gdLst>
                      <a:gd name="connsiteX0" fmla="*/ 0 w 456194"/>
                      <a:gd name="connsiteY0" fmla="*/ 0 h 14551"/>
                      <a:gd name="connsiteX1" fmla="*/ 456194 w 456194"/>
                      <a:gd name="connsiteY1" fmla="*/ 0 h 14551"/>
                      <a:gd name="connsiteX2" fmla="*/ 456194 w 456194"/>
                      <a:gd name="connsiteY2" fmla="*/ 14551 h 14551"/>
                      <a:gd name="connsiteX3" fmla="*/ 0 w 456194"/>
                      <a:gd name="connsiteY3" fmla="*/ 14551 h 14551"/>
                    </a:gdLst>
                    <a:ahLst/>
                    <a:cxnLst>
                      <a:cxn ang="0">
                        <a:pos x="connsiteX0" y="connsiteY0"/>
                      </a:cxn>
                      <a:cxn ang="0">
                        <a:pos x="connsiteX1" y="connsiteY1"/>
                      </a:cxn>
                      <a:cxn ang="0">
                        <a:pos x="connsiteX2" y="connsiteY2"/>
                      </a:cxn>
                      <a:cxn ang="0">
                        <a:pos x="connsiteX3" y="connsiteY3"/>
                      </a:cxn>
                    </a:cxnLst>
                    <a:rect l="l" t="t" r="r" b="b"/>
                    <a:pathLst>
                      <a:path w="456194" h="14551">
                        <a:moveTo>
                          <a:pt x="0" y="0"/>
                        </a:moveTo>
                        <a:lnTo>
                          <a:pt x="456194" y="0"/>
                        </a:lnTo>
                        <a:lnTo>
                          <a:pt x="456194" y="14551"/>
                        </a:lnTo>
                        <a:lnTo>
                          <a:pt x="0" y="14551"/>
                        </a:ln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180" name="Graphic 525">
                <a:extLst>
                  <a:ext uri="{FF2B5EF4-FFF2-40B4-BE49-F238E27FC236}">
                    <a16:creationId xmlns:a16="http://schemas.microsoft.com/office/drawing/2014/main" id="{BA3858E9-CED7-7659-6B67-E0D6560EBE0A}"/>
                  </a:ext>
                </a:extLst>
              </p:cNvPr>
              <p:cNvGrpSpPr/>
              <p:nvPr/>
            </p:nvGrpSpPr>
            <p:grpSpPr>
              <a:xfrm>
                <a:off x="6154766" y="4380491"/>
                <a:ext cx="589039" cy="385644"/>
                <a:chOff x="6154766" y="4380491"/>
                <a:chExt cx="589039" cy="385644"/>
              </a:xfrm>
            </p:grpSpPr>
            <p:sp>
              <p:nvSpPr>
                <p:cNvPr id="3181" name="Freeform: Shape 3180">
                  <a:extLst>
                    <a:ext uri="{FF2B5EF4-FFF2-40B4-BE49-F238E27FC236}">
                      <a16:creationId xmlns:a16="http://schemas.microsoft.com/office/drawing/2014/main" id="{0FF7ECEB-C16C-58BC-A428-16153D994AFF}"/>
                    </a:ext>
                  </a:extLst>
                </p:cNvPr>
                <p:cNvSpPr/>
                <p:nvPr/>
              </p:nvSpPr>
              <p:spPr>
                <a:xfrm>
                  <a:off x="6154779" y="4380491"/>
                  <a:ext cx="589014" cy="385644"/>
                </a:xfrm>
                <a:custGeom>
                  <a:avLst/>
                  <a:gdLst>
                    <a:gd name="connsiteX0" fmla="*/ 442241 w 589014"/>
                    <a:gd name="connsiteY0" fmla="*/ 19190 h 385644"/>
                    <a:gd name="connsiteX1" fmla="*/ 442241 w 589014"/>
                    <a:gd name="connsiteY1" fmla="*/ 126973 h 385644"/>
                    <a:gd name="connsiteX2" fmla="*/ 453900 w 589014"/>
                    <a:gd name="connsiteY2" fmla="*/ 162784 h 385644"/>
                    <a:gd name="connsiteX3" fmla="*/ 577007 w 589014"/>
                    <a:gd name="connsiteY3" fmla="*/ 331752 h 385644"/>
                    <a:gd name="connsiteX4" fmla="*/ 589015 w 589014"/>
                    <a:gd name="connsiteY4" fmla="*/ 368624 h 385644"/>
                    <a:gd name="connsiteX5" fmla="*/ 589015 w 589014"/>
                    <a:gd name="connsiteY5" fmla="*/ 368860 h 385644"/>
                    <a:gd name="connsiteX6" fmla="*/ 572232 w 589014"/>
                    <a:gd name="connsiteY6" fmla="*/ 385644 h 385644"/>
                    <a:gd name="connsiteX7" fmla="*/ 16783 w 589014"/>
                    <a:gd name="connsiteY7" fmla="*/ 385644 h 385644"/>
                    <a:gd name="connsiteX8" fmla="*/ 0 w 589014"/>
                    <a:gd name="connsiteY8" fmla="*/ 368860 h 385644"/>
                    <a:gd name="connsiteX9" fmla="*/ 0 w 589014"/>
                    <a:gd name="connsiteY9" fmla="*/ 368624 h 385644"/>
                    <a:gd name="connsiteX10" fmla="*/ 12008 w 589014"/>
                    <a:gd name="connsiteY10" fmla="*/ 331752 h 385644"/>
                    <a:gd name="connsiteX11" fmla="*/ 135115 w 589014"/>
                    <a:gd name="connsiteY11" fmla="*/ 162784 h 385644"/>
                    <a:gd name="connsiteX12" fmla="*/ 146774 w 589014"/>
                    <a:gd name="connsiteY12" fmla="*/ 126973 h 385644"/>
                    <a:gd name="connsiteX13" fmla="*/ 146774 w 589014"/>
                    <a:gd name="connsiteY13" fmla="*/ 19190 h 385644"/>
                    <a:gd name="connsiteX14" fmla="*/ 165964 w 589014"/>
                    <a:gd name="connsiteY14" fmla="*/ 0 h 385644"/>
                    <a:gd name="connsiteX15" fmla="*/ 423064 w 589014"/>
                    <a:gd name="connsiteY15" fmla="*/ 0 h 385644"/>
                    <a:gd name="connsiteX16" fmla="*/ 442254 w 589014"/>
                    <a:gd name="connsiteY16" fmla="*/ 19190 h 38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9014" h="385644">
                      <a:moveTo>
                        <a:pt x="442241" y="19190"/>
                      </a:moveTo>
                      <a:lnTo>
                        <a:pt x="442241" y="126973"/>
                      </a:lnTo>
                      <a:cubicBezTo>
                        <a:pt x="442241" y="139841"/>
                        <a:pt x="446319" y="152385"/>
                        <a:pt x="453900" y="162784"/>
                      </a:cubicBezTo>
                      <a:lnTo>
                        <a:pt x="577007" y="331752"/>
                      </a:lnTo>
                      <a:cubicBezTo>
                        <a:pt x="584813" y="342463"/>
                        <a:pt x="589015" y="355369"/>
                        <a:pt x="589015" y="368624"/>
                      </a:cubicBezTo>
                      <a:lnTo>
                        <a:pt x="589015" y="368860"/>
                      </a:lnTo>
                      <a:cubicBezTo>
                        <a:pt x="589015" y="378138"/>
                        <a:pt x="581496" y="385644"/>
                        <a:pt x="572232" y="385644"/>
                      </a:cubicBezTo>
                      <a:lnTo>
                        <a:pt x="16783" y="385644"/>
                      </a:lnTo>
                      <a:cubicBezTo>
                        <a:pt x="7506" y="385644"/>
                        <a:pt x="0" y="378125"/>
                        <a:pt x="0" y="368860"/>
                      </a:cubicBezTo>
                      <a:lnTo>
                        <a:pt x="0" y="368624"/>
                      </a:lnTo>
                      <a:cubicBezTo>
                        <a:pt x="0" y="355369"/>
                        <a:pt x="4202" y="342463"/>
                        <a:pt x="12008" y="331752"/>
                      </a:cubicBezTo>
                      <a:lnTo>
                        <a:pt x="135115" y="162784"/>
                      </a:lnTo>
                      <a:cubicBezTo>
                        <a:pt x="142696" y="152385"/>
                        <a:pt x="146774" y="139841"/>
                        <a:pt x="146774" y="126973"/>
                      </a:cubicBezTo>
                      <a:lnTo>
                        <a:pt x="146774" y="19190"/>
                      </a:lnTo>
                      <a:cubicBezTo>
                        <a:pt x="146774" y="8591"/>
                        <a:pt x="155365" y="0"/>
                        <a:pt x="165964" y="0"/>
                      </a:cubicBezTo>
                      <a:lnTo>
                        <a:pt x="423064" y="0"/>
                      </a:lnTo>
                      <a:cubicBezTo>
                        <a:pt x="433662" y="0"/>
                        <a:pt x="442254" y="8591"/>
                        <a:pt x="442254" y="1919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82" name="Freeform: Shape 3181">
                  <a:extLst>
                    <a:ext uri="{FF2B5EF4-FFF2-40B4-BE49-F238E27FC236}">
                      <a16:creationId xmlns:a16="http://schemas.microsoft.com/office/drawing/2014/main" id="{40255171-B704-A7B7-D77E-3D726532C5F5}"/>
                    </a:ext>
                  </a:extLst>
                </p:cNvPr>
                <p:cNvSpPr/>
                <p:nvPr/>
              </p:nvSpPr>
              <p:spPr>
                <a:xfrm>
                  <a:off x="6303473" y="4380491"/>
                  <a:ext cx="291652" cy="10835"/>
                </a:xfrm>
                <a:custGeom>
                  <a:avLst/>
                  <a:gdLst>
                    <a:gd name="connsiteX0" fmla="*/ 291640 w 291652"/>
                    <a:gd name="connsiteY0" fmla="*/ 10836 h 10835"/>
                    <a:gd name="connsiteX1" fmla="*/ 274370 w 291652"/>
                    <a:gd name="connsiteY1" fmla="*/ 0 h 10835"/>
                    <a:gd name="connsiteX2" fmla="*/ 17270 w 291652"/>
                    <a:gd name="connsiteY2" fmla="*/ 0 h 10835"/>
                    <a:gd name="connsiteX3" fmla="*/ 0 w 291652"/>
                    <a:gd name="connsiteY3" fmla="*/ 10836 h 10835"/>
                    <a:gd name="connsiteX4" fmla="*/ 291652 w 291652"/>
                    <a:gd name="connsiteY4" fmla="*/ 10836 h 10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652" h="10835">
                      <a:moveTo>
                        <a:pt x="291640" y="10836"/>
                      </a:moveTo>
                      <a:cubicBezTo>
                        <a:pt x="288535" y="4426"/>
                        <a:pt x="281964" y="0"/>
                        <a:pt x="274370" y="0"/>
                      </a:cubicBezTo>
                      <a:lnTo>
                        <a:pt x="17270" y="0"/>
                      </a:lnTo>
                      <a:cubicBezTo>
                        <a:pt x="9664" y="0"/>
                        <a:pt x="3105" y="4426"/>
                        <a:pt x="0" y="10836"/>
                      </a:cubicBezTo>
                      <a:lnTo>
                        <a:pt x="291652" y="10836"/>
                      </a:ln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83" name="Freeform: Shape 3182">
                  <a:extLst>
                    <a:ext uri="{FF2B5EF4-FFF2-40B4-BE49-F238E27FC236}">
                      <a16:creationId xmlns:a16="http://schemas.microsoft.com/office/drawing/2014/main" id="{BA8256F6-3E5A-4094-5898-FCD7A937393E}"/>
                    </a:ext>
                  </a:extLst>
                </p:cNvPr>
                <p:cNvSpPr/>
                <p:nvPr/>
              </p:nvSpPr>
              <p:spPr>
                <a:xfrm>
                  <a:off x="6154791" y="4522476"/>
                  <a:ext cx="589014" cy="243658"/>
                </a:xfrm>
                <a:custGeom>
                  <a:avLst/>
                  <a:gdLst>
                    <a:gd name="connsiteX0" fmla="*/ 453900 w 589014"/>
                    <a:gd name="connsiteY0" fmla="*/ 20798 h 243658"/>
                    <a:gd name="connsiteX1" fmla="*/ 444124 w 589014"/>
                    <a:gd name="connsiteY1" fmla="*/ 0 h 243658"/>
                    <a:gd name="connsiteX2" fmla="*/ 144891 w 589014"/>
                    <a:gd name="connsiteY2" fmla="*/ 0 h 243658"/>
                    <a:gd name="connsiteX3" fmla="*/ 135115 w 589014"/>
                    <a:gd name="connsiteY3" fmla="*/ 20798 h 243658"/>
                    <a:gd name="connsiteX4" fmla="*/ 12008 w 589014"/>
                    <a:gd name="connsiteY4" fmla="*/ 189767 h 243658"/>
                    <a:gd name="connsiteX5" fmla="*/ 0 w 589014"/>
                    <a:gd name="connsiteY5" fmla="*/ 226638 h 243658"/>
                    <a:gd name="connsiteX6" fmla="*/ 0 w 589014"/>
                    <a:gd name="connsiteY6" fmla="*/ 226875 h 243658"/>
                    <a:gd name="connsiteX7" fmla="*/ 16783 w 589014"/>
                    <a:gd name="connsiteY7" fmla="*/ 243659 h 243658"/>
                    <a:gd name="connsiteX8" fmla="*/ 572232 w 589014"/>
                    <a:gd name="connsiteY8" fmla="*/ 243659 h 243658"/>
                    <a:gd name="connsiteX9" fmla="*/ 589015 w 589014"/>
                    <a:gd name="connsiteY9" fmla="*/ 226875 h 243658"/>
                    <a:gd name="connsiteX10" fmla="*/ 589015 w 589014"/>
                    <a:gd name="connsiteY10" fmla="*/ 226638 h 243658"/>
                    <a:gd name="connsiteX11" fmla="*/ 577007 w 589014"/>
                    <a:gd name="connsiteY11" fmla="*/ 189767 h 243658"/>
                    <a:gd name="connsiteX12" fmla="*/ 453900 w 589014"/>
                    <a:gd name="connsiteY12" fmla="*/ 20798 h 24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014" h="243658">
                      <a:moveTo>
                        <a:pt x="453900" y="20798"/>
                      </a:moveTo>
                      <a:cubicBezTo>
                        <a:pt x="449324" y="14514"/>
                        <a:pt x="446019" y="7444"/>
                        <a:pt x="444124" y="0"/>
                      </a:cubicBezTo>
                      <a:lnTo>
                        <a:pt x="144891" y="0"/>
                      </a:lnTo>
                      <a:cubicBezTo>
                        <a:pt x="142996" y="7444"/>
                        <a:pt x="139691" y="14514"/>
                        <a:pt x="135115" y="20798"/>
                      </a:cubicBezTo>
                      <a:lnTo>
                        <a:pt x="12008" y="189767"/>
                      </a:lnTo>
                      <a:cubicBezTo>
                        <a:pt x="4202" y="200478"/>
                        <a:pt x="0" y="213384"/>
                        <a:pt x="0" y="226638"/>
                      </a:cubicBezTo>
                      <a:lnTo>
                        <a:pt x="0" y="226875"/>
                      </a:lnTo>
                      <a:cubicBezTo>
                        <a:pt x="0" y="236152"/>
                        <a:pt x="7519" y="243659"/>
                        <a:pt x="16783" y="243659"/>
                      </a:cubicBezTo>
                      <a:lnTo>
                        <a:pt x="572232" y="243659"/>
                      </a:lnTo>
                      <a:cubicBezTo>
                        <a:pt x="581508" y="243659"/>
                        <a:pt x="589015" y="236140"/>
                        <a:pt x="589015" y="226875"/>
                      </a:cubicBezTo>
                      <a:lnTo>
                        <a:pt x="589015" y="226638"/>
                      </a:lnTo>
                      <a:cubicBezTo>
                        <a:pt x="589015" y="213384"/>
                        <a:pt x="584813" y="200478"/>
                        <a:pt x="577007" y="189767"/>
                      </a:cubicBezTo>
                      <a:lnTo>
                        <a:pt x="453900" y="20798"/>
                      </a:lnTo>
                      <a:close/>
                    </a:path>
                  </a:pathLst>
                </a:custGeom>
                <a:solidFill>
                  <a:srgbClr val="E5E5E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84" name="Freeform: Shape 3183">
                  <a:extLst>
                    <a:ext uri="{FF2B5EF4-FFF2-40B4-BE49-F238E27FC236}">
                      <a16:creationId xmlns:a16="http://schemas.microsoft.com/office/drawing/2014/main" id="{554D2419-BBFE-AB19-139A-89A311C4EFB3}"/>
                    </a:ext>
                  </a:extLst>
                </p:cNvPr>
                <p:cNvSpPr/>
                <p:nvPr/>
              </p:nvSpPr>
              <p:spPr>
                <a:xfrm>
                  <a:off x="6154766" y="4732568"/>
                  <a:ext cx="589027" cy="33566"/>
                </a:xfrm>
                <a:custGeom>
                  <a:avLst/>
                  <a:gdLst>
                    <a:gd name="connsiteX0" fmla="*/ 589027 w 589027"/>
                    <a:gd name="connsiteY0" fmla="*/ 16783 h 33566"/>
                    <a:gd name="connsiteX1" fmla="*/ 589027 w 589027"/>
                    <a:gd name="connsiteY1" fmla="*/ 16547 h 33566"/>
                    <a:gd name="connsiteX2" fmla="*/ 586795 w 589027"/>
                    <a:gd name="connsiteY2" fmla="*/ 0 h 33566"/>
                    <a:gd name="connsiteX3" fmla="*/ 2232 w 589027"/>
                    <a:gd name="connsiteY3" fmla="*/ 0 h 33566"/>
                    <a:gd name="connsiteX4" fmla="*/ 0 w 589027"/>
                    <a:gd name="connsiteY4" fmla="*/ 16547 h 33566"/>
                    <a:gd name="connsiteX5" fmla="*/ 0 w 589027"/>
                    <a:gd name="connsiteY5" fmla="*/ 16783 h 33566"/>
                    <a:gd name="connsiteX6" fmla="*/ 16783 w 589027"/>
                    <a:gd name="connsiteY6" fmla="*/ 33567 h 33566"/>
                    <a:gd name="connsiteX7" fmla="*/ 572232 w 589027"/>
                    <a:gd name="connsiteY7" fmla="*/ 33567 h 33566"/>
                    <a:gd name="connsiteX8" fmla="*/ 589015 w 589027"/>
                    <a:gd name="connsiteY8" fmla="*/ 16783 h 3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027" h="33566">
                      <a:moveTo>
                        <a:pt x="589027" y="16783"/>
                      </a:moveTo>
                      <a:lnTo>
                        <a:pt x="589027" y="16547"/>
                      </a:lnTo>
                      <a:cubicBezTo>
                        <a:pt x="589027" y="10923"/>
                        <a:pt x="588267" y="5349"/>
                        <a:pt x="586795" y="0"/>
                      </a:cubicBezTo>
                      <a:lnTo>
                        <a:pt x="2232" y="0"/>
                      </a:lnTo>
                      <a:cubicBezTo>
                        <a:pt x="761" y="5362"/>
                        <a:pt x="0" y="10923"/>
                        <a:pt x="0" y="16547"/>
                      </a:cubicBezTo>
                      <a:lnTo>
                        <a:pt x="0" y="16783"/>
                      </a:lnTo>
                      <a:cubicBezTo>
                        <a:pt x="0" y="26061"/>
                        <a:pt x="7519" y="33567"/>
                        <a:pt x="16783" y="33567"/>
                      </a:cubicBezTo>
                      <a:lnTo>
                        <a:pt x="572232" y="33567"/>
                      </a:lnTo>
                      <a:cubicBezTo>
                        <a:pt x="581508" y="33567"/>
                        <a:pt x="589015" y="26048"/>
                        <a:pt x="589015" y="16783"/>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185" name="Graphic 525">
              <a:extLst>
                <a:ext uri="{FF2B5EF4-FFF2-40B4-BE49-F238E27FC236}">
                  <a16:creationId xmlns:a16="http://schemas.microsoft.com/office/drawing/2014/main" id="{98FDCFEA-0CE1-7D9B-C90A-5F7E31934AB5}"/>
                </a:ext>
              </a:extLst>
            </p:cNvPr>
            <p:cNvGrpSpPr/>
            <p:nvPr/>
          </p:nvGrpSpPr>
          <p:grpSpPr>
            <a:xfrm>
              <a:off x="3948344" y="4054749"/>
              <a:ext cx="472265" cy="332860"/>
              <a:chOff x="6162260" y="4325572"/>
              <a:chExt cx="569571" cy="401444"/>
            </a:xfrm>
          </p:grpSpPr>
          <p:grpSp>
            <p:nvGrpSpPr>
              <p:cNvPr id="3186" name="Graphic 525">
                <a:extLst>
                  <a:ext uri="{FF2B5EF4-FFF2-40B4-BE49-F238E27FC236}">
                    <a16:creationId xmlns:a16="http://schemas.microsoft.com/office/drawing/2014/main" id="{BCA89CDB-F725-DB6F-B1B9-6EC966A4DF7C}"/>
                  </a:ext>
                </a:extLst>
              </p:cNvPr>
              <p:cNvGrpSpPr/>
              <p:nvPr/>
            </p:nvGrpSpPr>
            <p:grpSpPr>
              <a:xfrm>
                <a:off x="6337422" y="4398165"/>
                <a:ext cx="199636" cy="134710"/>
                <a:chOff x="6337422" y="4398165"/>
                <a:chExt cx="199636" cy="134710"/>
              </a:xfrm>
            </p:grpSpPr>
            <p:sp>
              <p:nvSpPr>
                <p:cNvPr id="3187" name="Freeform: Shape 3186">
                  <a:extLst>
                    <a:ext uri="{FF2B5EF4-FFF2-40B4-BE49-F238E27FC236}">
                      <a16:creationId xmlns:a16="http://schemas.microsoft.com/office/drawing/2014/main" id="{4AD7F819-B32B-AEEC-7A04-A47CC95360BE}"/>
                    </a:ext>
                  </a:extLst>
                </p:cNvPr>
                <p:cNvSpPr/>
                <p:nvPr/>
              </p:nvSpPr>
              <p:spPr>
                <a:xfrm>
                  <a:off x="6337440" y="4398165"/>
                  <a:ext cx="199619" cy="134710"/>
                </a:xfrm>
                <a:custGeom>
                  <a:avLst/>
                  <a:gdLst>
                    <a:gd name="connsiteX0" fmla="*/ 171311 w 199619"/>
                    <a:gd name="connsiteY0" fmla="*/ 132254 h 134710"/>
                    <a:gd name="connsiteX1" fmla="*/ 195776 w 199619"/>
                    <a:gd name="connsiteY1" fmla="*/ 131892 h 134710"/>
                    <a:gd name="connsiteX2" fmla="*/ 198294 w 199619"/>
                    <a:gd name="connsiteY2" fmla="*/ 119660 h 134710"/>
                    <a:gd name="connsiteX3" fmla="*/ 194703 w 199619"/>
                    <a:gd name="connsiteY3" fmla="*/ 105632 h 134710"/>
                    <a:gd name="connsiteX4" fmla="*/ 196137 w 199619"/>
                    <a:gd name="connsiteY4" fmla="*/ 45918 h 134710"/>
                    <a:gd name="connsiteX5" fmla="*/ 195776 w 199619"/>
                    <a:gd name="connsiteY5" fmla="*/ 18224 h 134710"/>
                    <a:gd name="connsiteX6" fmla="*/ 187147 w 199619"/>
                    <a:gd name="connsiteY6" fmla="*/ 4558 h 134710"/>
                    <a:gd name="connsiteX7" fmla="*/ 169167 w 199619"/>
                    <a:gd name="connsiteY7" fmla="*/ 7438 h 134710"/>
                    <a:gd name="connsiteX8" fmla="*/ 39663 w 199619"/>
                    <a:gd name="connsiteY8" fmla="*/ 3486 h 134710"/>
                    <a:gd name="connsiteX9" fmla="*/ 18802 w 199619"/>
                    <a:gd name="connsiteY9" fmla="*/ 243 h 134710"/>
                    <a:gd name="connsiteX10" fmla="*/ 12692 w 199619"/>
                    <a:gd name="connsiteY10" fmla="*/ 14994 h 134710"/>
                    <a:gd name="connsiteX11" fmla="*/ 10535 w 199619"/>
                    <a:gd name="connsiteY11" fmla="*/ 50606 h 134710"/>
                    <a:gd name="connsiteX12" fmla="*/ 6931 w 199619"/>
                    <a:gd name="connsiteY12" fmla="*/ 98450 h 134710"/>
                    <a:gd name="connsiteX13" fmla="*/ 4051 w 199619"/>
                    <a:gd name="connsiteY13" fmla="*/ 129024 h 134710"/>
                    <a:gd name="connsiteX14" fmla="*/ 56571 w 199619"/>
                    <a:gd name="connsiteY14" fmla="*/ 128301 h 134710"/>
                    <a:gd name="connsiteX15" fmla="*/ 171324 w 199619"/>
                    <a:gd name="connsiteY15" fmla="*/ 132254 h 134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619" h="134710">
                      <a:moveTo>
                        <a:pt x="171311" y="132254"/>
                      </a:moveTo>
                      <a:cubicBezTo>
                        <a:pt x="171311" y="132254"/>
                        <a:pt x="191100" y="138014"/>
                        <a:pt x="195776" y="131892"/>
                      </a:cubicBezTo>
                      <a:cubicBezTo>
                        <a:pt x="198095" y="128850"/>
                        <a:pt x="201536" y="124336"/>
                        <a:pt x="198294" y="119660"/>
                      </a:cubicBezTo>
                      <a:cubicBezTo>
                        <a:pt x="195053" y="114984"/>
                        <a:pt x="193980" y="114622"/>
                        <a:pt x="194703" y="105632"/>
                      </a:cubicBezTo>
                      <a:cubicBezTo>
                        <a:pt x="195427" y="96642"/>
                        <a:pt x="201536" y="64260"/>
                        <a:pt x="196137" y="45918"/>
                      </a:cubicBezTo>
                      <a:cubicBezTo>
                        <a:pt x="190738" y="27576"/>
                        <a:pt x="195053" y="23261"/>
                        <a:pt x="195776" y="18224"/>
                      </a:cubicBezTo>
                      <a:cubicBezTo>
                        <a:pt x="196499" y="13187"/>
                        <a:pt x="196499" y="3473"/>
                        <a:pt x="187147" y="4558"/>
                      </a:cubicBezTo>
                      <a:cubicBezTo>
                        <a:pt x="177795" y="5643"/>
                        <a:pt x="172758" y="5643"/>
                        <a:pt x="169167" y="7438"/>
                      </a:cubicBezTo>
                      <a:cubicBezTo>
                        <a:pt x="165563" y="9234"/>
                        <a:pt x="84277" y="-1190"/>
                        <a:pt x="39663" y="3486"/>
                      </a:cubicBezTo>
                      <a:cubicBezTo>
                        <a:pt x="26358" y="4209"/>
                        <a:pt x="24189" y="-1190"/>
                        <a:pt x="18802" y="243"/>
                      </a:cubicBezTo>
                      <a:cubicBezTo>
                        <a:pt x="13415" y="1678"/>
                        <a:pt x="10523" y="9595"/>
                        <a:pt x="12692" y="14994"/>
                      </a:cubicBezTo>
                      <a:cubicBezTo>
                        <a:pt x="14849" y="20394"/>
                        <a:pt x="12692" y="36940"/>
                        <a:pt x="10535" y="50606"/>
                      </a:cubicBezTo>
                      <a:cubicBezTo>
                        <a:pt x="8378" y="64272"/>
                        <a:pt x="7293" y="84784"/>
                        <a:pt x="6931" y="98450"/>
                      </a:cubicBezTo>
                      <a:cubicBezTo>
                        <a:pt x="6570" y="112116"/>
                        <a:pt x="-6373" y="125433"/>
                        <a:pt x="4051" y="129024"/>
                      </a:cubicBezTo>
                      <a:cubicBezTo>
                        <a:pt x="14488" y="132616"/>
                        <a:pt x="45423" y="124348"/>
                        <a:pt x="56571" y="128301"/>
                      </a:cubicBezTo>
                      <a:cubicBezTo>
                        <a:pt x="67718" y="132254"/>
                        <a:pt x="141111" y="131543"/>
                        <a:pt x="171324" y="132254"/>
                      </a:cubicBezTo>
                      <a:close/>
                    </a:path>
                  </a:pathLst>
                </a:custGeom>
                <a:solidFill>
                  <a:srgbClr val="F7C9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88" name="Freeform: Shape 3187">
                  <a:extLst>
                    <a:ext uri="{FF2B5EF4-FFF2-40B4-BE49-F238E27FC236}">
                      <a16:creationId xmlns:a16="http://schemas.microsoft.com/office/drawing/2014/main" id="{D1041161-BE68-C2DC-A82B-1F31F9DC07BA}"/>
                    </a:ext>
                  </a:extLst>
                </p:cNvPr>
                <p:cNvSpPr/>
                <p:nvPr/>
              </p:nvSpPr>
              <p:spPr>
                <a:xfrm>
                  <a:off x="6337422" y="4400399"/>
                  <a:ext cx="190344" cy="132440"/>
                </a:xfrm>
                <a:custGeom>
                  <a:avLst/>
                  <a:gdLst>
                    <a:gd name="connsiteX0" fmla="*/ 4056 w 190344"/>
                    <a:gd name="connsiteY0" fmla="*/ 126778 h 132440"/>
                    <a:gd name="connsiteX1" fmla="*/ 5378 w 190344"/>
                    <a:gd name="connsiteY1" fmla="*/ 104670 h 132440"/>
                    <a:gd name="connsiteX2" fmla="*/ 37299 w 190344"/>
                    <a:gd name="connsiteY2" fmla="*/ 87500 h 132440"/>
                    <a:gd name="connsiteX3" fmla="*/ 47611 w 190344"/>
                    <a:gd name="connsiteY3" fmla="*/ 53809 h 132440"/>
                    <a:gd name="connsiteX4" fmla="*/ 69606 w 190344"/>
                    <a:gd name="connsiteY4" fmla="*/ 17711 h 132440"/>
                    <a:gd name="connsiteX5" fmla="*/ 63770 w 190344"/>
                    <a:gd name="connsiteY5" fmla="*/ 17 h 132440"/>
                    <a:gd name="connsiteX6" fmla="*/ 140817 w 190344"/>
                    <a:gd name="connsiteY6" fmla="*/ 3671 h 132440"/>
                    <a:gd name="connsiteX7" fmla="*/ 133198 w 190344"/>
                    <a:gd name="connsiteY7" fmla="*/ 9805 h 132440"/>
                    <a:gd name="connsiteX8" fmla="*/ 132164 w 190344"/>
                    <a:gd name="connsiteY8" fmla="*/ 17362 h 132440"/>
                    <a:gd name="connsiteX9" fmla="*/ 155194 w 190344"/>
                    <a:gd name="connsiteY9" fmla="*/ 29731 h 132440"/>
                    <a:gd name="connsiteX10" fmla="*/ 168262 w 190344"/>
                    <a:gd name="connsiteY10" fmla="*/ 86104 h 132440"/>
                    <a:gd name="connsiteX11" fmla="*/ 163448 w 190344"/>
                    <a:gd name="connsiteY11" fmla="*/ 118761 h 132440"/>
                    <a:gd name="connsiteX12" fmla="*/ 189571 w 190344"/>
                    <a:gd name="connsiteY12" fmla="*/ 130793 h 132440"/>
                    <a:gd name="connsiteX13" fmla="*/ 190344 w 190344"/>
                    <a:gd name="connsiteY13" fmla="*/ 132215 h 132440"/>
                    <a:gd name="connsiteX14" fmla="*/ 171329 w 190344"/>
                    <a:gd name="connsiteY14" fmla="*/ 129983 h 132440"/>
                    <a:gd name="connsiteX15" fmla="*/ 56576 w 190344"/>
                    <a:gd name="connsiteY15" fmla="*/ 126030 h 132440"/>
                    <a:gd name="connsiteX16" fmla="*/ 4056 w 190344"/>
                    <a:gd name="connsiteY16" fmla="*/ 126753 h 13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344" h="132440">
                      <a:moveTo>
                        <a:pt x="4056" y="126778"/>
                      </a:moveTo>
                      <a:cubicBezTo>
                        <a:pt x="-4186" y="123935"/>
                        <a:pt x="2161" y="115032"/>
                        <a:pt x="5378" y="104670"/>
                      </a:cubicBezTo>
                      <a:cubicBezTo>
                        <a:pt x="16288" y="98112"/>
                        <a:pt x="30889" y="95094"/>
                        <a:pt x="37299" y="87500"/>
                      </a:cubicBezTo>
                      <a:cubicBezTo>
                        <a:pt x="46576" y="76503"/>
                        <a:pt x="46239" y="65842"/>
                        <a:pt x="47611" y="53809"/>
                      </a:cubicBezTo>
                      <a:cubicBezTo>
                        <a:pt x="48982" y="41776"/>
                        <a:pt x="58957" y="21502"/>
                        <a:pt x="69606" y="17711"/>
                      </a:cubicBezTo>
                      <a:cubicBezTo>
                        <a:pt x="78210" y="14656"/>
                        <a:pt x="68671" y="10267"/>
                        <a:pt x="63770" y="17"/>
                      </a:cubicBezTo>
                      <a:cubicBezTo>
                        <a:pt x="89494" y="-219"/>
                        <a:pt x="119420" y="2012"/>
                        <a:pt x="140817" y="3671"/>
                      </a:cubicBezTo>
                      <a:cubicBezTo>
                        <a:pt x="139046" y="5940"/>
                        <a:pt x="136378" y="8696"/>
                        <a:pt x="133198" y="9805"/>
                      </a:cubicBezTo>
                      <a:cubicBezTo>
                        <a:pt x="127350" y="11863"/>
                        <a:pt x="129420" y="14619"/>
                        <a:pt x="132164" y="17362"/>
                      </a:cubicBezTo>
                      <a:cubicBezTo>
                        <a:pt x="134919" y="20117"/>
                        <a:pt x="151416" y="26302"/>
                        <a:pt x="155194" y="29731"/>
                      </a:cubicBezTo>
                      <a:cubicBezTo>
                        <a:pt x="158972" y="33173"/>
                        <a:pt x="179259" y="50704"/>
                        <a:pt x="168262" y="86104"/>
                      </a:cubicBezTo>
                      <a:cubicBezTo>
                        <a:pt x="165169" y="97451"/>
                        <a:pt x="162414" y="112576"/>
                        <a:pt x="163448" y="118761"/>
                      </a:cubicBezTo>
                      <a:cubicBezTo>
                        <a:pt x="164483" y="124945"/>
                        <a:pt x="180631" y="118075"/>
                        <a:pt x="189571" y="130793"/>
                      </a:cubicBezTo>
                      <a:cubicBezTo>
                        <a:pt x="189908" y="131267"/>
                        <a:pt x="190157" y="131741"/>
                        <a:pt x="190344" y="132215"/>
                      </a:cubicBezTo>
                      <a:cubicBezTo>
                        <a:pt x="182800" y="133324"/>
                        <a:pt x="171329" y="129983"/>
                        <a:pt x="171329" y="129983"/>
                      </a:cubicBezTo>
                      <a:cubicBezTo>
                        <a:pt x="141116" y="129259"/>
                        <a:pt x="67723" y="129983"/>
                        <a:pt x="56576" y="126030"/>
                      </a:cubicBezTo>
                      <a:cubicBezTo>
                        <a:pt x="45429" y="122077"/>
                        <a:pt x="14493" y="130344"/>
                        <a:pt x="4056" y="126753"/>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89" name="Graphic 525">
                <a:extLst>
                  <a:ext uri="{FF2B5EF4-FFF2-40B4-BE49-F238E27FC236}">
                    <a16:creationId xmlns:a16="http://schemas.microsoft.com/office/drawing/2014/main" id="{78DFEFEE-3BCB-5490-105F-D44C067779A1}"/>
                  </a:ext>
                </a:extLst>
              </p:cNvPr>
              <p:cNvGrpSpPr/>
              <p:nvPr/>
            </p:nvGrpSpPr>
            <p:grpSpPr>
              <a:xfrm>
                <a:off x="6386328" y="4325572"/>
                <a:ext cx="106339" cy="203774"/>
                <a:chOff x="6386328" y="4325572"/>
                <a:chExt cx="106339" cy="203774"/>
              </a:xfrm>
            </p:grpSpPr>
            <p:grpSp>
              <p:nvGrpSpPr>
                <p:cNvPr id="3190" name="Graphic 525">
                  <a:extLst>
                    <a:ext uri="{FF2B5EF4-FFF2-40B4-BE49-F238E27FC236}">
                      <a16:creationId xmlns:a16="http://schemas.microsoft.com/office/drawing/2014/main" id="{3246A1A2-DE67-F757-D47D-322C74EC57E2}"/>
                    </a:ext>
                  </a:extLst>
                </p:cNvPr>
                <p:cNvGrpSpPr/>
                <p:nvPr/>
              </p:nvGrpSpPr>
              <p:grpSpPr>
                <a:xfrm>
                  <a:off x="6405420" y="4325572"/>
                  <a:ext cx="81905" cy="108074"/>
                  <a:chOff x="6405420" y="4325572"/>
                  <a:chExt cx="81905" cy="108074"/>
                </a:xfrm>
              </p:grpSpPr>
              <p:grpSp>
                <p:nvGrpSpPr>
                  <p:cNvPr id="3191" name="Graphic 525">
                    <a:extLst>
                      <a:ext uri="{FF2B5EF4-FFF2-40B4-BE49-F238E27FC236}">
                        <a16:creationId xmlns:a16="http://schemas.microsoft.com/office/drawing/2014/main" id="{607094D3-B627-683D-B14D-D0184B26C7B6}"/>
                      </a:ext>
                    </a:extLst>
                  </p:cNvPr>
                  <p:cNvGrpSpPr/>
                  <p:nvPr/>
                </p:nvGrpSpPr>
                <p:grpSpPr>
                  <a:xfrm>
                    <a:off x="6417739" y="4401626"/>
                    <a:ext cx="45686" cy="32020"/>
                    <a:chOff x="6417739" y="4401626"/>
                    <a:chExt cx="45686" cy="32020"/>
                  </a:xfrm>
                </p:grpSpPr>
                <p:sp>
                  <p:nvSpPr>
                    <p:cNvPr id="3192" name="Freeform: Shape 3191">
                      <a:extLst>
                        <a:ext uri="{FF2B5EF4-FFF2-40B4-BE49-F238E27FC236}">
                          <a16:creationId xmlns:a16="http://schemas.microsoft.com/office/drawing/2014/main" id="{88CE0CAB-7F54-CBC3-4F2C-2F6497BD0DEE}"/>
                        </a:ext>
                      </a:extLst>
                    </p:cNvPr>
                    <p:cNvSpPr/>
                    <p:nvPr/>
                  </p:nvSpPr>
                  <p:spPr>
                    <a:xfrm>
                      <a:off x="6417739" y="4401626"/>
                      <a:ext cx="45686" cy="32020"/>
                    </a:xfrm>
                    <a:custGeom>
                      <a:avLst/>
                      <a:gdLst>
                        <a:gd name="connsiteX0" fmla="*/ 40288 w 45686"/>
                        <a:gd name="connsiteY0" fmla="*/ 12 h 32020"/>
                        <a:gd name="connsiteX1" fmla="*/ 45687 w 45686"/>
                        <a:gd name="connsiteY1" fmla="*/ 21235 h 32020"/>
                        <a:gd name="connsiteX2" fmla="*/ 45687 w 45686"/>
                        <a:gd name="connsiteY2" fmla="*/ 32021 h 32020"/>
                        <a:gd name="connsiteX3" fmla="*/ 0 w 45686"/>
                        <a:gd name="connsiteY3" fmla="*/ 32021 h 32020"/>
                        <a:gd name="connsiteX4" fmla="*/ 0 w 45686"/>
                        <a:gd name="connsiteY4" fmla="*/ 21945 h 32020"/>
                        <a:gd name="connsiteX5" fmla="*/ 5038 w 45686"/>
                        <a:gd name="connsiteY5" fmla="*/ 5399 h 32020"/>
                        <a:gd name="connsiteX6" fmla="*/ 40288 w 45686"/>
                        <a:gd name="connsiteY6" fmla="*/ 0 h 3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86" h="32020">
                          <a:moveTo>
                            <a:pt x="40288" y="12"/>
                          </a:moveTo>
                          <a:cubicBezTo>
                            <a:pt x="40288" y="12"/>
                            <a:pt x="38492" y="19801"/>
                            <a:pt x="45687" y="21235"/>
                          </a:cubicBezTo>
                          <a:lnTo>
                            <a:pt x="45687" y="32021"/>
                          </a:lnTo>
                          <a:lnTo>
                            <a:pt x="0" y="32021"/>
                          </a:lnTo>
                          <a:lnTo>
                            <a:pt x="0" y="21945"/>
                          </a:lnTo>
                          <a:cubicBezTo>
                            <a:pt x="0" y="21945"/>
                            <a:pt x="6471" y="19427"/>
                            <a:pt x="5038" y="5399"/>
                          </a:cubicBezTo>
                          <a:lnTo>
                            <a:pt x="40288" y="0"/>
                          </a:ln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93" name="Freeform: Shape 3192">
                      <a:extLst>
                        <a:ext uri="{FF2B5EF4-FFF2-40B4-BE49-F238E27FC236}">
                          <a16:creationId xmlns:a16="http://schemas.microsoft.com/office/drawing/2014/main" id="{462D5623-2165-2BDE-631F-0D003EF12BDD}"/>
                        </a:ext>
                      </a:extLst>
                    </p:cNvPr>
                    <p:cNvSpPr/>
                    <p:nvPr/>
                  </p:nvSpPr>
                  <p:spPr>
                    <a:xfrm>
                      <a:off x="6422091" y="4402175"/>
                      <a:ext cx="33940" cy="17197"/>
                    </a:xfrm>
                    <a:custGeom>
                      <a:avLst/>
                      <a:gdLst>
                        <a:gd name="connsiteX0" fmla="*/ 33941 w 33940"/>
                        <a:gd name="connsiteY0" fmla="*/ 12 h 17197"/>
                        <a:gd name="connsiteX1" fmla="*/ 686 w 33940"/>
                        <a:gd name="connsiteY1" fmla="*/ 15811 h 17197"/>
                        <a:gd name="connsiteX2" fmla="*/ 0 w 33940"/>
                        <a:gd name="connsiteY2" fmla="*/ 15437 h 17197"/>
                        <a:gd name="connsiteX3" fmla="*/ 686 w 33940"/>
                        <a:gd name="connsiteY3" fmla="*/ 4851 h 17197"/>
                        <a:gd name="connsiteX4" fmla="*/ 33941 w 33940"/>
                        <a:gd name="connsiteY4" fmla="*/ 0 h 17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0" h="17197">
                          <a:moveTo>
                            <a:pt x="33941" y="12"/>
                          </a:moveTo>
                          <a:cubicBezTo>
                            <a:pt x="33941" y="12"/>
                            <a:pt x="25462" y="22980"/>
                            <a:pt x="686" y="15811"/>
                          </a:cubicBezTo>
                          <a:cubicBezTo>
                            <a:pt x="437" y="15736"/>
                            <a:pt x="224" y="15574"/>
                            <a:pt x="0" y="15437"/>
                          </a:cubicBezTo>
                          <a:cubicBezTo>
                            <a:pt x="760" y="12980"/>
                            <a:pt x="1172" y="9564"/>
                            <a:pt x="686" y="4851"/>
                          </a:cubicBezTo>
                          <a:lnTo>
                            <a:pt x="33941" y="0"/>
                          </a:ln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94" name="Graphic 525">
                    <a:extLst>
                      <a:ext uri="{FF2B5EF4-FFF2-40B4-BE49-F238E27FC236}">
                        <a16:creationId xmlns:a16="http://schemas.microsoft.com/office/drawing/2014/main" id="{3B92DCB1-ACD7-D4D2-7B57-EB880672C196}"/>
                      </a:ext>
                    </a:extLst>
                  </p:cNvPr>
                  <p:cNvGrpSpPr/>
                  <p:nvPr/>
                </p:nvGrpSpPr>
                <p:grpSpPr>
                  <a:xfrm>
                    <a:off x="6405420" y="4325572"/>
                    <a:ext cx="81905" cy="90288"/>
                    <a:chOff x="6405420" y="4325572"/>
                    <a:chExt cx="81905" cy="90288"/>
                  </a:xfrm>
                </p:grpSpPr>
                <p:sp>
                  <p:nvSpPr>
                    <p:cNvPr id="3195" name="Freeform: Shape 3194">
                      <a:extLst>
                        <a:ext uri="{FF2B5EF4-FFF2-40B4-BE49-F238E27FC236}">
                          <a16:creationId xmlns:a16="http://schemas.microsoft.com/office/drawing/2014/main" id="{D63A5D91-17FD-1DCB-848D-8FA28850EA39}"/>
                        </a:ext>
                      </a:extLst>
                    </p:cNvPr>
                    <p:cNvSpPr/>
                    <p:nvPr/>
                  </p:nvSpPr>
                  <p:spPr>
                    <a:xfrm>
                      <a:off x="6411140" y="4332101"/>
                      <a:ext cx="65539" cy="83759"/>
                    </a:xfrm>
                    <a:custGeom>
                      <a:avLst/>
                      <a:gdLst>
                        <a:gd name="connsiteX0" fmla="*/ 56002 w 65539"/>
                        <a:gd name="connsiteY0" fmla="*/ 6294 h 83759"/>
                        <a:gd name="connsiteX1" fmla="*/ 37561 w 65539"/>
                        <a:gd name="connsiteY1" fmla="*/ 10 h 83759"/>
                        <a:gd name="connsiteX2" fmla="*/ 11999 w 65539"/>
                        <a:gd name="connsiteY2" fmla="*/ 8377 h 83759"/>
                        <a:gd name="connsiteX3" fmla="*/ 1924 w 65539"/>
                        <a:gd name="connsiteY3" fmla="*/ 40035 h 83759"/>
                        <a:gd name="connsiteX4" fmla="*/ 11637 w 65539"/>
                        <a:gd name="connsiteY4" fmla="*/ 81408 h 83759"/>
                        <a:gd name="connsiteX5" fmla="*/ 57686 w 65539"/>
                        <a:gd name="connsiteY5" fmla="*/ 59101 h 83759"/>
                        <a:gd name="connsiteX6" fmla="*/ 56002 w 65539"/>
                        <a:gd name="connsiteY6" fmla="*/ 6294 h 8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9" h="83759">
                          <a:moveTo>
                            <a:pt x="56002" y="6294"/>
                          </a:moveTo>
                          <a:cubicBezTo>
                            <a:pt x="50865" y="1980"/>
                            <a:pt x="44269" y="-165"/>
                            <a:pt x="37561" y="10"/>
                          </a:cubicBezTo>
                          <a:cubicBezTo>
                            <a:pt x="29568" y="222"/>
                            <a:pt x="16799" y="1668"/>
                            <a:pt x="11999" y="8377"/>
                          </a:cubicBezTo>
                          <a:cubicBezTo>
                            <a:pt x="4804" y="18452"/>
                            <a:pt x="4443" y="32479"/>
                            <a:pt x="1924" y="40035"/>
                          </a:cubicBezTo>
                          <a:cubicBezTo>
                            <a:pt x="-595" y="47592"/>
                            <a:pt x="-3114" y="73852"/>
                            <a:pt x="11637" y="81408"/>
                          </a:cubicBezTo>
                          <a:cubicBezTo>
                            <a:pt x="26388" y="88964"/>
                            <a:pt x="49045" y="77455"/>
                            <a:pt x="57686" y="59101"/>
                          </a:cubicBezTo>
                          <a:cubicBezTo>
                            <a:pt x="64930" y="43702"/>
                            <a:pt x="71676" y="19437"/>
                            <a:pt x="56002" y="629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196" name="Graphic 525">
                      <a:extLst>
                        <a:ext uri="{FF2B5EF4-FFF2-40B4-BE49-F238E27FC236}">
                          <a16:creationId xmlns:a16="http://schemas.microsoft.com/office/drawing/2014/main" id="{55C12126-258A-2881-32A1-BD2AEA715D90}"/>
                        </a:ext>
                      </a:extLst>
                    </p:cNvPr>
                    <p:cNvGrpSpPr/>
                    <p:nvPr/>
                  </p:nvGrpSpPr>
                  <p:grpSpPr>
                    <a:xfrm>
                      <a:off x="6405420" y="4325572"/>
                      <a:ext cx="81905" cy="80043"/>
                      <a:chOff x="6405420" y="4325572"/>
                      <a:chExt cx="81905" cy="80043"/>
                    </a:xfrm>
                  </p:grpSpPr>
                  <p:sp>
                    <p:nvSpPr>
                      <p:cNvPr id="3197" name="Freeform: Shape 3196">
                        <a:extLst>
                          <a:ext uri="{FF2B5EF4-FFF2-40B4-BE49-F238E27FC236}">
                            <a16:creationId xmlns:a16="http://schemas.microsoft.com/office/drawing/2014/main" id="{D4810CB3-201B-2EFB-CEBF-4BF25F8494B3}"/>
                          </a:ext>
                        </a:extLst>
                      </p:cNvPr>
                      <p:cNvSpPr/>
                      <p:nvPr/>
                    </p:nvSpPr>
                    <p:spPr>
                      <a:xfrm>
                        <a:off x="6405420" y="4325572"/>
                        <a:ext cx="81905" cy="80043"/>
                      </a:xfrm>
                      <a:custGeom>
                        <a:avLst/>
                        <a:gdLst>
                          <a:gd name="connsiteX0" fmla="*/ 30263 w 81905"/>
                          <a:gd name="connsiteY0" fmla="*/ 24070 h 80043"/>
                          <a:gd name="connsiteX1" fmla="*/ 46821 w 81905"/>
                          <a:gd name="connsiteY1" fmla="*/ 20192 h 80043"/>
                          <a:gd name="connsiteX2" fmla="*/ 57084 w 81905"/>
                          <a:gd name="connsiteY2" fmla="*/ 55867 h 80043"/>
                          <a:gd name="connsiteX3" fmla="*/ 52433 w 81905"/>
                          <a:gd name="connsiteY3" fmla="*/ 79969 h 80043"/>
                          <a:gd name="connsiteX4" fmla="*/ 70463 w 81905"/>
                          <a:gd name="connsiteY4" fmla="*/ 72812 h 80043"/>
                          <a:gd name="connsiteX5" fmla="*/ 81161 w 81905"/>
                          <a:gd name="connsiteY5" fmla="*/ 31115 h 80043"/>
                          <a:gd name="connsiteX6" fmla="*/ 50612 w 81905"/>
                          <a:gd name="connsiteY6" fmla="*/ 2574 h 80043"/>
                          <a:gd name="connsiteX7" fmla="*/ 23405 w 81905"/>
                          <a:gd name="connsiteY7" fmla="*/ 3683 h 80043"/>
                          <a:gd name="connsiteX8" fmla="*/ 10923 w 81905"/>
                          <a:gd name="connsiteY8" fmla="*/ 11265 h 80043"/>
                          <a:gd name="connsiteX9" fmla="*/ 0 w 81905"/>
                          <a:gd name="connsiteY9" fmla="*/ 40692 h 80043"/>
                          <a:gd name="connsiteX10" fmla="*/ 10474 w 81905"/>
                          <a:gd name="connsiteY10" fmla="*/ 38459 h 80043"/>
                          <a:gd name="connsiteX11" fmla="*/ 22993 w 81905"/>
                          <a:gd name="connsiteY11" fmla="*/ 17200 h 80043"/>
                          <a:gd name="connsiteX12" fmla="*/ 30263 w 81905"/>
                          <a:gd name="connsiteY12" fmla="*/ 24058 h 8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905" h="80043">
                            <a:moveTo>
                              <a:pt x="30263" y="24070"/>
                            </a:moveTo>
                            <a:cubicBezTo>
                              <a:pt x="30263" y="24070"/>
                              <a:pt x="37457" y="15629"/>
                              <a:pt x="46821" y="20192"/>
                            </a:cubicBezTo>
                            <a:cubicBezTo>
                              <a:pt x="53181" y="23297"/>
                              <a:pt x="43256" y="51403"/>
                              <a:pt x="57084" y="55867"/>
                            </a:cubicBezTo>
                            <a:cubicBezTo>
                              <a:pt x="57084" y="55867"/>
                              <a:pt x="62682" y="66814"/>
                              <a:pt x="52433" y="79969"/>
                            </a:cubicBezTo>
                            <a:cubicBezTo>
                              <a:pt x="52433" y="79969"/>
                              <a:pt x="64004" y="81291"/>
                              <a:pt x="70463" y="72812"/>
                            </a:cubicBezTo>
                            <a:cubicBezTo>
                              <a:pt x="76935" y="64333"/>
                              <a:pt x="84291" y="52974"/>
                              <a:pt x="81161" y="31115"/>
                            </a:cubicBezTo>
                            <a:cubicBezTo>
                              <a:pt x="78044" y="9269"/>
                              <a:pt x="62657" y="2349"/>
                              <a:pt x="50612" y="2574"/>
                            </a:cubicBezTo>
                            <a:cubicBezTo>
                              <a:pt x="50612" y="2574"/>
                              <a:pt x="36784" y="-3898"/>
                              <a:pt x="23405" y="3683"/>
                            </a:cubicBezTo>
                            <a:cubicBezTo>
                              <a:pt x="23405" y="3683"/>
                              <a:pt x="15150" y="1900"/>
                              <a:pt x="10923" y="11265"/>
                            </a:cubicBezTo>
                            <a:cubicBezTo>
                              <a:pt x="6684" y="20629"/>
                              <a:pt x="8916" y="38023"/>
                              <a:pt x="0" y="40692"/>
                            </a:cubicBezTo>
                            <a:cubicBezTo>
                              <a:pt x="0" y="40692"/>
                              <a:pt x="7581" y="42475"/>
                              <a:pt x="10474" y="38459"/>
                            </a:cubicBezTo>
                            <a:cubicBezTo>
                              <a:pt x="13367" y="34444"/>
                              <a:pt x="12731" y="17636"/>
                              <a:pt x="22993" y="17200"/>
                            </a:cubicBezTo>
                            <a:cubicBezTo>
                              <a:pt x="28430" y="17175"/>
                              <a:pt x="30263" y="24058"/>
                              <a:pt x="30263" y="24058"/>
                            </a:cubicBezTo>
                            <a:close/>
                          </a:path>
                        </a:pathLst>
                      </a:custGeom>
                      <a:solidFill>
                        <a:srgbClr val="1920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98" name="Freeform: Shape 3197">
                        <a:extLst>
                          <a:ext uri="{FF2B5EF4-FFF2-40B4-BE49-F238E27FC236}">
                            <a16:creationId xmlns:a16="http://schemas.microsoft.com/office/drawing/2014/main" id="{4E849518-84A0-F5C2-52FB-559E88975A11}"/>
                          </a:ext>
                        </a:extLst>
                      </p:cNvPr>
                      <p:cNvSpPr/>
                      <p:nvPr/>
                    </p:nvSpPr>
                    <p:spPr>
                      <a:xfrm>
                        <a:off x="6428812" y="4328171"/>
                        <a:ext cx="38504" cy="50861"/>
                      </a:xfrm>
                      <a:custGeom>
                        <a:avLst/>
                        <a:gdLst>
                          <a:gd name="connsiteX0" fmla="*/ 38492 w 38504"/>
                          <a:gd name="connsiteY0" fmla="*/ 21883 h 50861"/>
                          <a:gd name="connsiteX1" fmla="*/ 38392 w 38504"/>
                          <a:gd name="connsiteY1" fmla="*/ 20823 h 50861"/>
                          <a:gd name="connsiteX2" fmla="*/ 38255 w 38504"/>
                          <a:gd name="connsiteY2" fmla="*/ 19763 h 50861"/>
                          <a:gd name="connsiteX3" fmla="*/ 38056 w 38504"/>
                          <a:gd name="connsiteY3" fmla="*/ 18704 h 50861"/>
                          <a:gd name="connsiteX4" fmla="*/ 37781 w 38504"/>
                          <a:gd name="connsiteY4" fmla="*/ 17656 h 50861"/>
                          <a:gd name="connsiteX5" fmla="*/ 37033 w 38504"/>
                          <a:gd name="connsiteY5" fmla="*/ 15611 h 50861"/>
                          <a:gd name="connsiteX6" fmla="*/ 34564 w 38504"/>
                          <a:gd name="connsiteY6" fmla="*/ 11995 h 50861"/>
                          <a:gd name="connsiteX7" fmla="*/ 33766 w 38504"/>
                          <a:gd name="connsiteY7" fmla="*/ 11247 h 50861"/>
                          <a:gd name="connsiteX8" fmla="*/ 33355 w 38504"/>
                          <a:gd name="connsiteY8" fmla="*/ 10885 h 50861"/>
                          <a:gd name="connsiteX9" fmla="*/ 32919 w 38504"/>
                          <a:gd name="connsiteY9" fmla="*/ 10561 h 50861"/>
                          <a:gd name="connsiteX10" fmla="*/ 32046 w 38504"/>
                          <a:gd name="connsiteY10" fmla="*/ 9925 h 50861"/>
                          <a:gd name="connsiteX11" fmla="*/ 31135 w 38504"/>
                          <a:gd name="connsiteY11" fmla="*/ 9352 h 50861"/>
                          <a:gd name="connsiteX12" fmla="*/ 30200 w 38504"/>
                          <a:gd name="connsiteY12" fmla="*/ 8840 h 50861"/>
                          <a:gd name="connsiteX13" fmla="*/ 29253 w 38504"/>
                          <a:gd name="connsiteY13" fmla="*/ 8367 h 50861"/>
                          <a:gd name="connsiteX14" fmla="*/ 27283 w 38504"/>
                          <a:gd name="connsiteY14" fmla="*/ 7544 h 50861"/>
                          <a:gd name="connsiteX15" fmla="*/ 18741 w 38504"/>
                          <a:gd name="connsiteY15" fmla="*/ 7232 h 50861"/>
                          <a:gd name="connsiteX16" fmla="*/ 15985 w 38504"/>
                          <a:gd name="connsiteY16" fmla="*/ 8105 h 50861"/>
                          <a:gd name="connsiteX17" fmla="*/ 20724 w 38504"/>
                          <a:gd name="connsiteY17" fmla="*/ 4015 h 50861"/>
                          <a:gd name="connsiteX18" fmla="*/ 27195 w 38504"/>
                          <a:gd name="connsiteY18" fmla="*/ 0 h 50861"/>
                          <a:gd name="connsiteX19" fmla="*/ 19876 w 38504"/>
                          <a:gd name="connsiteY19" fmla="*/ 2693 h 50861"/>
                          <a:gd name="connsiteX20" fmla="*/ 13691 w 38504"/>
                          <a:gd name="connsiteY20" fmla="*/ 7593 h 50861"/>
                          <a:gd name="connsiteX21" fmla="*/ 12108 w 38504"/>
                          <a:gd name="connsiteY21" fmla="*/ 9451 h 50861"/>
                          <a:gd name="connsiteX22" fmla="*/ 12045 w 38504"/>
                          <a:gd name="connsiteY22" fmla="*/ 9115 h 50861"/>
                          <a:gd name="connsiteX23" fmla="*/ 11759 w 38504"/>
                          <a:gd name="connsiteY23" fmla="*/ 7993 h 50861"/>
                          <a:gd name="connsiteX24" fmla="*/ 11310 w 38504"/>
                          <a:gd name="connsiteY24" fmla="*/ 6920 h 50861"/>
                          <a:gd name="connsiteX25" fmla="*/ 8305 w 38504"/>
                          <a:gd name="connsiteY25" fmla="*/ 3554 h 50861"/>
                          <a:gd name="connsiteX26" fmla="*/ 4290 w 38504"/>
                          <a:gd name="connsiteY26" fmla="*/ 1758 h 50861"/>
                          <a:gd name="connsiteX27" fmla="*/ 0 w 38504"/>
                          <a:gd name="connsiteY27" fmla="*/ 1110 h 50861"/>
                          <a:gd name="connsiteX28" fmla="*/ 4140 w 38504"/>
                          <a:gd name="connsiteY28" fmla="*/ 2207 h 50861"/>
                          <a:gd name="connsiteX29" fmla="*/ 7806 w 38504"/>
                          <a:gd name="connsiteY29" fmla="*/ 4239 h 50861"/>
                          <a:gd name="connsiteX30" fmla="*/ 10275 w 38504"/>
                          <a:gd name="connsiteY30" fmla="*/ 7407 h 50861"/>
                          <a:gd name="connsiteX31" fmla="*/ 10848 w 38504"/>
                          <a:gd name="connsiteY31" fmla="*/ 11210 h 50861"/>
                          <a:gd name="connsiteX32" fmla="*/ 9202 w 38504"/>
                          <a:gd name="connsiteY32" fmla="*/ 14052 h 50861"/>
                          <a:gd name="connsiteX33" fmla="*/ 7706 w 38504"/>
                          <a:gd name="connsiteY33" fmla="*/ 17681 h 50861"/>
                          <a:gd name="connsiteX34" fmla="*/ 6870 w 38504"/>
                          <a:gd name="connsiteY34" fmla="*/ 21497 h 50861"/>
                          <a:gd name="connsiteX35" fmla="*/ 10561 w 38504"/>
                          <a:gd name="connsiteY35" fmla="*/ 14838 h 50861"/>
                          <a:gd name="connsiteX36" fmla="*/ 13280 w 38504"/>
                          <a:gd name="connsiteY36" fmla="*/ 11135 h 50861"/>
                          <a:gd name="connsiteX37" fmla="*/ 13629 w 38504"/>
                          <a:gd name="connsiteY37" fmla="*/ 10948 h 50861"/>
                          <a:gd name="connsiteX38" fmla="*/ 15412 w 38504"/>
                          <a:gd name="connsiteY38" fmla="*/ 10112 h 50861"/>
                          <a:gd name="connsiteX39" fmla="*/ 19128 w 38504"/>
                          <a:gd name="connsiteY39" fmla="*/ 8940 h 50861"/>
                          <a:gd name="connsiteX40" fmla="*/ 22943 w 38504"/>
                          <a:gd name="connsiteY40" fmla="*/ 8629 h 50861"/>
                          <a:gd name="connsiteX41" fmla="*/ 24826 w 38504"/>
                          <a:gd name="connsiteY41" fmla="*/ 8865 h 50861"/>
                          <a:gd name="connsiteX42" fmla="*/ 26647 w 38504"/>
                          <a:gd name="connsiteY42" fmla="*/ 9364 h 50861"/>
                          <a:gd name="connsiteX43" fmla="*/ 28417 w 38504"/>
                          <a:gd name="connsiteY43" fmla="*/ 10137 h 50861"/>
                          <a:gd name="connsiteX44" fmla="*/ 29277 w 38504"/>
                          <a:gd name="connsiteY44" fmla="*/ 10586 h 50861"/>
                          <a:gd name="connsiteX45" fmla="*/ 30126 w 38504"/>
                          <a:gd name="connsiteY45" fmla="*/ 11060 h 50861"/>
                          <a:gd name="connsiteX46" fmla="*/ 33118 w 38504"/>
                          <a:gd name="connsiteY46" fmla="*/ 13404 h 50861"/>
                          <a:gd name="connsiteX47" fmla="*/ 35238 w 38504"/>
                          <a:gd name="connsiteY47" fmla="*/ 16472 h 50861"/>
                          <a:gd name="connsiteX48" fmla="*/ 35899 w 38504"/>
                          <a:gd name="connsiteY48" fmla="*/ 18242 h 50861"/>
                          <a:gd name="connsiteX49" fmla="*/ 36160 w 38504"/>
                          <a:gd name="connsiteY49" fmla="*/ 19165 h 50861"/>
                          <a:gd name="connsiteX50" fmla="*/ 36348 w 38504"/>
                          <a:gd name="connsiteY50" fmla="*/ 20112 h 50861"/>
                          <a:gd name="connsiteX51" fmla="*/ 36435 w 38504"/>
                          <a:gd name="connsiteY51" fmla="*/ 27956 h 50861"/>
                          <a:gd name="connsiteX52" fmla="*/ 35188 w 38504"/>
                          <a:gd name="connsiteY52" fmla="*/ 35948 h 50861"/>
                          <a:gd name="connsiteX53" fmla="*/ 34502 w 38504"/>
                          <a:gd name="connsiteY53" fmla="*/ 39976 h 50861"/>
                          <a:gd name="connsiteX54" fmla="*/ 34041 w 38504"/>
                          <a:gd name="connsiteY54" fmla="*/ 44078 h 50861"/>
                          <a:gd name="connsiteX55" fmla="*/ 34103 w 38504"/>
                          <a:gd name="connsiteY55" fmla="*/ 46173 h 50861"/>
                          <a:gd name="connsiteX56" fmla="*/ 34702 w 38504"/>
                          <a:gd name="connsiteY56" fmla="*/ 48205 h 50861"/>
                          <a:gd name="connsiteX57" fmla="*/ 36023 w 38504"/>
                          <a:gd name="connsiteY57" fmla="*/ 49826 h 50861"/>
                          <a:gd name="connsiteX58" fmla="*/ 37794 w 38504"/>
                          <a:gd name="connsiteY58" fmla="*/ 50861 h 50861"/>
                          <a:gd name="connsiteX59" fmla="*/ 36185 w 38504"/>
                          <a:gd name="connsiteY59" fmla="*/ 49652 h 50861"/>
                          <a:gd name="connsiteX60" fmla="*/ 35113 w 38504"/>
                          <a:gd name="connsiteY60" fmla="*/ 48018 h 50861"/>
                          <a:gd name="connsiteX61" fmla="*/ 34851 w 38504"/>
                          <a:gd name="connsiteY61" fmla="*/ 44140 h 50861"/>
                          <a:gd name="connsiteX62" fmla="*/ 36534 w 38504"/>
                          <a:gd name="connsiteY62" fmla="*/ 36222 h 50861"/>
                          <a:gd name="connsiteX63" fmla="*/ 37407 w 38504"/>
                          <a:gd name="connsiteY63" fmla="*/ 32232 h 50861"/>
                          <a:gd name="connsiteX64" fmla="*/ 37806 w 38504"/>
                          <a:gd name="connsiteY64" fmla="*/ 30225 h 50861"/>
                          <a:gd name="connsiteX65" fmla="*/ 38143 w 38504"/>
                          <a:gd name="connsiteY65" fmla="*/ 28180 h 50861"/>
                          <a:gd name="connsiteX66" fmla="*/ 38380 w 38504"/>
                          <a:gd name="connsiteY66" fmla="*/ 26110 h 50861"/>
                          <a:gd name="connsiteX67" fmla="*/ 38505 w 38504"/>
                          <a:gd name="connsiteY67" fmla="*/ 24028 h 50861"/>
                          <a:gd name="connsiteX68" fmla="*/ 38480 w 38504"/>
                          <a:gd name="connsiteY68" fmla="*/ 21920 h 5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8504" h="50861">
                            <a:moveTo>
                              <a:pt x="38492" y="21883"/>
                            </a:moveTo>
                            <a:lnTo>
                              <a:pt x="38392" y="20823"/>
                            </a:lnTo>
                            <a:cubicBezTo>
                              <a:pt x="38355" y="20474"/>
                              <a:pt x="38330" y="20112"/>
                              <a:pt x="38255" y="19763"/>
                            </a:cubicBezTo>
                            <a:lnTo>
                              <a:pt x="38056" y="18704"/>
                            </a:lnTo>
                            <a:cubicBezTo>
                              <a:pt x="37993" y="18354"/>
                              <a:pt x="37869" y="18005"/>
                              <a:pt x="37781" y="17656"/>
                            </a:cubicBezTo>
                            <a:cubicBezTo>
                              <a:pt x="37607" y="16958"/>
                              <a:pt x="37308" y="16284"/>
                              <a:pt x="37033" y="15611"/>
                            </a:cubicBezTo>
                            <a:cubicBezTo>
                              <a:pt x="36398" y="14302"/>
                              <a:pt x="35574" y="13055"/>
                              <a:pt x="34564" y="11995"/>
                            </a:cubicBezTo>
                            <a:cubicBezTo>
                              <a:pt x="34315" y="11733"/>
                              <a:pt x="34028" y="11496"/>
                              <a:pt x="33766" y="11247"/>
                            </a:cubicBezTo>
                            <a:cubicBezTo>
                              <a:pt x="33629" y="11122"/>
                              <a:pt x="33505" y="10998"/>
                              <a:pt x="33355" y="10885"/>
                            </a:cubicBezTo>
                            <a:lnTo>
                              <a:pt x="32919" y="10561"/>
                            </a:lnTo>
                            <a:cubicBezTo>
                              <a:pt x="32632" y="10349"/>
                              <a:pt x="32345" y="10112"/>
                              <a:pt x="32046" y="9925"/>
                            </a:cubicBezTo>
                            <a:lnTo>
                              <a:pt x="31135" y="9352"/>
                            </a:lnTo>
                            <a:cubicBezTo>
                              <a:pt x="30836" y="9152"/>
                              <a:pt x="30512" y="9003"/>
                              <a:pt x="30200" y="8840"/>
                            </a:cubicBezTo>
                            <a:cubicBezTo>
                              <a:pt x="29888" y="8678"/>
                              <a:pt x="29577" y="8504"/>
                              <a:pt x="29253" y="8367"/>
                            </a:cubicBezTo>
                            <a:cubicBezTo>
                              <a:pt x="28604" y="8080"/>
                              <a:pt x="27981" y="7781"/>
                              <a:pt x="27283" y="7544"/>
                            </a:cubicBezTo>
                            <a:cubicBezTo>
                              <a:pt x="24514" y="6558"/>
                              <a:pt x="21497" y="6571"/>
                              <a:pt x="18741" y="7232"/>
                            </a:cubicBezTo>
                            <a:cubicBezTo>
                              <a:pt x="17793" y="7456"/>
                              <a:pt x="16883" y="7756"/>
                              <a:pt x="15985" y="8105"/>
                            </a:cubicBezTo>
                            <a:cubicBezTo>
                              <a:pt x="17457" y="6633"/>
                              <a:pt x="19040" y="5262"/>
                              <a:pt x="20724" y="4015"/>
                            </a:cubicBezTo>
                            <a:cubicBezTo>
                              <a:pt x="22744" y="2543"/>
                              <a:pt x="24913" y="1247"/>
                              <a:pt x="27195" y="0"/>
                            </a:cubicBezTo>
                            <a:cubicBezTo>
                              <a:pt x="24639" y="461"/>
                              <a:pt x="22170" y="1409"/>
                              <a:pt x="19876" y="2693"/>
                            </a:cubicBezTo>
                            <a:cubicBezTo>
                              <a:pt x="17594" y="4003"/>
                              <a:pt x="15499" y="5661"/>
                              <a:pt x="13691" y="7593"/>
                            </a:cubicBezTo>
                            <a:cubicBezTo>
                              <a:pt x="13130" y="8192"/>
                              <a:pt x="12606" y="8815"/>
                              <a:pt x="12108" y="9451"/>
                            </a:cubicBezTo>
                            <a:cubicBezTo>
                              <a:pt x="12083" y="9339"/>
                              <a:pt x="12070" y="9227"/>
                              <a:pt x="12045" y="9115"/>
                            </a:cubicBezTo>
                            <a:cubicBezTo>
                              <a:pt x="11983" y="8728"/>
                              <a:pt x="11858" y="8367"/>
                              <a:pt x="11759" y="7993"/>
                            </a:cubicBezTo>
                            <a:cubicBezTo>
                              <a:pt x="11621" y="7631"/>
                              <a:pt x="11496" y="7269"/>
                              <a:pt x="11310" y="6920"/>
                            </a:cubicBezTo>
                            <a:cubicBezTo>
                              <a:pt x="10636" y="5524"/>
                              <a:pt x="9539" y="4389"/>
                              <a:pt x="8305" y="3554"/>
                            </a:cubicBezTo>
                            <a:cubicBezTo>
                              <a:pt x="7058" y="2718"/>
                              <a:pt x="5686" y="2145"/>
                              <a:pt x="4290" y="1758"/>
                            </a:cubicBezTo>
                            <a:cubicBezTo>
                              <a:pt x="2880" y="1371"/>
                              <a:pt x="1447" y="1147"/>
                              <a:pt x="0" y="1110"/>
                            </a:cubicBezTo>
                            <a:cubicBezTo>
                              <a:pt x="1422" y="1321"/>
                              <a:pt x="2806" y="1696"/>
                              <a:pt x="4140" y="2207"/>
                            </a:cubicBezTo>
                            <a:cubicBezTo>
                              <a:pt x="5462" y="2718"/>
                              <a:pt x="6721" y="3379"/>
                              <a:pt x="7806" y="4239"/>
                            </a:cubicBezTo>
                            <a:cubicBezTo>
                              <a:pt x="8878" y="5112"/>
                              <a:pt x="9763" y="6172"/>
                              <a:pt x="10275" y="7407"/>
                            </a:cubicBezTo>
                            <a:cubicBezTo>
                              <a:pt x="10798" y="8591"/>
                              <a:pt x="10910" y="9913"/>
                              <a:pt x="10848" y="11210"/>
                            </a:cubicBezTo>
                            <a:cubicBezTo>
                              <a:pt x="10237" y="12120"/>
                              <a:pt x="9689" y="13068"/>
                              <a:pt x="9202" y="14052"/>
                            </a:cubicBezTo>
                            <a:cubicBezTo>
                              <a:pt x="8616" y="15225"/>
                              <a:pt x="8105" y="16434"/>
                              <a:pt x="7706" y="17681"/>
                            </a:cubicBezTo>
                            <a:cubicBezTo>
                              <a:pt x="7320" y="18928"/>
                              <a:pt x="6983" y="20200"/>
                              <a:pt x="6870" y="21497"/>
                            </a:cubicBezTo>
                            <a:cubicBezTo>
                              <a:pt x="7943" y="19140"/>
                              <a:pt x="9190" y="16945"/>
                              <a:pt x="10561" y="14838"/>
                            </a:cubicBezTo>
                            <a:cubicBezTo>
                              <a:pt x="11409" y="13554"/>
                              <a:pt x="12320" y="12319"/>
                              <a:pt x="13280" y="11135"/>
                            </a:cubicBezTo>
                            <a:cubicBezTo>
                              <a:pt x="13392" y="11072"/>
                              <a:pt x="13517" y="11010"/>
                              <a:pt x="13629" y="10948"/>
                            </a:cubicBezTo>
                            <a:cubicBezTo>
                              <a:pt x="14215" y="10636"/>
                              <a:pt x="14801" y="10362"/>
                              <a:pt x="15412" y="10112"/>
                            </a:cubicBezTo>
                            <a:cubicBezTo>
                              <a:pt x="16621" y="9601"/>
                              <a:pt x="17868" y="9215"/>
                              <a:pt x="19128" y="8940"/>
                            </a:cubicBezTo>
                            <a:cubicBezTo>
                              <a:pt x="20387" y="8678"/>
                              <a:pt x="21684" y="8566"/>
                              <a:pt x="22943" y="8629"/>
                            </a:cubicBezTo>
                            <a:cubicBezTo>
                              <a:pt x="23579" y="8666"/>
                              <a:pt x="24203" y="8728"/>
                              <a:pt x="24826" y="8865"/>
                            </a:cubicBezTo>
                            <a:cubicBezTo>
                              <a:pt x="25450" y="8990"/>
                              <a:pt x="26048" y="9152"/>
                              <a:pt x="26647" y="9364"/>
                            </a:cubicBezTo>
                            <a:cubicBezTo>
                              <a:pt x="27233" y="9576"/>
                              <a:pt x="27831" y="9863"/>
                              <a:pt x="28417" y="10137"/>
                            </a:cubicBezTo>
                            <a:cubicBezTo>
                              <a:pt x="28716" y="10262"/>
                              <a:pt x="28991" y="10436"/>
                              <a:pt x="29277" y="10586"/>
                            </a:cubicBezTo>
                            <a:cubicBezTo>
                              <a:pt x="29564" y="10748"/>
                              <a:pt x="29864" y="10873"/>
                              <a:pt x="30126" y="11060"/>
                            </a:cubicBezTo>
                            <a:cubicBezTo>
                              <a:pt x="31235" y="11708"/>
                              <a:pt x="32220" y="12519"/>
                              <a:pt x="33118" y="13404"/>
                            </a:cubicBezTo>
                            <a:cubicBezTo>
                              <a:pt x="33991" y="14302"/>
                              <a:pt x="34677" y="15349"/>
                              <a:pt x="35238" y="16472"/>
                            </a:cubicBezTo>
                            <a:cubicBezTo>
                              <a:pt x="35462" y="17058"/>
                              <a:pt x="35749" y="17619"/>
                              <a:pt x="35899" y="18242"/>
                            </a:cubicBezTo>
                            <a:cubicBezTo>
                              <a:pt x="35986" y="18554"/>
                              <a:pt x="36098" y="18841"/>
                              <a:pt x="36160" y="19165"/>
                            </a:cubicBezTo>
                            <a:lnTo>
                              <a:pt x="36348" y="20112"/>
                            </a:lnTo>
                            <a:cubicBezTo>
                              <a:pt x="36809" y="22644"/>
                              <a:pt x="36722" y="25324"/>
                              <a:pt x="36435" y="27956"/>
                            </a:cubicBezTo>
                            <a:cubicBezTo>
                              <a:pt x="36123" y="30599"/>
                              <a:pt x="35662" y="33280"/>
                              <a:pt x="35188" y="35948"/>
                            </a:cubicBezTo>
                            <a:lnTo>
                              <a:pt x="34502" y="39976"/>
                            </a:lnTo>
                            <a:cubicBezTo>
                              <a:pt x="34290" y="41322"/>
                              <a:pt x="34091" y="42682"/>
                              <a:pt x="34041" y="44078"/>
                            </a:cubicBezTo>
                            <a:cubicBezTo>
                              <a:pt x="34016" y="44776"/>
                              <a:pt x="34016" y="45475"/>
                              <a:pt x="34103" y="46173"/>
                            </a:cubicBezTo>
                            <a:cubicBezTo>
                              <a:pt x="34190" y="46871"/>
                              <a:pt x="34377" y="47569"/>
                              <a:pt x="34702" y="48205"/>
                            </a:cubicBezTo>
                            <a:cubicBezTo>
                              <a:pt x="35013" y="48841"/>
                              <a:pt x="35475" y="49402"/>
                              <a:pt x="36023" y="49826"/>
                            </a:cubicBezTo>
                            <a:cubicBezTo>
                              <a:pt x="36572" y="50263"/>
                              <a:pt x="37170" y="50599"/>
                              <a:pt x="37794" y="50861"/>
                            </a:cubicBezTo>
                            <a:cubicBezTo>
                              <a:pt x="37208" y="50512"/>
                              <a:pt x="36647" y="50126"/>
                              <a:pt x="36185" y="49652"/>
                            </a:cubicBezTo>
                            <a:cubicBezTo>
                              <a:pt x="35712" y="49178"/>
                              <a:pt x="35338" y="48629"/>
                              <a:pt x="35113" y="48018"/>
                            </a:cubicBezTo>
                            <a:cubicBezTo>
                              <a:pt x="34652" y="46796"/>
                              <a:pt x="34702" y="45450"/>
                              <a:pt x="34851" y="44140"/>
                            </a:cubicBezTo>
                            <a:cubicBezTo>
                              <a:pt x="35213" y="41509"/>
                              <a:pt x="35924" y="38879"/>
                              <a:pt x="36534" y="36222"/>
                            </a:cubicBezTo>
                            <a:cubicBezTo>
                              <a:pt x="36834" y="34901"/>
                              <a:pt x="37133" y="33567"/>
                              <a:pt x="37407" y="32232"/>
                            </a:cubicBezTo>
                            <a:cubicBezTo>
                              <a:pt x="37545" y="31559"/>
                              <a:pt x="37682" y="30898"/>
                              <a:pt x="37806" y="30225"/>
                            </a:cubicBezTo>
                            <a:cubicBezTo>
                              <a:pt x="37931" y="29552"/>
                              <a:pt x="38043" y="28866"/>
                              <a:pt x="38143" y="28180"/>
                            </a:cubicBezTo>
                            <a:lnTo>
                              <a:pt x="38380" y="26110"/>
                            </a:lnTo>
                            <a:cubicBezTo>
                              <a:pt x="38442" y="25412"/>
                              <a:pt x="38467" y="24714"/>
                              <a:pt x="38505" y="24028"/>
                            </a:cubicBezTo>
                            <a:cubicBezTo>
                              <a:pt x="38505" y="23330"/>
                              <a:pt x="38505" y="22619"/>
                              <a:pt x="38480" y="21920"/>
                            </a:cubicBezTo>
                            <a:close/>
                          </a:path>
                        </a:pathLst>
                      </a:custGeom>
                      <a:solidFill>
                        <a:srgbClr val="151A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99" name="Graphic 525">
                      <a:extLst>
                        <a:ext uri="{FF2B5EF4-FFF2-40B4-BE49-F238E27FC236}">
                          <a16:creationId xmlns:a16="http://schemas.microsoft.com/office/drawing/2014/main" id="{11CFA59D-8D89-BAAD-EDFE-A162A8994B4B}"/>
                        </a:ext>
                      </a:extLst>
                    </p:cNvPr>
                    <p:cNvGrpSpPr/>
                    <p:nvPr/>
                  </p:nvGrpSpPr>
                  <p:grpSpPr>
                    <a:xfrm>
                      <a:off x="6456714" y="4376924"/>
                      <a:ext cx="20156" cy="20524"/>
                      <a:chOff x="6456714" y="4376924"/>
                      <a:chExt cx="20156" cy="20524"/>
                    </a:xfrm>
                  </p:grpSpPr>
                  <p:sp>
                    <p:nvSpPr>
                      <p:cNvPr id="3200" name="Freeform: Shape 3199">
                        <a:extLst>
                          <a:ext uri="{FF2B5EF4-FFF2-40B4-BE49-F238E27FC236}">
                            <a16:creationId xmlns:a16="http://schemas.microsoft.com/office/drawing/2014/main" id="{321C7605-853A-6D84-0CAE-62012D65C060}"/>
                          </a:ext>
                        </a:extLst>
                      </p:cNvPr>
                      <p:cNvSpPr/>
                      <p:nvPr/>
                    </p:nvSpPr>
                    <p:spPr>
                      <a:xfrm>
                        <a:off x="6456714" y="4376924"/>
                        <a:ext cx="20156" cy="20524"/>
                      </a:xfrm>
                      <a:custGeom>
                        <a:avLst/>
                        <a:gdLst>
                          <a:gd name="connsiteX0" fmla="*/ 4455 w 20156"/>
                          <a:gd name="connsiteY0" fmla="*/ 5163 h 20524"/>
                          <a:gd name="connsiteX1" fmla="*/ 14555 w 20156"/>
                          <a:gd name="connsiteY1" fmla="*/ 0 h 20524"/>
                          <a:gd name="connsiteX2" fmla="*/ 19667 w 20156"/>
                          <a:gd name="connsiteY2" fmla="*/ 2394 h 20524"/>
                          <a:gd name="connsiteX3" fmla="*/ 5640 w 20156"/>
                          <a:gd name="connsiteY3" fmla="*/ 20375 h 20524"/>
                          <a:gd name="connsiteX4" fmla="*/ 4468 w 20156"/>
                          <a:gd name="connsiteY4" fmla="*/ 5150 h 20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6" h="20524">
                            <a:moveTo>
                              <a:pt x="4455" y="5163"/>
                            </a:moveTo>
                            <a:cubicBezTo>
                              <a:pt x="6862" y="1995"/>
                              <a:pt x="10577" y="38"/>
                              <a:pt x="14555" y="0"/>
                            </a:cubicBezTo>
                            <a:cubicBezTo>
                              <a:pt x="16724" y="-12"/>
                              <a:pt x="18807" y="524"/>
                              <a:pt x="19667" y="2394"/>
                            </a:cubicBezTo>
                            <a:cubicBezTo>
                              <a:pt x="21824" y="7070"/>
                              <a:pt x="16787" y="22183"/>
                              <a:pt x="5640" y="20375"/>
                            </a:cubicBezTo>
                            <a:cubicBezTo>
                              <a:pt x="-3301" y="18928"/>
                              <a:pt x="16" y="11011"/>
                              <a:pt x="4468" y="5150"/>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01" name="Freeform: Shape 3200">
                        <a:extLst>
                          <a:ext uri="{FF2B5EF4-FFF2-40B4-BE49-F238E27FC236}">
                            <a16:creationId xmlns:a16="http://schemas.microsoft.com/office/drawing/2014/main" id="{CA7B8B00-F669-5A51-55EE-2D81281B88D1}"/>
                          </a:ext>
                        </a:extLst>
                      </p:cNvPr>
                      <p:cNvSpPr/>
                      <p:nvPr/>
                    </p:nvSpPr>
                    <p:spPr>
                      <a:xfrm>
                        <a:off x="6462578" y="4383278"/>
                        <a:ext cx="11512" cy="9445"/>
                      </a:xfrm>
                      <a:custGeom>
                        <a:avLst/>
                        <a:gdLst>
                          <a:gd name="connsiteX0" fmla="*/ 13 w 11512"/>
                          <a:gd name="connsiteY0" fmla="*/ 8597 h 9445"/>
                          <a:gd name="connsiteX1" fmla="*/ 10861 w 11512"/>
                          <a:gd name="connsiteY1" fmla="*/ 19 h 9445"/>
                          <a:gd name="connsiteX2" fmla="*/ 11509 w 11512"/>
                          <a:gd name="connsiteY2" fmla="*/ 804 h 9445"/>
                          <a:gd name="connsiteX3" fmla="*/ 10724 w 11512"/>
                          <a:gd name="connsiteY3" fmla="*/ 1453 h 9445"/>
                          <a:gd name="connsiteX4" fmla="*/ 3903 w 11512"/>
                          <a:gd name="connsiteY4" fmla="*/ 3822 h 9445"/>
                          <a:gd name="connsiteX5" fmla="*/ 8005 w 11512"/>
                          <a:gd name="connsiteY5" fmla="*/ 5430 h 9445"/>
                          <a:gd name="connsiteX6" fmla="*/ 8168 w 11512"/>
                          <a:gd name="connsiteY6" fmla="*/ 6440 h 9445"/>
                          <a:gd name="connsiteX7" fmla="*/ 7582 w 11512"/>
                          <a:gd name="connsiteY7" fmla="*/ 6740 h 9445"/>
                          <a:gd name="connsiteX8" fmla="*/ 7170 w 11512"/>
                          <a:gd name="connsiteY8" fmla="*/ 6603 h 9445"/>
                          <a:gd name="connsiteX9" fmla="*/ 2631 w 11512"/>
                          <a:gd name="connsiteY9" fmla="*/ 5455 h 9445"/>
                          <a:gd name="connsiteX10" fmla="*/ 1422 w 11512"/>
                          <a:gd name="connsiteY10" fmla="*/ 8859 h 9445"/>
                          <a:gd name="connsiteX11" fmla="*/ 711 w 11512"/>
                          <a:gd name="connsiteY11" fmla="*/ 9445 h 9445"/>
                          <a:gd name="connsiteX12" fmla="*/ 586 w 11512"/>
                          <a:gd name="connsiteY12" fmla="*/ 9445 h 9445"/>
                          <a:gd name="connsiteX13" fmla="*/ 13 w 11512"/>
                          <a:gd name="connsiteY13" fmla="*/ 8610 h 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12" h="9445">
                            <a:moveTo>
                              <a:pt x="13" y="8597"/>
                            </a:moveTo>
                            <a:cubicBezTo>
                              <a:pt x="1709" y="-742"/>
                              <a:pt x="10773" y="6"/>
                              <a:pt x="10861" y="19"/>
                            </a:cubicBezTo>
                            <a:cubicBezTo>
                              <a:pt x="11260" y="56"/>
                              <a:pt x="11547" y="405"/>
                              <a:pt x="11509" y="804"/>
                            </a:cubicBezTo>
                            <a:cubicBezTo>
                              <a:pt x="11472" y="1203"/>
                              <a:pt x="11123" y="1490"/>
                              <a:pt x="10724" y="1453"/>
                            </a:cubicBezTo>
                            <a:cubicBezTo>
                              <a:pt x="10499" y="1428"/>
                              <a:pt x="6646" y="1116"/>
                              <a:pt x="3903" y="3822"/>
                            </a:cubicBezTo>
                            <a:cubicBezTo>
                              <a:pt x="5923" y="3959"/>
                              <a:pt x="7893" y="5356"/>
                              <a:pt x="8005" y="5430"/>
                            </a:cubicBezTo>
                            <a:cubicBezTo>
                              <a:pt x="8330" y="5667"/>
                              <a:pt x="8404" y="6116"/>
                              <a:pt x="8168" y="6440"/>
                            </a:cubicBezTo>
                            <a:cubicBezTo>
                              <a:pt x="8030" y="6640"/>
                              <a:pt x="7806" y="6740"/>
                              <a:pt x="7582" y="6740"/>
                            </a:cubicBezTo>
                            <a:cubicBezTo>
                              <a:pt x="7432" y="6740"/>
                              <a:pt x="7295" y="6702"/>
                              <a:pt x="7170" y="6603"/>
                            </a:cubicBezTo>
                            <a:cubicBezTo>
                              <a:pt x="6360" y="6029"/>
                              <a:pt x="4028" y="4745"/>
                              <a:pt x="2631" y="5455"/>
                            </a:cubicBezTo>
                            <a:cubicBezTo>
                              <a:pt x="2095" y="6365"/>
                              <a:pt x="1671" y="7488"/>
                              <a:pt x="1422" y="8859"/>
                            </a:cubicBezTo>
                            <a:cubicBezTo>
                              <a:pt x="1360" y="9208"/>
                              <a:pt x="1060" y="9445"/>
                              <a:pt x="711" y="9445"/>
                            </a:cubicBezTo>
                            <a:cubicBezTo>
                              <a:pt x="674" y="9445"/>
                              <a:pt x="624" y="9445"/>
                              <a:pt x="586" y="9445"/>
                            </a:cubicBezTo>
                            <a:cubicBezTo>
                              <a:pt x="200" y="9371"/>
                              <a:pt x="-62" y="8997"/>
                              <a:pt x="13" y="8610"/>
                            </a:cubicBezTo>
                            <a:close/>
                          </a:path>
                        </a:pathLst>
                      </a:custGeom>
                      <a:solidFill>
                        <a:srgbClr val="EDAD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202" name="Graphic 525">
                  <a:extLst>
                    <a:ext uri="{FF2B5EF4-FFF2-40B4-BE49-F238E27FC236}">
                      <a16:creationId xmlns:a16="http://schemas.microsoft.com/office/drawing/2014/main" id="{1151C8FB-BC22-E948-DE62-E0EDE6C62F95}"/>
                    </a:ext>
                  </a:extLst>
                </p:cNvPr>
                <p:cNvGrpSpPr/>
                <p:nvPr/>
              </p:nvGrpSpPr>
              <p:grpSpPr>
                <a:xfrm>
                  <a:off x="6386328" y="4420042"/>
                  <a:ext cx="106339" cy="109304"/>
                  <a:chOff x="6386328" y="4420042"/>
                  <a:chExt cx="106339" cy="109304"/>
                </a:xfrm>
              </p:grpSpPr>
              <p:grpSp>
                <p:nvGrpSpPr>
                  <p:cNvPr id="3203" name="Graphic 525">
                    <a:extLst>
                      <a:ext uri="{FF2B5EF4-FFF2-40B4-BE49-F238E27FC236}">
                        <a16:creationId xmlns:a16="http://schemas.microsoft.com/office/drawing/2014/main" id="{EC90F08B-9442-84A4-DBE7-F4C5B5065A49}"/>
                      </a:ext>
                    </a:extLst>
                  </p:cNvPr>
                  <p:cNvGrpSpPr/>
                  <p:nvPr/>
                </p:nvGrpSpPr>
                <p:grpSpPr>
                  <a:xfrm>
                    <a:off x="6386328" y="4427624"/>
                    <a:ext cx="39653" cy="80524"/>
                    <a:chOff x="6386328" y="4427624"/>
                    <a:chExt cx="39653" cy="80524"/>
                  </a:xfrm>
                </p:grpSpPr>
                <p:sp>
                  <p:nvSpPr>
                    <p:cNvPr id="3204" name="Freeform: Shape 3203">
                      <a:extLst>
                        <a:ext uri="{FF2B5EF4-FFF2-40B4-BE49-F238E27FC236}">
                          <a16:creationId xmlns:a16="http://schemas.microsoft.com/office/drawing/2014/main" id="{F2DE63D8-B7E4-BAE5-A9E1-0C02B049494F}"/>
                        </a:ext>
                      </a:extLst>
                    </p:cNvPr>
                    <p:cNvSpPr/>
                    <p:nvPr/>
                  </p:nvSpPr>
                  <p:spPr>
                    <a:xfrm>
                      <a:off x="6386328" y="4439541"/>
                      <a:ext cx="38480" cy="68607"/>
                    </a:xfrm>
                    <a:custGeom>
                      <a:avLst/>
                      <a:gdLst>
                        <a:gd name="connsiteX0" fmla="*/ 11773 w 38480"/>
                        <a:gd name="connsiteY0" fmla="*/ 1624 h 68607"/>
                        <a:gd name="connsiteX1" fmla="*/ 1511 w 38480"/>
                        <a:gd name="connsiteY1" fmla="*/ 41588 h 68607"/>
                        <a:gd name="connsiteX2" fmla="*/ 13718 w 38480"/>
                        <a:gd name="connsiteY2" fmla="*/ 65254 h 68607"/>
                        <a:gd name="connsiteX3" fmla="*/ 38245 w 38480"/>
                        <a:gd name="connsiteY3" fmla="*/ 9754 h 68607"/>
                        <a:gd name="connsiteX4" fmla="*/ 11773 w 38480"/>
                        <a:gd name="connsiteY4" fmla="*/ 1624 h 68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80" h="68607">
                          <a:moveTo>
                            <a:pt x="11773" y="1624"/>
                          </a:moveTo>
                          <a:cubicBezTo>
                            <a:pt x="11773" y="1624"/>
                            <a:pt x="5389" y="22846"/>
                            <a:pt x="1511" y="41588"/>
                          </a:cubicBezTo>
                          <a:cubicBezTo>
                            <a:pt x="-4150" y="68970"/>
                            <a:pt x="7471" y="72698"/>
                            <a:pt x="13718" y="65254"/>
                          </a:cubicBezTo>
                          <a:cubicBezTo>
                            <a:pt x="19965" y="57810"/>
                            <a:pt x="35090" y="24904"/>
                            <a:pt x="38245" y="9754"/>
                          </a:cubicBezTo>
                          <a:cubicBezTo>
                            <a:pt x="41400" y="-5396"/>
                            <a:pt x="11773" y="1624"/>
                            <a:pt x="11773" y="1624"/>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05" name="Freeform: Shape 3204">
                      <a:extLst>
                        <a:ext uri="{FF2B5EF4-FFF2-40B4-BE49-F238E27FC236}">
                          <a16:creationId xmlns:a16="http://schemas.microsoft.com/office/drawing/2014/main" id="{304293C3-818D-3646-D284-4B96CEE85F08}"/>
                        </a:ext>
                      </a:extLst>
                    </p:cNvPr>
                    <p:cNvSpPr/>
                    <p:nvPr/>
                  </p:nvSpPr>
                  <p:spPr>
                    <a:xfrm>
                      <a:off x="6388807" y="4427624"/>
                      <a:ext cx="37173" cy="48143"/>
                    </a:xfrm>
                    <a:custGeom>
                      <a:avLst/>
                      <a:gdLst>
                        <a:gd name="connsiteX0" fmla="*/ 19369 w 37173"/>
                        <a:gd name="connsiteY0" fmla="*/ 12 h 48143"/>
                        <a:gd name="connsiteX1" fmla="*/ 4 w 37173"/>
                        <a:gd name="connsiteY1" fmla="*/ 41722 h 48143"/>
                        <a:gd name="connsiteX2" fmla="*/ 28533 w 37173"/>
                        <a:gd name="connsiteY2" fmla="*/ 48143 h 48143"/>
                        <a:gd name="connsiteX3" fmla="*/ 36726 w 37173"/>
                        <a:gd name="connsiteY3" fmla="*/ 13679 h 48143"/>
                        <a:gd name="connsiteX4" fmla="*/ 19369 w 37173"/>
                        <a:gd name="connsiteY4" fmla="*/ 0 h 48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73" h="48143">
                          <a:moveTo>
                            <a:pt x="19369" y="12"/>
                          </a:moveTo>
                          <a:cubicBezTo>
                            <a:pt x="19369" y="12"/>
                            <a:pt x="-332" y="6659"/>
                            <a:pt x="4" y="41722"/>
                          </a:cubicBezTo>
                          <a:cubicBezTo>
                            <a:pt x="4" y="41722"/>
                            <a:pt x="20753" y="46734"/>
                            <a:pt x="28533" y="48143"/>
                          </a:cubicBezTo>
                          <a:cubicBezTo>
                            <a:pt x="28533" y="48143"/>
                            <a:pt x="39494" y="26784"/>
                            <a:pt x="36726" y="13679"/>
                          </a:cubicBezTo>
                          <a:cubicBezTo>
                            <a:pt x="33958" y="586"/>
                            <a:pt x="19369" y="0"/>
                            <a:pt x="19369" y="0"/>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206" name="Graphic 525">
                    <a:extLst>
                      <a:ext uri="{FF2B5EF4-FFF2-40B4-BE49-F238E27FC236}">
                        <a16:creationId xmlns:a16="http://schemas.microsoft.com/office/drawing/2014/main" id="{42904963-9C65-77EE-1198-05908B8C9CF4}"/>
                      </a:ext>
                    </a:extLst>
                  </p:cNvPr>
                  <p:cNvGrpSpPr/>
                  <p:nvPr/>
                </p:nvGrpSpPr>
                <p:grpSpPr>
                  <a:xfrm>
                    <a:off x="6404385" y="4420042"/>
                    <a:ext cx="88282" cy="109304"/>
                    <a:chOff x="6404385" y="4420042"/>
                    <a:chExt cx="88282" cy="109304"/>
                  </a:xfrm>
                </p:grpSpPr>
                <p:sp>
                  <p:nvSpPr>
                    <p:cNvPr id="3207" name="Freeform: Shape 3206">
                      <a:extLst>
                        <a:ext uri="{FF2B5EF4-FFF2-40B4-BE49-F238E27FC236}">
                          <a16:creationId xmlns:a16="http://schemas.microsoft.com/office/drawing/2014/main" id="{0231FA37-48CE-8808-6D1B-6A339AD1FEEC}"/>
                        </a:ext>
                      </a:extLst>
                    </p:cNvPr>
                    <p:cNvSpPr/>
                    <p:nvPr/>
                  </p:nvSpPr>
                  <p:spPr>
                    <a:xfrm>
                      <a:off x="6404385" y="4420042"/>
                      <a:ext cx="88282" cy="109291"/>
                    </a:xfrm>
                    <a:custGeom>
                      <a:avLst/>
                      <a:gdLst>
                        <a:gd name="connsiteX0" fmla="*/ 55675 w 88282"/>
                        <a:gd name="connsiteY0" fmla="*/ 88 h 109291"/>
                        <a:gd name="connsiteX1" fmla="*/ 55986 w 88282"/>
                        <a:gd name="connsiteY1" fmla="*/ 25 h 109291"/>
                        <a:gd name="connsiteX2" fmla="*/ 77034 w 88282"/>
                        <a:gd name="connsiteY2" fmla="*/ 11447 h 109291"/>
                        <a:gd name="connsiteX3" fmla="*/ 88182 w 88282"/>
                        <a:gd name="connsiteY3" fmla="*/ 47420 h 109291"/>
                        <a:gd name="connsiteX4" fmla="*/ 86024 w 88282"/>
                        <a:gd name="connsiteY4" fmla="*/ 109292 h 109291"/>
                        <a:gd name="connsiteX5" fmla="*/ 411 w 88282"/>
                        <a:gd name="connsiteY5" fmla="*/ 109292 h 109291"/>
                        <a:gd name="connsiteX6" fmla="*/ 773 w 88282"/>
                        <a:gd name="connsiteY6" fmla="*/ 53892 h 109291"/>
                        <a:gd name="connsiteX7" fmla="*/ 1135 w 88282"/>
                        <a:gd name="connsiteY7" fmla="*/ 10724 h 109291"/>
                        <a:gd name="connsiteX8" fmla="*/ 16010 w 88282"/>
                        <a:gd name="connsiteY8" fmla="*/ 1148 h 109291"/>
                        <a:gd name="connsiteX9" fmla="*/ 28118 w 88282"/>
                        <a:gd name="connsiteY9" fmla="*/ 10724 h 109291"/>
                        <a:gd name="connsiteX10" fmla="*/ 55687 w 88282"/>
                        <a:gd name="connsiteY10" fmla="*/ 75 h 10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82" h="109291">
                          <a:moveTo>
                            <a:pt x="55675" y="88"/>
                          </a:moveTo>
                          <a:cubicBezTo>
                            <a:pt x="55749" y="0"/>
                            <a:pt x="55874" y="-24"/>
                            <a:pt x="55986" y="25"/>
                          </a:cubicBezTo>
                          <a:cubicBezTo>
                            <a:pt x="57807" y="923"/>
                            <a:pt x="72982" y="8405"/>
                            <a:pt x="77034" y="11447"/>
                          </a:cubicBezTo>
                          <a:cubicBezTo>
                            <a:pt x="81349" y="14689"/>
                            <a:pt x="89266" y="25113"/>
                            <a:pt x="88182" y="47420"/>
                          </a:cubicBezTo>
                          <a:cubicBezTo>
                            <a:pt x="87097" y="69728"/>
                            <a:pt x="84940" y="97783"/>
                            <a:pt x="86024" y="109292"/>
                          </a:cubicBezTo>
                          <a:lnTo>
                            <a:pt x="411" y="109292"/>
                          </a:lnTo>
                          <a:cubicBezTo>
                            <a:pt x="411" y="109292"/>
                            <a:pt x="1846" y="62882"/>
                            <a:pt x="773" y="53892"/>
                          </a:cubicBezTo>
                          <a:cubicBezTo>
                            <a:pt x="-312" y="44902"/>
                            <a:pt x="-312" y="15038"/>
                            <a:pt x="1135" y="10724"/>
                          </a:cubicBezTo>
                          <a:cubicBezTo>
                            <a:pt x="2569" y="6409"/>
                            <a:pt x="12407" y="2582"/>
                            <a:pt x="16010" y="1148"/>
                          </a:cubicBezTo>
                          <a:cubicBezTo>
                            <a:pt x="16010" y="1148"/>
                            <a:pt x="16247" y="9290"/>
                            <a:pt x="28118" y="10724"/>
                          </a:cubicBezTo>
                          <a:cubicBezTo>
                            <a:pt x="39876" y="12145"/>
                            <a:pt x="50936" y="5449"/>
                            <a:pt x="55687" y="75"/>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08" name="Freeform: Shape 3207">
                      <a:extLst>
                        <a:ext uri="{FF2B5EF4-FFF2-40B4-BE49-F238E27FC236}">
                          <a16:creationId xmlns:a16="http://schemas.microsoft.com/office/drawing/2014/main" id="{3BC3CB3C-3AF4-1E81-4039-DB63251467A2}"/>
                        </a:ext>
                      </a:extLst>
                    </p:cNvPr>
                    <p:cNvSpPr/>
                    <p:nvPr/>
                  </p:nvSpPr>
                  <p:spPr>
                    <a:xfrm>
                      <a:off x="6416792" y="4420042"/>
                      <a:ext cx="47020" cy="14599"/>
                    </a:xfrm>
                    <a:custGeom>
                      <a:avLst/>
                      <a:gdLst>
                        <a:gd name="connsiteX0" fmla="*/ 16447 w 47020"/>
                        <a:gd name="connsiteY0" fmla="*/ 14178 h 14599"/>
                        <a:gd name="connsiteX1" fmla="*/ 0 w 47020"/>
                        <a:gd name="connsiteY1" fmla="*/ 2631 h 14599"/>
                        <a:gd name="connsiteX2" fmla="*/ 3603 w 47020"/>
                        <a:gd name="connsiteY2" fmla="*/ 1160 h 14599"/>
                        <a:gd name="connsiteX3" fmla="*/ 15711 w 47020"/>
                        <a:gd name="connsiteY3" fmla="*/ 10736 h 14599"/>
                        <a:gd name="connsiteX4" fmla="*/ 43280 w 47020"/>
                        <a:gd name="connsiteY4" fmla="*/ 88 h 14599"/>
                        <a:gd name="connsiteX5" fmla="*/ 43592 w 47020"/>
                        <a:gd name="connsiteY5" fmla="*/ 25 h 14599"/>
                        <a:gd name="connsiteX6" fmla="*/ 47021 w 47020"/>
                        <a:gd name="connsiteY6" fmla="*/ 1734 h 14599"/>
                        <a:gd name="connsiteX7" fmla="*/ 16459 w 47020"/>
                        <a:gd name="connsiteY7" fmla="*/ 14178 h 1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20" h="14599">
                          <a:moveTo>
                            <a:pt x="16447" y="14178"/>
                          </a:moveTo>
                          <a:cubicBezTo>
                            <a:pt x="5673" y="12108"/>
                            <a:pt x="1596" y="6634"/>
                            <a:pt x="0" y="2631"/>
                          </a:cubicBezTo>
                          <a:cubicBezTo>
                            <a:pt x="1471" y="1858"/>
                            <a:pt x="2718" y="1509"/>
                            <a:pt x="3603" y="1160"/>
                          </a:cubicBezTo>
                          <a:cubicBezTo>
                            <a:pt x="3603" y="1160"/>
                            <a:pt x="3841" y="9302"/>
                            <a:pt x="15711" y="10736"/>
                          </a:cubicBezTo>
                          <a:cubicBezTo>
                            <a:pt x="27469" y="12158"/>
                            <a:pt x="38529" y="5462"/>
                            <a:pt x="43280" y="88"/>
                          </a:cubicBezTo>
                          <a:cubicBezTo>
                            <a:pt x="43355" y="0"/>
                            <a:pt x="43480" y="-24"/>
                            <a:pt x="43592" y="25"/>
                          </a:cubicBezTo>
                          <a:cubicBezTo>
                            <a:pt x="44041" y="250"/>
                            <a:pt x="45313" y="873"/>
                            <a:pt x="47021" y="1734"/>
                          </a:cubicBezTo>
                          <a:cubicBezTo>
                            <a:pt x="42544" y="6248"/>
                            <a:pt x="30337" y="16834"/>
                            <a:pt x="16459" y="14178"/>
                          </a:cubicBez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09" name="Freeform: Shape 3208">
                      <a:extLst>
                        <a:ext uri="{FF2B5EF4-FFF2-40B4-BE49-F238E27FC236}">
                          <a16:creationId xmlns:a16="http://schemas.microsoft.com/office/drawing/2014/main" id="{1D40B6F7-48DD-03B0-901C-1FC507A140F9}"/>
                        </a:ext>
                      </a:extLst>
                    </p:cNvPr>
                    <p:cNvSpPr/>
                    <p:nvPr/>
                  </p:nvSpPr>
                  <p:spPr>
                    <a:xfrm>
                      <a:off x="6427478" y="4438245"/>
                      <a:ext cx="65182" cy="91102"/>
                    </a:xfrm>
                    <a:custGeom>
                      <a:avLst/>
                      <a:gdLst>
                        <a:gd name="connsiteX0" fmla="*/ 149 w 65182"/>
                        <a:gd name="connsiteY0" fmla="*/ 91090 h 91102"/>
                        <a:gd name="connsiteX1" fmla="*/ 0 w 65182"/>
                        <a:gd name="connsiteY1" fmla="*/ 90915 h 91102"/>
                        <a:gd name="connsiteX2" fmla="*/ 36609 w 65182"/>
                        <a:gd name="connsiteY2" fmla="*/ 64443 h 91102"/>
                        <a:gd name="connsiteX3" fmla="*/ 35238 w 65182"/>
                        <a:gd name="connsiteY3" fmla="*/ 48632 h 91102"/>
                        <a:gd name="connsiteX4" fmla="*/ 31285 w 65182"/>
                        <a:gd name="connsiteY4" fmla="*/ 47947 h 91102"/>
                        <a:gd name="connsiteX5" fmla="*/ 32656 w 65182"/>
                        <a:gd name="connsiteY5" fmla="*/ 29904 h 91102"/>
                        <a:gd name="connsiteX6" fmla="*/ 40562 w 65182"/>
                        <a:gd name="connsiteY6" fmla="*/ 3 h 91102"/>
                        <a:gd name="connsiteX7" fmla="*/ 64964 w 65182"/>
                        <a:gd name="connsiteY7" fmla="*/ 19455 h 91102"/>
                        <a:gd name="connsiteX8" fmla="*/ 65089 w 65182"/>
                        <a:gd name="connsiteY8" fmla="*/ 29231 h 91102"/>
                        <a:gd name="connsiteX9" fmla="*/ 62931 w 65182"/>
                        <a:gd name="connsiteY9" fmla="*/ 91102 h 91102"/>
                        <a:gd name="connsiteX10" fmla="*/ 149 w 65182"/>
                        <a:gd name="connsiteY10" fmla="*/ 91102 h 9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182" h="91102">
                          <a:moveTo>
                            <a:pt x="149" y="91090"/>
                          </a:moveTo>
                          <a:lnTo>
                            <a:pt x="0" y="90915"/>
                          </a:lnTo>
                          <a:cubicBezTo>
                            <a:pt x="8417" y="81638"/>
                            <a:pt x="36609" y="64443"/>
                            <a:pt x="36609" y="64443"/>
                          </a:cubicBezTo>
                          <a:cubicBezTo>
                            <a:pt x="36098" y="61525"/>
                            <a:pt x="35238" y="48632"/>
                            <a:pt x="35238" y="48632"/>
                          </a:cubicBezTo>
                          <a:lnTo>
                            <a:pt x="31285" y="47947"/>
                          </a:lnTo>
                          <a:cubicBezTo>
                            <a:pt x="31285" y="47947"/>
                            <a:pt x="31796" y="37984"/>
                            <a:pt x="32656" y="29904"/>
                          </a:cubicBezTo>
                          <a:cubicBezTo>
                            <a:pt x="34377" y="5502"/>
                            <a:pt x="40562" y="3"/>
                            <a:pt x="40562" y="3"/>
                          </a:cubicBezTo>
                          <a:cubicBezTo>
                            <a:pt x="50387" y="-172"/>
                            <a:pt x="58430" y="7696"/>
                            <a:pt x="64964" y="19455"/>
                          </a:cubicBezTo>
                          <a:cubicBezTo>
                            <a:pt x="65201" y="22422"/>
                            <a:pt x="65251" y="25677"/>
                            <a:pt x="65089" y="29231"/>
                          </a:cubicBezTo>
                          <a:cubicBezTo>
                            <a:pt x="64004" y="51538"/>
                            <a:pt x="61847" y="79593"/>
                            <a:pt x="62931" y="91102"/>
                          </a:cubicBezTo>
                          <a:lnTo>
                            <a:pt x="149" y="91102"/>
                          </a:lnTo>
                          <a:close/>
                        </a:path>
                      </a:pathLst>
                    </a:custGeom>
                    <a:solidFill>
                      <a:srgbClr val="CC61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3210" name="Graphic 525">
                <a:extLst>
                  <a:ext uri="{FF2B5EF4-FFF2-40B4-BE49-F238E27FC236}">
                    <a16:creationId xmlns:a16="http://schemas.microsoft.com/office/drawing/2014/main" id="{A9A0462A-7B38-FBF5-84CA-9B37C28B3629}"/>
                  </a:ext>
                </a:extLst>
              </p:cNvPr>
              <p:cNvGrpSpPr/>
              <p:nvPr/>
            </p:nvGrpSpPr>
            <p:grpSpPr>
              <a:xfrm>
                <a:off x="6162260" y="4511663"/>
                <a:ext cx="569571" cy="215353"/>
                <a:chOff x="6162260" y="4511663"/>
                <a:chExt cx="569571" cy="215353"/>
              </a:xfrm>
            </p:grpSpPr>
            <p:sp>
              <p:nvSpPr>
                <p:cNvPr id="3211" name="Freeform: Shape 3210">
                  <a:extLst>
                    <a:ext uri="{FF2B5EF4-FFF2-40B4-BE49-F238E27FC236}">
                      <a16:creationId xmlns:a16="http://schemas.microsoft.com/office/drawing/2014/main" id="{9BB741BD-DB31-60FD-208D-E44128F4C336}"/>
                    </a:ext>
                  </a:extLst>
                </p:cNvPr>
                <p:cNvSpPr/>
                <p:nvPr/>
              </p:nvSpPr>
              <p:spPr>
                <a:xfrm>
                  <a:off x="6162260" y="4511663"/>
                  <a:ext cx="569571" cy="215353"/>
                </a:xfrm>
                <a:custGeom>
                  <a:avLst/>
                  <a:gdLst>
                    <a:gd name="connsiteX0" fmla="*/ 456132 w 569571"/>
                    <a:gd name="connsiteY0" fmla="*/ 48221 h 215353"/>
                    <a:gd name="connsiteX1" fmla="*/ 438862 w 569571"/>
                    <a:gd name="connsiteY1" fmla="*/ 50141 h 215353"/>
                    <a:gd name="connsiteX2" fmla="*/ 398575 w 569571"/>
                    <a:gd name="connsiteY2" fmla="*/ 46301 h 215353"/>
                    <a:gd name="connsiteX3" fmla="*/ 341017 w 569571"/>
                    <a:gd name="connsiteY3" fmla="*/ 13681 h 215353"/>
                    <a:gd name="connsiteX4" fmla="*/ 243521 w 569571"/>
                    <a:gd name="connsiteY4" fmla="*/ 4542 h 215353"/>
                    <a:gd name="connsiteX5" fmla="*/ 172186 w 569571"/>
                    <a:gd name="connsiteY5" fmla="*/ 41500 h 215353"/>
                    <a:gd name="connsiteX6" fmla="*/ 155876 w 569571"/>
                    <a:gd name="connsiteY6" fmla="*/ 36699 h 215353"/>
                    <a:gd name="connsiteX7" fmla="*/ 123108 w 569571"/>
                    <a:gd name="connsiteY7" fmla="*/ 31600 h 215353"/>
                    <a:gd name="connsiteX8" fmla="*/ 105027 w 569571"/>
                    <a:gd name="connsiteY8" fmla="*/ 55889 h 215353"/>
                    <a:gd name="connsiteX9" fmla="*/ 0 w 569571"/>
                    <a:gd name="connsiteY9" fmla="*/ 200581 h 215353"/>
                    <a:gd name="connsiteX10" fmla="*/ 26372 w 569571"/>
                    <a:gd name="connsiteY10" fmla="*/ 210344 h 215353"/>
                    <a:gd name="connsiteX11" fmla="*/ 106960 w 569571"/>
                    <a:gd name="connsiteY11" fmla="*/ 204583 h 215353"/>
                    <a:gd name="connsiteX12" fmla="*/ 223995 w 569571"/>
                    <a:gd name="connsiteY12" fmla="*/ 208424 h 215353"/>
                    <a:gd name="connsiteX13" fmla="*/ 319932 w 569571"/>
                    <a:gd name="connsiteY13" fmla="*/ 214185 h 215353"/>
                    <a:gd name="connsiteX14" fmla="*/ 443688 w 569571"/>
                    <a:gd name="connsiteY14" fmla="*/ 208424 h 215353"/>
                    <a:gd name="connsiteX15" fmla="*/ 569364 w 569571"/>
                    <a:gd name="connsiteY15" fmla="*/ 205544 h 215353"/>
                    <a:gd name="connsiteX16" fmla="*/ 539625 w 569571"/>
                    <a:gd name="connsiteY16" fmla="*/ 147986 h 215353"/>
                    <a:gd name="connsiteX17" fmla="*/ 490696 w 569571"/>
                    <a:gd name="connsiteY17" fmla="*/ 93309 h 215353"/>
                    <a:gd name="connsiteX18" fmla="*/ 456157 w 569571"/>
                    <a:gd name="connsiteY18" fmla="*/ 48221 h 21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9571" h="215353">
                      <a:moveTo>
                        <a:pt x="456132" y="48221"/>
                      </a:moveTo>
                      <a:cubicBezTo>
                        <a:pt x="456132" y="48221"/>
                        <a:pt x="445583" y="42460"/>
                        <a:pt x="438862" y="50141"/>
                      </a:cubicBezTo>
                      <a:cubicBezTo>
                        <a:pt x="432141" y="57822"/>
                        <a:pt x="420632" y="57809"/>
                        <a:pt x="398575" y="46301"/>
                      </a:cubicBezTo>
                      <a:cubicBezTo>
                        <a:pt x="376504" y="34792"/>
                        <a:pt x="352526" y="12721"/>
                        <a:pt x="341017" y="13681"/>
                      </a:cubicBezTo>
                      <a:cubicBezTo>
                        <a:pt x="329508" y="14642"/>
                        <a:pt x="269420" y="-9848"/>
                        <a:pt x="243521" y="4542"/>
                      </a:cubicBezTo>
                      <a:cubicBezTo>
                        <a:pt x="217623" y="18931"/>
                        <a:pt x="190403" y="35752"/>
                        <a:pt x="172186" y="41500"/>
                      </a:cubicBezTo>
                      <a:cubicBezTo>
                        <a:pt x="153956" y="47261"/>
                        <a:pt x="167385" y="34779"/>
                        <a:pt x="155876" y="36699"/>
                      </a:cubicBezTo>
                      <a:cubicBezTo>
                        <a:pt x="144367" y="38620"/>
                        <a:pt x="135427" y="34181"/>
                        <a:pt x="123108" y="31600"/>
                      </a:cubicBezTo>
                      <a:cubicBezTo>
                        <a:pt x="110788" y="29019"/>
                        <a:pt x="110788" y="47248"/>
                        <a:pt x="105027" y="55889"/>
                      </a:cubicBezTo>
                      <a:cubicBezTo>
                        <a:pt x="99267" y="64518"/>
                        <a:pt x="12008" y="158198"/>
                        <a:pt x="0" y="200581"/>
                      </a:cubicBezTo>
                      <a:cubicBezTo>
                        <a:pt x="0" y="200581"/>
                        <a:pt x="1422" y="215145"/>
                        <a:pt x="26372" y="210344"/>
                      </a:cubicBezTo>
                      <a:cubicBezTo>
                        <a:pt x="51323" y="205544"/>
                        <a:pt x="89690" y="196915"/>
                        <a:pt x="106960" y="204583"/>
                      </a:cubicBezTo>
                      <a:cubicBezTo>
                        <a:pt x="124230" y="212252"/>
                        <a:pt x="200977" y="213212"/>
                        <a:pt x="223995" y="208424"/>
                      </a:cubicBezTo>
                      <a:cubicBezTo>
                        <a:pt x="247013" y="203623"/>
                        <a:pt x="292101" y="217052"/>
                        <a:pt x="319932" y="214185"/>
                      </a:cubicBezTo>
                      <a:cubicBezTo>
                        <a:pt x="347751" y="211304"/>
                        <a:pt x="420657" y="202676"/>
                        <a:pt x="443688" y="208424"/>
                      </a:cubicBezTo>
                      <a:cubicBezTo>
                        <a:pt x="466706" y="214185"/>
                        <a:pt x="567443" y="221853"/>
                        <a:pt x="569364" y="205544"/>
                      </a:cubicBezTo>
                      <a:cubicBezTo>
                        <a:pt x="571284" y="189234"/>
                        <a:pt x="559775" y="165256"/>
                        <a:pt x="539625" y="147986"/>
                      </a:cubicBezTo>
                      <a:cubicBezTo>
                        <a:pt x="519475" y="130717"/>
                        <a:pt x="501257" y="106738"/>
                        <a:pt x="490696" y="93309"/>
                      </a:cubicBezTo>
                      <a:cubicBezTo>
                        <a:pt x="480147" y="79880"/>
                        <a:pt x="466718" y="57809"/>
                        <a:pt x="456157" y="48221"/>
                      </a:cubicBezTo>
                      <a:close/>
                    </a:path>
                  </a:pathLst>
                </a:custGeom>
                <a:solidFill>
                  <a:srgbClr val="F7C9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212" name="Graphic 525">
                  <a:extLst>
                    <a:ext uri="{FF2B5EF4-FFF2-40B4-BE49-F238E27FC236}">
                      <a16:creationId xmlns:a16="http://schemas.microsoft.com/office/drawing/2014/main" id="{E646EE87-FE1B-C477-F718-FA532F8E8D1C}"/>
                    </a:ext>
                  </a:extLst>
                </p:cNvPr>
                <p:cNvGrpSpPr/>
                <p:nvPr/>
              </p:nvGrpSpPr>
              <p:grpSpPr>
                <a:xfrm>
                  <a:off x="6217411" y="4604012"/>
                  <a:ext cx="362600" cy="67195"/>
                  <a:chOff x="6217411" y="4604012"/>
                  <a:chExt cx="362600" cy="67195"/>
                </a:xfrm>
                <a:solidFill>
                  <a:srgbClr val="F7BF7A"/>
                </a:solidFill>
              </p:grpSpPr>
              <p:sp>
                <p:nvSpPr>
                  <p:cNvPr id="3213" name="Freeform: Shape 3212">
                    <a:extLst>
                      <a:ext uri="{FF2B5EF4-FFF2-40B4-BE49-F238E27FC236}">
                        <a16:creationId xmlns:a16="http://schemas.microsoft.com/office/drawing/2014/main" id="{BDB331E8-7346-F8F9-524D-40916A984DF5}"/>
                      </a:ext>
                    </a:extLst>
                  </p:cNvPr>
                  <p:cNvSpPr/>
                  <p:nvPr/>
                </p:nvSpPr>
                <p:spPr>
                  <a:xfrm>
                    <a:off x="6407340" y="4604012"/>
                    <a:ext cx="116074" cy="49232"/>
                  </a:xfrm>
                  <a:custGeom>
                    <a:avLst/>
                    <a:gdLst>
                      <a:gd name="connsiteX0" fmla="*/ 0 w 116074"/>
                      <a:gd name="connsiteY0" fmla="*/ 47969 h 49232"/>
                      <a:gd name="connsiteX1" fmla="*/ 15649 w 116074"/>
                      <a:gd name="connsiteY1" fmla="*/ 37382 h 49232"/>
                      <a:gd name="connsiteX2" fmla="*/ 14389 w 116074"/>
                      <a:gd name="connsiteY2" fmla="*/ 0 h 49232"/>
                      <a:gd name="connsiteX3" fmla="*/ 61398 w 116074"/>
                      <a:gd name="connsiteY3" fmla="*/ 28778 h 49232"/>
                      <a:gd name="connsiteX4" fmla="*/ 116075 w 116074"/>
                      <a:gd name="connsiteY4" fmla="*/ 42208 h 49232"/>
                      <a:gd name="connsiteX5" fmla="*/ 87296 w 116074"/>
                      <a:gd name="connsiteY5" fmla="*/ 38367 h 49232"/>
                      <a:gd name="connsiteX6" fmla="*/ 45088 w 116074"/>
                      <a:gd name="connsiteY6" fmla="*/ 40287 h 49232"/>
                      <a:gd name="connsiteX7" fmla="*/ 0 w 116074"/>
                      <a:gd name="connsiteY7" fmla="*/ 47956 h 4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74" h="49232">
                        <a:moveTo>
                          <a:pt x="0" y="47969"/>
                        </a:moveTo>
                        <a:cubicBezTo>
                          <a:pt x="0" y="47969"/>
                          <a:pt x="13217" y="44739"/>
                          <a:pt x="15649" y="37382"/>
                        </a:cubicBezTo>
                        <a:cubicBezTo>
                          <a:pt x="19439" y="25923"/>
                          <a:pt x="13217" y="7593"/>
                          <a:pt x="14389" y="0"/>
                        </a:cubicBezTo>
                        <a:cubicBezTo>
                          <a:pt x="14389" y="0"/>
                          <a:pt x="21110" y="43168"/>
                          <a:pt x="61398" y="28778"/>
                        </a:cubicBezTo>
                        <a:cubicBezTo>
                          <a:pt x="84416" y="22058"/>
                          <a:pt x="94017" y="40287"/>
                          <a:pt x="116075" y="42208"/>
                        </a:cubicBezTo>
                        <a:cubicBezTo>
                          <a:pt x="116075" y="42208"/>
                          <a:pt x="99765" y="44128"/>
                          <a:pt x="87296" y="38367"/>
                        </a:cubicBezTo>
                        <a:cubicBezTo>
                          <a:pt x="74827" y="32607"/>
                          <a:pt x="59478" y="31646"/>
                          <a:pt x="45088" y="40287"/>
                        </a:cubicBezTo>
                        <a:cubicBezTo>
                          <a:pt x="30699" y="48916"/>
                          <a:pt x="10412" y="50899"/>
                          <a:pt x="0" y="47956"/>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14" name="Freeform: Shape 3213">
                    <a:extLst>
                      <a:ext uri="{FF2B5EF4-FFF2-40B4-BE49-F238E27FC236}">
                        <a16:creationId xmlns:a16="http://schemas.microsoft.com/office/drawing/2014/main" id="{78DC391E-82E0-D333-A28E-56F269B198ED}"/>
                      </a:ext>
                    </a:extLst>
                  </p:cNvPr>
                  <p:cNvSpPr/>
                  <p:nvPr/>
                </p:nvSpPr>
                <p:spPr>
                  <a:xfrm>
                    <a:off x="6529176" y="4651939"/>
                    <a:ext cx="50836" cy="9749"/>
                  </a:xfrm>
                  <a:custGeom>
                    <a:avLst/>
                    <a:gdLst>
                      <a:gd name="connsiteX0" fmla="*/ 50837 w 50836"/>
                      <a:gd name="connsiteY0" fmla="*/ 9643 h 9749"/>
                      <a:gd name="connsiteX1" fmla="*/ 47682 w 50836"/>
                      <a:gd name="connsiteY1" fmla="*/ 8645 h 9749"/>
                      <a:gd name="connsiteX2" fmla="*/ 44639 w 50836"/>
                      <a:gd name="connsiteY2" fmla="*/ 7423 h 9749"/>
                      <a:gd name="connsiteX3" fmla="*/ 38717 w 50836"/>
                      <a:gd name="connsiteY3" fmla="*/ 4668 h 9749"/>
                      <a:gd name="connsiteX4" fmla="*/ 37258 w 50836"/>
                      <a:gd name="connsiteY4" fmla="*/ 3932 h 9749"/>
                      <a:gd name="connsiteX5" fmla="*/ 36534 w 50836"/>
                      <a:gd name="connsiteY5" fmla="*/ 3570 h 9749"/>
                      <a:gd name="connsiteX6" fmla="*/ 36173 w 50836"/>
                      <a:gd name="connsiteY6" fmla="*/ 3383 h 9749"/>
                      <a:gd name="connsiteX7" fmla="*/ 35774 w 50836"/>
                      <a:gd name="connsiteY7" fmla="*/ 3196 h 9749"/>
                      <a:gd name="connsiteX8" fmla="*/ 34165 w 50836"/>
                      <a:gd name="connsiteY8" fmla="*/ 2473 h 9749"/>
                      <a:gd name="connsiteX9" fmla="*/ 32519 w 50836"/>
                      <a:gd name="connsiteY9" fmla="*/ 1875 h 9749"/>
                      <a:gd name="connsiteX10" fmla="*/ 31697 w 50836"/>
                      <a:gd name="connsiteY10" fmla="*/ 1588 h 9749"/>
                      <a:gd name="connsiteX11" fmla="*/ 30861 w 50836"/>
                      <a:gd name="connsiteY11" fmla="*/ 1363 h 9749"/>
                      <a:gd name="connsiteX12" fmla="*/ 29178 w 50836"/>
                      <a:gd name="connsiteY12" fmla="*/ 927 h 9749"/>
                      <a:gd name="connsiteX13" fmla="*/ 25774 w 50836"/>
                      <a:gd name="connsiteY13" fmla="*/ 341 h 9749"/>
                      <a:gd name="connsiteX14" fmla="*/ 18916 w 50836"/>
                      <a:gd name="connsiteY14" fmla="*/ 17 h 9749"/>
                      <a:gd name="connsiteX15" fmla="*/ 15499 w 50836"/>
                      <a:gd name="connsiteY15" fmla="*/ 291 h 9749"/>
                      <a:gd name="connsiteX16" fmla="*/ 13803 w 50836"/>
                      <a:gd name="connsiteY16" fmla="*/ 515 h 9749"/>
                      <a:gd name="connsiteX17" fmla="*/ 12120 w 50836"/>
                      <a:gd name="connsiteY17" fmla="*/ 839 h 9749"/>
                      <a:gd name="connsiteX18" fmla="*/ 5611 w 50836"/>
                      <a:gd name="connsiteY18" fmla="*/ 2947 h 9749"/>
                      <a:gd name="connsiteX19" fmla="*/ 0 w 50836"/>
                      <a:gd name="connsiteY19" fmla="*/ 6762 h 9749"/>
                      <a:gd name="connsiteX20" fmla="*/ 6197 w 50836"/>
                      <a:gd name="connsiteY20" fmla="*/ 4680 h 9749"/>
                      <a:gd name="connsiteX21" fmla="*/ 12556 w 50836"/>
                      <a:gd name="connsiteY21" fmla="*/ 3745 h 9749"/>
                      <a:gd name="connsiteX22" fmla="*/ 14153 w 50836"/>
                      <a:gd name="connsiteY22" fmla="*/ 3633 h 9749"/>
                      <a:gd name="connsiteX23" fmla="*/ 15749 w 50836"/>
                      <a:gd name="connsiteY23" fmla="*/ 3570 h 9749"/>
                      <a:gd name="connsiteX24" fmla="*/ 18941 w 50836"/>
                      <a:gd name="connsiteY24" fmla="*/ 3545 h 9749"/>
                      <a:gd name="connsiteX25" fmla="*/ 20537 w 50836"/>
                      <a:gd name="connsiteY25" fmla="*/ 3608 h 9749"/>
                      <a:gd name="connsiteX26" fmla="*/ 22133 w 50836"/>
                      <a:gd name="connsiteY26" fmla="*/ 3707 h 9749"/>
                      <a:gd name="connsiteX27" fmla="*/ 23716 w 50836"/>
                      <a:gd name="connsiteY27" fmla="*/ 3832 h 9749"/>
                      <a:gd name="connsiteX28" fmla="*/ 25287 w 50836"/>
                      <a:gd name="connsiteY28" fmla="*/ 4032 h 9749"/>
                      <a:gd name="connsiteX29" fmla="*/ 28417 w 50836"/>
                      <a:gd name="connsiteY29" fmla="*/ 4518 h 9749"/>
                      <a:gd name="connsiteX30" fmla="*/ 29951 w 50836"/>
                      <a:gd name="connsiteY30" fmla="*/ 4854 h 9749"/>
                      <a:gd name="connsiteX31" fmla="*/ 30724 w 50836"/>
                      <a:gd name="connsiteY31" fmla="*/ 5029 h 9749"/>
                      <a:gd name="connsiteX32" fmla="*/ 31472 w 50836"/>
                      <a:gd name="connsiteY32" fmla="*/ 5241 h 9749"/>
                      <a:gd name="connsiteX33" fmla="*/ 32981 w 50836"/>
                      <a:gd name="connsiteY33" fmla="*/ 5678 h 9749"/>
                      <a:gd name="connsiteX34" fmla="*/ 34452 w 50836"/>
                      <a:gd name="connsiteY34" fmla="*/ 6201 h 9749"/>
                      <a:gd name="connsiteX35" fmla="*/ 34826 w 50836"/>
                      <a:gd name="connsiteY35" fmla="*/ 6326 h 9749"/>
                      <a:gd name="connsiteX36" fmla="*/ 35225 w 50836"/>
                      <a:gd name="connsiteY36" fmla="*/ 6476 h 9749"/>
                      <a:gd name="connsiteX37" fmla="*/ 36011 w 50836"/>
                      <a:gd name="connsiteY37" fmla="*/ 6775 h 9749"/>
                      <a:gd name="connsiteX38" fmla="*/ 37594 w 50836"/>
                      <a:gd name="connsiteY38" fmla="*/ 7348 h 9749"/>
                      <a:gd name="connsiteX39" fmla="*/ 44103 w 50836"/>
                      <a:gd name="connsiteY39" fmla="*/ 9157 h 9749"/>
                      <a:gd name="connsiteX40" fmla="*/ 47457 w 50836"/>
                      <a:gd name="connsiteY40" fmla="*/ 9655 h 9749"/>
                      <a:gd name="connsiteX41" fmla="*/ 50837 w 50836"/>
                      <a:gd name="connsiteY41" fmla="*/ 9655 h 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0836" h="9749">
                        <a:moveTo>
                          <a:pt x="50837" y="9643"/>
                        </a:moveTo>
                        <a:cubicBezTo>
                          <a:pt x="49752" y="9393"/>
                          <a:pt x="48704" y="9007"/>
                          <a:pt x="47682" y="8645"/>
                        </a:cubicBezTo>
                        <a:cubicBezTo>
                          <a:pt x="46660" y="8259"/>
                          <a:pt x="45637" y="7860"/>
                          <a:pt x="44639" y="7423"/>
                        </a:cubicBezTo>
                        <a:cubicBezTo>
                          <a:pt x="42632" y="6563"/>
                          <a:pt x="40662" y="5640"/>
                          <a:pt x="38717" y="4668"/>
                        </a:cubicBezTo>
                        <a:cubicBezTo>
                          <a:pt x="38230" y="4431"/>
                          <a:pt x="37744" y="4194"/>
                          <a:pt x="37258" y="3932"/>
                        </a:cubicBezTo>
                        <a:lnTo>
                          <a:pt x="36534" y="3570"/>
                        </a:lnTo>
                        <a:lnTo>
                          <a:pt x="36173" y="3383"/>
                        </a:lnTo>
                        <a:lnTo>
                          <a:pt x="35774" y="3196"/>
                        </a:lnTo>
                        <a:cubicBezTo>
                          <a:pt x="35238" y="2959"/>
                          <a:pt x="34714" y="2710"/>
                          <a:pt x="34165" y="2473"/>
                        </a:cubicBezTo>
                        <a:cubicBezTo>
                          <a:pt x="33629" y="2249"/>
                          <a:pt x="33068" y="2074"/>
                          <a:pt x="32519" y="1875"/>
                        </a:cubicBezTo>
                        <a:cubicBezTo>
                          <a:pt x="32245" y="1775"/>
                          <a:pt x="31971" y="1675"/>
                          <a:pt x="31697" y="1588"/>
                        </a:cubicBezTo>
                        <a:lnTo>
                          <a:pt x="30861" y="1363"/>
                        </a:lnTo>
                        <a:cubicBezTo>
                          <a:pt x="30300" y="1214"/>
                          <a:pt x="29739" y="1052"/>
                          <a:pt x="29178" y="927"/>
                        </a:cubicBezTo>
                        <a:cubicBezTo>
                          <a:pt x="28043" y="715"/>
                          <a:pt x="26921" y="465"/>
                          <a:pt x="25774" y="341"/>
                        </a:cubicBezTo>
                        <a:cubicBezTo>
                          <a:pt x="23492" y="17"/>
                          <a:pt x="21197" y="-33"/>
                          <a:pt x="18916" y="17"/>
                        </a:cubicBezTo>
                        <a:cubicBezTo>
                          <a:pt x="17768" y="92"/>
                          <a:pt x="16634" y="116"/>
                          <a:pt x="15499" y="291"/>
                        </a:cubicBezTo>
                        <a:cubicBezTo>
                          <a:pt x="14938" y="366"/>
                          <a:pt x="14364" y="416"/>
                          <a:pt x="13803" y="515"/>
                        </a:cubicBezTo>
                        <a:lnTo>
                          <a:pt x="12120" y="839"/>
                        </a:lnTo>
                        <a:cubicBezTo>
                          <a:pt x="9888" y="1338"/>
                          <a:pt x="7681" y="1962"/>
                          <a:pt x="5611" y="2947"/>
                        </a:cubicBezTo>
                        <a:cubicBezTo>
                          <a:pt x="3541" y="3907"/>
                          <a:pt x="1546" y="5116"/>
                          <a:pt x="0" y="6762"/>
                        </a:cubicBezTo>
                        <a:cubicBezTo>
                          <a:pt x="2020" y="5777"/>
                          <a:pt x="4102" y="5154"/>
                          <a:pt x="6197" y="4680"/>
                        </a:cubicBezTo>
                        <a:cubicBezTo>
                          <a:pt x="8292" y="4181"/>
                          <a:pt x="10424" y="3932"/>
                          <a:pt x="12556" y="3745"/>
                        </a:cubicBezTo>
                        <a:lnTo>
                          <a:pt x="14153" y="3633"/>
                        </a:lnTo>
                        <a:cubicBezTo>
                          <a:pt x="14689" y="3595"/>
                          <a:pt x="15225" y="3595"/>
                          <a:pt x="15749" y="3570"/>
                        </a:cubicBezTo>
                        <a:cubicBezTo>
                          <a:pt x="16808" y="3521"/>
                          <a:pt x="17881" y="3545"/>
                          <a:pt x="18941" y="3545"/>
                        </a:cubicBezTo>
                        <a:cubicBezTo>
                          <a:pt x="19477" y="3545"/>
                          <a:pt x="20000" y="3595"/>
                          <a:pt x="20537" y="3608"/>
                        </a:cubicBezTo>
                        <a:cubicBezTo>
                          <a:pt x="21073" y="3633"/>
                          <a:pt x="21597" y="3645"/>
                          <a:pt x="22133" y="3707"/>
                        </a:cubicBezTo>
                        <a:lnTo>
                          <a:pt x="23716" y="3832"/>
                        </a:lnTo>
                        <a:cubicBezTo>
                          <a:pt x="24240" y="3882"/>
                          <a:pt x="24764" y="3969"/>
                          <a:pt x="25287" y="4032"/>
                        </a:cubicBezTo>
                        <a:cubicBezTo>
                          <a:pt x="26347" y="4131"/>
                          <a:pt x="27370" y="4356"/>
                          <a:pt x="28417" y="4518"/>
                        </a:cubicBezTo>
                        <a:cubicBezTo>
                          <a:pt x="28929" y="4618"/>
                          <a:pt x="29440" y="4742"/>
                          <a:pt x="29951" y="4854"/>
                        </a:cubicBezTo>
                        <a:lnTo>
                          <a:pt x="30724" y="5029"/>
                        </a:lnTo>
                        <a:lnTo>
                          <a:pt x="31472" y="5241"/>
                        </a:lnTo>
                        <a:cubicBezTo>
                          <a:pt x="31971" y="5391"/>
                          <a:pt x="32482" y="5515"/>
                          <a:pt x="32981" y="5678"/>
                        </a:cubicBezTo>
                        <a:cubicBezTo>
                          <a:pt x="33467" y="5865"/>
                          <a:pt x="33953" y="6027"/>
                          <a:pt x="34452" y="6201"/>
                        </a:cubicBezTo>
                        <a:lnTo>
                          <a:pt x="34826" y="6326"/>
                        </a:lnTo>
                        <a:lnTo>
                          <a:pt x="35225" y="6476"/>
                        </a:lnTo>
                        <a:lnTo>
                          <a:pt x="36011" y="6775"/>
                        </a:lnTo>
                        <a:cubicBezTo>
                          <a:pt x="36534" y="6974"/>
                          <a:pt x="37058" y="7161"/>
                          <a:pt x="37594" y="7348"/>
                        </a:cubicBezTo>
                        <a:cubicBezTo>
                          <a:pt x="39714" y="8084"/>
                          <a:pt x="41884" y="8708"/>
                          <a:pt x="44103" y="9157"/>
                        </a:cubicBezTo>
                        <a:cubicBezTo>
                          <a:pt x="45213" y="9381"/>
                          <a:pt x="46323" y="9555"/>
                          <a:pt x="47457" y="9655"/>
                        </a:cubicBezTo>
                        <a:cubicBezTo>
                          <a:pt x="48580" y="9755"/>
                          <a:pt x="49727" y="9805"/>
                          <a:pt x="50837" y="9655"/>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15" name="Freeform: Shape 3214">
                    <a:extLst>
                      <a:ext uri="{FF2B5EF4-FFF2-40B4-BE49-F238E27FC236}">
                        <a16:creationId xmlns:a16="http://schemas.microsoft.com/office/drawing/2014/main" id="{14B4BFD6-0363-CB61-2306-5C0A80E6542C}"/>
                      </a:ext>
                    </a:extLst>
                  </p:cNvPr>
                  <p:cNvSpPr/>
                  <p:nvPr/>
                </p:nvSpPr>
                <p:spPr>
                  <a:xfrm>
                    <a:off x="6217411" y="4626504"/>
                    <a:ext cx="294532" cy="44704"/>
                  </a:xfrm>
                  <a:custGeom>
                    <a:avLst/>
                    <a:gdLst>
                      <a:gd name="connsiteX0" fmla="*/ 294495 w 294532"/>
                      <a:gd name="connsiteY0" fmla="*/ 32198 h 44704"/>
                      <a:gd name="connsiteX1" fmla="*/ 284806 w 294532"/>
                      <a:gd name="connsiteY1" fmla="*/ 30440 h 44704"/>
                      <a:gd name="connsiteX2" fmla="*/ 275754 w 294532"/>
                      <a:gd name="connsiteY2" fmla="*/ 26724 h 44704"/>
                      <a:gd name="connsiteX3" fmla="*/ 273659 w 294532"/>
                      <a:gd name="connsiteY3" fmla="*/ 25477 h 44704"/>
                      <a:gd name="connsiteX4" fmla="*/ 272649 w 294532"/>
                      <a:gd name="connsiteY4" fmla="*/ 24803 h 44704"/>
                      <a:gd name="connsiteX5" fmla="*/ 271651 w 294532"/>
                      <a:gd name="connsiteY5" fmla="*/ 24105 h 44704"/>
                      <a:gd name="connsiteX6" fmla="*/ 271153 w 294532"/>
                      <a:gd name="connsiteY6" fmla="*/ 23756 h 44704"/>
                      <a:gd name="connsiteX7" fmla="*/ 270679 w 294532"/>
                      <a:gd name="connsiteY7" fmla="*/ 23370 h 44704"/>
                      <a:gd name="connsiteX8" fmla="*/ 269731 w 294532"/>
                      <a:gd name="connsiteY8" fmla="*/ 22609 h 44704"/>
                      <a:gd name="connsiteX9" fmla="*/ 267774 w 294532"/>
                      <a:gd name="connsiteY9" fmla="*/ 21038 h 44704"/>
                      <a:gd name="connsiteX10" fmla="*/ 258721 w 294532"/>
                      <a:gd name="connsiteY10" fmla="*/ 16549 h 44704"/>
                      <a:gd name="connsiteX11" fmla="*/ 253858 w 294532"/>
                      <a:gd name="connsiteY11" fmla="*/ 15227 h 44704"/>
                      <a:gd name="connsiteX12" fmla="*/ 248895 w 294532"/>
                      <a:gd name="connsiteY12" fmla="*/ 14379 h 44704"/>
                      <a:gd name="connsiteX13" fmla="*/ 238845 w 294532"/>
                      <a:gd name="connsiteY13" fmla="*/ 13881 h 44704"/>
                      <a:gd name="connsiteX14" fmla="*/ 228808 w 294532"/>
                      <a:gd name="connsiteY14" fmla="*/ 14990 h 44704"/>
                      <a:gd name="connsiteX15" fmla="*/ 223882 w 294532"/>
                      <a:gd name="connsiteY15" fmla="*/ 16225 h 44704"/>
                      <a:gd name="connsiteX16" fmla="*/ 219082 w 294532"/>
                      <a:gd name="connsiteY16" fmla="*/ 17983 h 44704"/>
                      <a:gd name="connsiteX17" fmla="*/ 214505 w 294532"/>
                      <a:gd name="connsiteY17" fmla="*/ 20377 h 44704"/>
                      <a:gd name="connsiteX18" fmla="*/ 210416 w 294532"/>
                      <a:gd name="connsiteY18" fmla="*/ 23045 h 44704"/>
                      <a:gd name="connsiteX19" fmla="*/ 201737 w 294532"/>
                      <a:gd name="connsiteY19" fmla="*/ 25963 h 44704"/>
                      <a:gd name="connsiteX20" fmla="*/ 192660 w 294532"/>
                      <a:gd name="connsiteY20" fmla="*/ 24891 h 44704"/>
                      <a:gd name="connsiteX21" fmla="*/ 184056 w 294532"/>
                      <a:gd name="connsiteY21" fmla="*/ 20876 h 44704"/>
                      <a:gd name="connsiteX22" fmla="*/ 175889 w 294532"/>
                      <a:gd name="connsiteY22" fmla="*/ 15552 h 44704"/>
                      <a:gd name="connsiteX23" fmla="*/ 167385 w 294532"/>
                      <a:gd name="connsiteY23" fmla="*/ 10190 h 44704"/>
                      <a:gd name="connsiteX24" fmla="*/ 148781 w 294532"/>
                      <a:gd name="connsiteY24" fmla="*/ 2372 h 44704"/>
                      <a:gd name="connsiteX25" fmla="*/ 128631 w 294532"/>
                      <a:gd name="connsiteY25" fmla="*/ 77 h 44704"/>
                      <a:gd name="connsiteX26" fmla="*/ 118531 w 294532"/>
                      <a:gd name="connsiteY26" fmla="*/ 1449 h 44704"/>
                      <a:gd name="connsiteX27" fmla="*/ 108830 w 294532"/>
                      <a:gd name="connsiteY27" fmla="*/ 4529 h 44704"/>
                      <a:gd name="connsiteX28" fmla="*/ 106511 w 294532"/>
                      <a:gd name="connsiteY28" fmla="*/ 5564 h 44704"/>
                      <a:gd name="connsiteX29" fmla="*/ 105351 w 294532"/>
                      <a:gd name="connsiteY29" fmla="*/ 6100 h 44704"/>
                      <a:gd name="connsiteX30" fmla="*/ 104229 w 294532"/>
                      <a:gd name="connsiteY30" fmla="*/ 6686 h 44704"/>
                      <a:gd name="connsiteX31" fmla="*/ 101984 w 294532"/>
                      <a:gd name="connsiteY31" fmla="*/ 7870 h 44704"/>
                      <a:gd name="connsiteX32" fmla="*/ 99802 w 294532"/>
                      <a:gd name="connsiteY32" fmla="*/ 9155 h 44704"/>
                      <a:gd name="connsiteX33" fmla="*/ 97670 w 294532"/>
                      <a:gd name="connsiteY33" fmla="*/ 10514 h 44704"/>
                      <a:gd name="connsiteX34" fmla="*/ 95575 w 294532"/>
                      <a:gd name="connsiteY34" fmla="*/ 11910 h 44704"/>
                      <a:gd name="connsiteX35" fmla="*/ 91511 w 294532"/>
                      <a:gd name="connsiteY35" fmla="*/ 14703 h 44704"/>
                      <a:gd name="connsiteX36" fmla="*/ 87421 w 294532"/>
                      <a:gd name="connsiteY36" fmla="*/ 17447 h 44704"/>
                      <a:gd name="connsiteX37" fmla="*/ 83306 w 294532"/>
                      <a:gd name="connsiteY37" fmla="*/ 20140 h 44704"/>
                      <a:gd name="connsiteX38" fmla="*/ 79154 w 294532"/>
                      <a:gd name="connsiteY38" fmla="*/ 22771 h 44704"/>
                      <a:gd name="connsiteX39" fmla="*/ 74939 w 294532"/>
                      <a:gd name="connsiteY39" fmla="*/ 25290 h 44704"/>
                      <a:gd name="connsiteX40" fmla="*/ 72807 w 294532"/>
                      <a:gd name="connsiteY40" fmla="*/ 26487 h 44704"/>
                      <a:gd name="connsiteX41" fmla="*/ 71734 w 294532"/>
                      <a:gd name="connsiteY41" fmla="*/ 27085 h 44704"/>
                      <a:gd name="connsiteX42" fmla="*/ 70650 w 294532"/>
                      <a:gd name="connsiteY42" fmla="*/ 27646 h 44704"/>
                      <a:gd name="connsiteX43" fmla="*/ 68480 w 294532"/>
                      <a:gd name="connsiteY43" fmla="*/ 28756 h 44704"/>
                      <a:gd name="connsiteX44" fmla="*/ 66273 w 294532"/>
                      <a:gd name="connsiteY44" fmla="*/ 29779 h 44704"/>
                      <a:gd name="connsiteX45" fmla="*/ 61797 w 294532"/>
                      <a:gd name="connsiteY45" fmla="*/ 31612 h 44704"/>
                      <a:gd name="connsiteX46" fmla="*/ 59502 w 294532"/>
                      <a:gd name="connsiteY46" fmla="*/ 32360 h 44704"/>
                      <a:gd name="connsiteX47" fmla="*/ 58929 w 294532"/>
                      <a:gd name="connsiteY47" fmla="*/ 32547 h 44704"/>
                      <a:gd name="connsiteX48" fmla="*/ 58343 w 294532"/>
                      <a:gd name="connsiteY48" fmla="*/ 32697 h 44704"/>
                      <a:gd name="connsiteX49" fmla="*/ 57171 w 294532"/>
                      <a:gd name="connsiteY49" fmla="*/ 32996 h 44704"/>
                      <a:gd name="connsiteX50" fmla="*/ 37744 w 294532"/>
                      <a:gd name="connsiteY50" fmla="*/ 35178 h 44704"/>
                      <a:gd name="connsiteX51" fmla="*/ 27856 w 294532"/>
                      <a:gd name="connsiteY51" fmla="*/ 36013 h 44704"/>
                      <a:gd name="connsiteX52" fmla="*/ 18005 w 294532"/>
                      <a:gd name="connsiteY52" fmla="*/ 37298 h 44704"/>
                      <a:gd name="connsiteX53" fmla="*/ 8317 w 294532"/>
                      <a:gd name="connsiteY53" fmla="*/ 39542 h 44704"/>
                      <a:gd name="connsiteX54" fmla="*/ 3728 w 294532"/>
                      <a:gd name="connsiteY54" fmla="*/ 41487 h 44704"/>
                      <a:gd name="connsiteX55" fmla="*/ 1658 w 294532"/>
                      <a:gd name="connsiteY55" fmla="*/ 42871 h 44704"/>
                      <a:gd name="connsiteX56" fmla="*/ 0 w 294532"/>
                      <a:gd name="connsiteY56" fmla="*/ 44704 h 44704"/>
                      <a:gd name="connsiteX57" fmla="*/ 1746 w 294532"/>
                      <a:gd name="connsiteY57" fmla="*/ 42984 h 44704"/>
                      <a:gd name="connsiteX58" fmla="*/ 3853 w 294532"/>
                      <a:gd name="connsiteY58" fmla="*/ 41737 h 44704"/>
                      <a:gd name="connsiteX59" fmla="*/ 8466 w 294532"/>
                      <a:gd name="connsiteY59" fmla="*/ 40091 h 44704"/>
                      <a:gd name="connsiteX60" fmla="*/ 18142 w 294532"/>
                      <a:gd name="connsiteY60" fmla="*/ 38333 h 44704"/>
                      <a:gd name="connsiteX61" fmla="*/ 37819 w 294532"/>
                      <a:gd name="connsiteY61" fmla="*/ 37023 h 44704"/>
                      <a:gd name="connsiteX62" fmla="*/ 47731 w 294532"/>
                      <a:gd name="connsiteY62" fmla="*/ 36662 h 44704"/>
                      <a:gd name="connsiteX63" fmla="*/ 57719 w 294532"/>
                      <a:gd name="connsiteY63" fmla="*/ 35390 h 44704"/>
                      <a:gd name="connsiteX64" fmla="*/ 58954 w 294532"/>
                      <a:gd name="connsiteY64" fmla="*/ 35103 h 44704"/>
                      <a:gd name="connsiteX65" fmla="*/ 59577 w 294532"/>
                      <a:gd name="connsiteY65" fmla="*/ 34966 h 44704"/>
                      <a:gd name="connsiteX66" fmla="*/ 60188 w 294532"/>
                      <a:gd name="connsiteY66" fmla="*/ 34791 h 44704"/>
                      <a:gd name="connsiteX67" fmla="*/ 62620 w 294532"/>
                      <a:gd name="connsiteY67" fmla="*/ 34068 h 44704"/>
                      <a:gd name="connsiteX68" fmla="*/ 67333 w 294532"/>
                      <a:gd name="connsiteY68" fmla="*/ 32260 h 44704"/>
                      <a:gd name="connsiteX69" fmla="*/ 69640 w 294532"/>
                      <a:gd name="connsiteY69" fmla="*/ 31250 h 44704"/>
                      <a:gd name="connsiteX70" fmla="*/ 71897 w 294532"/>
                      <a:gd name="connsiteY70" fmla="*/ 30153 h 44704"/>
                      <a:gd name="connsiteX71" fmla="*/ 73031 w 294532"/>
                      <a:gd name="connsiteY71" fmla="*/ 29604 h 44704"/>
                      <a:gd name="connsiteX72" fmla="*/ 74141 w 294532"/>
                      <a:gd name="connsiteY72" fmla="*/ 29018 h 44704"/>
                      <a:gd name="connsiteX73" fmla="*/ 76348 w 294532"/>
                      <a:gd name="connsiteY73" fmla="*/ 27846 h 44704"/>
                      <a:gd name="connsiteX74" fmla="*/ 93318 w 294532"/>
                      <a:gd name="connsiteY74" fmla="*/ 17434 h 44704"/>
                      <a:gd name="connsiteX75" fmla="*/ 97446 w 294532"/>
                      <a:gd name="connsiteY75" fmla="*/ 14678 h 44704"/>
                      <a:gd name="connsiteX76" fmla="*/ 99491 w 294532"/>
                      <a:gd name="connsiteY76" fmla="*/ 13357 h 44704"/>
                      <a:gd name="connsiteX77" fmla="*/ 101548 w 294532"/>
                      <a:gd name="connsiteY77" fmla="*/ 12085 h 44704"/>
                      <a:gd name="connsiteX78" fmla="*/ 103643 w 294532"/>
                      <a:gd name="connsiteY78" fmla="*/ 10888 h 44704"/>
                      <a:gd name="connsiteX79" fmla="*/ 105788 w 294532"/>
                      <a:gd name="connsiteY79" fmla="*/ 9791 h 44704"/>
                      <a:gd name="connsiteX80" fmla="*/ 106860 w 294532"/>
                      <a:gd name="connsiteY80" fmla="*/ 9255 h 44704"/>
                      <a:gd name="connsiteX81" fmla="*/ 107957 w 294532"/>
                      <a:gd name="connsiteY81" fmla="*/ 8768 h 44704"/>
                      <a:gd name="connsiteX82" fmla="*/ 110164 w 294532"/>
                      <a:gd name="connsiteY82" fmla="*/ 7820 h 44704"/>
                      <a:gd name="connsiteX83" fmla="*/ 119317 w 294532"/>
                      <a:gd name="connsiteY83" fmla="*/ 4978 h 44704"/>
                      <a:gd name="connsiteX84" fmla="*/ 128805 w 294532"/>
                      <a:gd name="connsiteY84" fmla="*/ 3731 h 44704"/>
                      <a:gd name="connsiteX85" fmla="*/ 138382 w 294532"/>
                      <a:gd name="connsiteY85" fmla="*/ 4092 h 44704"/>
                      <a:gd name="connsiteX86" fmla="*/ 147808 w 294532"/>
                      <a:gd name="connsiteY86" fmla="*/ 5975 h 44704"/>
                      <a:gd name="connsiteX87" fmla="*/ 165627 w 294532"/>
                      <a:gd name="connsiteY87" fmla="*/ 13382 h 44704"/>
                      <a:gd name="connsiteX88" fmla="*/ 173869 w 294532"/>
                      <a:gd name="connsiteY88" fmla="*/ 18531 h 44704"/>
                      <a:gd name="connsiteX89" fmla="*/ 182311 w 294532"/>
                      <a:gd name="connsiteY89" fmla="*/ 23943 h 44704"/>
                      <a:gd name="connsiteX90" fmla="*/ 191662 w 294532"/>
                      <a:gd name="connsiteY90" fmla="*/ 28145 h 44704"/>
                      <a:gd name="connsiteX91" fmla="*/ 202111 w 294532"/>
                      <a:gd name="connsiteY91" fmla="*/ 29218 h 44704"/>
                      <a:gd name="connsiteX92" fmla="*/ 212012 w 294532"/>
                      <a:gd name="connsiteY92" fmla="*/ 25751 h 44704"/>
                      <a:gd name="connsiteX93" fmla="*/ 216152 w 294532"/>
                      <a:gd name="connsiteY93" fmla="*/ 22921 h 44704"/>
                      <a:gd name="connsiteX94" fmla="*/ 220291 w 294532"/>
                      <a:gd name="connsiteY94" fmla="*/ 20639 h 44704"/>
                      <a:gd name="connsiteX95" fmla="*/ 224743 w 294532"/>
                      <a:gd name="connsiteY95" fmla="*/ 18906 h 44704"/>
                      <a:gd name="connsiteX96" fmla="*/ 229381 w 294532"/>
                      <a:gd name="connsiteY96" fmla="*/ 17634 h 44704"/>
                      <a:gd name="connsiteX97" fmla="*/ 238970 w 294532"/>
                      <a:gd name="connsiteY97" fmla="*/ 16337 h 44704"/>
                      <a:gd name="connsiteX98" fmla="*/ 248671 w 294532"/>
                      <a:gd name="connsiteY98" fmla="*/ 16524 h 44704"/>
                      <a:gd name="connsiteX99" fmla="*/ 253484 w 294532"/>
                      <a:gd name="connsiteY99" fmla="*/ 17197 h 44704"/>
                      <a:gd name="connsiteX100" fmla="*/ 258197 w 294532"/>
                      <a:gd name="connsiteY100" fmla="*/ 18320 h 44704"/>
                      <a:gd name="connsiteX101" fmla="*/ 266963 w 294532"/>
                      <a:gd name="connsiteY101" fmla="*/ 22247 h 44704"/>
                      <a:gd name="connsiteX102" fmla="*/ 268921 w 294532"/>
                      <a:gd name="connsiteY102" fmla="*/ 23694 h 44704"/>
                      <a:gd name="connsiteX103" fmla="*/ 269931 w 294532"/>
                      <a:gd name="connsiteY103" fmla="*/ 24442 h 44704"/>
                      <a:gd name="connsiteX104" fmla="*/ 270442 w 294532"/>
                      <a:gd name="connsiteY104" fmla="*/ 24816 h 44704"/>
                      <a:gd name="connsiteX105" fmla="*/ 270966 w 294532"/>
                      <a:gd name="connsiteY105" fmla="*/ 25153 h 44704"/>
                      <a:gd name="connsiteX106" fmla="*/ 272026 w 294532"/>
                      <a:gd name="connsiteY106" fmla="*/ 25826 h 44704"/>
                      <a:gd name="connsiteX107" fmla="*/ 273098 w 294532"/>
                      <a:gd name="connsiteY107" fmla="*/ 26474 h 44704"/>
                      <a:gd name="connsiteX108" fmla="*/ 275317 w 294532"/>
                      <a:gd name="connsiteY108" fmla="*/ 27646 h 44704"/>
                      <a:gd name="connsiteX109" fmla="*/ 284707 w 294532"/>
                      <a:gd name="connsiteY109" fmla="*/ 30988 h 44704"/>
                      <a:gd name="connsiteX110" fmla="*/ 294532 w 294532"/>
                      <a:gd name="connsiteY110" fmla="*/ 32210 h 4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94532" h="44704">
                        <a:moveTo>
                          <a:pt x="294495" y="32198"/>
                        </a:moveTo>
                        <a:cubicBezTo>
                          <a:pt x="291203" y="32011"/>
                          <a:pt x="287949" y="31350"/>
                          <a:pt x="284806" y="30440"/>
                        </a:cubicBezTo>
                        <a:cubicBezTo>
                          <a:pt x="281664" y="29529"/>
                          <a:pt x="278609" y="28295"/>
                          <a:pt x="275754" y="26724"/>
                        </a:cubicBezTo>
                        <a:cubicBezTo>
                          <a:pt x="275043" y="26337"/>
                          <a:pt x="274357" y="25888"/>
                          <a:pt x="273659" y="25477"/>
                        </a:cubicBezTo>
                        <a:cubicBezTo>
                          <a:pt x="273310" y="25277"/>
                          <a:pt x="272986" y="25028"/>
                          <a:pt x="272649" y="24803"/>
                        </a:cubicBezTo>
                        <a:lnTo>
                          <a:pt x="271651" y="24105"/>
                        </a:lnTo>
                        <a:lnTo>
                          <a:pt x="271153" y="23756"/>
                        </a:lnTo>
                        <a:lnTo>
                          <a:pt x="270679" y="23370"/>
                        </a:lnTo>
                        <a:lnTo>
                          <a:pt x="269731" y="22609"/>
                        </a:lnTo>
                        <a:cubicBezTo>
                          <a:pt x="269108" y="22123"/>
                          <a:pt x="268447" y="21561"/>
                          <a:pt x="267774" y="21038"/>
                        </a:cubicBezTo>
                        <a:cubicBezTo>
                          <a:pt x="265018" y="19030"/>
                          <a:pt x="261913" y="17609"/>
                          <a:pt x="258721" y="16549"/>
                        </a:cubicBezTo>
                        <a:cubicBezTo>
                          <a:pt x="257125" y="16000"/>
                          <a:pt x="255492" y="15601"/>
                          <a:pt x="253858" y="15227"/>
                        </a:cubicBezTo>
                        <a:cubicBezTo>
                          <a:pt x="252212" y="14891"/>
                          <a:pt x="250566" y="14579"/>
                          <a:pt x="248895" y="14379"/>
                        </a:cubicBezTo>
                        <a:cubicBezTo>
                          <a:pt x="245566" y="13930"/>
                          <a:pt x="242200" y="13793"/>
                          <a:pt x="238845" y="13881"/>
                        </a:cubicBezTo>
                        <a:cubicBezTo>
                          <a:pt x="235479" y="13955"/>
                          <a:pt x="232124" y="14342"/>
                          <a:pt x="228808" y="14990"/>
                        </a:cubicBezTo>
                        <a:cubicBezTo>
                          <a:pt x="227149" y="15327"/>
                          <a:pt x="225503" y="15713"/>
                          <a:pt x="223882" y="16225"/>
                        </a:cubicBezTo>
                        <a:cubicBezTo>
                          <a:pt x="222249" y="16699"/>
                          <a:pt x="220653" y="17310"/>
                          <a:pt x="219082" y="17983"/>
                        </a:cubicBezTo>
                        <a:cubicBezTo>
                          <a:pt x="217511" y="18669"/>
                          <a:pt x="215990" y="19479"/>
                          <a:pt x="214505" y="20377"/>
                        </a:cubicBezTo>
                        <a:cubicBezTo>
                          <a:pt x="212997" y="21374"/>
                          <a:pt x="211787" y="22260"/>
                          <a:pt x="210416" y="23045"/>
                        </a:cubicBezTo>
                        <a:cubicBezTo>
                          <a:pt x="207710" y="24592"/>
                          <a:pt x="204767" y="25664"/>
                          <a:pt x="201737" y="25963"/>
                        </a:cubicBezTo>
                        <a:cubicBezTo>
                          <a:pt x="198707" y="26287"/>
                          <a:pt x="195627" y="25851"/>
                          <a:pt x="192660" y="24891"/>
                        </a:cubicBezTo>
                        <a:cubicBezTo>
                          <a:pt x="189692" y="23943"/>
                          <a:pt x="186824" y="22509"/>
                          <a:pt x="184056" y="20876"/>
                        </a:cubicBezTo>
                        <a:cubicBezTo>
                          <a:pt x="181288" y="19230"/>
                          <a:pt x="178582" y="17422"/>
                          <a:pt x="175889" y="15552"/>
                        </a:cubicBezTo>
                        <a:cubicBezTo>
                          <a:pt x="173158" y="13644"/>
                          <a:pt x="170315" y="11823"/>
                          <a:pt x="167385" y="10190"/>
                        </a:cubicBezTo>
                        <a:cubicBezTo>
                          <a:pt x="161537" y="6885"/>
                          <a:pt x="155302" y="4180"/>
                          <a:pt x="148781" y="2372"/>
                        </a:cubicBezTo>
                        <a:cubicBezTo>
                          <a:pt x="142260" y="576"/>
                          <a:pt x="135427" y="-272"/>
                          <a:pt x="128631" y="77"/>
                        </a:cubicBezTo>
                        <a:cubicBezTo>
                          <a:pt x="125239" y="252"/>
                          <a:pt x="121848" y="676"/>
                          <a:pt x="118531" y="1449"/>
                        </a:cubicBezTo>
                        <a:cubicBezTo>
                          <a:pt x="115214" y="2222"/>
                          <a:pt x="111972" y="3232"/>
                          <a:pt x="108830" y="4529"/>
                        </a:cubicBezTo>
                        <a:cubicBezTo>
                          <a:pt x="108057" y="4865"/>
                          <a:pt x="107284" y="5227"/>
                          <a:pt x="106511" y="5564"/>
                        </a:cubicBezTo>
                        <a:cubicBezTo>
                          <a:pt x="106124" y="5738"/>
                          <a:pt x="105738" y="5900"/>
                          <a:pt x="105351" y="6100"/>
                        </a:cubicBezTo>
                        <a:lnTo>
                          <a:pt x="104229" y="6686"/>
                        </a:lnTo>
                        <a:cubicBezTo>
                          <a:pt x="103481" y="7085"/>
                          <a:pt x="102720" y="7447"/>
                          <a:pt x="101984" y="7870"/>
                        </a:cubicBezTo>
                        <a:lnTo>
                          <a:pt x="99802" y="9155"/>
                        </a:lnTo>
                        <a:cubicBezTo>
                          <a:pt x="99067" y="9566"/>
                          <a:pt x="98381" y="10052"/>
                          <a:pt x="97670" y="10514"/>
                        </a:cubicBezTo>
                        <a:cubicBezTo>
                          <a:pt x="96972" y="10975"/>
                          <a:pt x="96249" y="11437"/>
                          <a:pt x="95575" y="11910"/>
                        </a:cubicBezTo>
                        <a:lnTo>
                          <a:pt x="91511" y="14703"/>
                        </a:lnTo>
                        <a:cubicBezTo>
                          <a:pt x="90164" y="15639"/>
                          <a:pt x="88792" y="16536"/>
                          <a:pt x="87421" y="17447"/>
                        </a:cubicBezTo>
                        <a:cubicBezTo>
                          <a:pt x="86049" y="18357"/>
                          <a:pt x="84690" y="19267"/>
                          <a:pt x="83306" y="20140"/>
                        </a:cubicBezTo>
                        <a:cubicBezTo>
                          <a:pt x="81922" y="21013"/>
                          <a:pt x="80550" y="21923"/>
                          <a:pt x="79154" y="22771"/>
                        </a:cubicBezTo>
                        <a:cubicBezTo>
                          <a:pt x="77745" y="23606"/>
                          <a:pt x="76361" y="24479"/>
                          <a:pt x="74939" y="25290"/>
                        </a:cubicBezTo>
                        <a:lnTo>
                          <a:pt x="72807" y="26487"/>
                        </a:lnTo>
                        <a:lnTo>
                          <a:pt x="71734" y="27085"/>
                        </a:lnTo>
                        <a:lnTo>
                          <a:pt x="70650" y="27646"/>
                        </a:lnTo>
                        <a:lnTo>
                          <a:pt x="68480" y="28756"/>
                        </a:lnTo>
                        <a:cubicBezTo>
                          <a:pt x="67757" y="29130"/>
                          <a:pt x="67009" y="29429"/>
                          <a:pt x="66273" y="29779"/>
                        </a:cubicBezTo>
                        <a:cubicBezTo>
                          <a:pt x="64814" y="30489"/>
                          <a:pt x="63293" y="31013"/>
                          <a:pt x="61797" y="31612"/>
                        </a:cubicBezTo>
                        <a:lnTo>
                          <a:pt x="59502" y="32360"/>
                        </a:lnTo>
                        <a:cubicBezTo>
                          <a:pt x="59315" y="32422"/>
                          <a:pt x="59116" y="32484"/>
                          <a:pt x="58929" y="32547"/>
                        </a:cubicBezTo>
                        <a:lnTo>
                          <a:pt x="58343" y="32697"/>
                        </a:lnTo>
                        <a:lnTo>
                          <a:pt x="57171" y="32996"/>
                        </a:lnTo>
                        <a:cubicBezTo>
                          <a:pt x="50936" y="34592"/>
                          <a:pt x="44327" y="34704"/>
                          <a:pt x="37744" y="35178"/>
                        </a:cubicBezTo>
                        <a:cubicBezTo>
                          <a:pt x="34452" y="35415"/>
                          <a:pt x="31148" y="35676"/>
                          <a:pt x="27856" y="36013"/>
                        </a:cubicBezTo>
                        <a:cubicBezTo>
                          <a:pt x="24564" y="36350"/>
                          <a:pt x="21272" y="36736"/>
                          <a:pt x="18005" y="37298"/>
                        </a:cubicBezTo>
                        <a:cubicBezTo>
                          <a:pt x="14738" y="37846"/>
                          <a:pt x="11484" y="38519"/>
                          <a:pt x="8317" y="39542"/>
                        </a:cubicBezTo>
                        <a:cubicBezTo>
                          <a:pt x="6746" y="40066"/>
                          <a:pt x="5187" y="40664"/>
                          <a:pt x="3728" y="41487"/>
                        </a:cubicBezTo>
                        <a:cubicBezTo>
                          <a:pt x="2992" y="41886"/>
                          <a:pt x="2307" y="42348"/>
                          <a:pt x="1658" y="42871"/>
                        </a:cubicBezTo>
                        <a:cubicBezTo>
                          <a:pt x="1022" y="43395"/>
                          <a:pt x="436" y="44006"/>
                          <a:pt x="0" y="44704"/>
                        </a:cubicBezTo>
                        <a:cubicBezTo>
                          <a:pt x="474" y="44031"/>
                          <a:pt x="1085" y="43470"/>
                          <a:pt x="1746" y="42984"/>
                        </a:cubicBezTo>
                        <a:cubicBezTo>
                          <a:pt x="2406" y="42497"/>
                          <a:pt x="3117" y="42085"/>
                          <a:pt x="3853" y="41737"/>
                        </a:cubicBezTo>
                        <a:cubicBezTo>
                          <a:pt x="5324" y="41013"/>
                          <a:pt x="6895" y="40515"/>
                          <a:pt x="8466" y="40091"/>
                        </a:cubicBezTo>
                        <a:cubicBezTo>
                          <a:pt x="11633" y="39230"/>
                          <a:pt x="14888" y="38731"/>
                          <a:pt x="18142" y="38333"/>
                        </a:cubicBezTo>
                        <a:cubicBezTo>
                          <a:pt x="24664" y="37559"/>
                          <a:pt x="31247" y="37235"/>
                          <a:pt x="37819" y="37023"/>
                        </a:cubicBezTo>
                        <a:cubicBezTo>
                          <a:pt x="41111" y="36911"/>
                          <a:pt x="44402" y="36836"/>
                          <a:pt x="47731" y="36662"/>
                        </a:cubicBezTo>
                        <a:cubicBezTo>
                          <a:pt x="51048" y="36474"/>
                          <a:pt x="54415" y="36126"/>
                          <a:pt x="57719" y="35390"/>
                        </a:cubicBezTo>
                        <a:lnTo>
                          <a:pt x="58954" y="35103"/>
                        </a:lnTo>
                        <a:lnTo>
                          <a:pt x="59577" y="34966"/>
                        </a:lnTo>
                        <a:cubicBezTo>
                          <a:pt x="59777" y="34916"/>
                          <a:pt x="59989" y="34854"/>
                          <a:pt x="60188" y="34791"/>
                        </a:cubicBezTo>
                        <a:lnTo>
                          <a:pt x="62620" y="34068"/>
                        </a:lnTo>
                        <a:cubicBezTo>
                          <a:pt x="64203" y="33482"/>
                          <a:pt x="65812" y="32958"/>
                          <a:pt x="67333" y="32260"/>
                        </a:cubicBezTo>
                        <a:cubicBezTo>
                          <a:pt x="68106" y="31923"/>
                          <a:pt x="68892" y="31612"/>
                          <a:pt x="69640" y="31250"/>
                        </a:cubicBezTo>
                        <a:lnTo>
                          <a:pt x="71897" y="30153"/>
                        </a:lnTo>
                        <a:lnTo>
                          <a:pt x="73031" y="29604"/>
                        </a:lnTo>
                        <a:lnTo>
                          <a:pt x="74141" y="29018"/>
                        </a:lnTo>
                        <a:lnTo>
                          <a:pt x="76348" y="27846"/>
                        </a:lnTo>
                        <a:cubicBezTo>
                          <a:pt x="82196" y="24641"/>
                          <a:pt x="87782" y="21088"/>
                          <a:pt x="93318" y="17434"/>
                        </a:cubicBezTo>
                        <a:lnTo>
                          <a:pt x="97446" y="14678"/>
                        </a:lnTo>
                        <a:cubicBezTo>
                          <a:pt x="98132" y="14217"/>
                          <a:pt x="98805" y="13806"/>
                          <a:pt x="99491" y="13357"/>
                        </a:cubicBezTo>
                        <a:cubicBezTo>
                          <a:pt x="100176" y="12933"/>
                          <a:pt x="100837" y="12471"/>
                          <a:pt x="101548" y="12085"/>
                        </a:cubicBezTo>
                        <a:lnTo>
                          <a:pt x="103643" y="10888"/>
                        </a:lnTo>
                        <a:cubicBezTo>
                          <a:pt x="104341" y="10489"/>
                          <a:pt x="105077" y="10165"/>
                          <a:pt x="105788" y="9791"/>
                        </a:cubicBezTo>
                        <a:lnTo>
                          <a:pt x="106860" y="9255"/>
                        </a:lnTo>
                        <a:cubicBezTo>
                          <a:pt x="107222" y="9080"/>
                          <a:pt x="107596" y="8930"/>
                          <a:pt x="107957" y="8768"/>
                        </a:cubicBezTo>
                        <a:cubicBezTo>
                          <a:pt x="108693" y="8456"/>
                          <a:pt x="109428" y="8120"/>
                          <a:pt x="110164" y="7820"/>
                        </a:cubicBezTo>
                        <a:cubicBezTo>
                          <a:pt x="113145" y="6648"/>
                          <a:pt x="116199" y="5688"/>
                          <a:pt x="119317" y="4978"/>
                        </a:cubicBezTo>
                        <a:cubicBezTo>
                          <a:pt x="122434" y="4267"/>
                          <a:pt x="125614" y="3893"/>
                          <a:pt x="128805" y="3731"/>
                        </a:cubicBezTo>
                        <a:cubicBezTo>
                          <a:pt x="131998" y="3581"/>
                          <a:pt x="135202" y="3718"/>
                          <a:pt x="138382" y="4092"/>
                        </a:cubicBezTo>
                        <a:cubicBezTo>
                          <a:pt x="141561" y="4466"/>
                          <a:pt x="144704" y="5127"/>
                          <a:pt x="147808" y="5975"/>
                        </a:cubicBezTo>
                        <a:cubicBezTo>
                          <a:pt x="154005" y="7671"/>
                          <a:pt x="159978" y="10215"/>
                          <a:pt x="165627" y="13382"/>
                        </a:cubicBezTo>
                        <a:cubicBezTo>
                          <a:pt x="168457" y="14953"/>
                          <a:pt x="171188" y="16686"/>
                          <a:pt x="173869" y="18531"/>
                        </a:cubicBezTo>
                        <a:cubicBezTo>
                          <a:pt x="176600" y="20414"/>
                          <a:pt x="179380" y="22272"/>
                          <a:pt x="182311" y="23943"/>
                        </a:cubicBezTo>
                        <a:cubicBezTo>
                          <a:pt x="185241" y="25614"/>
                          <a:pt x="188333" y="27135"/>
                          <a:pt x="191662" y="28145"/>
                        </a:cubicBezTo>
                        <a:cubicBezTo>
                          <a:pt x="194979" y="29168"/>
                          <a:pt x="198570" y="29641"/>
                          <a:pt x="202111" y="29218"/>
                        </a:cubicBezTo>
                        <a:cubicBezTo>
                          <a:pt x="205653" y="28806"/>
                          <a:pt x="209032" y="27522"/>
                          <a:pt x="212012" y="25751"/>
                        </a:cubicBezTo>
                        <a:cubicBezTo>
                          <a:pt x="213483" y="24866"/>
                          <a:pt x="214917" y="23768"/>
                          <a:pt x="216152" y="22921"/>
                        </a:cubicBezTo>
                        <a:cubicBezTo>
                          <a:pt x="217473" y="22073"/>
                          <a:pt x="218845" y="21300"/>
                          <a:pt x="220291" y="20639"/>
                        </a:cubicBezTo>
                        <a:cubicBezTo>
                          <a:pt x="221738" y="19978"/>
                          <a:pt x="223209" y="19379"/>
                          <a:pt x="224743" y="18906"/>
                        </a:cubicBezTo>
                        <a:cubicBezTo>
                          <a:pt x="226264" y="18394"/>
                          <a:pt x="227810" y="17995"/>
                          <a:pt x="229381" y="17634"/>
                        </a:cubicBezTo>
                        <a:cubicBezTo>
                          <a:pt x="232524" y="16960"/>
                          <a:pt x="235740" y="16512"/>
                          <a:pt x="238970" y="16337"/>
                        </a:cubicBezTo>
                        <a:cubicBezTo>
                          <a:pt x="242200" y="16162"/>
                          <a:pt x="245454" y="16200"/>
                          <a:pt x="248671" y="16524"/>
                        </a:cubicBezTo>
                        <a:cubicBezTo>
                          <a:pt x="250292" y="16674"/>
                          <a:pt x="251888" y="16923"/>
                          <a:pt x="253484" y="17197"/>
                        </a:cubicBezTo>
                        <a:cubicBezTo>
                          <a:pt x="255067" y="17509"/>
                          <a:pt x="256651" y="17858"/>
                          <a:pt x="258197" y="18320"/>
                        </a:cubicBezTo>
                        <a:cubicBezTo>
                          <a:pt x="261290" y="19217"/>
                          <a:pt x="264307" y="20464"/>
                          <a:pt x="266963" y="22247"/>
                        </a:cubicBezTo>
                        <a:cubicBezTo>
                          <a:pt x="267611" y="22709"/>
                          <a:pt x="268235" y="23182"/>
                          <a:pt x="268921" y="23694"/>
                        </a:cubicBezTo>
                        <a:lnTo>
                          <a:pt x="269931" y="24442"/>
                        </a:lnTo>
                        <a:lnTo>
                          <a:pt x="270442" y="24816"/>
                        </a:lnTo>
                        <a:lnTo>
                          <a:pt x="270966" y="25153"/>
                        </a:lnTo>
                        <a:lnTo>
                          <a:pt x="272026" y="25826"/>
                        </a:lnTo>
                        <a:cubicBezTo>
                          <a:pt x="272375" y="26050"/>
                          <a:pt x="272724" y="26287"/>
                          <a:pt x="273098" y="26474"/>
                        </a:cubicBezTo>
                        <a:cubicBezTo>
                          <a:pt x="273834" y="26861"/>
                          <a:pt x="274557" y="27285"/>
                          <a:pt x="275317" y="27646"/>
                        </a:cubicBezTo>
                        <a:cubicBezTo>
                          <a:pt x="278310" y="29118"/>
                          <a:pt x="281477" y="30228"/>
                          <a:pt x="284707" y="30988"/>
                        </a:cubicBezTo>
                        <a:cubicBezTo>
                          <a:pt x="287936" y="31736"/>
                          <a:pt x="291240" y="32210"/>
                          <a:pt x="294532" y="32210"/>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216" name="Freeform: Shape 3215">
                  <a:extLst>
                    <a:ext uri="{FF2B5EF4-FFF2-40B4-BE49-F238E27FC236}">
                      <a16:creationId xmlns:a16="http://schemas.microsoft.com/office/drawing/2014/main" id="{84E5C021-9806-D1BD-34DD-B983392EEA91}"/>
                    </a:ext>
                  </a:extLst>
                </p:cNvPr>
                <p:cNvSpPr/>
                <p:nvPr/>
              </p:nvSpPr>
              <p:spPr>
                <a:xfrm>
                  <a:off x="6516120" y="4529534"/>
                  <a:ext cx="90558" cy="75522"/>
                </a:xfrm>
                <a:custGeom>
                  <a:avLst/>
                  <a:gdLst>
                    <a:gd name="connsiteX0" fmla="*/ 23230 w 90558"/>
                    <a:gd name="connsiteY0" fmla="*/ 30013 h 75522"/>
                    <a:gd name="connsiteX1" fmla="*/ 0 w 90558"/>
                    <a:gd name="connsiteY1" fmla="*/ 0 h 75522"/>
                    <a:gd name="connsiteX2" fmla="*/ 44702 w 90558"/>
                    <a:gd name="connsiteY2" fmla="*/ 28429 h 75522"/>
                    <a:gd name="connsiteX3" fmla="*/ 84990 w 90558"/>
                    <a:gd name="connsiteY3" fmla="*/ 32270 h 75522"/>
                    <a:gd name="connsiteX4" fmla="*/ 88630 w 90558"/>
                    <a:gd name="connsiteY4" fmla="*/ 29452 h 75522"/>
                    <a:gd name="connsiteX5" fmla="*/ 89640 w 90558"/>
                    <a:gd name="connsiteY5" fmla="*/ 51123 h 75522"/>
                    <a:gd name="connsiteX6" fmla="*/ 65425 w 90558"/>
                    <a:gd name="connsiteY6" fmla="*/ 75338 h 75522"/>
                    <a:gd name="connsiteX7" fmla="*/ 23218 w 90558"/>
                    <a:gd name="connsiteY7" fmla="*/ 30025 h 7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558" h="75522">
                      <a:moveTo>
                        <a:pt x="23230" y="30013"/>
                      </a:moveTo>
                      <a:cubicBezTo>
                        <a:pt x="19402" y="20599"/>
                        <a:pt x="4876" y="5050"/>
                        <a:pt x="0" y="0"/>
                      </a:cubicBezTo>
                      <a:cubicBezTo>
                        <a:pt x="12444" y="6808"/>
                        <a:pt x="29053" y="20275"/>
                        <a:pt x="44702" y="28429"/>
                      </a:cubicBezTo>
                      <a:cubicBezTo>
                        <a:pt x="66772" y="39938"/>
                        <a:pt x="78281" y="39938"/>
                        <a:pt x="84990" y="32270"/>
                      </a:cubicBezTo>
                      <a:cubicBezTo>
                        <a:pt x="86124" y="30986"/>
                        <a:pt x="87359" y="30075"/>
                        <a:pt x="88630" y="29452"/>
                      </a:cubicBezTo>
                      <a:cubicBezTo>
                        <a:pt x="87770" y="36098"/>
                        <a:pt x="92471" y="44515"/>
                        <a:pt x="89640" y="51123"/>
                      </a:cubicBezTo>
                      <a:cubicBezTo>
                        <a:pt x="85912" y="59814"/>
                        <a:pt x="84054" y="72233"/>
                        <a:pt x="65425" y="75338"/>
                      </a:cubicBezTo>
                      <a:cubicBezTo>
                        <a:pt x="46797" y="78443"/>
                        <a:pt x="27831" y="41385"/>
                        <a:pt x="23218" y="30025"/>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217" name="Graphic 525">
                  <a:extLst>
                    <a:ext uri="{FF2B5EF4-FFF2-40B4-BE49-F238E27FC236}">
                      <a16:creationId xmlns:a16="http://schemas.microsoft.com/office/drawing/2014/main" id="{1DA3F16C-321A-409C-465B-1040486A3164}"/>
                    </a:ext>
                  </a:extLst>
                </p:cNvPr>
                <p:cNvGrpSpPr/>
                <p:nvPr/>
              </p:nvGrpSpPr>
              <p:grpSpPr>
                <a:xfrm>
                  <a:off x="6291609" y="4513511"/>
                  <a:ext cx="202478" cy="81740"/>
                  <a:chOff x="6291609" y="4513511"/>
                  <a:chExt cx="202478" cy="81740"/>
                </a:xfrm>
                <a:solidFill>
                  <a:srgbClr val="F7BF7A"/>
                </a:solidFill>
              </p:grpSpPr>
              <p:sp>
                <p:nvSpPr>
                  <p:cNvPr id="3218" name="Freeform: Shape 3217">
                    <a:extLst>
                      <a:ext uri="{FF2B5EF4-FFF2-40B4-BE49-F238E27FC236}">
                        <a16:creationId xmlns:a16="http://schemas.microsoft.com/office/drawing/2014/main" id="{9B104ADE-B40C-69F8-3A9F-CB7DEFC1A874}"/>
                      </a:ext>
                    </a:extLst>
                  </p:cNvPr>
                  <p:cNvSpPr/>
                  <p:nvPr/>
                </p:nvSpPr>
                <p:spPr>
                  <a:xfrm>
                    <a:off x="6291609" y="4529497"/>
                    <a:ext cx="91890" cy="65754"/>
                  </a:xfrm>
                  <a:custGeom>
                    <a:avLst/>
                    <a:gdLst>
                      <a:gd name="connsiteX0" fmla="*/ 68 w 91890"/>
                      <a:gd name="connsiteY0" fmla="*/ 50537 h 65754"/>
                      <a:gd name="connsiteX1" fmla="*/ 6701 w 91890"/>
                      <a:gd name="connsiteY1" fmla="*/ 17083 h 65754"/>
                      <a:gd name="connsiteX2" fmla="*/ 26515 w 91890"/>
                      <a:gd name="connsiteY2" fmla="*/ 18878 h 65754"/>
                      <a:gd name="connsiteX3" fmla="*/ 42824 w 91890"/>
                      <a:gd name="connsiteY3" fmla="*/ 23679 h 65754"/>
                      <a:gd name="connsiteX4" fmla="*/ 91890 w 91890"/>
                      <a:gd name="connsiteY4" fmla="*/ 0 h 65754"/>
                      <a:gd name="connsiteX5" fmla="*/ 65867 w 91890"/>
                      <a:gd name="connsiteY5" fmla="*/ 26335 h 65754"/>
                      <a:gd name="connsiteX6" fmla="*/ 31727 w 91890"/>
                      <a:gd name="connsiteY6" fmla="*/ 62956 h 65754"/>
                      <a:gd name="connsiteX7" fmla="*/ 68 w 91890"/>
                      <a:gd name="connsiteY7" fmla="*/ 50537 h 6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90" h="65754">
                        <a:moveTo>
                          <a:pt x="68" y="50537"/>
                        </a:moveTo>
                        <a:cubicBezTo>
                          <a:pt x="1178" y="43916"/>
                          <a:pt x="9644" y="27956"/>
                          <a:pt x="6701" y="17083"/>
                        </a:cubicBezTo>
                        <a:cubicBezTo>
                          <a:pt x="13260" y="18816"/>
                          <a:pt x="19395" y="20063"/>
                          <a:pt x="26515" y="18878"/>
                        </a:cubicBezTo>
                        <a:cubicBezTo>
                          <a:pt x="38024" y="16958"/>
                          <a:pt x="24595" y="29427"/>
                          <a:pt x="42824" y="23679"/>
                        </a:cubicBezTo>
                        <a:cubicBezTo>
                          <a:pt x="55730" y="19601"/>
                          <a:pt x="73449" y="10237"/>
                          <a:pt x="91890" y="0"/>
                        </a:cubicBezTo>
                        <a:cubicBezTo>
                          <a:pt x="83311" y="6135"/>
                          <a:pt x="71453" y="15898"/>
                          <a:pt x="65867" y="26335"/>
                        </a:cubicBezTo>
                        <a:cubicBezTo>
                          <a:pt x="56553" y="43716"/>
                          <a:pt x="48485" y="54266"/>
                          <a:pt x="31727" y="62956"/>
                        </a:cubicBezTo>
                        <a:cubicBezTo>
                          <a:pt x="14968" y="71647"/>
                          <a:pt x="-1179" y="57994"/>
                          <a:pt x="68" y="50537"/>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19" name="Freeform: Shape 3218">
                    <a:extLst>
                      <a:ext uri="{FF2B5EF4-FFF2-40B4-BE49-F238E27FC236}">
                        <a16:creationId xmlns:a16="http://schemas.microsoft.com/office/drawing/2014/main" id="{EAF51C07-F50B-7211-9C70-FCA84A1390D0}"/>
                      </a:ext>
                    </a:extLst>
                  </p:cNvPr>
                  <p:cNvSpPr/>
                  <p:nvPr/>
                </p:nvSpPr>
                <p:spPr>
                  <a:xfrm>
                    <a:off x="6347189" y="4516653"/>
                    <a:ext cx="57781" cy="60138"/>
                  </a:xfrm>
                  <a:custGeom>
                    <a:avLst/>
                    <a:gdLst>
                      <a:gd name="connsiteX0" fmla="*/ 11871 w 57781"/>
                      <a:gd name="connsiteY0" fmla="*/ 25637 h 60138"/>
                      <a:gd name="connsiteX1" fmla="*/ 0 w 57781"/>
                      <a:gd name="connsiteY1" fmla="*/ 54041 h 60138"/>
                      <a:gd name="connsiteX2" fmla="*/ 4165 w 57781"/>
                      <a:gd name="connsiteY2" fmla="*/ 59540 h 60138"/>
                      <a:gd name="connsiteX3" fmla="*/ 14402 w 57781"/>
                      <a:gd name="connsiteY3" fmla="*/ 58019 h 60138"/>
                      <a:gd name="connsiteX4" fmla="*/ 20661 w 57781"/>
                      <a:gd name="connsiteY4" fmla="*/ 47782 h 60138"/>
                      <a:gd name="connsiteX5" fmla="*/ 26160 w 57781"/>
                      <a:gd name="connsiteY5" fmla="*/ 48542 h 60138"/>
                      <a:gd name="connsiteX6" fmla="*/ 32607 w 57781"/>
                      <a:gd name="connsiteY6" fmla="*/ 32232 h 60138"/>
                      <a:gd name="connsiteX7" fmla="*/ 57782 w 57781"/>
                      <a:gd name="connsiteY7" fmla="*/ 0 h 60138"/>
                      <a:gd name="connsiteX8" fmla="*/ 11871 w 57781"/>
                      <a:gd name="connsiteY8" fmla="*/ 25624 h 6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81" h="60138">
                        <a:moveTo>
                          <a:pt x="11871" y="25637"/>
                        </a:moveTo>
                        <a:cubicBezTo>
                          <a:pt x="5985" y="36908"/>
                          <a:pt x="0" y="49540"/>
                          <a:pt x="0" y="54041"/>
                        </a:cubicBezTo>
                        <a:cubicBezTo>
                          <a:pt x="0" y="54041"/>
                          <a:pt x="1322" y="59540"/>
                          <a:pt x="4165" y="59540"/>
                        </a:cubicBezTo>
                        <a:cubicBezTo>
                          <a:pt x="7008" y="59540"/>
                          <a:pt x="11746" y="61622"/>
                          <a:pt x="14402" y="58019"/>
                        </a:cubicBezTo>
                        <a:cubicBezTo>
                          <a:pt x="17058" y="54415"/>
                          <a:pt x="20661" y="45699"/>
                          <a:pt x="20661" y="47782"/>
                        </a:cubicBezTo>
                        <a:cubicBezTo>
                          <a:pt x="20661" y="49864"/>
                          <a:pt x="22931" y="53093"/>
                          <a:pt x="26160" y="48542"/>
                        </a:cubicBezTo>
                        <a:cubicBezTo>
                          <a:pt x="29377" y="43991"/>
                          <a:pt x="31085" y="35462"/>
                          <a:pt x="32607" y="32232"/>
                        </a:cubicBezTo>
                        <a:cubicBezTo>
                          <a:pt x="34091" y="29066"/>
                          <a:pt x="53642" y="9850"/>
                          <a:pt x="57782" y="0"/>
                        </a:cubicBezTo>
                        <a:cubicBezTo>
                          <a:pt x="42171" y="8691"/>
                          <a:pt x="26110" y="18217"/>
                          <a:pt x="11871" y="25624"/>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0" name="Freeform: Shape 3219">
                    <a:extLst>
                      <a:ext uri="{FF2B5EF4-FFF2-40B4-BE49-F238E27FC236}">
                        <a16:creationId xmlns:a16="http://schemas.microsoft.com/office/drawing/2014/main" id="{99B5A5DA-F626-5755-F7B3-8F823E7ED1AA}"/>
                      </a:ext>
                    </a:extLst>
                  </p:cNvPr>
                  <p:cNvSpPr/>
                  <p:nvPr/>
                </p:nvSpPr>
                <p:spPr>
                  <a:xfrm>
                    <a:off x="6391834" y="4513511"/>
                    <a:ext cx="102254" cy="50694"/>
                  </a:xfrm>
                  <a:custGeom>
                    <a:avLst/>
                    <a:gdLst>
                      <a:gd name="connsiteX0" fmla="*/ 102242 w 102254"/>
                      <a:gd name="connsiteY0" fmla="*/ 10549 h 50694"/>
                      <a:gd name="connsiteX1" fmla="*/ 56231 w 102254"/>
                      <a:gd name="connsiteY1" fmla="*/ 0 h 50694"/>
                      <a:gd name="connsiteX2" fmla="*/ 44373 w 102254"/>
                      <a:gd name="connsiteY2" fmla="*/ 9302 h 50694"/>
                      <a:gd name="connsiteX3" fmla="*/ 31891 w 102254"/>
                      <a:gd name="connsiteY3" fmla="*/ 17108 h 50694"/>
                      <a:gd name="connsiteX4" fmla="*/ 9820 w 102254"/>
                      <a:gd name="connsiteY4" fmla="*/ 18217 h 50694"/>
                      <a:gd name="connsiteX5" fmla="*/ 13162 w 102254"/>
                      <a:gd name="connsiteY5" fmla="*/ 23342 h 50694"/>
                      <a:gd name="connsiteX6" fmla="*/ 7 w 102254"/>
                      <a:gd name="connsiteY6" fmla="*/ 30474 h 50694"/>
                      <a:gd name="connsiteX7" fmla="*/ 3574 w 102254"/>
                      <a:gd name="connsiteY7" fmla="*/ 34489 h 50694"/>
                      <a:gd name="connsiteX8" fmla="*/ 1117 w 102254"/>
                      <a:gd name="connsiteY8" fmla="*/ 40063 h 50694"/>
                      <a:gd name="connsiteX9" fmla="*/ 4683 w 102254"/>
                      <a:gd name="connsiteY9" fmla="*/ 41846 h 50694"/>
                      <a:gd name="connsiteX10" fmla="*/ 5132 w 102254"/>
                      <a:gd name="connsiteY10" fmla="*/ 46971 h 50694"/>
                      <a:gd name="connsiteX11" fmla="*/ 9820 w 102254"/>
                      <a:gd name="connsiteY11" fmla="*/ 46747 h 50694"/>
                      <a:gd name="connsiteX12" fmla="*/ 19185 w 102254"/>
                      <a:gd name="connsiteY12" fmla="*/ 50088 h 50694"/>
                      <a:gd name="connsiteX13" fmla="*/ 48388 w 102254"/>
                      <a:gd name="connsiteY13" fmla="*/ 37382 h 50694"/>
                      <a:gd name="connsiteX14" fmla="*/ 102254 w 102254"/>
                      <a:gd name="connsiteY14" fmla="*/ 10536 h 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254" h="50694">
                        <a:moveTo>
                          <a:pt x="102242" y="10549"/>
                        </a:moveTo>
                        <a:cubicBezTo>
                          <a:pt x="91269" y="8092"/>
                          <a:pt x="73650" y="2806"/>
                          <a:pt x="56231" y="0"/>
                        </a:cubicBezTo>
                        <a:cubicBezTo>
                          <a:pt x="54610" y="1160"/>
                          <a:pt x="48413" y="5649"/>
                          <a:pt x="44373" y="9302"/>
                        </a:cubicBezTo>
                        <a:cubicBezTo>
                          <a:pt x="39684" y="13542"/>
                          <a:pt x="37016" y="17768"/>
                          <a:pt x="31891" y="17108"/>
                        </a:cubicBezTo>
                        <a:cubicBezTo>
                          <a:pt x="26766" y="16434"/>
                          <a:pt x="11828" y="15549"/>
                          <a:pt x="9820" y="18217"/>
                        </a:cubicBezTo>
                        <a:cubicBezTo>
                          <a:pt x="7813" y="20898"/>
                          <a:pt x="15170" y="22681"/>
                          <a:pt x="13162" y="23342"/>
                        </a:cubicBezTo>
                        <a:cubicBezTo>
                          <a:pt x="11155" y="24015"/>
                          <a:pt x="232" y="27357"/>
                          <a:pt x="7" y="30474"/>
                        </a:cubicBezTo>
                        <a:cubicBezTo>
                          <a:pt x="-217" y="33592"/>
                          <a:pt x="4696" y="33592"/>
                          <a:pt x="3574" y="34489"/>
                        </a:cubicBezTo>
                        <a:cubicBezTo>
                          <a:pt x="2464" y="35387"/>
                          <a:pt x="-666" y="38056"/>
                          <a:pt x="1117" y="40063"/>
                        </a:cubicBezTo>
                        <a:cubicBezTo>
                          <a:pt x="2900" y="42071"/>
                          <a:pt x="4683" y="41846"/>
                          <a:pt x="4683" y="41846"/>
                        </a:cubicBezTo>
                        <a:cubicBezTo>
                          <a:pt x="4683" y="41846"/>
                          <a:pt x="2227" y="46310"/>
                          <a:pt x="5132" y="46971"/>
                        </a:cubicBezTo>
                        <a:cubicBezTo>
                          <a:pt x="8025" y="47644"/>
                          <a:pt x="9820" y="46747"/>
                          <a:pt x="9820" y="46747"/>
                        </a:cubicBezTo>
                        <a:cubicBezTo>
                          <a:pt x="9820" y="46747"/>
                          <a:pt x="11828" y="52545"/>
                          <a:pt x="19185" y="50088"/>
                        </a:cubicBezTo>
                        <a:cubicBezTo>
                          <a:pt x="26542" y="47632"/>
                          <a:pt x="44160" y="40724"/>
                          <a:pt x="48388" y="37382"/>
                        </a:cubicBezTo>
                        <a:cubicBezTo>
                          <a:pt x="52353" y="34253"/>
                          <a:pt x="91219" y="22931"/>
                          <a:pt x="102254" y="10536"/>
                        </a:cubicBezTo>
                        <a:close/>
                      </a:path>
                    </a:pathLst>
                  </a:custGeom>
                  <a:solidFill>
                    <a:srgbClr val="F7BF7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221" name="Graphic 525">
                <a:extLst>
                  <a:ext uri="{FF2B5EF4-FFF2-40B4-BE49-F238E27FC236}">
                    <a16:creationId xmlns:a16="http://schemas.microsoft.com/office/drawing/2014/main" id="{8D77EAC7-2562-D823-A82A-05237A8E660D}"/>
                  </a:ext>
                </a:extLst>
              </p:cNvPr>
              <p:cNvGrpSpPr/>
              <p:nvPr/>
            </p:nvGrpSpPr>
            <p:grpSpPr>
              <a:xfrm>
                <a:off x="6350487" y="4430293"/>
                <a:ext cx="150230" cy="144623"/>
                <a:chOff x="6350487" y="4430293"/>
                <a:chExt cx="150230" cy="144623"/>
              </a:xfrm>
            </p:grpSpPr>
            <p:grpSp>
              <p:nvGrpSpPr>
                <p:cNvPr id="3222" name="Graphic 525">
                  <a:extLst>
                    <a:ext uri="{FF2B5EF4-FFF2-40B4-BE49-F238E27FC236}">
                      <a16:creationId xmlns:a16="http://schemas.microsoft.com/office/drawing/2014/main" id="{0FF880AA-7944-EED0-4AB0-EE587EB1D59C}"/>
                    </a:ext>
                  </a:extLst>
                </p:cNvPr>
                <p:cNvGrpSpPr/>
                <p:nvPr/>
              </p:nvGrpSpPr>
              <p:grpSpPr>
                <a:xfrm>
                  <a:off x="6393900" y="4430293"/>
                  <a:ext cx="106816" cy="131708"/>
                  <a:chOff x="6393900" y="4430293"/>
                  <a:chExt cx="106816" cy="131708"/>
                </a:xfrm>
              </p:grpSpPr>
              <p:sp>
                <p:nvSpPr>
                  <p:cNvPr id="3223" name="Freeform: Shape 3222">
                    <a:extLst>
                      <a:ext uri="{FF2B5EF4-FFF2-40B4-BE49-F238E27FC236}">
                        <a16:creationId xmlns:a16="http://schemas.microsoft.com/office/drawing/2014/main" id="{133CCFD1-0BBD-B5D6-7DFF-DEDA90D10052}"/>
                      </a:ext>
                    </a:extLst>
                  </p:cNvPr>
                  <p:cNvSpPr/>
                  <p:nvPr/>
                </p:nvSpPr>
                <p:spPr>
                  <a:xfrm>
                    <a:off x="6466235" y="4433131"/>
                    <a:ext cx="31413" cy="93845"/>
                  </a:xfrm>
                  <a:custGeom>
                    <a:avLst/>
                    <a:gdLst>
                      <a:gd name="connsiteX0" fmla="*/ 14099 w 31413"/>
                      <a:gd name="connsiteY0" fmla="*/ 54 h 93845"/>
                      <a:gd name="connsiteX1" fmla="*/ 1132 w 31413"/>
                      <a:gd name="connsiteY1" fmla="*/ 11850 h 93845"/>
                      <a:gd name="connsiteX2" fmla="*/ 2940 w 31413"/>
                      <a:gd name="connsiteY2" fmla="*/ 71265 h 93845"/>
                      <a:gd name="connsiteX3" fmla="*/ 24025 w 31413"/>
                      <a:gd name="connsiteY3" fmla="*/ 80442 h 93845"/>
                      <a:gd name="connsiteX4" fmla="*/ 27254 w 31413"/>
                      <a:gd name="connsiteY4" fmla="*/ 6326 h 93845"/>
                      <a:gd name="connsiteX5" fmla="*/ 14087 w 31413"/>
                      <a:gd name="connsiteY5" fmla="*/ 42 h 9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13" h="93845">
                        <a:moveTo>
                          <a:pt x="14099" y="54"/>
                        </a:moveTo>
                        <a:cubicBezTo>
                          <a:pt x="6980" y="653"/>
                          <a:pt x="1917" y="4743"/>
                          <a:pt x="1132" y="11850"/>
                        </a:cubicBezTo>
                        <a:cubicBezTo>
                          <a:pt x="-65" y="22710"/>
                          <a:pt x="-1275" y="44132"/>
                          <a:pt x="2940" y="71265"/>
                        </a:cubicBezTo>
                        <a:cubicBezTo>
                          <a:pt x="9112" y="110992"/>
                          <a:pt x="21868" y="87712"/>
                          <a:pt x="24025" y="80442"/>
                        </a:cubicBezTo>
                        <a:cubicBezTo>
                          <a:pt x="26182" y="73173"/>
                          <a:pt x="37342" y="19531"/>
                          <a:pt x="27254" y="6326"/>
                        </a:cubicBezTo>
                        <a:cubicBezTo>
                          <a:pt x="23476" y="1376"/>
                          <a:pt x="18127" y="-295"/>
                          <a:pt x="14087" y="42"/>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4" name="Freeform: Shape 3223">
                    <a:extLst>
                      <a:ext uri="{FF2B5EF4-FFF2-40B4-BE49-F238E27FC236}">
                        <a16:creationId xmlns:a16="http://schemas.microsoft.com/office/drawing/2014/main" id="{EC94E0E5-227D-2E23-C5D0-22C23317FEF4}"/>
                      </a:ext>
                    </a:extLst>
                  </p:cNvPr>
                  <p:cNvSpPr/>
                  <p:nvPr/>
                </p:nvSpPr>
                <p:spPr>
                  <a:xfrm>
                    <a:off x="6428974" y="4503411"/>
                    <a:ext cx="57494" cy="43916"/>
                  </a:xfrm>
                  <a:custGeom>
                    <a:avLst/>
                    <a:gdLst>
                      <a:gd name="connsiteX0" fmla="*/ 43829 w 57494"/>
                      <a:gd name="connsiteY0" fmla="*/ 0 h 43916"/>
                      <a:gd name="connsiteX1" fmla="*/ 29066 w 57494"/>
                      <a:gd name="connsiteY1" fmla="*/ 8990 h 43916"/>
                      <a:gd name="connsiteX2" fmla="*/ 0 w 57494"/>
                      <a:gd name="connsiteY2" fmla="*/ 29639 h 43916"/>
                      <a:gd name="connsiteX3" fmla="*/ 7868 w 57494"/>
                      <a:gd name="connsiteY3" fmla="*/ 43916 h 43916"/>
                      <a:gd name="connsiteX4" fmla="*/ 28417 w 57494"/>
                      <a:gd name="connsiteY4" fmla="*/ 35450 h 43916"/>
                      <a:gd name="connsiteX5" fmla="*/ 57495 w 57494"/>
                      <a:gd name="connsiteY5" fmla="*/ 18143 h 43916"/>
                      <a:gd name="connsiteX6" fmla="*/ 43829 w 57494"/>
                      <a:gd name="connsiteY6" fmla="*/ 0 h 4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94" h="43916">
                        <a:moveTo>
                          <a:pt x="43829" y="0"/>
                        </a:moveTo>
                        <a:cubicBezTo>
                          <a:pt x="43829" y="0"/>
                          <a:pt x="32245" y="6534"/>
                          <a:pt x="29066" y="8990"/>
                        </a:cubicBezTo>
                        <a:cubicBezTo>
                          <a:pt x="25886" y="11447"/>
                          <a:pt x="5362" y="27831"/>
                          <a:pt x="0" y="29639"/>
                        </a:cubicBezTo>
                        <a:cubicBezTo>
                          <a:pt x="0" y="29639"/>
                          <a:pt x="2319" y="38866"/>
                          <a:pt x="7868" y="43916"/>
                        </a:cubicBezTo>
                        <a:cubicBezTo>
                          <a:pt x="7868" y="43916"/>
                          <a:pt x="20474" y="39278"/>
                          <a:pt x="28417" y="35450"/>
                        </a:cubicBezTo>
                        <a:cubicBezTo>
                          <a:pt x="36347" y="31634"/>
                          <a:pt x="52470" y="25749"/>
                          <a:pt x="57495" y="18143"/>
                        </a:cubicBezTo>
                        <a:lnTo>
                          <a:pt x="43829" y="0"/>
                        </a:ln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5" name="Freeform: Shape 3224">
                    <a:extLst>
                      <a:ext uri="{FF2B5EF4-FFF2-40B4-BE49-F238E27FC236}">
                        <a16:creationId xmlns:a16="http://schemas.microsoft.com/office/drawing/2014/main" id="{CCA06FCF-36FB-4A4D-790B-9F8A84FA0B56}"/>
                      </a:ext>
                    </a:extLst>
                  </p:cNvPr>
                  <p:cNvSpPr/>
                  <p:nvPr/>
                </p:nvSpPr>
                <p:spPr>
                  <a:xfrm>
                    <a:off x="6393900" y="4531753"/>
                    <a:ext cx="42368" cy="30247"/>
                  </a:xfrm>
                  <a:custGeom>
                    <a:avLst/>
                    <a:gdLst>
                      <a:gd name="connsiteX0" fmla="*/ 27991 w 42368"/>
                      <a:gd name="connsiteY0" fmla="*/ 1633 h 30247"/>
                      <a:gd name="connsiteX1" fmla="*/ 11856 w 42368"/>
                      <a:gd name="connsiteY1" fmla="*/ 187 h 30247"/>
                      <a:gd name="connsiteX2" fmla="*/ 16906 w 42368"/>
                      <a:gd name="connsiteY2" fmla="*/ 4838 h 30247"/>
                      <a:gd name="connsiteX3" fmla="*/ 14911 w 42368"/>
                      <a:gd name="connsiteY3" fmla="*/ 7282 h 30247"/>
                      <a:gd name="connsiteX4" fmla="*/ 61 w 42368"/>
                      <a:gd name="connsiteY4" fmla="*/ 12157 h 30247"/>
                      <a:gd name="connsiteX5" fmla="*/ 11220 w 42368"/>
                      <a:gd name="connsiteY5" fmla="*/ 14015 h 30247"/>
                      <a:gd name="connsiteX6" fmla="*/ 522 w 42368"/>
                      <a:gd name="connsiteY6" fmla="*/ 19402 h 30247"/>
                      <a:gd name="connsiteX7" fmla="*/ 9575 w 42368"/>
                      <a:gd name="connsiteY7" fmla="*/ 20574 h 30247"/>
                      <a:gd name="connsiteX8" fmla="*/ 4587 w 42368"/>
                      <a:gd name="connsiteY8" fmla="*/ 25711 h 30247"/>
                      <a:gd name="connsiteX9" fmla="*/ 14363 w 42368"/>
                      <a:gd name="connsiteY9" fmla="*/ 24240 h 30247"/>
                      <a:gd name="connsiteX10" fmla="*/ 12505 w 42368"/>
                      <a:gd name="connsiteY10" fmla="*/ 29265 h 30247"/>
                      <a:gd name="connsiteX11" fmla="*/ 24575 w 42368"/>
                      <a:gd name="connsiteY11" fmla="*/ 25811 h 30247"/>
                      <a:gd name="connsiteX12" fmla="*/ 42368 w 42368"/>
                      <a:gd name="connsiteY12" fmla="*/ 16310 h 30247"/>
                      <a:gd name="connsiteX13" fmla="*/ 35049 w 42368"/>
                      <a:gd name="connsiteY13" fmla="*/ 1309 h 30247"/>
                      <a:gd name="connsiteX14" fmla="*/ 27979 w 42368"/>
                      <a:gd name="connsiteY14" fmla="*/ 1646 h 3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368" h="30247">
                        <a:moveTo>
                          <a:pt x="27991" y="1633"/>
                        </a:moveTo>
                        <a:cubicBezTo>
                          <a:pt x="24687" y="711"/>
                          <a:pt x="16420" y="-461"/>
                          <a:pt x="11856" y="187"/>
                        </a:cubicBezTo>
                        <a:cubicBezTo>
                          <a:pt x="7293" y="836"/>
                          <a:pt x="13777" y="3541"/>
                          <a:pt x="16906" y="4838"/>
                        </a:cubicBezTo>
                        <a:cubicBezTo>
                          <a:pt x="16906" y="4838"/>
                          <a:pt x="17293" y="7020"/>
                          <a:pt x="14911" y="7282"/>
                        </a:cubicBezTo>
                        <a:cubicBezTo>
                          <a:pt x="12530" y="7544"/>
                          <a:pt x="983" y="9639"/>
                          <a:pt x="61" y="12157"/>
                        </a:cubicBezTo>
                        <a:cubicBezTo>
                          <a:pt x="-862" y="14676"/>
                          <a:pt x="9038" y="14402"/>
                          <a:pt x="11220" y="14015"/>
                        </a:cubicBezTo>
                        <a:cubicBezTo>
                          <a:pt x="11220" y="14015"/>
                          <a:pt x="347" y="17345"/>
                          <a:pt x="522" y="19402"/>
                        </a:cubicBezTo>
                        <a:cubicBezTo>
                          <a:pt x="696" y="21460"/>
                          <a:pt x="5098" y="21547"/>
                          <a:pt x="9575" y="20574"/>
                        </a:cubicBezTo>
                        <a:cubicBezTo>
                          <a:pt x="9575" y="20574"/>
                          <a:pt x="3876" y="23617"/>
                          <a:pt x="4587" y="25711"/>
                        </a:cubicBezTo>
                        <a:cubicBezTo>
                          <a:pt x="5297" y="27806"/>
                          <a:pt x="11582" y="25661"/>
                          <a:pt x="14363" y="24240"/>
                        </a:cubicBezTo>
                        <a:cubicBezTo>
                          <a:pt x="14363" y="24240"/>
                          <a:pt x="11258" y="27145"/>
                          <a:pt x="12505" y="29265"/>
                        </a:cubicBezTo>
                        <a:cubicBezTo>
                          <a:pt x="13752" y="31397"/>
                          <a:pt x="16545" y="29976"/>
                          <a:pt x="24575" y="25811"/>
                        </a:cubicBezTo>
                        <a:cubicBezTo>
                          <a:pt x="29488" y="23255"/>
                          <a:pt x="40136" y="20561"/>
                          <a:pt x="42368" y="16310"/>
                        </a:cubicBezTo>
                        <a:lnTo>
                          <a:pt x="35049" y="1309"/>
                        </a:lnTo>
                        <a:cubicBezTo>
                          <a:pt x="35049" y="1309"/>
                          <a:pt x="32817" y="2980"/>
                          <a:pt x="27979" y="1646"/>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6" name="Freeform: Shape 3225">
                    <a:extLst>
                      <a:ext uri="{FF2B5EF4-FFF2-40B4-BE49-F238E27FC236}">
                        <a16:creationId xmlns:a16="http://schemas.microsoft.com/office/drawing/2014/main" id="{743FE09F-ED51-109D-7B12-3E7B00ED9D59}"/>
                      </a:ext>
                    </a:extLst>
                  </p:cNvPr>
                  <p:cNvSpPr/>
                  <p:nvPr/>
                </p:nvSpPr>
                <p:spPr>
                  <a:xfrm>
                    <a:off x="6463286" y="4430293"/>
                    <a:ext cx="37430" cy="51733"/>
                  </a:xfrm>
                  <a:custGeom>
                    <a:avLst/>
                    <a:gdLst>
                      <a:gd name="connsiteX0" fmla="*/ 6374 w 37430"/>
                      <a:gd name="connsiteY0" fmla="*/ 3366 h 51733"/>
                      <a:gd name="connsiteX1" fmla="*/ 29105 w 37430"/>
                      <a:gd name="connsiteY1" fmla="*/ 7543 h 51733"/>
                      <a:gd name="connsiteX2" fmla="*/ 37161 w 37430"/>
                      <a:gd name="connsiteY2" fmla="*/ 50312 h 51733"/>
                      <a:gd name="connsiteX3" fmla="*/ 1936 w 37430"/>
                      <a:gd name="connsiteY3" fmla="*/ 51734 h 51733"/>
                      <a:gd name="connsiteX4" fmla="*/ 6374 w 37430"/>
                      <a:gd name="connsiteY4" fmla="*/ 3366 h 51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30" h="51733">
                        <a:moveTo>
                          <a:pt x="6374" y="3366"/>
                        </a:moveTo>
                        <a:cubicBezTo>
                          <a:pt x="6374" y="3366"/>
                          <a:pt x="13868" y="-6497"/>
                          <a:pt x="29105" y="7543"/>
                        </a:cubicBezTo>
                        <a:cubicBezTo>
                          <a:pt x="39717" y="17319"/>
                          <a:pt x="37161" y="50312"/>
                          <a:pt x="37161" y="50312"/>
                        </a:cubicBezTo>
                        <a:cubicBezTo>
                          <a:pt x="37161" y="50312"/>
                          <a:pt x="8731" y="51210"/>
                          <a:pt x="1936" y="51734"/>
                        </a:cubicBezTo>
                        <a:cubicBezTo>
                          <a:pt x="1936" y="51734"/>
                          <a:pt x="-4611" y="14738"/>
                          <a:pt x="6374" y="3366"/>
                        </a:cubicBezTo>
                        <a:close/>
                      </a:path>
                    </a:pathLst>
                  </a:custGeom>
                  <a:solidFill>
                    <a:srgbClr val="DE6A5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27" name="Freeform: Shape 3226">
                    <a:extLst>
                      <a:ext uri="{FF2B5EF4-FFF2-40B4-BE49-F238E27FC236}">
                        <a16:creationId xmlns:a16="http://schemas.microsoft.com/office/drawing/2014/main" id="{A346EAD6-DAA7-FB0B-7F85-12BD39D31015}"/>
                      </a:ext>
                    </a:extLst>
                  </p:cNvPr>
                  <p:cNvSpPr/>
                  <p:nvPr/>
                </p:nvSpPr>
                <p:spPr>
                  <a:xfrm>
                    <a:off x="6429635" y="4531018"/>
                    <a:ext cx="9326" cy="17032"/>
                  </a:xfrm>
                  <a:custGeom>
                    <a:avLst/>
                    <a:gdLst>
                      <a:gd name="connsiteX0" fmla="*/ 3192 w 9326"/>
                      <a:gd name="connsiteY0" fmla="*/ 0 h 17032"/>
                      <a:gd name="connsiteX1" fmla="*/ 9327 w 9326"/>
                      <a:gd name="connsiteY1" fmla="*/ 15511 h 17032"/>
                      <a:gd name="connsiteX2" fmla="*/ 7195 w 9326"/>
                      <a:gd name="connsiteY2" fmla="*/ 16309 h 17032"/>
                      <a:gd name="connsiteX3" fmla="*/ 6646 w 9326"/>
                      <a:gd name="connsiteY3" fmla="*/ 17033 h 17032"/>
                      <a:gd name="connsiteX4" fmla="*/ 0 w 9326"/>
                      <a:gd name="connsiteY4" fmla="*/ 1771 h 17032"/>
                      <a:gd name="connsiteX5" fmla="*/ 3192 w 9326"/>
                      <a:gd name="connsiteY5" fmla="*/ 0 h 1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6" h="17032">
                        <a:moveTo>
                          <a:pt x="3192" y="0"/>
                        </a:moveTo>
                        <a:cubicBezTo>
                          <a:pt x="3978" y="1970"/>
                          <a:pt x="7693" y="11272"/>
                          <a:pt x="9327" y="15511"/>
                        </a:cubicBezTo>
                        <a:cubicBezTo>
                          <a:pt x="8005" y="16010"/>
                          <a:pt x="7195" y="16309"/>
                          <a:pt x="7195" y="16309"/>
                        </a:cubicBezTo>
                        <a:cubicBezTo>
                          <a:pt x="7045" y="16559"/>
                          <a:pt x="6858" y="16796"/>
                          <a:pt x="6646" y="17033"/>
                        </a:cubicBezTo>
                        <a:cubicBezTo>
                          <a:pt x="5386" y="14676"/>
                          <a:pt x="935" y="6160"/>
                          <a:pt x="0" y="1771"/>
                        </a:cubicBezTo>
                        <a:cubicBezTo>
                          <a:pt x="848" y="1396"/>
                          <a:pt x="1933" y="785"/>
                          <a:pt x="3192"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228" name="Graphic 525">
                  <a:extLst>
                    <a:ext uri="{FF2B5EF4-FFF2-40B4-BE49-F238E27FC236}">
                      <a16:creationId xmlns:a16="http://schemas.microsoft.com/office/drawing/2014/main" id="{305756D4-A80F-8CBA-AB09-9218F61CCA02}"/>
                    </a:ext>
                  </a:extLst>
                </p:cNvPr>
                <p:cNvGrpSpPr/>
                <p:nvPr/>
              </p:nvGrpSpPr>
              <p:grpSpPr>
                <a:xfrm>
                  <a:off x="6350487" y="4490610"/>
                  <a:ext cx="54720" cy="84306"/>
                  <a:chOff x="6350487" y="4490610"/>
                  <a:chExt cx="54720" cy="84306"/>
                </a:xfrm>
              </p:grpSpPr>
              <p:sp>
                <p:nvSpPr>
                  <p:cNvPr id="3229" name="Freeform: Shape 3228">
                    <a:extLst>
                      <a:ext uri="{FF2B5EF4-FFF2-40B4-BE49-F238E27FC236}">
                        <a16:creationId xmlns:a16="http://schemas.microsoft.com/office/drawing/2014/main" id="{0A3391FC-2A3E-E120-3BF9-78EDF96FB241}"/>
                      </a:ext>
                    </a:extLst>
                  </p:cNvPr>
                  <p:cNvSpPr/>
                  <p:nvPr/>
                </p:nvSpPr>
                <p:spPr>
                  <a:xfrm>
                    <a:off x="6363410" y="4490610"/>
                    <a:ext cx="41797" cy="63874"/>
                  </a:xfrm>
                  <a:custGeom>
                    <a:avLst/>
                    <a:gdLst>
                      <a:gd name="connsiteX0" fmla="*/ 23019 w 41797"/>
                      <a:gd name="connsiteY0" fmla="*/ 2838 h 63874"/>
                      <a:gd name="connsiteX1" fmla="*/ 276 w 41797"/>
                      <a:gd name="connsiteY1" fmla="*/ 56293 h 63874"/>
                      <a:gd name="connsiteX2" fmla="*/ 13356 w 41797"/>
                      <a:gd name="connsiteY2" fmla="*/ 57714 h 63874"/>
                      <a:gd name="connsiteX3" fmla="*/ 41798 w 41797"/>
                      <a:gd name="connsiteY3" fmla="*/ 9946 h 63874"/>
                      <a:gd name="connsiteX4" fmla="*/ 23032 w 41797"/>
                      <a:gd name="connsiteY4" fmla="*/ 2838 h 63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97" h="63874">
                        <a:moveTo>
                          <a:pt x="23019" y="2838"/>
                        </a:moveTo>
                        <a:cubicBezTo>
                          <a:pt x="23019" y="2838"/>
                          <a:pt x="2545" y="42652"/>
                          <a:pt x="276" y="56293"/>
                        </a:cubicBezTo>
                        <a:cubicBezTo>
                          <a:pt x="-1994" y="69947"/>
                          <a:pt x="10413" y="61792"/>
                          <a:pt x="13356" y="57714"/>
                        </a:cubicBezTo>
                        <a:cubicBezTo>
                          <a:pt x="16772" y="52976"/>
                          <a:pt x="41798" y="20183"/>
                          <a:pt x="41798" y="9946"/>
                        </a:cubicBezTo>
                        <a:cubicBezTo>
                          <a:pt x="41798" y="-292"/>
                          <a:pt x="25875" y="-2561"/>
                          <a:pt x="23032" y="2838"/>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230" name="Graphic 525">
                    <a:extLst>
                      <a:ext uri="{FF2B5EF4-FFF2-40B4-BE49-F238E27FC236}">
                        <a16:creationId xmlns:a16="http://schemas.microsoft.com/office/drawing/2014/main" id="{09CC7ACE-FB19-E518-4BB7-F032A4CACAC0}"/>
                      </a:ext>
                    </a:extLst>
                  </p:cNvPr>
                  <p:cNvGrpSpPr/>
                  <p:nvPr/>
                </p:nvGrpSpPr>
                <p:grpSpPr>
                  <a:xfrm>
                    <a:off x="6350487" y="4534070"/>
                    <a:ext cx="29619" cy="40847"/>
                    <a:chOff x="6350487" y="4534070"/>
                    <a:chExt cx="29619" cy="40847"/>
                  </a:xfrm>
                </p:grpSpPr>
                <p:sp>
                  <p:nvSpPr>
                    <p:cNvPr id="3231" name="Freeform: Shape 3230">
                      <a:extLst>
                        <a:ext uri="{FF2B5EF4-FFF2-40B4-BE49-F238E27FC236}">
                          <a16:creationId xmlns:a16="http://schemas.microsoft.com/office/drawing/2014/main" id="{579B36EB-F8CC-B261-0C8B-73791F9ABE56}"/>
                        </a:ext>
                      </a:extLst>
                    </p:cNvPr>
                    <p:cNvSpPr/>
                    <p:nvPr/>
                  </p:nvSpPr>
                  <p:spPr>
                    <a:xfrm>
                      <a:off x="6350487" y="4534070"/>
                      <a:ext cx="29619" cy="40847"/>
                    </a:xfrm>
                    <a:custGeom>
                      <a:avLst/>
                      <a:gdLst>
                        <a:gd name="connsiteX0" fmla="*/ 15181 w 29619"/>
                        <a:gd name="connsiteY0" fmla="*/ 5913 h 40847"/>
                        <a:gd name="connsiteX1" fmla="*/ 9022 w 29619"/>
                        <a:gd name="connsiteY1" fmla="*/ 16338 h 40847"/>
                        <a:gd name="connsiteX2" fmla="*/ 306 w 29619"/>
                        <a:gd name="connsiteY2" fmla="*/ 34343 h 40847"/>
                        <a:gd name="connsiteX3" fmla="*/ 1777 w 29619"/>
                        <a:gd name="connsiteY3" fmla="*/ 39218 h 40847"/>
                        <a:gd name="connsiteX4" fmla="*/ 4483 w 29619"/>
                        <a:gd name="connsiteY4" fmla="*/ 40777 h 40847"/>
                        <a:gd name="connsiteX5" fmla="*/ 9508 w 29619"/>
                        <a:gd name="connsiteY5" fmla="*/ 38595 h 40847"/>
                        <a:gd name="connsiteX6" fmla="*/ 19845 w 29619"/>
                        <a:gd name="connsiteY6" fmla="*/ 23906 h 40847"/>
                        <a:gd name="connsiteX7" fmla="*/ 18710 w 29619"/>
                        <a:gd name="connsiteY7" fmla="*/ 31113 h 40847"/>
                        <a:gd name="connsiteX8" fmla="*/ 23735 w 29619"/>
                        <a:gd name="connsiteY8" fmla="*/ 26949 h 40847"/>
                        <a:gd name="connsiteX9" fmla="*/ 28473 w 29619"/>
                        <a:gd name="connsiteY9" fmla="*/ 11113 h 40847"/>
                        <a:gd name="connsiteX10" fmla="*/ 15206 w 29619"/>
                        <a:gd name="connsiteY10" fmla="*/ 5901 h 40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19" h="40847">
                          <a:moveTo>
                            <a:pt x="15181" y="5913"/>
                          </a:moveTo>
                          <a:cubicBezTo>
                            <a:pt x="15181" y="5913"/>
                            <a:pt x="12812" y="12547"/>
                            <a:pt x="9022" y="16338"/>
                          </a:cubicBezTo>
                          <a:cubicBezTo>
                            <a:pt x="5231" y="20128"/>
                            <a:pt x="1715" y="27123"/>
                            <a:pt x="306" y="34343"/>
                          </a:cubicBezTo>
                          <a:cubicBezTo>
                            <a:pt x="-642" y="39181"/>
                            <a:pt x="829" y="39742"/>
                            <a:pt x="1777" y="39218"/>
                          </a:cubicBezTo>
                          <a:cubicBezTo>
                            <a:pt x="2226" y="38969"/>
                            <a:pt x="2887" y="40415"/>
                            <a:pt x="4483" y="40777"/>
                          </a:cubicBezTo>
                          <a:cubicBezTo>
                            <a:pt x="5817" y="41089"/>
                            <a:pt x="8199" y="40366"/>
                            <a:pt x="9508" y="38595"/>
                          </a:cubicBezTo>
                          <a:cubicBezTo>
                            <a:pt x="13299" y="33470"/>
                            <a:pt x="17788" y="25951"/>
                            <a:pt x="19845" y="23906"/>
                          </a:cubicBezTo>
                          <a:cubicBezTo>
                            <a:pt x="21740" y="22011"/>
                            <a:pt x="18349" y="30527"/>
                            <a:pt x="18710" y="31113"/>
                          </a:cubicBezTo>
                          <a:cubicBezTo>
                            <a:pt x="19471" y="32348"/>
                            <a:pt x="22600" y="30926"/>
                            <a:pt x="23735" y="26949"/>
                          </a:cubicBezTo>
                          <a:cubicBezTo>
                            <a:pt x="24870" y="22971"/>
                            <a:pt x="25955" y="15041"/>
                            <a:pt x="28473" y="11113"/>
                          </a:cubicBezTo>
                          <a:cubicBezTo>
                            <a:pt x="33586" y="3145"/>
                            <a:pt x="20231" y="-6419"/>
                            <a:pt x="15206" y="5901"/>
                          </a:cubicBezTo>
                          <a:close/>
                        </a:path>
                      </a:pathLst>
                    </a:custGeom>
                    <a:solidFill>
                      <a:srgbClr val="F9C4B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32" name="Freeform: Shape 3231">
                      <a:extLst>
                        <a:ext uri="{FF2B5EF4-FFF2-40B4-BE49-F238E27FC236}">
                          <a16:creationId xmlns:a16="http://schemas.microsoft.com/office/drawing/2014/main" id="{F8846FB0-6699-5468-C5A5-D86CA1F618E2}"/>
                        </a:ext>
                      </a:extLst>
                    </p:cNvPr>
                    <p:cNvSpPr/>
                    <p:nvPr/>
                  </p:nvSpPr>
                  <p:spPr>
                    <a:xfrm>
                      <a:off x="6355656" y="4561081"/>
                      <a:ext cx="6920" cy="13815"/>
                    </a:xfrm>
                    <a:custGeom>
                      <a:avLst/>
                      <a:gdLst>
                        <a:gd name="connsiteX0" fmla="*/ 0 w 6920"/>
                        <a:gd name="connsiteY0" fmla="*/ 13766 h 13815"/>
                        <a:gd name="connsiteX1" fmla="*/ 1197 w 6920"/>
                        <a:gd name="connsiteY1" fmla="*/ 10088 h 13815"/>
                        <a:gd name="connsiteX2" fmla="*/ 2506 w 6920"/>
                        <a:gd name="connsiteY2" fmla="*/ 6447 h 13815"/>
                        <a:gd name="connsiteX3" fmla="*/ 4052 w 6920"/>
                        <a:gd name="connsiteY3" fmla="*/ 2843 h 13815"/>
                        <a:gd name="connsiteX4" fmla="*/ 4638 w 6920"/>
                        <a:gd name="connsiteY4" fmla="*/ 2033 h 13815"/>
                        <a:gd name="connsiteX5" fmla="*/ 5287 w 6920"/>
                        <a:gd name="connsiteY5" fmla="*/ 1284 h 13815"/>
                        <a:gd name="connsiteX6" fmla="*/ 6821 w 6920"/>
                        <a:gd name="connsiteY6" fmla="*/ 0 h 13815"/>
                        <a:gd name="connsiteX7" fmla="*/ 6920 w 6920"/>
                        <a:gd name="connsiteY7" fmla="*/ 100 h 13815"/>
                        <a:gd name="connsiteX8" fmla="*/ 6060 w 6920"/>
                        <a:gd name="connsiteY8" fmla="*/ 1833 h 13815"/>
                        <a:gd name="connsiteX9" fmla="*/ 5636 w 6920"/>
                        <a:gd name="connsiteY9" fmla="*/ 2681 h 13815"/>
                        <a:gd name="connsiteX10" fmla="*/ 5224 w 6920"/>
                        <a:gd name="connsiteY10" fmla="*/ 3504 h 13815"/>
                        <a:gd name="connsiteX11" fmla="*/ 4389 w 6920"/>
                        <a:gd name="connsiteY11" fmla="*/ 5175 h 13815"/>
                        <a:gd name="connsiteX12" fmla="*/ 3491 w 6920"/>
                        <a:gd name="connsiteY12" fmla="*/ 6870 h 13815"/>
                        <a:gd name="connsiteX13" fmla="*/ 125 w 6920"/>
                        <a:gd name="connsiteY13" fmla="*/ 13816 h 13815"/>
                        <a:gd name="connsiteX14" fmla="*/ 0 w 6920"/>
                        <a:gd name="connsiteY14" fmla="*/ 13766 h 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20" h="13815">
                          <a:moveTo>
                            <a:pt x="0" y="13766"/>
                          </a:moveTo>
                          <a:cubicBezTo>
                            <a:pt x="374" y="12531"/>
                            <a:pt x="786" y="11310"/>
                            <a:pt x="1197" y="10088"/>
                          </a:cubicBezTo>
                          <a:cubicBezTo>
                            <a:pt x="1609" y="8866"/>
                            <a:pt x="2045" y="7656"/>
                            <a:pt x="2506" y="6447"/>
                          </a:cubicBezTo>
                          <a:cubicBezTo>
                            <a:pt x="2980" y="5237"/>
                            <a:pt x="3317" y="3990"/>
                            <a:pt x="4052" y="2843"/>
                          </a:cubicBezTo>
                          <a:cubicBezTo>
                            <a:pt x="4239" y="2544"/>
                            <a:pt x="4439" y="2282"/>
                            <a:pt x="4638" y="2033"/>
                          </a:cubicBezTo>
                          <a:cubicBezTo>
                            <a:pt x="4850" y="1783"/>
                            <a:pt x="5063" y="1521"/>
                            <a:pt x="5287" y="1284"/>
                          </a:cubicBezTo>
                          <a:cubicBezTo>
                            <a:pt x="5748" y="811"/>
                            <a:pt x="6235" y="349"/>
                            <a:pt x="6821" y="0"/>
                          </a:cubicBezTo>
                          <a:lnTo>
                            <a:pt x="6920" y="100"/>
                          </a:lnTo>
                          <a:lnTo>
                            <a:pt x="6060" y="1833"/>
                          </a:lnTo>
                          <a:cubicBezTo>
                            <a:pt x="5923" y="2120"/>
                            <a:pt x="5773" y="2394"/>
                            <a:pt x="5636" y="2681"/>
                          </a:cubicBezTo>
                          <a:cubicBezTo>
                            <a:pt x="5499" y="2955"/>
                            <a:pt x="5337" y="3242"/>
                            <a:pt x="5224" y="3504"/>
                          </a:cubicBezTo>
                          <a:cubicBezTo>
                            <a:pt x="4963" y="4052"/>
                            <a:pt x="4688" y="4626"/>
                            <a:pt x="4389" y="5175"/>
                          </a:cubicBezTo>
                          <a:cubicBezTo>
                            <a:pt x="4077" y="5736"/>
                            <a:pt x="3778" y="6297"/>
                            <a:pt x="3491" y="6870"/>
                          </a:cubicBezTo>
                          <a:lnTo>
                            <a:pt x="125" y="13816"/>
                          </a:lnTo>
                          <a:lnTo>
                            <a:pt x="0" y="13766"/>
                          </a:ln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33" name="Freeform: Shape 3232">
                      <a:extLst>
                        <a:ext uri="{FF2B5EF4-FFF2-40B4-BE49-F238E27FC236}">
                          <a16:creationId xmlns:a16="http://schemas.microsoft.com/office/drawing/2014/main" id="{4F3DD64D-E5AE-371B-B1EC-680F669AE726}"/>
                        </a:ext>
                      </a:extLst>
                    </p:cNvPr>
                    <p:cNvSpPr/>
                    <p:nvPr/>
                  </p:nvSpPr>
                  <p:spPr>
                    <a:xfrm>
                      <a:off x="6353174" y="4559896"/>
                      <a:ext cx="5798" cy="13865"/>
                    </a:xfrm>
                    <a:custGeom>
                      <a:avLst/>
                      <a:gdLst>
                        <a:gd name="connsiteX0" fmla="*/ 12 w 5798"/>
                        <a:gd name="connsiteY0" fmla="*/ 13816 h 13865"/>
                        <a:gd name="connsiteX1" fmla="*/ 873 w 5798"/>
                        <a:gd name="connsiteY1" fmla="*/ 10150 h 13865"/>
                        <a:gd name="connsiteX2" fmla="*/ 1808 w 5798"/>
                        <a:gd name="connsiteY2" fmla="*/ 6496 h 13865"/>
                        <a:gd name="connsiteX3" fmla="*/ 2257 w 5798"/>
                        <a:gd name="connsiteY3" fmla="*/ 4663 h 13865"/>
                        <a:gd name="connsiteX4" fmla="*/ 2581 w 5798"/>
                        <a:gd name="connsiteY4" fmla="*/ 3716 h 13865"/>
                        <a:gd name="connsiteX5" fmla="*/ 3080 w 5798"/>
                        <a:gd name="connsiteY5" fmla="*/ 2831 h 13865"/>
                        <a:gd name="connsiteX6" fmla="*/ 4277 w 5798"/>
                        <a:gd name="connsiteY6" fmla="*/ 1309 h 13865"/>
                        <a:gd name="connsiteX7" fmla="*/ 5698 w 5798"/>
                        <a:gd name="connsiteY7" fmla="*/ 0 h 13865"/>
                        <a:gd name="connsiteX8" fmla="*/ 5798 w 5798"/>
                        <a:gd name="connsiteY8" fmla="*/ 87 h 13865"/>
                        <a:gd name="connsiteX9" fmla="*/ 4202 w 5798"/>
                        <a:gd name="connsiteY9" fmla="*/ 3479 h 13865"/>
                        <a:gd name="connsiteX10" fmla="*/ 3853 w 5798"/>
                        <a:gd name="connsiteY10" fmla="*/ 4277 h 13865"/>
                        <a:gd name="connsiteX11" fmla="*/ 3554 w 5798"/>
                        <a:gd name="connsiteY11" fmla="*/ 5100 h 13865"/>
                        <a:gd name="connsiteX12" fmla="*/ 2855 w 5798"/>
                        <a:gd name="connsiteY12" fmla="*/ 6846 h 13865"/>
                        <a:gd name="connsiteX13" fmla="*/ 1521 w 5798"/>
                        <a:gd name="connsiteY13" fmla="*/ 10362 h 13865"/>
                        <a:gd name="connsiteX14" fmla="*/ 125 w 5798"/>
                        <a:gd name="connsiteY14" fmla="*/ 13866 h 13865"/>
                        <a:gd name="connsiteX15" fmla="*/ 0 w 5798"/>
                        <a:gd name="connsiteY15" fmla="*/ 13828 h 1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8" h="13865">
                          <a:moveTo>
                            <a:pt x="12" y="13816"/>
                          </a:moveTo>
                          <a:cubicBezTo>
                            <a:pt x="287" y="12581"/>
                            <a:pt x="586" y="11372"/>
                            <a:pt x="873" y="10150"/>
                          </a:cubicBezTo>
                          <a:cubicBezTo>
                            <a:pt x="1172" y="8928"/>
                            <a:pt x="1496" y="7718"/>
                            <a:pt x="1808" y="6496"/>
                          </a:cubicBezTo>
                          <a:cubicBezTo>
                            <a:pt x="1970" y="5885"/>
                            <a:pt x="2095" y="5274"/>
                            <a:pt x="2257" y="4663"/>
                          </a:cubicBezTo>
                          <a:cubicBezTo>
                            <a:pt x="2344" y="4364"/>
                            <a:pt x="2431" y="4065"/>
                            <a:pt x="2581" y="3716"/>
                          </a:cubicBezTo>
                          <a:cubicBezTo>
                            <a:pt x="2731" y="3404"/>
                            <a:pt x="2893" y="3105"/>
                            <a:pt x="3080" y="2831"/>
                          </a:cubicBezTo>
                          <a:cubicBezTo>
                            <a:pt x="3441" y="2282"/>
                            <a:pt x="3841" y="1771"/>
                            <a:pt x="4277" y="1309"/>
                          </a:cubicBezTo>
                          <a:cubicBezTo>
                            <a:pt x="4713" y="835"/>
                            <a:pt x="5175" y="387"/>
                            <a:pt x="5698" y="0"/>
                          </a:cubicBezTo>
                          <a:lnTo>
                            <a:pt x="5798" y="87"/>
                          </a:lnTo>
                          <a:cubicBezTo>
                            <a:pt x="5312" y="1284"/>
                            <a:pt x="4713" y="2382"/>
                            <a:pt x="4202" y="3479"/>
                          </a:cubicBezTo>
                          <a:cubicBezTo>
                            <a:pt x="4077" y="3753"/>
                            <a:pt x="3953" y="4015"/>
                            <a:pt x="3853" y="4277"/>
                          </a:cubicBezTo>
                          <a:cubicBezTo>
                            <a:pt x="3766" y="4514"/>
                            <a:pt x="3666" y="4813"/>
                            <a:pt x="3554" y="5100"/>
                          </a:cubicBezTo>
                          <a:cubicBezTo>
                            <a:pt x="3329" y="5686"/>
                            <a:pt x="3080" y="6260"/>
                            <a:pt x="2855" y="6846"/>
                          </a:cubicBezTo>
                          <a:cubicBezTo>
                            <a:pt x="2419" y="8018"/>
                            <a:pt x="1983" y="9190"/>
                            <a:pt x="1521" y="10362"/>
                          </a:cubicBezTo>
                          <a:cubicBezTo>
                            <a:pt x="1060" y="11534"/>
                            <a:pt x="611" y="12706"/>
                            <a:pt x="125" y="13866"/>
                          </a:cubicBezTo>
                          <a:lnTo>
                            <a:pt x="0" y="13828"/>
                          </a:ln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34" name="Freeform: Shape 3233">
                      <a:extLst>
                        <a:ext uri="{FF2B5EF4-FFF2-40B4-BE49-F238E27FC236}">
                          <a16:creationId xmlns:a16="http://schemas.microsoft.com/office/drawing/2014/main" id="{BBBDACC4-2C5C-5059-B78B-F622C7CE44A8}"/>
                        </a:ext>
                      </a:extLst>
                    </p:cNvPr>
                    <p:cNvSpPr/>
                    <p:nvPr/>
                  </p:nvSpPr>
                  <p:spPr>
                    <a:xfrm>
                      <a:off x="6352177" y="4559385"/>
                      <a:ext cx="3267" cy="13927"/>
                    </a:xfrm>
                    <a:custGeom>
                      <a:avLst/>
                      <a:gdLst>
                        <a:gd name="connsiteX0" fmla="*/ 12 w 3267"/>
                        <a:gd name="connsiteY0" fmla="*/ 13915 h 13927"/>
                        <a:gd name="connsiteX1" fmla="*/ 187 w 3267"/>
                        <a:gd name="connsiteY1" fmla="*/ 10324 h 13927"/>
                        <a:gd name="connsiteX2" fmla="*/ 474 w 3267"/>
                        <a:gd name="connsiteY2" fmla="*/ 6733 h 13927"/>
                        <a:gd name="connsiteX3" fmla="*/ 636 w 3267"/>
                        <a:gd name="connsiteY3" fmla="*/ 4913 h 13927"/>
                        <a:gd name="connsiteX4" fmla="*/ 1197 w 3267"/>
                        <a:gd name="connsiteY4" fmla="*/ 3105 h 13927"/>
                        <a:gd name="connsiteX5" fmla="*/ 2045 w 3267"/>
                        <a:gd name="connsiteY5" fmla="*/ 1484 h 13927"/>
                        <a:gd name="connsiteX6" fmla="*/ 3142 w 3267"/>
                        <a:gd name="connsiteY6" fmla="*/ 0 h 13927"/>
                        <a:gd name="connsiteX7" fmla="*/ 3267 w 3267"/>
                        <a:gd name="connsiteY7" fmla="*/ 62 h 13927"/>
                        <a:gd name="connsiteX8" fmla="*/ 2419 w 3267"/>
                        <a:gd name="connsiteY8" fmla="*/ 3541 h 13927"/>
                        <a:gd name="connsiteX9" fmla="*/ 1983 w 3267"/>
                        <a:gd name="connsiteY9" fmla="*/ 5175 h 13927"/>
                        <a:gd name="connsiteX10" fmla="*/ 1571 w 3267"/>
                        <a:gd name="connsiteY10" fmla="*/ 6895 h 13927"/>
                        <a:gd name="connsiteX11" fmla="*/ 873 w 3267"/>
                        <a:gd name="connsiteY11" fmla="*/ 10412 h 13927"/>
                        <a:gd name="connsiteX12" fmla="*/ 137 w 3267"/>
                        <a:gd name="connsiteY12" fmla="*/ 13928 h 13927"/>
                        <a:gd name="connsiteX13" fmla="*/ 0 w 3267"/>
                        <a:gd name="connsiteY13" fmla="*/ 13928 h 1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7" h="13927">
                          <a:moveTo>
                            <a:pt x="12" y="13915"/>
                          </a:moveTo>
                          <a:cubicBezTo>
                            <a:pt x="50" y="12718"/>
                            <a:pt x="125" y="11521"/>
                            <a:pt x="187" y="10324"/>
                          </a:cubicBezTo>
                          <a:cubicBezTo>
                            <a:pt x="262" y="9127"/>
                            <a:pt x="362" y="7930"/>
                            <a:pt x="474" y="6733"/>
                          </a:cubicBezTo>
                          <a:cubicBezTo>
                            <a:pt x="524" y="6135"/>
                            <a:pt x="549" y="5536"/>
                            <a:pt x="636" y="4913"/>
                          </a:cubicBezTo>
                          <a:cubicBezTo>
                            <a:pt x="736" y="4264"/>
                            <a:pt x="948" y="3678"/>
                            <a:pt x="1197" y="3105"/>
                          </a:cubicBezTo>
                          <a:cubicBezTo>
                            <a:pt x="1447" y="2544"/>
                            <a:pt x="1721" y="1995"/>
                            <a:pt x="2045" y="1484"/>
                          </a:cubicBezTo>
                          <a:cubicBezTo>
                            <a:pt x="2369" y="960"/>
                            <a:pt x="2718" y="461"/>
                            <a:pt x="3142" y="0"/>
                          </a:cubicBezTo>
                          <a:lnTo>
                            <a:pt x="3267" y="62"/>
                          </a:lnTo>
                          <a:cubicBezTo>
                            <a:pt x="3055" y="1284"/>
                            <a:pt x="2731" y="2419"/>
                            <a:pt x="2419" y="3541"/>
                          </a:cubicBezTo>
                          <a:lnTo>
                            <a:pt x="1983" y="5175"/>
                          </a:lnTo>
                          <a:cubicBezTo>
                            <a:pt x="1845" y="5723"/>
                            <a:pt x="1696" y="6309"/>
                            <a:pt x="1571" y="6895"/>
                          </a:cubicBezTo>
                          <a:lnTo>
                            <a:pt x="873" y="10412"/>
                          </a:lnTo>
                          <a:cubicBezTo>
                            <a:pt x="623" y="11584"/>
                            <a:pt x="399" y="12756"/>
                            <a:pt x="137" y="13928"/>
                          </a:cubicBezTo>
                          <a:lnTo>
                            <a:pt x="0" y="13928"/>
                          </a:ln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sp>
        <p:nvSpPr>
          <p:cNvPr id="3775" name="TextBox 3774">
            <a:extLst>
              <a:ext uri="{FF2B5EF4-FFF2-40B4-BE49-F238E27FC236}">
                <a16:creationId xmlns:a16="http://schemas.microsoft.com/office/drawing/2014/main" id="{0B6A9782-C54B-3107-9EFF-B26681233BEA}"/>
              </a:ext>
            </a:extLst>
          </p:cNvPr>
          <p:cNvSpPr txBox="1"/>
          <p:nvPr>
            <p:custDataLst>
              <p:tags r:id="rId17"/>
            </p:custDataLst>
          </p:nvPr>
        </p:nvSpPr>
        <p:spPr>
          <a:xfrm>
            <a:off x="4562758" y="4057800"/>
            <a:ext cx="1536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64"/>
                </a:solidFill>
                <a:effectLst/>
                <a:uLnTx/>
                <a:uFillTx/>
                <a:latin typeface="Calibri"/>
                <a:ea typeface="+mn-ea"/>
                <a:cs typeface="+mn-cs"/>
              </a:rPr>
              <a:t>Meeting Setting</a:t>
            </a:r>
          </a:p>
        </p:txBody>
      </p:sp>
      <p:sp>
        <p:nvSpPr>
          <p:cNvPr id="3782" name="TextBox 3781">
            <a:extLst>
              <a:ext uri="{FF2B5EF4-FFF2-40B4-BE49-F238E27FC236}">
                <a16:creationId xmlns:a16="http://schemas.microsoft.com/office/drawing/2014/main" id="{D191BA0D-00E3-4C64-4B75-D27A7CA3955C}"/>
              </a:ext>
            </a:extLst>
          </p:cNvPr>
          <p:cNvSpPr txBox="1"/>
          <p:nvPr>
            <p:custDataLst>
              <p:tags r:id="rId18"/>
            </p:custDataLst>
          </p:nvPr>
        </p:nvSpPr>
        <p:spPr>
          <a:xfrm>
            <a:off x="6211564" y="3926995"/>
            <a:ext cx="5713736" cy="600164"/>
          </a:xfrm>
          <a:prstGeom prst="rect">
            <a:avLst/>
          </a:prstGeom>
          <a:noFill/>
        </p:spPr>
        <p:txBody>
          <a:bodyPr wrap="square" anchor="ctr">
            <a:spAutoFit/>
          </a:bodyPr>
          <a:lstStyle/>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f patient lacks capacity, suggest meeting in a separate room. </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f the patient is included, bring extra chairs so everyone can be seated.</a:t>
            </a:r>
          </a:p>
        </p:txBody>
      </p:sp>
      <p:sp>
        <p:nvSpPr>
          <p:cNvPr id="3778" name="Rectangle: Rounded Corners 3777">
            <a:extLst>
              <a:ext uri="{FF2B5EF4-FFF2-40B4-BE49-F238E27FC236}">
                <a16:creationId xmlns:a16="http://schemas.microsoft.com/office/drawing/2014/main" id="{9165A736-78CC-2BAA-6F5B-4EFFB94D8428}"/>
              </a:ext>
            </a:extLst>
          </p:cNvPr>
          <p:cNvSpPr/>
          <p:nvPr>
            <p:custDataLst>
              <p:tags r:id="rId19"/>
            </p:custDataLst>
          </p:nvPr>
        </p:nvSpPr>
        <p:spPr>
          <a:xfrm rot="10800000">
            <a:off x="4210958" y="5041736"/>
            <a:ext cx="1888175" cy="857390"/>
          </a:xfrm>
          <a:prstGeom prst="roundRect">
            <a:avLst/>
          </a:prstGeom>
          <a:solidFill>
            <a:srgbClr val="A8DEF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784" name="Group 3783">
            <a:extLst>
              <a:ext uri="{FF2B5EF4-FFF2-40B4-BE49-F238E27FC236}">
                <a16:creationId xmlns:a16="http://schemas.microsoft.com/office/drawing/2014/main" id="{C94066D0-C372-93CC-18F7-350EE9D608B6}"/>
              </a:ext>
            </a:extLst>
          </p:cNvPr>
          <p:cNvGrpSpPr/>
          <p:nvPr>
            <p:custDataLst>
              <p:tags r:id="rId20"/>
            </p:custDataLst>
          </p:nvPr>
        </p:nvGrpSpPr>
        <p:grpSpPr>
          <a:xfrm>
            <a:off x="3438198" y="4963414"/>
            <a:ext cx="1121411" cy="1014034"/>
            <a:chOff x="3558513" y="4948618"/>
            <a:chExt cx="1121411" cy="1014034"/>
          </a:xfrm>
        </p:grpSpPr>
        <p:grpSp>
          <p:nvGrpSpPr>
            <p:cNvPr id="2507" name="Graphic 525">
              <a:extLst>
                <a:ext uri="{FF2B5EF4-FFF2-40B4-BE49-F238E27FC236}">
                  <a16:creationId xmlns:a16="http://schemas.microsoft.com/office/drawing/2014/main" id="{597DD1F9-8AA0-0CBD-07F8-D0E2699EC503}"/>
                </a:ext>
              </a:extLst>
            </p:cNvPr>
            <p:cNvGrpSpPr/>
            <p:nvPr/>
          </p:nvGrpSpPr>
          <p:grpSpPr>
            <a:xfrm>
              <a:off x="3558513" y="4948629"/>
              <a:ext cx="1121402" cy="1009142"/>
              <a:chOff x="7008905" y="5403630"/>
              <a:chExt cx="1352459" cy="1217070"/>
            </a:xfrm>
          </p:grpSpPr>
          <p:sp>
            <p:nvSpPr>
              <p:cNvPr id="2508" name="Freeform: Shape 2507">
                <a:extLst>
                  <a:ext uri="{FF2B5EF4-FFF2-40B4-BE49-F238E27FC236}">
                    <a16:creationId xmlns:a16="http://schemas.microsoft.com/office/drawing/2014/main" id="{4C091FE1-F469-8DB2-5C0A-622AFE85AFA8}"/>
                  </a:ext>
                </a:extLst>
              </p:cNvPr>
              <p:cNvSpPr/>
              <p:nvPr/>
            </p:nvSpPr>
            <p:spPr>
              <a:xfrm>
                <a:off x="7386800" y="5403630"/>
                <a:ext cx="974565" cy="1217070"/>
              </a:xfrm>
              <a:custGeom>
                <a:avLst/>
                <a:gdLst>
                  <a:gd name="connsiteX0" fmla="*/ 704579 w 974565"/>
                  <a:gd name="connsiteY0" fmla="*/ 93057 h 1217070"/>
                  <a:gd name="connsiteX1" fmla="*/ 543391 w 974565"/>
                  <a:gd name="connsiteY1" fmla="*/ 0 h 1217070"/>
                  <a:gd name="connsiteX2" fmla="*/ 53293 w 974565"/>
                  <a:gd name="connsiteY2" fmla="*/ 0 h 1217070"/>
                  <a:gd name="connsiteX3" fmla="*/ 0 w 974565"/>
                  <a:gd name="connsiteY3" fmla="*/ 7805 h 1217070"/>
                  <a:gd name="connsiteX4" fmla="*/ 0 w 974565"/>
                  <a:gd name="connsiteY4" fmla="*/ 1213330 h 1217070"/>
                  <a:gd name="connsiteX5" fmla="*/ 14676 w 974565"/>
                  <a:gd name="connsiteY5" fmla="*/ 1217070 h 1217070"/>
                  <a:gd name="connsiteX6" fmla="*/ 582007 w 974565"/>
                  <a:gd name="connsiteY6" fmla="*/ 1217070 h 1217070"/>
                  <a:gd name="connsiteX7" fmla="*/ 704579 w 974565"/>
                  <a:gd name="connsiteY7" fmla="*/ 1128078 h 1217070"/>
                  <a:gd name="connsiteX8" fmla="*/ 949634 w 974565"/>
                  <a:gd name="connsiteY8" fmla="*/ 703631 h 1217070"/>
                  <a:gd name="connsiteX9" fmla="*/ 949634 w 974565"/>
                  <a:gd name="connsiteY9" fmla="*/ 517504 h 1217070"/>
                  <a:gd name="connsiteX10" fmla="*/ 704579 w 974565"/>
                  <a:gd name="connsiteY10" fmla="*/ 93057 h 121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565" h="1217070">
                    <a:moveTo>
                      <a:pt x="704579" y="93057"/>
                    </a:moveTo>
                    <a:cubicBezTo>
                      <a:pt x="671336" y="35474"/>
                      <a:pt x="609888" y="0"/>
                      <a:pt x="543391" y="0"/>
                    </a:cubicBezTo>
                    <a:lnTo>
                      <a:pt x="53293" y="0"/>
                    </a:lnTo>
                    <a:cubicBezTo>
                      <a:pt x="34976" y="0"/>
                      <a:pt x="17058" y="2706"/>
                      <a:pt x="0" y="7805"/>
                    </a:cubicBezTo>
                    <a:lnTo>
                      <a:pt x="0" y="1213330"/>
                    </a:lnTo>
                    <a:cubicBezTo>
                      <a:pt x="4826" y="1214776"/>
                      <a:pt x="9726" y="1216010"/>
                      <a:pt x="14676" y="1217070"/>
                    </a:cubicBezTo>
                    <a:lnTo>
                      <a:pt x="582007" y="1217070"/>
                    </a:lnTo>
                    <a:cubicBezTo>
                      <a:pt x="633043" y="1206247"/>
                      <a:pt x="677895" y="1174289"/>
                      <a:pt x="704579" y="1128078"/>
                    </a:cubicBezTo>
                    <a:lnTo>
                      <a:pt x="949634" y="703631"/>
                    </a:lnTo>
                    <a:cubicBezTo>
                      <a:pt x="982876" y="646049"/>
                      <a:pt x="982876" y="575099"/>
                      <a:pt x="949634" y="517504"/>
                    </a:cubicBezTo>
                    <a:lnTo>
                      <a:pt x="704579" y="93057"/>
                    </a:lnTo>
                    <a:close/>
                  </a:path>
                </a:pathLst>
              </a:custGeom>
              <a:solidFill>
                <a:srgbClr val="AAEFF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9" name="Freeform: Shape 2508">
                <a:extLst>
                  <a:ext uri="{FF2B5EF4-FFF2-40B4-BE49-F238E27FC236}">
                    <a16:creationId xmlns:a16="http://schemas.microsoft.com/office/drawing/2014/main" id="{07A0CC3E-09C7-7958-A871-F4F720294199}"/>
                  </a:ext>
                </a:extLst>
              </p:cNvPr>
              <p:cNvSpPr/>
              <p:nvPr/>
            </p:nvSpPr>
            <p:spPr>
              <a:xfrm>
                <a:off x="7121557" y="6181015"/>
                <a:ext cx="1014136" cy="439673"/>
              </a:xfrm>
              <a:custGeom>
                <a:avLst/>
                <a:gdLst>
                  <a:gd name="connsiteX0" fmla="*/ 969821 w 1014136"/>
                  <a:gd name="connsiteY0" fmla="*/ 350681 h 439673"/>
                  <a:gd name="connsiteX1" fmla="*/ 1014136 w 1014136"/>
                  <a:gd name="connsiteY1" fmla="*/ 273933 h 439673"/>
                  <a:gd name="connsiteX2" fmla="*/ 265242 w 1014136"/>
                  <a:gd name="connsiteY2" fmla="*/ 0 h 439673"/>
                  <a:gd name="connsiteX3" fmla="*/ 0 w 1014136"/>
                  <a:gd name="connsiteY3" fmla="*/ 78144 h 439673"/>
                  <a:gd name="connsiteX4" fmla="*/ 157347 w 1014136"/>
                  <a:gd name="connsiteY4" fmla="*/ 350681 h 439673"/>
                  <a:gd name="connsiteX5" fmla="*/ 279919 w 1014136"/>
                  <a:gd name="connsiteY5" fmla="*/ 439673 h 439673"/>
                  <a:gd name="connsiteX6" fmla="*/ 847250 w 1014136"/>
                  <a:gd name="connsiteY6" fmla="*/ 439673 h 439673"/>
                  <a:gd name="connsiteX7" fmla="*/ 969821 w 1014136"/>
                  <a:gd name="connsiteY7" fmla="*/ 350681 h 4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136" h="439673">
                    <a:moveTo>
                      <a:pt x="969821" y="350681"/>
                    </a:moveTo>
                    <a:lnTo>
                      <a:pt x="1014136" y="273933"/>
                    </a:lnTo>
                    <a:lnTo>
                      <a:pt x="265242" y="0"/>
                    </a:lnTo>
                    <a:lnTo>
                      <a:pt x="0" y="78144"/>
                    </a:lnTo>
                    <a:lnTo>
                      <a:pt x="157347" y="350681"/>
                    </a:lnTo>
                    <a:cubicBezTo>
                      <a:pt x="184031" y="396892"/>
                      <a:pt x="228883" y="428850"/>
                      <a:pt x="279919" y="439673"/>
                    </a:cubicBezTo>
                    <a:lnTo>
                      <a:pt x="847250" y="439673"/>
                    </a:lnTo>
                    <a:cubicBezTo>
                      <a:pt x="898286" y="428850"/>
                      <a:pt x="943137" y="396892"/>
                      <a:pt x="969821" y="350681"/>
                    </a:cubicBezTo>
                    <a:close/>
                  </a:path>
                </a:pathLst>
              </a:custGeom>
              <a:solidFill>
                <a:srgbClr val="82D5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0" name="Freeform: Shape 2509">
                <a:extLst>
                  <a:ext uri="{FF2B5EF4-FFF2-40B4-BE49-F238E27FC236}">
                    <a16:creationId xmlns:a16="http://schemas.microsoft.com/office/drawing/2014/main" id="{FB69C2F7-2BAE-3E8E-5EA5-2A3102FC854C}"/>
                  </a:ext>
                </a:extLst>
              </p:cNvPr>
              <p:cNvSpPr/>
              <p:nvPr/>
            </p:nvSpPr>
            <p:spPr>
              <a:xfrm>
                <a:off x="7008905" y="5411423"/>
                <a:ext cx="377881" cy="1205524"/>
              </a:xfrm>
              <a:custGeom>
                <a:avLst/>
                <a:gdLst>
                  <a:gd name="connsiteX0" fmla="*/ 377882 w 377881"/>
                  <a:gd name="connsiteY0" fmla="*/ 0 h 1205524"/>
                  <a:gd name="connsiteX1" fmla="*/ 269987 w 377881"/>
                  <a:gd name="connsiteY1" fmla="*/ 85251 h 1205524"/>
                  <a:gd name="connsiteX2" fmla="*/ 24932 w 377881"/>
                  <a:gd name="connsiteY2" fmla="*/ 509699 h 1205524"/>
                  <a:gd name="connsiteX3" fmla="*/ 24932 w 377881"/>
                  <a:gd name="connsiteY3" fmla="*/ 695825 h 1205524"/>
                  <a:gd name="connsiteX4" fmla="*/ 269987 w 377881"/>
                  <a:gd name="connsiteY4" fmla="*/ 1120273 h 1205524"/>
                  <a:gd name="connsiteX5" fmla="*/ 377882 w 377881"/>
                  <a:gd name="connsiteY5" fmla="*/ 1205524 h 1205524"/>
                  <a:gd name="connsiteX6" fmla="*/ 377882 w 377881"/>
                  <a:gd name="connsiteY6" fmla="*/ 0 h 120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881" h="1205524">
                    <a:moveTo>
                      <a:pt x="377882" y="0"/>
                    </a:moveTo>
                    <a:cubicBezTo>
                      <a:pt x="332981" y="13429"/>
                      <a:pt x="294077" y="43529"/>
                      <a:pt x="269987" y="85251"/>
                    </a:cubicBezTo>
                    <a:lnTo>
                      <a:pt x="24932" y="509699"/>
                    </a:lnTo>
                    <a:cubicBezTo>
                      <a:pt x="-8311" y="567281"/>
                      <a:pt x="-8311" y="638231"/>
                      <a:pt x="24932" y="695825"/>
                    </a:cubicBezTo>
                    <a:lnTo>
                      <a:pt x="269987" y="1120273"/>
                    </a:lnTo>
                    <a:cubicBezTo>
                      <a:pt x="294077" y="1161995"/>
                      <a:pt x="332981" y="1192107"/>
                      <a:pt x="377882" y="1205524"/>
                    </a:cubicBezTo>
                    <a:lnTo>
                      <a:pt x="377882" y="0"/>
                    </a:lnTo>
                    <a:close/>
                  </a:path>
                </a:pathLst>
              </a:custGeom>
              <a:solidFill>
                <a:srgbClr val="A1E7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11" name="Graphic 525">
              <a:extLst>
                <a:ext uri="{FF2B5EF4-FFF2-40B4-BE49-F238E27FC236}">
                  <a16:creationId xmlns:a16="http://schemas.microsoft.com/office/drawing/2014/main" id="{6A6E6008-5572-EB7D-9BA0-77DDD3444102}"/>
                </a:ext>
              </a:extLst>
            </p:cNvPr>
            <p:cNvGrpSpPr/>
            <p:nvPr/>
          </p:nvGrpSpPr>
          <p:grpSpPr>
            <a:xfrm>
              <a:off x="3558527" y="4948618"/>
              <a:ext cx="1121397" cy="584382"/>
              <a:chOff x="7008922" y="5403617"/>
              <a:chExt cx="1352453" cy="704790"/>
            </a:xfrm>
          </p:grpSpPr>
          <p:grpSp>
            <p:nvGrpSpPr>
              <p:cNvPr id="2512" name="Graphic 525">
                <a:extLst>
                  <a:ext uri="{FF2B5EF4-FFF2-40B4-BE49-F238E27FC236}">
                    <a16:creationId xmlns:a16="http://schemas.microsoft.com/office/drawing/2014/main" id="{FC623101-CAB7-8366-542A-0960CCB41701}"/>
                  </a:ext>
                </a:extLst>
              </p:cNvPr>
              <p:cNvGrpSpPr/>
              <p:nvPr/>
            </p:nvGrpSpPr>
            <p:grpSpPr>
              <a:xfrm>
                <a:off x="7008922" y="5597187"/>
                <a:ext cx="211951" cy="494436"/>
                <a:chOff x="7008922" y="5597187"/>
                <a:chExt cx="211951" cy="494436"/>
              </a:xfrm>
            </p:grpSpPr>
            <p:sp>
              <p:nvSpPr>
                <p:cNvPr id="2513" name="Freeform: Shape 2512">
                  <a:extLst>
                    <a:ext uri="{FF2B5EF4-FFF2-40B4-BE49-F238E27FC236}">
                      <a16:creationId xmlns:a16="http://schemas.microsoft.com/office/drawing/2014/main" id="{9D32F6FB-BE1B-9C6F-DE91-F295FD76A6CC}"/>
                    </a:ext>
                  </a:extLst>
                </p:cNvPr>
                <p:cNvSpPr/>
                <p:nvPr/>
              </p:nvSpPr>
              <p:spPr>
                <a:xfrm>
                  <a:off x="7008922" y="5597187"/>
                  <a:ext cx="211951" cy="494436"/>
                </a:xfrm>
                <a:custGeom>
                  <a:avLst/>
                  <a:gdLst>
                    <a:gd name="connsiteX0" fmla="*/ 211951 w 211951"/>
                    <a:gd name="connsiteY0" fmla="*/ 0 h 494436"/>
                    <a:gd name="connsiteX1" fmla="*/ 24928 w 211951"/>
                    <a:gd name="connsiteY1" fmla="*/ 323947 h 494436"/>
                    <a:gd name="connsiteX2" fmla="*/ 16873 w 211951"/>
                    <a:gd name="connsiteY2" fmla="*/ 494437 h 494436"/>
                    <a:gd name="connsiteX3" fmla="*/ 211951 w 211951"/>
                    <a:gd name="connsiteY3" fmla="*/ 430832 h 494436"/>
                    <a:gd name="connsiteX4" fmla="*/ 211951 w 211951"/>
                    <a:gd name="connsiteY4" fmla="*/ 0 h 49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51" h="494436">
                      <a:moveTo>
                        <a:pt x="211951" y="0"/>
                      </a:moveTo>
                      <a:lnTo>
                        <a:pt x="24928" y="323947"/>
                      </a:lnTo>
                      <a:cubicBezTo>
                        <a:pt x="-5372" y="376430"/>
                        <a:pt x="-8041" y="439997"/>
                        <a:pt x="16873" y="494437"/>
                      </a:cubicBezTo>
                      <a:lnTo>
                        <a:pt x="211951" y="430832"/>
                      </a:lnTo>
                      <a:lnTo>
                        <a:pt x="211951" y="0"/>
                      </a:lnTo>
                      <a:close/>
                    </a:path>
                  </a:pathLst>
                </a:custGeom>
                <a:solidFill>
                  <a:srgbClr val="82D5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4" name="Freeform: Shape 2513">
                  <a:extLst>
                    <a:ext uri="{FF2B5EF4-FFF2-40B4-BE49-F238E27FC236}">
                      <a16:creationId xmlns:a16="http://schemas.microsoft.com/office/drawing/2014/main" id="{FED83C1B-8B04-B83F-F1DD-FA887CC384DD}"/>
                    </a:ext>
                  </a:extLst>
                </p:cNvPr>
                <p:cNvSpPr/>
                <p:nvPr/>
              </p:nvSpPr>
              <p:spPr>
                <a:xfrm>
                  <a:off x="7008923" y="5629669"/>
                  <a:ext cx="193197" cy="444560"/>
                </a:xfrm>
                <a:custGeom>
                  <a:avLst/>
                  <a:gdLst>
                    <a:gd name="connsiteX0" fmla="*/ 193197 w 193197"/>
                    <a:gd name="connsiteY0" fmla="*/ 0 h 444560"/>
                    <a:gd name="connsiteX1" fmla="*/ 24927 w 193197"/>
                    <a:gd name="connsiteY1" fmla="*/ 291453 h 444560"/>
                    <a:gd name="connsiteX2" fmla="*/ 9951 w 193197"/>
                    <a:gd name="connsiteY2" fmla="*/ 444561 h 444560"/>
                    <a:gd name="connsiteX3" fmla="*/ 193197 w 193197"/>
                    <a:gd name="connsiteY3" fmla="*/ 386293 h 444560"/>
                    <a:gd name="connsiteX4" fmla="*/ 193197 w 193197"/>
                    <a:gd name="connsiteY4" fmla="*/ 0 h 44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97" h="444560">
                      <a:moveTo>
                        <a:pt x="193197" y="0"/>
                      </a:moveTo>
                      <a:lnTo>
                        <a:pt x="24927" y="291453"/>
                      </a:lnTo>
                      <a:cubicBezTo>
                        <a:pt x="-2193" y="338436"/>
                        <a:pt x="-7181" y="394310"/>
                        <a:pt x="9951" y="444561"/>
                      </a:cubicBezTo>
                      <a:lnTo>
                        <a:pt x="193197" y="386293"/>
                      </a:lnTo>
                      <a:lnTo>
                        <a:pt x="193197" y="0"/>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5" name="Freeform: Shape 2514">
                  <a:extLst>
                    <a:ext uri="{FF2B5EF4-FFF2-40B4-BE49-F238E27FC236}">
                      <a16:creationId xmlns:a16="http://schemas.microsoft.com/office/drawing/2014/main" id="{72F33299-C529-C957-CD38-97F5E6D0AB6E}"/>
                    </a:ext>
                  </a:extLst>
                </p:cNvPr>
                <p:cNvSpPr/>
                <p:nvPr/>
              </p:nvSpPr>
              <p:spPr>
                <a:xfrm>
                  <a:off x="7008923" y="5674705"/>
                  <a:ext cx="193197" cy="399525"/>
                </a:xfrm>
                <a:custGeom>
                  <a:avLst/>
                  <a:gdLst>
                    <a:gd name="connsiteX0" fmla="*/ 32670 w 193197"/>
                    <a:gd name="connsiteY0" fmla="*/ 233000 h 399525"/>
                    <a:gd name="connsiteX1" fmla="*/ 24927 w 193197"/>
                    <a:gd name="connsiteY1" fmla="*/ 246417 h 399525"/>
                    <a:gd name="connsiteX2" fmla="*/ 9951 w 193197"/>
                    <a:gd name="connsiteY2" fmla="*/ 399525 h 399525"/>
                    <a:gd name="connsiteX3" fmla="*/ 193197 w 193197"/>
                    <a:gd name="connsiteY3" fmla="*/ 341257 h 399525"/>
                    <a:gd name="connsiteX4" fmla="*/ 193197 w 193197"/>
                    <a:gd name="connsiteY4" fmla="*/ 2297 h 399525"/>
                    <a:gd name="connsiteX5" fmla="*/ 167112 w 193197"/>
                    <a:gd name="connsiteY5" fmla="*/ 128 h 399525"/>
                    <a:gd name="connsiteX6" fmla="*/ 44005 w 193197"/>
                    <a:gd name="connsiteY6" fmla="*/ 213361 h 399525"/>
                    <a:gd name="connsiteX7" fmla="*/ 32670 w 193197"/>
                    <a:gd name="connsiteY7" fmla="*/ 232988 h 3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197" h="399525">
                      <a:moveTo>
                        <a:pt x="32670" y="233000"/>
                      </a:moveTo>
                      <a:lnTo>
                        <a:pt x="24927" y="246417"/>
                      </a:lnTo>
                      <a:cubicBezTo>
                        <a:pt x="-2193" y="293401"/>
                        <a:pt x="-7181" y="349275"/>
                        <a:pt x="9951" y="399525"/>
                      </a:cubicBezTo>
                      <a:lnTo>
                        <a:pt x="193197" y="341257"/>
                      </a:lnTo>
                      <a:lnTo>
                        <a:pt x="193197" y="2297"/>
                      </a:lnTo>
                      <a:cubicBezTo>
                        <a:pt x="188908" y="1312"/>
                        <a:pt x="179132" y="-496"/>
                        <a:pt x="167112" y="128"/>
                      </a:cubicBezTo>
                      <a:lnTo>
                        <a:pt x="44005" y="213361"/>
                      </a:lnTo>
                      <a:cubicBezTo>
                        <a:pt x="43581" y="222352"/>
                        <a:pt x="40825" y="230208"/>
                        <a:pt x="32670" y="232988"/>
                      </a:cubicBezTo>
                      <a:close/>
                    </a:path>
                  </a:pathLst>
                </a:custGeom>
                <a:solidFill>
                  <a:srgbClr val="91E2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16" name="Graphic 525">
                <a:extLst>
                  <a:ext uri="{FF2B5EF4-FFF2-40B4-BE49-F238E27FC236}">
                    <a16:creationId xmlns:a16="http://schemas.microsoft.com/office/drawing/2014/main" id="{77A863FC-D3CA-92C0-E9B9-AB90BA243FCD}"/>
                  </a:ext>
                </a:extLst>
              </p:cNvPr>
              <p:cNvGrpSpPr/>
              <p:nvPr/>
            </p:nvGrpSpPr>
            <p:grpSpPr>
              <a:xfrm>
                <a:off x="7704350" y="5403617"/>
                <a:ext cx="657025" cy="704790"/>
                <a:chOff x="7704350" y="5403617"/>
                <a:chExt cx="657025" cy="704790"/>
              </a:xfrm>
            </p:grpSpPr>
            <p:sp>
              <p:nvSpPr>
                <p:cNvPr id="2517" name="Freeform: Shape 2516">
                  <a:extLst>
                    <a:ext uri="{FF2B5EF4-FFF2-40B4-BE49-F238E27FC236}">
                      <a16:creationId xmlns:a16="http://schemas.microsoft.com/office/drawing/2014/main" id="{134D5014-892B-F302-446E-5F30711634A5}"/>
                    </a:ext>
                  </a:extLst>
                </p:cNvPr>
                <p:cNvSpPr/>
                <p:nvPr/>
              </p:nvSpPr>
              <p:spPr>
                <a:xfrm>
                  <a:off x="7704350" y="5403630"/>
                  <a:ext cx="657014" cy="704777"/>
                </a:xfrm>
                <a:custGeom>
                  <a:avLst/>
                  <a:gdLst>
                    <a:gd name="connsiteX0" fmla="*/ 387028 w 657014"/>
                    <a:gd name="connsiteY0" fmla="*/ 93057 h 704777"/>
                    <a:gd name="connsiteX1" fmla="*/ 225840 w 657014"/>
                    <a:gd name="connsiteY1" fmla="*/ 0 h 704777"/>
                    <a:gd name="connsiteX2" fmla="*/ 0 w 657014"/>
                    <a:gd name="connsiteY2" fmla="*/ 0 h 704777"/>
                    <a:gd name="connsiteX3" fmla="*/ 0 w 657014"/>
                    <a:gd name="connsiteY3" fmla="*/ 492616 h 704777"/>
                    <a:gd name="connsiteX4" fmla="*/ 631410 w 657014"/>
                    <a:gd name="connsiteY4" fmla="*/ 704778 h 704777"/>
                    <a:gd name="connsiteX5" fmla="*/ 632083 w 657014"/>
                    <a:gd name="connsiteY5" fmla="*/ 703618 h 704777"/>
                    <a:gd name="connsiteX6" fmla="*/ 632083 w 657014"/>
                    <a:gd name="connsiteY6" fmla="*/ 517492 h 704777"/>
                    <a:gd name="connsiteX7" fmla="*/ 387028 w 657014"/>
                    <a:gd name="connsiteY7" fmla="*/ 93045 h 70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014" h="704777">
                      <a:moveTo>
                        <a:pt x="387028" y="93057"/>
                      </a:moveTo>
                      <a:cubicBezTo>
                        <a:pt x="353785" y="35474"/>
                        <a:pt x="292338" y="0"/>
                        <a:pt x="225840" y="0"/>
                      </a:cubicBezTo>
                      <a:lnTo>
                        <a:pt x="0" y="0"/>
                      </a:lnTo>
                      <a:lnTo>
                        <a:pt x="0" y="492616"/>
                      </a:lnTo>
                      <a:lnTo>
                        <a:pt x="631410" y="704778"/>
                      </a:lnTo>
                      <a:lnTo>
                        <a:pt x="632083" y="703618"/>
                      </a:lnTo>
                      <a:cubicBezTo>
                        <a:pt x="665326" y="646036"/>
                        <a:pt x="665326" y="575087"/>
                        <a:pt x="632083" y="517492"/>
                      </a:cubicBezTo>
                      <a:lnTo>
                        <a:pt x="387028" y="93045"/>
                      </a:lnTo>
                      <a:close/>
                    </a:path>
                  </a:pathLst>
                </a:custGeom>
                <a:solidFill>
                  <a:srgbClr val="91E2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8" name="Freeform: Shape 2517">
                  <a:extLst>
                    <a:ext uri="{FF2B5EF4-FFF2-40B4-BE49-F238E27FC236}">
                      <a16:creationId xmlns:a16="http://schemas.microsoft.com/office/drawing/2014/main" id="{84D1BF2A-0F33-6F1F-38A1-CEDA2C5CAB0A}"/>
                    </a:ext>
                  </a:extLst>
                </p:cNvPr>
                <p:cNvSpPr/>
                <p:nvPr/>
              </p:nvSpPr>
              <p:spPr>
                <a:xfrm>
                  <a:off x="7728465" y="5403630"/>
                  <a:ext cx="632910" cy="681609"/>
                </a:xfrm>
                <a:custGeom>
                  <a:avLst/>
                  <a:gdLst>
                    <a:gd name="connsiteX0" fmla="*/ 362913 w 632910"/>
                    <a:gd name="connsiteY0" fmla="*/ 93057 h 681609"/>
                    <a:gd name="connsiteX1" fmla="*/ 201725 w 632910"/>
                    <a:gd name="connsiteY1" fmla="*/ 0 h 681609"/>
                    <a:gd name="connsiteX2" fmla="*/ 0 w 632910"/>
                    <a:gd name="connsiteY2" fmla="*/ 0 h 681609"/>
                    <a:gd name="connsiteX3" fmla="*/ 0 w 632910"/>
                    <a:gd name="connsiteY3" fmla="*/ 473863 h 681609"/>
                    <a:gd name="connsiteX4" fmla="*/ 618816 w 632910"/>
                    <a:gd name="connsiteY4" fmla="*/ 681610 h 681609"/>
                    <a:gd name="connsiteX5" fmla="*/ 607968 w 632910"/>
                    <a:gd name="connsiteY5" fmla="*/ 517504 h 681609"/>
                    <a:gd name="connsiteX6" fmla="*/ 362913 w 632910"/>
                    <a:gd name="connsiteY6" fmla="*/ 93057 h 68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910" h="681609">
                      <a:moveTo>
                        <a:pt x="362913" y="93057"/>
                      </a:moveTo>
                      <a:cubicBezTo>
                        <a:pt x="329670" y="35474"/>
                        <a:pt x="268223" y="0"/>
                        <a:pt x="201725" y="0"/>
                      </a:cubicBezTo>
                      <a:lnTo>
                        <a:pt x="0" y="0"/>
                      </a:lnTo>
                      <a:lnTo>
                        <a:pt x="0" y="473863"/>
                      </a:lnTo>
                      <a:lnTo>
                        <a:pt x="618816" y="681610"/>
                      </a:lnTo>
                      <a:cubicBezTo>
                        <a:pt x="640712" y="628629"/>
                        <a:pt x="637096" y="567942"/>
                        <a:pt x="607968" y="517504"/>
                      </a:cubicBezTo>
                      <a:lnTo>
                        <a:pt x="362913" y="93057"/>
                      </a:lnTo>
                      <a:close/>
                    </a:path>
                  </a:pathLst>
                </a:custGeom>
                <a:solidFill>
                  <a:srgbClr val="A2E9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9" name="Freeform: Shape 2518">
                  <a:extLst>
                    <a:ext uri="{FF2B5EF4-FFF2-40B4-BE49-F238E27FC236}">
                      <a16:creationId xmlns:a16="http://schemas.microsoft.com/office/drawing/2014/main" id="{5C24DD24-4D38-3BF5-6233-DABC7A55701B}"/>
                    </a:ext>
                  </a:extLst>
                </p:cNvPr>
                <p:cNvSpPr/>
                <p:nvPr/>
              </p:nvSpPr>
              <p:spPr>
                <a:xfrm>
                  <a:off x="7728453" y="5403617"/>
                  <a:ext cx="360157" cy="88468"/>
                </a:xfrm>
                <a:custGeom>
                  <a:avLst/>
                  <a:gdLst>
                    <a:gd name="connsiteX0" fmla="*/ 0 w 360157"/>
                    <a:gd name="connsiteY0" fmla="*/ 0 h 88468"/>
                    <a:gd name="connsiteX1" fmla="*/ 0 w 360157"/>
                    <a:gd name="connsiteY1" fmla="*/ 4177 h 88468"/>
                    <a:gd name="connsiteX2" fmla="*/ 360157 w 360157"/>
                    <a:gd name="connsiteY2" fmla="*/ 88468 h 88468"/>
                    <a:gd name="connsiteX3" fmla="*/ 329982 w 360157"/>
                    <a:gd name="connsiteY3" fmla="*/ 51273 h 88468"/>
                    <a:gd name="connsiteX4" fmla="*/ 110900 w 360157"/>
                    <a:gd name="connsiteY4" fmla="*/ 0 h 88468"/>
                    <a:gd name="connsiteX5" fmla="*/ 0 w 360157"/>
                    <a:gd name="connsiteY5" fmla="*/ 0 h 8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157" h="88468">
                      <a:moveTo>
                        <a:pt x="0" y="0"/>
                      </a:moveTo>
                      <a:lnTo>
                        <a:pt x="0" y="4177"/>
                      </a:lnTo>
                      <a:lnTo>
                        <a:pt x="360157" y="88468"/>
                      </a:lnTo>
                      <a:cubicBezTo>
                        <a:pt x="351641" y="74653"/>
                        <a:pt x="341466" y="62196"/>
                        <a:pt x="329982" y="51273"/>
                      </a:cubicBezTo>
                      <a:lnTo>
                        <a:pt x="110900" y="0"/>
                      </a:lnTo>
                      <a:lnTo>
                        <a:pt x="0" y="0"/>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0" name="Freeform: Shape 2519">
                  <a:extLst>
                    <a:ext uri="{FF2B5EF4-FFF2-40B4-BE49-F238E27FC236}">
                      <a16:creationId xmlns:a16="http://schemas.microsoft.com/office/drawing/2014/main" id="{A67D1F57-BF49-259E-D23C-BE51126D69B3}"/>
                    </a:ext>
                  </a:extLst>
                </p:cNvPr>
                <p:cNvSpPr/>
                <p:nvPr/>
              </p:nvSpPr>
              <p:spPr>
                <a:xfrm>
                  <a:off x="7728453" y="5428580"/>
                  <a:ext cx="394272" cy="122396"/>
                </a:xfrm>
                <a:custGeom>
                  <a:avLst/>
                  <a:gdLst>
                    <a:gd name="connsiteX0" fmla="*/ 374148 w 394272"/>
                    <a:gd name="connsiteY0" fmla="*/ 87558 h 122396"/>
                    <a:gd name="connsiteX1" fmla="*/ 0 w 394272"/>
                    <a:gd name="connsiteY1" fmla="*/ 0 h 122396"/>
                    <a:gd name="connsiteX2" fmla="*/ 0 w 394272"/>
                    <a:gd name="connsiteY2" fmla="*/ 30126 h 122396"/>
                    <a:gd name="connsiteX3" fmla="*/ 394273 w 394272"/>
                    <a:gd name="connsiteY3" fmla="*/ 122397 h 122396"/>
                    <a:gd name="connsiteX4" fmla="*/ 374148 w 394272"/>
                    <a:gd name="connsiteY4" fmla="*/ 87558 h 12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72" h="122396">
                      <a:moveTo>
                        <a:pt x="374148" y="87558"/>
                      </a:moveTo>
                      <a:lnTo>
                        <a:pt x="0" y="0"/>
                      </a:lnTo>
                      <a:lnTo>
                        <a:pt x="0" y="30126"/>
                      </a:lnTo>
                      <a:lnTo>
                        <a:pt x="394273" y="122397"/>
                      </a:lnTo>
                      <a:lnTo>
                        <a:pt x="374148" y="87558"/>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1" name="Freeform: Shape 2520">
                  <a:extLst>
                    <a:ext uri="{FF2B5EF4-FFF2-40B4-BE49-F238E27FC236}">
                      <a16:creationId xmlns:a16="http://schemas.microsoft.com/office/drawing/2014/main" id="{12DF853C-6BCB-C5D0-3F72-657D24C88957}"/>
                    </a:ext>
                  </a:extLst>
                </p:cNvPr>
                <p:cNvSpPr/>
                <p:nvPr/>
              </p:nvSpPr>
              <p:spPr>
                <a:xfrm>
                  <a:off x="7728453" y="5479678"/>
                  <a:ext cx="433687" cy="139578"/>
                </a:xfrm>
                <a:custGeom>
                  <a:avLst/>
                  <a:gdLst>
                    <a:gd name="connsiteX0" fmla="*/ 413325 w 433687"/>
                    <a:gd name="connsiteY0" fmla="*/ 104304 h 139578"/>
                    <a:gd name="connsiteX1" fmla="*/ 0 w 433687"/>
                    <a:gd name="connsiteY1" fmla="*/ 0 h 139578"/>
                    <a:gd name="connsiteX2" fmla="*/ 0 w 433687"/>
                    <a:gd name="connsiteY2" fmla="*/ 30138 h 139578"/>
                    <a:gd name="connsiteX3" fmla="*/ 433688 w 433687"/>
                    <a:gd name="connsiteY3" fmla="*/ 139579 h 139578"/>
                    <a:gd name="connsiteX4" fmla="*/ 413325 w 433687"/>
                    <a:gd name="connsiteY4" fmla="*/ 104304 h 139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87" h="139578">
                      <a:moveTo>
                        <a:pt x="413325" y="104304"/>
                      </a:moveTo>
                      <a:lnTo>
                        <a:pt x="0" y="0"/>
                      </a:lnTo>
                      <a:lnTo>
                        <a:pt x="0" y="30138"/>
                      </a:lnTo>
                      <a:lnTo>
                        <a:pt x="433688" y="139579"/>
                      </a:lnTo>
                      <a:lnTo>
                        <a:pt x="413325" y="104304"/>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2" name="Freeform: Shape 2521">
                  <a:extLst>
                    <a:ext uri="{FF2B5EF4-FFF2-40B4-BE49-F238E27FC236}">
                      <a16:creationId xmlns:a16="http://schemas.microsoft.com/office/drawing/2014/main" id="{A1C65509-3A7B-4DC0-62F2-BDBA1298CD4F}"/>
                    </a:ext>
                  </a:extLst>
                </p:cNvPr>
                <p:cNvSpPr/>
                <p:nvPr/>
              </p:nvSpPr>
              <p:spPr>
                <a:xfrm>
                  <a:off x="7728453" y="5530590"/>
                  <a:ext cx="468089" cy="148257"/>
                </a:xfrm>
                <a:custGeom>
                  <a:avLst/>
                  <a:gdLst>
                    <a:gd name="connsiteX0" fmla="*/ 447728 w 468089"/>
                    <a:gd name="connsiteY0" fmla="*/ 112982 h 148257"/>
                    <a:gd name="connsiteX1" fmla="*/ 0 w 468089"/>
                    <a:gd name="connsiteY1" fmla="*/ 0 h 148257"/>
                    <a:gd name="connsiteX2" fmla="*/ 0 w 468089"/>
                    <a:gd name="connsiteY2" fmla="*/ 30138 h 148257"/>
                    <a:gd name="connsiteX3" fmla="*/ 468090 w 468089"/>
                    <a:gd name="connsiteY3" fmla="*/ 148257 h 148257"/>
                    <a:gd name="connsiteX4" fmla="*/ 447728 w 468089"/>
                    <a:gd name="connsiteY4" fmla="*/ 112982 h 148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89" h="148257">
                      <a:moveTo>
                        <a:pt x="447728" y="112982"/>
                      </a:moveTo>
                      <a:lnTo>
                        <a:pt x="0" y="0"/>
                      </a:lnTo>
                      <a:lnTo>
                        <a:pt x="0" y="30138"/>
                      </a:lnTo>
                      <a:lnTo>
                        <a:pt x="468090" y="148257"/>
                      </a:lnTo>
                      <a:lnTo>
                        <a:pt x="447728" y="112982"/>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3" name="Freeform: Shape 2522">
                  <a:extLst>
                    <a:ext uri="{FF2B5EF4-FFF2-40B4-BE49-F238E27FC236}">
                      <a16:creationId xmlns:a16="http://schemas.microsoft.com/office/drawing/2014/main" id="{6564C578-EA7B-A7B5-3341-113EC025B84F}"/>
                    </a:ext>
                  </a:extLst>
                </p:cNvPr>
                <p:cNvSpPr/>
                <p:nvPr/>
              </p:nvSpPr>
              <p:spPr>
                <a:xfrm>
                  <a:off x="7728453" y="5581526"/>
                  <a:ext cx="503763" cy="159105"/>
                </a:xfrm>
                <a:custGeom>
                  <a:avLst/>
                  <a:gdLst>
                    <a:gd name="connsiteX0" fmla="*/ 483352 w 503763"/>
                    <a:gd name="connsiteY0" fmla="*/ 123743 h 159105"/>
                    <a:gd name="connsiteX1" fmla="*/ 0 w 503763"/>
                    <a:gd name="connsiteY1" fmla="*/ 0 h 159105"/>
                    <a:gd name="connsiteX2" fmla="*/ 0 w 503763"/>
                    <a:gd name="connsiteY2" fmla="*/ 30138 h 159105"/>
                    <a:gd name="connsiteX3" fmla="*/ 503764 w 503763"/>
                    <a:gd name="connsiteY3" fmla="*/ 159106 h 159105"/>
                    <a:gd name="connsiteX4" fmla="*/ 483352 w 503763"/>
                    <a:gd name="connsiteY4" fmla="*/ 123743 h 1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3" h="159105">
                      <a:moveTo>
                        <a:pt x="483352" y="123743"/>
                      </a:moveTo>
                      <a:lnTo>
                        <a:pt x="0" y="0"/>
                      </a:lnTo>
                      <a:lnTo>
                        <a:pt x="0" y="30138"/>
                      </a:lnTo>
                      <a:lnTo>
                        <a:pt x="503764" y="159106"/>
                      </a:lnTo>
                      <a:lnTo>
                        <a:pt x="483352" y="123743"/>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4" name="Freeform: Shape 2523">
                  <a:extLst>
                    <a:ext uri="{FF2B5EF4-FFF2-40B4-BE49-F238E27FC236}">
                      <a16:creationId xmlns:a16="http://schemas.microsoft.com/office/drawing/2014/main" id="{03115FFF-733C-C0D1-BA21-F02E3C3706DF}"/>
                    </a:ext>
                  </a:extLst>
                </p:cNvPr>
                <p:cNvSpPr/>
                <p:nvPr/>
              </p:nvSpPr>
              <p:spPr>
                <a:xfrm>
                  <a:off x="7728453" y="5632537"/>
                  <a:ext cx="541682" cy="173769"/>
                </a:xfrm>
                <a:custGeom>
                  <a:avLst/>
                  <a:gdLst>
                    <a:gd name="connsiteX0" fmla="*/ 521133 w 541682"/>
                    <a:gd name="connsiteY0" fmla="*/ 138194 h 173769"/>
                    <a:gd name="connsiteX1" fmla="*/ 0 w 541682"/>
                    <a:gd name="connsiteY1" fmla="*/ 0 h 173769"/>
                    <a:gd name="connsiteX2" fmla="*/ 0 w 541682"/>
                    <a:gd name="connsiteY2" fmla="*/ 30138 h 173769"/>
                    <a:gd name="connsiteX3" fmla="*/ 541682 w 541682"/>
                    <a:gd name="connsiteY3" fmla="*/ 173769 h 173769"/>
                    <a:gd name="connsiteX4" fmla="*/ 521133 w 541682"/>
                    <a:gd name="connsiteY4" fmla="*/ 138194 h 173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82" h="173769">
                      <a:moveTo>
                        <a:pt x="521133" y="138194"/>
                      </a:moveTo>
                      <a:lnTo>
                        <a:pt x="0" y="0"/>
                      </a:lnTo>
                      <a:lnTo>
                        <a:pt x="0" y="30138"/>
                      </a:lnTo>
                      <a:lnTo>
                        <a:pt x="541682" y="173769"/>
                      </a:lnTo>
                      <a:lnTo>
                        <a:pt x="521133" y="138194"/>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5" name="Freeform: Shape 2524">
                  <a:extLst>
                    <a:ext uri="{FF2B5EF4-FFF2-40B4-BE49-F238E27FC236}">
                      <a16:creationId xmlns:a16="http://schemas.microsoft.com/office/drawing/2014/main" id="{BF457AEC-131F-C956-82D3-C23D47E89016}"/>
                    </a:ext>
                  </a:extLst>
                </p:cNvPr>
                <p:cNvSpPr/>
                <p:nvPr/>
              </p:nvSpPr>
              <p:spPr>
                <a:xfrm>
                  <a:off x="7728453" y="5683561"/>
                  <a:ext cx="580822" cy="190540"/>
                </a:xfrm>
                <a:custGeom>
                  <a:avLst/>
                  <a:gdLst>
                    <a:gd name="connsiteX0" fmla="*/ 560124 w 580822"/>
                    <a:gd name="connsiteY0" fmla="*/ 154692 h 190540"/>
                    <a:gd name="connsiteX1" fmla="*/ 0 w 580822"/>
                    <a:gd name="connsiteY1" fmla="*/ 0 h 190540"/>
                    <a:gd name="connsiteX2" fmla="*/ 0 w 580822"/>
                    <a:gd name="connsiteY2" fmla="*/ 30138 h 190540"/>
                    <a:gd name="connsiteX3" fmla="*/ 580823 w 580822"/>
                    <a:gd name="connsiteY3" fmla="*/ 190540 h 190540"/>
                    <a:gd name="connsiteX4" fmla="*/ 560124 w 580822"/>
                    <a:gd name="connsiteY4" fmla="*/ 154692 h 19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22" h="190540">
                      <a:moveTo>
                        <a:pt x="560124" y="154692"/>
                      </a:moveTo>
                      <a:lnTo>
                        <a:pt x="0" y="0"/>
                      </a:lnTo>
                      <a:lnTo>
                        <a:pt x="0" y="30138"/>
                      </a:lnTo>
                      <a:lnTo>
                        <a:pt x="580823" y="190540"/>
                      </a:lnTo>
                      <a:lnTo>
                        <a:pt x="560124" y="154692"/>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6" name="Freeform: Shape 2525">
                  <a:extLst>
                    <a:ext uri="{FF2B5EF4-FFF2-40B4-BE49-F238E27FC236}">
                      <a16:creationId xmlns:a16="http://schemas.microsoft.com/office/drawing/2014/main" id="{10025D0B-D9B5-CADB-CD1D-4CDDCB5F2BE0}"/>
                    </a:ext>
                  </a:extLst>
                </p:cNvPr>
                <p:cNvSpPr/>
                <p:nvPr/>
              </p:nvSpPr>
              <p:spPr>
                <a:xfrm>
                  <a:off x="7728453" y="5734597"/>
                  <a:ext cx="618454" cy="207722"/>
                </a:xfrm>
                <a:custGeom>
                  <a:avLst/>
                  <a:gdLst>
                    <a:gd name="connsiteX0" fmla="*/ 0 w 618454"/>
                    <a:gd name="connsiteY0" fmla="*/ 30126 h 207722"/>
                    <a:gd name="connsiteX1" fmla="*/ 618454 w 618454"/>
                    <a:gd name="connsiteY1" fmla="*/ 207723 h 207722"/>
                    <a:gd name="connsiteX2" fmla="*/ 607968 w 618454"/>
                    <a:gd name="connsiteY2" fmla="*/ 186538 h 207722"/>
                    <a:gd name="connsiteX3" fmla="*/ 599688 w 618454"/>
                    <a:gd name="connsiteY3" fmla="*/ 172198 h 207722"/>
                    <a:gd name="connsiteX4" fmla="*/ 0 w 618454"/>
                    <a:gd name="connsiteY4" fmla="*/ 0 h 207722"/>
                    <a:gd name="connsiteX5" fmla="*/ 0 w 618454"/>
                    <a:gd name="connsiteY5" fmla="*/ 30138 h 20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454" h="207722">
                      <a:moveTo>
                        <a:pt x="0" y="30126"/>
                      </a:moveTo>
                      <a:lnTo>
                        <a:pt x="618454" y="207723"/>
                      </a:lnTo>
                      <a:cubicBezTo>
                        <a:pt x="615425" y="200503"/>
                        <a:pt x="611946" y="193421"/>
                        <a:pt x="607968" y="186538"/>
                      </a:cubicBezTo>
                      <a:lnTo>
                        <a:pt x="599688" y="172198"/>
                      </a:lnTo>
                      <a:lnTo>
                        <a:pt x="0" y="0"/>
                      </a:lnTo>
                      <a:lnTo>
                        <a:pt x="0" y="30138"/>
                      </a:ln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7" name="Freeform: Shape 2526">
                  <a:extLst>
                    <a:ext uri="{FF2B5EF4-FFF2-40B4-BE49-F238E27FC236}">
                      <a16:creationId xmlns:a16="http://schemas.microsoft.com/office/drawing/2014/main" id="{E6BCB85B-1D12-70B6-F098-FF778F5243D0}"/>
                    </a:ext>
                  </a:extLst>
                </p:cNvPr>
                <p:cNvSpPr/>
                <p:nvPr/>
              </p:nvSpPr>
              <p:spPr>
                <a:xfrm>
                  <a:off x="7728453" y="5785720"/>
                  <a:ext cx="632843" cy="224618"/>
                </a:xfrm>
                <a:custGeom>
                  <a:avLst/>
                  <a:gdLst>
                    <a:gd name="connsiteX0" fmla="*/ 629577 w 632843"/>
                    <a:gd name="connsiteY0" fmla="*/ 193471 h 224618"/>
                    <a:gd name="connsiteX1" fmla="*/ 0 w 632843"/>
                    <a:gd name="connsiteY1" fmla="*/ 0 h 224618"/>
                    <a:gd name="connsiteX2" fmla="*/ 0 w 632843"/>
                    <a:gd name="connsiteY2" fmla="*/ 30138 h 224618"/>
                    <a:gd name="connsiteX3" fmla="*/ 632844 w 632843"/>
                    <a:gd name="connsiteY3" fmla="*/ 224618 h 224618"/>
                    <a:gd name="connsiteX4" fmla="*/ 629577 w 632843"/>
                    <a:gd name="connsiteY4" fmla="*/ 193483 h 224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43" h="224618">
                      <a:moveTo>
                        <a:pt x="629577" y="193471"/>
                      </a:moveTo>
                      <a:lnTo>
                        <a:pt x="0" y="0"/>
                      </a:lnTo>
                      <a:lnTo>
                        <a:pt x="0" y="30138"/>
                      </a:lnTo>
                      <a:lnTo>
                        <a:pt x="632844" y="224618"/>
                      </a:lnTo>
                      <a:cubicBezTo>
                        <a:pt x="632632" y="214182"/>
                        <a:pt x="631547" y="203770"/>
                        <a:pt x="629577" y="193483"/>
                      </a:cubicBez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8" name="Freeform: Shape 2527">
                  <a:extLst>
                    <a:ext uri="{FF2B5EF4-FFF2-40B4-BE49-F238E27FC236}">
                      <a16:creationId xmlns:a16="http://schemas.microsoft.com/office/drawing/2014/main" id="{F553F2A0-8C7B-4C7A-84E3-361FF7E0495A}"/>
                    </a:ext>
                  </a:extLst>
                </p:cNvPr>
                <p:cNvSpPr/>
                <p:nvPr/>
              </p:nvSpPr>
              <p:spPr>
                <a:xfrm>
                  <a:off x="7728465" y="5832766"/>
                  <a:ext cx="631584" cy="231676"/>
                </a:xfrm>
                <a:custGeom>
                  <a:avLst/>
                  <a:gdLst>
                    <a:gd name="connsiteX0" fmla="*/ 631584 w 631584"/>
                    <a:gd name="connsiteY0" fmla="*/ 203346 h 231676"/>
                    <a:gd name="connsiteX1" fmla="*/ 0 w 631584"/>
                    <a:gd name="connsiteY1" fmla="*/ 0 h 231676"/>
                    <a:gd name="connsiteX2" fmla="*/ 0 w 631584"/>
                    <a:gd name="connsiteY2" fmla="*/ 30138 h 231676"/>
                    <a:gd name="connsiteX3" fmla="*/ 625973 w 631584"/>
                    <a:gd name="connsiteY3" fmla="*/ 231676 h 231676"/>
                    <a:gd name="connsiteX4" fmla="*/ 631584 w 631584"/>
                    <a:gd name="connsiteY4" fmla="*/ 203346 h 2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84" h="231676">
                      <a:moveTo>
                        <a:pt x="631584" y="203346"/>
                      </a:moveTo>
                      <a:lnTo>
                        <a:pt x="0" y="0"/>
                      </a:lnTo>
                      <a:lnTo>
                        <a:pt x="0" y="30138"/>
                      </a:lnTo>
                      <a:lnTo>
                        <a:pt x="625973" y="231676"/>
                      </a:lnTo>
                      <a:cubicBezTo>
                        <a:pt x="628579" y="222361"/>
                        <a:pt x="630462" y="212885"/>
                        <a:pt x="631584" y="203346"/>
                      </a:cubicBezTo>
                      <a:close/>
                    </a:path>
                  </a:pathLst>
                </a:custGeom>
                <a:solidFill>
                  <a:srgbClr val="B8EEF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530" name="Graphic 525">
              <a:extLst>
                <a:ext uri="{FF2B5EF4-FFF2-40B4-BE49-F238E27FC236}">
                  <a16:creationId xmlns:a16="http://schemas.microsoft.com/office/drawing/2014/main" id="{12A9240E-75DA-20CF-3C21-854D1E5FADC4}"/>
                </a:ext>
              </a:extLst>
            </p:cNvPr>
            <p:cNvGrpSpPr/>
            <p:nvPr/>
          </p:nvGrpSpPr>
          <p:grpSpPr>
            <a:xfrm>
              <a:off x="4082708" y="5177427"/>
              <a:ext cx="220662" cy="495571"/>
              <a:chOff x="7641107" y="5679571"/>
              <a:chExt cx="266128" cy="597680"/>
            </a:xfrm>
          </p:grpSpPr>
          <p:grpSp>
            <p:nvGrpSpPr>
              <p:cNvPr id="2531" name="Graphic 525">
                <a:extLst>
                  <a:ext uri="{FF2B5EF4-FFF2-40B4-BE49-F238E27FC236}">
                    <a16:creationId xmlns:a16="http://schemas.microsoft.com/office/drawing/2014/main" id="{CB5D5236-E937-5012-4C1B-AF07DA8585B4}"/>
                  </a:ext>
                </a:extLst>
              </p:cNvPr>
              <p:cNvGrpSpPr/>
              <p:nvPr/>
            </p:nvGrpSpPr>
            <p:grpSpPr>
              <a:xfrm>
                <a:off x="7641107" y="5856791"/>
                <a:ext cx="266128" cy="420460"/>
                <a:chOff x="7641107" y="5856791"/>
                <a:chExt cx="266128" cy="420460"/>
              </a:xfrm>
            </p:grpSpPr>
            <p:grpSp>
              <p:nvGrpSpPr>
                <p:cNvPr id="2532" name="Graphic 525">
                  <a:extLst>
                    <a:ext uri="{FF2B5EF4-FFF2-40B4-BE49-F238E27FC236}">
                      <a16:creationId xmlns:a16="http://schemas.microsoft.com/office/drawing/2014/main" id="{D027D5EA-7CF8-2F75-7A4F-C4D104E9F61B}"/>
                    </a:ext>
                  </a:extLst>
                </p:cNvPr>
                <p:cNvGrpSpPr/>
                <p:nvPr/>
              </p:nvGrpSpPr>
              <p:grpSpPr>
                <a:xfrm>
                  <a:off x="7641107" y="5856791"/>
                  <a:ext cx="266128" cy="420460"/>
                  <a:chOff x="7641107" y="5856791"/>
                  <a:chExt cx="266128" cy="420460"/>
                </a:xfrm>
              </p:grpSpPr>
              <p:sp>
                <p:nvSpPr>
                  <p:cNvPr id="2533" name="Freeform: Shape 2532">
                    <a:extLst>
                      <a:ext uri="{FF2B5EF4-FFF2-40B4-BE49-F238E27FC236}">
                        <a16:creationId xmlns:a16="http://schemas.microsoft.com/office/drawing/2014/main" id="{CC88775A-8EE4-5D04-D659-E6D086A163E6}"/>
                      </a:ext>
                    </a:extLst>
                  </p:cNvPr>
                  <p:cNvSpPr/>
                  <p:nvPr/>
                </p:nvSpPr>
                <p:spPr>
                  <a:xfrm>
                    <a:off x="7641107" y="5882393"/>
                    <a:ext cx="183158" cy="394858"/>
                  </a:xfrm>
                  <a:custGeom>
                    <a:avLst/>
                    <a:gdLst>
                      <a:gd name="connsiteX0" fmla="*/ 183146 w 183158"/>
                      <a:gd name="connsiteY0" fmla="*/ 60462 h 394858"/>
                      <a:gd name="connsiteX1" fmla="*/ 183146 w 183158"/>
                      <a:gd name="connsiteY1" fmla="*/ 394859 h 394858"/>
                      <a:gd name="connsiteX2" fmla="*/ 0 w 183158"/>
                      <a:gd name="connsiteY2" fmla="*/ 307924 h 394858"/>
                      <a:gd name="connsiteX3" fmla="*/ 0 w 183158"/>
                      <a:gd name="connsiteY3" fmla="*/ 1945 h 394858"/>
                      <a:gd name="connsiteX4" fmla="*/ 299 w 183158"/>
                      <a:gd name="connsiteY4" fmla="*/ 0 h 394858"/>
                      <a:gd name="connsiteX5" fmla="*/ 183159 w 183158"/>
                      <a:gd name="connsiteY5" fmla="*/ 60462 h 39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158" h="394858">
                        <a:moveTo>
                          <a:pt x="183146" y="60462"/>
                        </a:moveTo>
                        <a:lnTo>
                          <a:pt x="183146" y="394859"/>
                        </a:lnTo>
                        <a:lnTo>
                          <a:pt x="0" y="307924"/>
                        </a:lnTo>
                        <a:lnTo>
                          <a:pt x="0" y="1945"/>
                        </a:lnTo>
                        <a:cubicBezTo>
                          <a:pt x="0" y="1284"/>
                          <a:pt x="100" y="636"/>
                          <a:pt x="299" y="0"/>
                        </a:cubicBezTo>
                        <a:lnTo>
                          <a:pt x="183159" y="60462"/>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4" name="Freeform: Shape 2533">
                    <a:extLst>
                      <a:ext uri="{FF2B5EF4-FFF2-40B4-BE49-F238E27FC236}">
                        <a16:creationId xmlns:a16="http://schemas.microsoft.com/office/drawing/2014/main" id="{C4B4EBEC-66BC-71CC-D9CE-4DA0BC417D2D}"/>
                      </a:ext>
                    </a:extLst>
                  </p:cNvPr>
                  <p:cNvSpPr/>
                  <p:nvPr/>
                </p:nvSpPr>
                <p:spPr>
                  <a:xfrm>
                    <a:off x="7824253" y="5912780"/>
                    <a:ext cx="82981" cy="364471"/>
                  </a:xfrm>
                  <a:custGeom>
                    <a:avLst/>
                    <a:gdLst>
                      <a:gd name="connsiteX0" fmla="*/ 81598 w 82981"/>
                      <a:gd name="connsiteY0" fmla="*/ 0 h 364471"/>
                      <a:gd name="connsiteX1" fmla="*/ 81623 w 82981"/>
                      <a:gd name="connsiteY1" fmla="*/ 87 h 364471"/>
                      <a:gd name="connsiteX2" fmla="*/ 82982 w 82981"/>
                      <a:gd name="connsiteY2" fmla="*/ 8616 h 364471"/>
                      <a:gd name="connsiteX3" fmla="*/ 82982 w 82981"/>
                      <a:gd name="connsiteY3" fmla="*/ 327862 h 364471"/>
                      <a:gd name="connsiteX4" fmla="*/ 0 w 82981"/>
                      <a:gd name="connsiteY4" fmla="*/ 364471 h 364471"/>
                      <a:gd name="connsiteX5" fmla="*/ 0 w 82981"/>
                      <a:gd name="connsiteY5" fmla="*/ 30075 h 364471"/>
                      <a:gd name="connsiteX6" fmla="*/ 81598 w 82981"/>
                      <a:gd name="connsiteY6" fmla="*/ 0 h 36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81" h="364471">
                        <a:moveTo>
                          <a:pt x="81598" y="0"/>
                        </a:moveTo>
                        <a:lnTo>
                          <a:pt x="81623" y="87"/>
                        </a:lnTo>
                        <a:cubicBezTo>
                          <a:pt x="82520" y="2843"/>
                          <a:pt x="82982" y="5710"/>
                          <a:pt x="82982" y="8616"/>
                        </a:cubicBezTo>
                        <a:lnTo>
                          <a:pt x="82982" y="327862"/>
                        </a:lnTo>
                        <a:lnTo>
                          <a:pt x="0" y="364471"/>
                        </a:lnTo>
                        <a:lnTo>
                          <a:pt x="0" y="30075"/>
                        </a:lnTo>
                        <a:lnTo>
                          <a:pt x="81598" y="0"/>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5" name="Freeform: Shape 2534">
                    <a:extLst>
                      <a:ext uri="{FF2B5EF4-FFF2-40B4-BE49-F238E27FC236}">
                        <a16:creationId xmlns:a16="http://schemas.microsoft.com/office/drawing/2014/main" id="{8D518BAC-39F2-DE26-FB15-07E640CF9749}"/>
                      </a:ext>
                    </a:extLst>
                  </p:cNvPr>
                  <p:cNvSpPr/>
                  <p:nvPr/>
                </p:nvSpPr>
                <p:spPr>
                  <a:xfrm>
                    <a:off x="7641380" y="5856791"/>
                    <a:ext cx="264476" cy="86278"/>
                  </a:xfrm>
                  <a:custGeom>
                    <a:avLst/>
                    <a:gdLst>
                      <a:gd name="connsiteX0" fmla="*/ 101 w 264476"/>
                      <a:gd name="connsiteY0" fmla="*/ 25477 h 86278"/>
                      <a:gd name="connsiteX1" fmla="*/ 79928 w 264476"/>
                      <a:gd name="connsiteY1" fmla="*/ 552 h 86278"/>
                      <a:gd name="connsiteX2" fmla="*/ 87123 w 264476"/>
                      <a:gd name="connsiteY2" fmla="*/ 552 h 86278"/>
                      <a:gd name="connsiteX3" fmla="*/ 264022 w 264476"/>
                      <a:gd name="connsiteY3" fmla="*/ 55490 h 86278"/>
                      <a:gd name="connsiteX4" fmla="*/ 264059 w 264476"/>
                      <a:gd name="connsiteY4" fmla="*/ 56725 h 86278"/>
                      <a:gd name="connsiteX5" fmla="*/ 186227 w 264476"/>
                      <a:gd name="connsiteY5" fmla="*/ 85641 h 86278"/>
                      <a:gd name="connsiteX6" fmla="*/ 179457 w 264476"/>
                      <a:gd name="connsiteY6" fmla="*/ 85753 h 86278"/>
                      <a:gd name="connsiteX7" fmla="*/ 89 w 264476"/>
                      <a:gd name="connsiteY7" fmla="*/ 25727 h 86278"/>
                      <a:gd name="connsiteX8" fmla="*/ 89 w 264476"/>
                      <a:gd name="connsiteY8" fmla="*/ 25477 h 8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76" h="86278">
                        <a:moveTo>
                          <a:pt x="101" y="25477"/>
                        </a:moveTo>
                        <a:lnTo>
                          <a:pt x="79928" y="552"/>
                        </a:lnTo>
                        <a:cubicBezTo>
                          <a:pt x="82273" y="-184"/>
                          <a:pt x="84779" y="-184"/>
                          <a:pt x="87123" y="552"/>
                        </a:cubicBezTo>
                        <a:lnTo>
                          <a:pt x="264022" y="55490"/>
                        </a:lnTo>
                        <a:cubicBezTo>
                          <a:pt x="264608" y="55678"/>
                          <a:pt x="264633" y="56500"/>
                          <a:pt x="264059" y="56725"/>
                        </a:cubicBezTo>
                        <a:lnTo>
                          <a:pt x="186227" y="85641"/>
                        </a:lnTo>
                        <a:cubicBezTo>
                          <a:pt x="184045" y="86451"/>
                          <a:pt x="181664" y="86489"/>
                          <a:pt x="179457" y="85753"/>
                        </a:cubicBezTo>
                        <a:lnTo>
                          <a:pt x="89" y="25727"/>
                        </a:lnTo>
                        <a:cubicBezTo>
                          <a:pt x="-36" y="25689"/>
                          <a:pt x="-23" y="25515"/>
                          <a:pt x="89" y="25477"/>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36" name="Graphic 525">
                  <a:extLst>
                    <a:ext uri="{FF2B5EF4-FFF2-40B4-BE49-F238E27FC236}">
                      <a16:creationId xmlns:a16="http://schemas.microsoft.com/office/drawing/2014/main" id="{874502D0-9420-990D-CA42-4AD5F32231E4}"/>
                    </a:ext>
                  </a:extLst>
                </p:cNvPr>
                <p:cNvGrpSpPr/>
                <p:nvPr/>
              </p:nvGrpSpPr>
              <p:grpSpPr>
                <a:xfrm>
                  <a:off x="7644107" y="5946749"/>
                  <a:ext cx="159696" cy="304025"/>
                  <a:chOff x="7644107" y="5946749"/>
                  <a:chExt cx="159696" cy="304025"/>
                </a:xfrm>
              </p:grpSpPr>
              <p:grpSp>
                <p:nvGrpSpPr>
                  <p:cNvPr id="2537" name="Graphic 525">
                    <a:extLst>
                      <a:ext uri="{FF2B5EF4-FFF2-40B4-BE49-F238E27FC236}">
                        <a16:creationId xmlns:a16="http://schemas.microsoft.com/office/drawing/2014/main" id="{CAFD7F6A-A370-3517-EC3F-4A414F31EECB}"/>
                      </a:ext>
                    </a:extLst>
                  </p:cNvPr>
                  <p:cNvGrpSpPr/>
                  <p:nvPr/>
                </p:nvGrpSpPr>
                <p:grpSpPr>
                  <a:xfrm>
                    <a:off x="7657055" y="5946749"/>
                    <a:ext cx="146748" cy="304025"/>
                    <a:chOff x="7657055" y="5946749"/>
                    <a:chExt cx="146748" cy="304025"/>
                  </a:xfrm>
                </p:grpSpPr>
                <p:sp>
                  <p:nvSpPr>
                    <p:cNvPr id="2538" name="Freeform: Shape 2537">
                      <a:extLst>
                        <a:ext uri="{FF2B5EF4-FFF2-40B4-BE49-F238E27FC236}">
                          <a16:creationId xmlns:a16="http://schemas.microsoft.com/office/drawing/2014/main" id="{4ED76475-DB89-3917-84E1-79B73BE1EF79}"/>
                        </a:ext>
                      </a:extLst>
                    </p:cNvPr>
                    <p:cNvSpPr/>
                    <p:nvPr/>
                  </p:nvSpPr>
                  <p:spPr>
                    <a:xfrm>
                      <a:off x="7657055" y="5946749"/>
                      <a:ext cx="146748" cy="304025"/>
                    </a:xfrm>
                    <a:custGeom>
                      <a:avLst/>
                      <a:gdLst>
                        <a:gd name="connsiteX0" fmla="*/ 0 w 146748"/>
                        <a:gd name="connsiteY0" fmla="*/ 235289 h 304025"/>
                        <a:gd name="connsiteX1" fmla="*/ 0 w 146748"/>
                        <a:gd name="connsiteY1" fmla="*/ 4286 h 304025"/>
                        <a:gd name="connsiteX2" fmla="*/ 5748 w 146748"/>
                        <a:gd name="connsiteY2" fmla="*/ 259 h 304025"/>
                        <a:gd name="connsiteX3" fmla="*/ 143931 w 146748"/>
                        <a:gd name="connsiteY3" fmla="*/ 50597 h 304025"/>
                        <a:gd name="connsiteX4" fmla="*/ 146749 w 146748"/>
                        <a:gd name="connsiteY4" fmla="*/ 54624 h 304025"/>
                        <a:gd name="connsiteX5" fmla="*/ 146749 w 146748"/>
                        <a:gd name="connsiteY5" fmla="*/ 299742 h 304025"/>
                        <a:gd name="connsiteX6" fmla="*/ 140664 w 146748"/>
                        <a:gd name="connsiteY6" fmla="*/ 303620 h 304025"/>
                        <a:gd name="connsiteX7" fmla="*/ 2481 w 146748"/>
                        <a:gd name="connsiteY7" fmla="*/ 239167 h 304025"/>
                        <a:gd name="connsiteX8" fmla="*/ 12 w 146748"/>
                        <a:gd name="connsiteY8" fmla="*/ 235289 h 30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48" h="304025">
                          <a:moveTo>
                            <a:pt x="0" y="235289"/>
                          </a:moveTo>
                          <a:lnTo>
                            <a:pt x="0" y="4286"/>
                          </a:lnTo>
                          <a:cubicBezTo>
                            <a:pt x="0" y="1319"/>
                            <a:pt x="2955" y="-751"/>
                            <a:pt x="5748" y="259"/>
                          </a:cubicBezTo>
                          <a:lnTo>
                            <a:pt x="143931" y="50597"/>
                          </a:lnTo>
                          <a:cubicBezTo>
                            <a:pt x="145627" y="51208"/>
                            <a:pt x="146749" y="52816"/>
                            <a:pt x="146749" y="54624"/>
                          </a:cubicBezTo>
                          <a:lnTo>
                            <a:pt x="146749" y="299742"/>
                          </a:lnTo>
                          <a:cubicBezTo>
                            <a:pt x="146749" y="302871"/>
                            <a:pt x="143494" y="304941"/>
                            <a:pt x="140664" y="303620"/>
                          </a:cubicBezTo>
                          <a:lnTo>
                            <a:pt x="2481" y="239167"/>
                          </a:lnTo>
                          <a:cubicBezTo>
                            <a:pt x="973" y="238469"/>
                            <a:pt x="12" y="236948"/>
                            <a:pt x="12" y="235289"/>
                          </a:cubicBezTo>
                          <a:close/>
                        </a:path>
                      </a:pathLst>
                    </a:custGeom>
                    <a:solidFill>
                      <a:srgbClr val="D6D7D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9" name="Freeform: Shape 2538">
                      <a:extLst>
                        <a:ext uri="{FF2B5EF4-FFF2-40B4-BE49-F238E27FC236}">
                          <a16:creationId xmlns:a16="http://schemas.microsoft.com/office/drawing/2014/main" id="{F10A2ACA-F540-E970-2F73-773A4F6F6A01}"/>
                        </a:ext>
                      </a:extLst>
                    </p:cNvPr>
                    <p:cNvSpPr/>
                    <p:nvPr/>
                  </p:nvSpPr>
                  <p:spPr>
                    <a:xfrm>
                      <a:off x="7666943" y="5961142"/>
                      <a:ext cx="126960" cy="276614"/>
                    </a:xfrm>
                    <a:custGeom>
                      <a:avLst/>
                      <a:gdLst>
                        <a:gd name="connsiteX0" fmla="*/ 12 w 126960"/>
                        <a:gd name="connsiteY0" fmla="*/ 217217 h 276614"/>
                        <a:gd name="connsiteX1" fmla="*/ 12 w 126960"/>
                        <a:gd name="connsiteY1" fmla="*/ 2699 h 276614"/>
                        <a:gd name="connsiteX2" fmla="*/ 3628 w 126960"/>
                        <a:gd name="connsiteY2" fmla="*/ 168 h 276614"/>
                        <a:gd name="connsiteX3" fmla="*/ 125190 w 126960"/>
                        <a:gd name="connsiteY3" fmla="*/ 44446 h 276614"/>
                        <a:gd name="connsiteX4" fmla="*/ 126960 w 126960"/>
                        <a:gd name="connsiteY4" fmla="*/ 46977 h 276614"/>
                        <a:gd name="connsiteX5" fmla="*/ 126960 w 126960"/>
                        <a:gd name="connsiteY5" fmla="*/ 273915 h 276614"/>
                        <a:gd name="connsiteX6" fmla="*/ 123120 w 126960"/>
                        <a:gd name="connsiteY6" fmla="*/ 276358 h 276614"/>
                        <a:gd name="connsiteX7" fmla="*/ 1559 w 126960"/>
                        <a:gd name="connsiteY7" fmla="*/ 219661 h 276614"/>
                        <a:gd name="connsiteX8" fmla="*/ 0 w 126960"/>
                        <a:gd name="connsiteY8" fmla="*/ 217217 h 27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60" h="276614">
                          <a:moveTo>
                            <a:pt x="12" y="217217"/>
                          </a:moveTo>
                          <a:lnTo>
                            <a:pt x="12" y="2699"/>
                          </a:lnTo>
                          <a:cubicBezTo>
                            <a:pt x="12" y="829"/>
                            <a:pt x="1870" y="-480"/>
                            <a:pt x="3628" y="168"/>
                          </a:cubicBezTo>
                          <a:lnTo>
                            <a:pt x="125190" y="44446"/>
                          </a:lnTo>
                          <a:cubicBezTo>
                            <a:pt x="126250" y="44832"/>
                            <a:pt x="126960" y="45842"/>
                            <a:pt x="126960" y="46977"/>
                          </a:cubicBezTo>
                          <a:lnTo>
                            <a:pt x="126960" y="273915"/>
                          </a:lnTo>
                          <a:cubicBezTo>
                            <a:pt x="126960" y="275885"/>
                            <a:pt x="124915" y="277194"/>
                            <a:pt x="123120" y="276358"/>
                          </a:cubicBezTo>
                          <a:lnTo>
                            <a:pt x="1559" y="219661"/>
                          </a:lnTo>
                          <a:cubicBezTo>
                            <a:pt x="611" y="219213"/>
                            <a:pt x="0" y="218265"/>
                            <a:pt x="0" y="217217"/>
                          </a:cubicBez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40" name="Graphic 525">
                    <a:extLst>
                      <a:ext uri="{FF2B5EF4-FFF2-40B4-BE49-F238E27FC236}">
                        <a16:creationId xmlns:a16="http://schemas.microsoft.com/office/drawing/2014/main" id="{B151B86A-0727-47CD-DE0C-34AE47D0D44E}"/>
                      </a:ext>
                    </a:extLst>
                  </p:cNvPr>
                  <p:cNvGrpSpPr/>
                  <p:nvPr/>
                </p:nvGrpSpPr>
                <p:grpSpPr>
                  <a:xfrm>
                    <a:off x="7644107" y="5982115"/>
                    <a:ext cx="136665" cy="238564"/>
                    <a:chOff x="7644107" y="5982115"/>
                    <a:chExt cx="136665" cy="238564"/>
                  </a:xfrm>
                </p:grpSpPr>
                <p:sp>
                  <p:nvSpPr>
                    <p:cNvPr id="2541" name="Freeform: Shape 2540">
                      <a:extLst>
                        <a:ext uri="{FF2B5EF4-FFF2-40B4-BE49-F238E27FC236}">
                          <a16:creationId xmlns:a16="http://schemas.microsoft.com/office/drawing/2014/main" id="{D519A091-7FB5-319F-DB60-7973F28032D7}"/>
                        </a:ext>
                      </a:extLst>
                    </p:cNvPr>
                    <p:cNvSpPr/>
                    <p:nvPr/>
                  </p:nvSpPr>
                  <p:spPr>
                    <a:xfrm>
                      <a:off x="7674300" y="5982115"/>
                      <a:ext cx="106473" cy="72013"/>
                    </a:xfrm>
                    <a:custGeom>
                      <a:avLst/>
                      <a:gdLst>
                        <a:gd name="connsiteX0" fmla="*/ 12 w 106473"/>
                        <a:gd name="connsiteY0" fmla="*/ 30692 h 72013"/>
                        <a:gd name="connsiteX1" fmla="*/ 12 w 106473"/>
                        <a:gd name="connsiteY1" fmla="*/ 2263 h 72013"/>
                        <a:gd name="connsiteX2" fmla="*/ 3042 w 106473"/>
                        <a:gd name="connsiteY2" fmla="*/ 143 h 72013"/>
                        <a:gd name="connsiteX3" fmla="*/ 104990 w 106473"/>
                        <a:gd name="connsiteY3" fmla="*/ 37276 h 72013"/>
                        <a:gd name="connsiteX4" fmla="*/ 106473 w 106473"/>
                        <a:gd name="connsiteY4" fmla="*/ 39396 h 72013"/>
                        <a:gd name="connsiteX5" fmla="*/ 106473 w 106473"/>
                        <a:gd name="connsiteY5" fmla="*/ 69870 h 72013"/>
                        <a:gd name="connsiteX6" fmla="*/ 103568 w 106473"/>
                        <a:gd name="connsiteY6" fmla="*/ 71865 h 72013"/>
                        <a:gd name="connsiteX7" fmla="*/ 1372 w 106473"/>
                        <a:gd name="connsiteY7" fmla="*/ 32688 h 72013"/>
                        <a:gd name="connsiteX8" fmla="*/ 0 w 106473"/>
                        <a:gd name="connsiteY8" fmla="*/ 30692 h 7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3" h="72013">
                          <a:moveTo>
                            <a:pt x="12" y="30692"/>
                          </a:moveTo>
                          <a:lnTo>
                            <a:pt x="12" y="2263"/>
                          </a:lnTo>
                          <a:cubicBezTo>
                            <a:pt x="12" y="692"/>
                            <a:pt x="1571" y="-405"/>
                            <a:pt x="3042" y="143"/>
                          </a:cubicBezTo>
                          <a:lnTo>
                            <a:pt x="104990" y="37276"/>
                          </a:lnTo>
                          <a:cubicBezTo>
                            <a:pt x="105887" y="37600"/>
                            <a:pt x="106473" y="38448"/>
                            <a:pt x="106473" y="39396"/>
                          </a:cubicBezTo>
                          <a:lnTo>
                            <a:pt x="106473" y="69870"/>
                          </a:lnTo>
                          <a:cubicBezTo>
                            <a:pt x="106473" y="71367"/>
                            <a:pt x="104965" y="72414"/>
                            <a:pt x="103568" y="71865"/>
                          </a:cubicBezTo>
                          <a:lnTo>
                            <a:pt x="1372" y="32688"/>
                          </a:lnTo>
                          <a:cubicBezTo>
                            <a:pt x="549" y="32376"/>
                            <a:pt x="0" y="31578"/>
                            <a:pt x="0" y="30692"/>
                          </a:cubicBez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42" name="Graphic 525">
                      <a:extLst>
                        <a:ext uri="{FF2B5EF4-FFF2-40B4-BE49-F238E27FC236}">
                          <a16:creationId xmlns:a16="http://schemas.microsoft.com/office/drawing/2014/main" id="{73FC2905-E4EE-9455-785D-BE097B708437}"/>
                        </a:ext>
                      </a:extLst>
                    </p:cNvPr>
                    <p:cNvGrpSpPr/>
                    <p:nvPr/>
                  </p:nvGrpSpPr>
                  <p:grpSpPr>
                    <a:xfrm>
                      <a:off x="7644107" y="5991684"/>
                      <a:ext cx="117313" cy="228994"/>
                      <a:chOff x="7644107" y="5991684"/>
                      <a:chExt cx="117313" cy="228994"/>
                    </a:xfrm>
                  </p:grpSpPr>
                  <p:grpSp>
                    <p:nvGrpSpPr>
                      <p:cNvPr id="2543" name="Graphic 525">
                        <a:extLst>
                          <a:ext uri="{FF2B5EF4-FFF2-40B4-BE49-F238E27FC236}">
                            <a16:creationId xmlns:a16="http://schemas.microsoft.com/office/drawing/2014/main" id="{2F773335-88EF-30D4-0297-608D761768F7}"/>
                          </a:ext>
                        </a:extLst>
                      </p:cNvPr>
                      <p:cNvGrpSpPr/>
                      <p:nvPr/>
                    </p:nvGrpSpPr>
                    <p:grpSpPr>
                      <a:xfrm>
                        <a:off x="7644107" y="5991684"/>
                        <a:ext cx="56663" cy="206488"/>
                        <a:chOff x="7644107" y="5991684"/>
                        <a:chExt cx="56663" cy="206488"/>
                      </a:xfrm>
                    </p:grpSpPr>
                    <p:grpSp>
                      <p:nvGrpSpPr>
                        <p:cNvPr id="2544" name="Graphic 525">
                          <a:extLst>
                            <a:ext uri="{FF2B5EF4-FFF2-40B4-BE49-F238E27FC236}">
                              <a16:creationId xmlns:a16="http://schemas.microsoft.com/office/drawing/2014/main" id="{93EB7364-C42F-11E8-2B9E-AC81BA033D2A}"/>
                            </a:ext>
                          </a:extLst>
                        </p:cNvPr>
                        <p:cNvGrpSpPr/>
                        <p:nvPr/>
                      </p:nvGrpSpPr>
                      <p:grpSpPr>
                        <a:xfrm>
                          <a:off x="7679924" y="5991684"/>
                          <a:ext cx="20846" cy="24988"/>
                          <a:chOff x="7679924" y="5991684"/>
                          <a:chExt cx="20846" cy="24988"/>
                        </a:xfrm>
                      </p:grpSpPr>
                      <p:sp>
                        <p:nvSpPr>
                          <p:cNvPr id="2545" name="Freeform: Shape 2544">
                            <a:extLst>
                              <a:ext uri="{FF2B5EF4-FFF2-40B4-BE49-F238E27FC236}">
                                <a16:creationId xmlns:a16="http://schemas.microsoft.com/office/drawing/2014/main" id="{33A814F8-E732-E5EE-EEA0-E252DC702247}"/>
                              </a:ext>
                            </a:extLst>
                          </p:cNvPr>
                          <p:cNvSpPr/>
                          <p:nvPr/>
                        </p:nvSpPr>
                        <p:spPr>
                          <a:xfrm>
                            <a:off x="7682704" y="5991684"/>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8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2"/>
                                  <a:pt x="14663" y="24988"/>
                                  <a:pt x="9688" y="24988"/>
                                </a:cubicBezTo>
                                <a:cubicBezTo>
                                  <a:pt x="4713" y="24988"/>
                                  <a:pt x="386" y="19389"/>
                                  <a:pt x="24" y="12494"/>
                                </a:cubicBezTo>
                                <a:cubicBezTo>
                                  <a:pt x="-337" y="5586"/>
                                  <a:pt x="3403" y="0"/>
                                  <a:pt x="8378" y="0"/>
                                </a:cubicBezTo>
                                <a:cubicBezTo>
                                  <a:pt x="13354" y="0"/>
                                  <a:pt x="17680" y="5599"/>
                                  <a:pt x="18042" y="12494"/>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6" name="Freeform: Shape 2545">
                            <a:extLst>
                              <a:ext uri="{FF2B5EF4-FFF2-40B4-BE49-F238E27FC236}">
                                <a16:creationId xmlns:a16="http://schemas.microsoft.com/office/drawing/2014/main" id="{E03549BC-5A57-E3B6-289C-BC09C328D6CB}"/>
                              </a:ext>
                            </a:extLst>
                          </p:cNvPr>
                          <p:cNvSpPr/>
                          <p:nvPr/>
                        </p:nvSpPr>
                        <p:spPr>
                          <a:xfrm>
                            <a:off x="7679924" y="5991684"/>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8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2"/>
                                  <a:pt x="14663" y="24988"/>
                                  <a:pt x="9688" y="24988"/>
                                </a:cubicBezTo>
                                <a:cubicBezTo>
                                  <a:pt x="4713" y="24988"/>
                                  <a:pt x="386" y="19389"/>
                                  <a:pt x="24" y="12494"/>
                                </a:cubicBezTo>
                                <a:cubicBezTo>
                                  <a:pt x="-337" y="5586"/>
                                  <a:pt x="3403" y="0"/>
                                  <a:pt x="8378" y="0"/>
                                </a:cubicBezTo>
                                <a:cubicBezTo>
                                  <a:pt x="13354" y="0"/>
                                  <a:pt x="17680" y="5599"/>
                                  <a:pt x="18042" y="12494"/>
                                </a:cubicBez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47" name="Freeform: Shape 2546">
                          <a:extLst>
                            <a:ext uri="{FF2B5EF4-FFF2-40B4-BE49-F238E27FC236}">
                              <a16:creationId xmlns:a16="http://schemas.microsoft.com/office/drawing/2014/main" id="{45F3CE60-1D37-4752-CF27-6AFAA9709D91}"/>
                            </a:ext>
                          </a:extLst>
                        </p:cNvPr>
                        <p:cNvSpPr/>
                        <p:nvPr/>
                      </p:nvSpPr>
                      <p:spPr>
                        <a:xfrm>
                          <a:off x="7644107" y="6000251"/>
                          <a:ext cx="46863" cy="197921"/>
                        </a:xfrm>
                        <a:custGeom>
                          <a:avLst/>
                          <a:gdLst>
                            <a:gd name="connsiteX0" fmla="*/ 3858 w 46863"/>
                            <a:gd name="connsiteY0" fmla="*/ 197922 h 197921"/>
                            <a:gd name="connsiteX1" fmla="*/ 3035 w 46863"/>
                            <a:gd name="connsiteY1" fmla="*/ 197834 h 197921"/>
                            <a:gd name="connsiteX2" fmla="*/ 92 w 46863"/>
                            <a:gd name="connsiteY2" fmla="*/ 193246 h 197921"/>
                            <a:gd name="connsiteX3" fmla="*/ 3409 w 46863"/>
                            <a:gd name="connsiteY3" fmla="*/ 101236 h 197921"/>
                            <a:gd name="connsiteX4" fmla="*/ 14968 w 46863"/>
                            <a:gd name="connsiteY4" fmla="*/ 18965 h 197921"/>
                            <a:gd name="connsiteX5" fmla="*/ 43011 w 46863"/>
                            <a:gd name="connsiteY5" fmla="*/ 0 h 197921"/>
                            <a:gd name="connsiteX6" fmla="*/ 46863 w 46863"/>
                            <a:gd name="connsiteY6" fmla="*/ 3853 h 197921"/>
                            <a:gd name="connsiteX7" fmla="*/ 43023 w 46863"/>
                            <a:gd name="connsiteY7" fmla="*/ 7706 h 197921"/>
                            <a:gd name="connsiteX8" fmla="*/ 21726 w 46863"/>
                            <a:gd name="connsiteY8" fmla="*/ 22656 h 197921"/>
                            <a:gd name="connsiteX9" fmla="*/ 11090 w 46863"/>
                            <a:gd name="connsiteY9" fmla="*/ 100688 h 197921"/>
                            <a:gd name="connsiteX10" fmla="*/ 7623 w 46863"/>
                            <a:gd name="connsiteY10" fmla="*/ 194879 h 197921"/>
                            <a:gd name="connsiteX11" fmla="*/ 3858 w 46863"/>
                            <a:gd name="connsiteY11" fmla="*/ 197909 h 19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63" h="197921">
                              <a:moveTo>
                                <a:pt x="3858" y="197922"/>
                              </a:moveTo>
                              <a:cubicBezTo>
                                <a:pt x="3583" y="197922"/>
                                <a:pt x="3309" y="197897"/>
                                <a:pt x="3035" y="197834"/>
                              </a:cubicBezTo>
                              <a:cubicBezTo>
                                <a:pt x="952" y="197385"/>
                                <a:pt x="-369" y="195328"/>
                                <a:pt x="92" y="193246"/>
                              </a:cubicBezTo>
                              <a:cubicBezTo>
                                <a:pt x="5154" y="169966"/>
                                <a:pt x="6202" y="140726"/>
                                <a:pt x="3409" y="101236"/>
                              </a:cubicBezTo>
                              <a:cubicBezTo>
                                <a:pt x="1002" y="67395"/>
                                <a:pt x="5329" y="36634"/>
                                <a:pt x="14968" y="18965"/>
                              </a:cubicBezTo>
                              <a:cubicBezTo>
                                <a:pt x="25192" y="212"/>
                                <a:pt x="42287" y="0"/>
                                <a:pt x="43011" y="0"/>
                              </a:cubicBezTo>
                              <a:cubicBezTo>
                                <a:pt x="45143" y="0"/>
                                <a:pt x="46863" y="1721"/>
                                <a:pt x="46863" y="3853"/>
                              </a:cubicBezTo>
                              <a:cubicBezTo>
                                <a:pt x="46863" y="5985"/>
                                <a:pt x="45143" y="7693"/>
                                <a:pt x="43023" y="7706"/>
                              </a:cubicBezTo>
                              <a:cubicBezTo>
                                <a:pt x="42400" y="7706"/>
                                <a:pt x="29656" y="8105"/>
                                <a:pt x="21726" y="22656"/>
                              </a:cubicBezTo>
                              <a:cubicBezTo>
                                <a:pt x="12898" y="38841"/>
                                <a:pt x="8820" y="68742"/>
                                <a:pt x="11090" y="100688"/>
                              </a:cubicBezTo>
                              <a:cubicBezTo>
                                <a:pt x="13945" y="140938"/>
                                <a:pt x="12835" y="170864"/>
                                <a:pt x="7623" y="194879"/>
                              </a:cubicBezTo>
                              <a:cubicBezTo>
                                <a:pt x="7237" y="196687"/>
                                <a:pt x="5641" y="197909"/>
                                <a:pt x="3858" y="197909"/>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48" name="Graphic 525">
                        <a:extLst>
                          <a:ext uri="{FF2B5EF4-FFF2-40B4-BE49-F238E27FC236}">
                            <a16:creationId xmlns:a16="http://schemas.microsoft.com/office/drawing/2014/main" id="{1A82B9B3-D042-E80C-46A3-3BBCCFCA3535}"/>
                          </a:ext>
                        </a:extLst>
                      </p:cNvPr>
                      <p:cNvGrpSpPr/>
                      <p:nvPr/>
                    </p:nvGrpSpPr>
                    <p:grpSpPr>
                      <a:xfrm>
                        <a:off x="7674008" y="6002246"/>
                        <a:ext cx="55428" cy="207410"/>
                        <a:chOff x="7674008" y="6002246"/>
                        <a:chExt cx="55428" cy="207410"/>
                      </a:xfrm>
                    </p:grpSpPr>
                    <p:grpSp>
                      <p:nvGrpSpPr>
                        <p:cNvPr id="2549" name="Graphic 525">
                          <a:extLst>
                            <a:ext uri="{FF2B5EF4-FFF2-40B4-BE49-F238E27FC236}">
                              <a16:creationId xmlns:a16="http://schemas.microsoft.com/office/drawing/2014/main" id="{5F92DC3E-9015-CCE1-7D29-AFFDB35FB9CF}"/>
                            </a:ext>
                          </a:extLst>
                        </p:cNvPr>
                        <p:cNvGrpSpPr/>
                        <p:nvPr/>
                      </p:nvGrpSpPr>
                      <p:grpSpPr>
                        <a:xfrm>
                          <a:off x="7708603" y="6002246"/>
                          <a:ext cx="20834" cy="24988"/>
                          <a:chOff x="7708603" y="6002246"/>
                          <a:chExt cx="20834" cy="24988"/>
                        </a:xfrm>
                      </p:grpSpPr>
                      <p:sp>
                        <p:nvSpPr>
                          <p:cNvPr id="2550" name="Freeform: Shape 2549">
                            <a:extLst>
                              <a:ext uri="{FF2B5EF4-FFF2-40B4-BE49-F238E27FC236}">
                                <a16:creationId xmlns:a16="http://schemas.microsoft.com/office/drawing/2014/main" id="{1AA39656-F6DF-AAE7-0F6E-7D058B25E099}"/>
                              </a:ext>
                            </a:extLst>
                          </p:cNvPr>
                          <p:cNvSpPr/>
                          <p:nvPr/>
                        </p:nvSpPr>
                        <p:spPr>
                          <a:xfrm>
                            <a:off x="7711371" y="6002246"/>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8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1"/>
                                  <a:pt x="14663" y="24988"/>
                                  <a:pt x="9688" y="24988"/>
                                </a:cubicBezTo>
                                <a:cubicBezTo>
                                  <a:pt x="4713" y="24988"/>
                                  <a:pt x="386" y="19389"/>
                                  <a:pt x="24" y="12494"/>
                                </a:cubicBezTo>
                                <a:cubicBezTo>
                                  <a:pt x="-337" y="5586"/>
                                  <a:pt x="3403" y="0"/>
                                  <a:pt x="8378" y="0"/>
                                </a:cubicBezTo>
                                <a:cubicBezTo>
                                  <a:pt x="13354" y="0"/>
                                  <a:pt x="17680" y="5598"/>
                                  <a:pt x="18042" y="12494"/>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1" name="Freeform: Shape 2550">
                            <a:extLst>
                              <a:ext uri="{FF2B5EF4-FFF2-40B4-BE49-F238E27FC236}">
                                <a16:creationId xmlns:a16="http://schemas.microsoft.com/office/drawing/2014/main" id="{37CF4A41-8D40-75AF-2F05-792B4735ECEC}"/>
                              </a:ext>
                            </a:extLst>
                          </p:cNvPr>
                          <p:cNvSpPr/>
                          <p:nvPr/>
                        </p:nvSpPr>
                        <p:spPr>
                          <a:xfrm>
                            <a:off x="7708603" y="6002246"/>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8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1"/>
                                  <a:pt x="14663" y="24988"/>
                                  <a:pt x="9688" y="24988"/>
                                </a:cubicBezTo>
                                <a:cubicBezTo>
                                  <a:pt x="4713" y="24988"/>
                                  <a:pt x="386" y="19389"/>
                                  <a:pt x="24" y="12494"/>
                                </a:cubicBezTo>
                                <a:cubicBezTo>
                                  <a:pt x="-337" y="5586"/>
                                  <a:pt x="3403" y="0"/>
                                  <a:pt x="8378" y="0"/>
                                </a:cubicBezTo>
                                <a:cubicBezTo>
                                  <a:pt x="13354" y="0"/>
                                  <a:pt x="17680" y="5598"/>
                                  <a:pt x="18042" y="12494"/>
                                </a:cubicBez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52" name="Freeform: Shape 2551">
                          <a:extLst>
                            <a:ext uri="{FF2B5EF4-FFF2-40B4-BE49-F238E27FC236}">
                              <a16:creationId xmlns:a16="http://schemas.microsoft.com/office/drawing/2014/main" id="{97C1099D-B796-E549-F21C-29F5B1171A40}"/>
                            </a:ext>
                          </a:extLst>
                        </p:cNvPr>
                        <p:cNvSpPr/>
                        <p:nvPr/>
                      </p:nvSpPr>
                      <p:spPr>
                        <a:xfrm>
                          <a:off x="7674008" y="6011735"/>
                          <a:ext cx="46863" cy="197921"/>
                        </a:xfrm>
                        <a:custGeom>
                          <a:avLst/>
                          <a:gdLst>
                            <a:gd name="connsiteX0" fmla="*/ 3857 w 46863"/>
                            <a:gd name="connsiteY0" fmla="*/ 197922 h 197921"/>
                            <a:gd name="connsiteX1" fmla="*/ 3034 w 46863"/>
                            <a:gd name="connsiteY1" fmla="*/ 197835 h 197921"/>
                            <a:gd name="connsiteX2" fmla="*/ 92 w 46863"/>
                            <a:gd name="connsiteY2" fmla="*/ 193246 h 197921"/>
                            <a:gd name="connsiteX3" fmla="*/ 3409 w 46863"/>
                            <a:gd name="connsiteY3" fmla="*/ 101236 h 197921"/>
                            <a:gd name="connsiteX4" fmla="*/ 14967 w 46863"/>
                            <a:gd name="connsiteY4" fmla="*/ 18965 h 197921"/>
                            <a:gd name="connsiteX5" fmla="*/ 43010 w 46863"/>
                            <a:gd name="connsiteY5" fmla="*/ 0 h 197921"/>
                            <a:gd name="connsiteX6" fmla="*/ 46863 w 46863"/>
                            <a:gd name="connsiteY6" fmla="*/ 3853 h 197921"/>
                            <a:gd name="connsiteX7" fmla="*/ 43035 w 46863"/>
                            <a:gd name="connsiteY7" fmla="*/ 7706 h 197921"/>
                            <a:gd name="connsiteX8" fmla="*/ 21738 w 46863"/>
                            <a:gd name="connsiteY8" fmla="*/ 22656 h 197921"/>
                            <a:gd name="connsiteX9" fmla="*/ 11102 w 46863"/>
                            <a:gd name="connsiteY9" fmla="*/ 100688 h 197921"/>
                            <a:gd name="connsiteX10" fmla="*/ 7635 w 46863"/>
                            <a:gd name="connsiteY10" fmla="*/ 194879 h 197921"/>
                            <a:gd name="connsiteX11" fmla="*/ 3870 w 46863"/>
                            <a:gd name="connsiteY11" fmla="*/ 197909 h 19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63" h="197921">
                              <a:moveTo>
                                <a:pt x="3857" y="197922"/>
                              </a:moveTo>
                              <a:cubicBezTo>
                                <a:pt x="3583" y="197922"/>
                                <a:pt x="3309" y="197897"/>
                                <a:pt x="3034" y="197835"/>
                              </a:cubicBezTo>
                              <a:cubicBezTo>
                                <a:pt x="952" y="197385"/>
                                <a:pt x="-370" y="195328"/>
                                <a:pt x="92" y="193246"/>
                              </a:cubicBezTo>
                              <a:cubicBezTo>
                                <a:pt x="5154" y="169966"/>
                                <a:pt x="6202" y="140726"/>
                                <a:pt x="3409" y="101236"/>
                              </a:cubicBezTo>
                              <a:cubicBezTo>
                                <a:pt x="1002" y="67395"/>
                                <a:pt x="5329" y="36634"/>
                                <a:pt x="14967" y="18965"/>
                              </a:cubicBezTo>
                              <a:cubicBezTo>
                                <a:pt x="25192" y="212"/>
                                <a:pt x="42287" y="0"/>
                                <a:pt x="43010" y="0"/>
                              </a:cubicBezTo>
                              <a:cubicBezTo>
                                <a:pt x="45143" y="0"/>
                                <a:pt x="46863" y="1721"/>
                                <a:pt x="46863" y="3853"/>
                              </a:cubicBezTo>
                              <a:cubicBezTo>
                                <a:pt x="46863" y="5985"/>
                                <a:pt x="45155" y="7693"/>
                                <a:pt x="43035" y="7706"/>
                              </a:cubicBezTo>
                              <a:cubicBezTo>
                                <a:pt x="42462" y="7706"/>
                                <a:pt x="29681" y="8080"/>
                                <a:pt x="21738" y="22656"/>
                              </a:cubicBezTo>
                              <a:cubicBezTo>
                                <a:pt x="12910" y="38841"/>
                                <a:pt x="8833" y="68742"/>
                                <a:pt x="11102" y="100688"/>
                              </a:cubicBezTo>
                              <a:cubicBezTo>
                                <a:pt x="13957" y="140938"/>
                                <a:pt x="12860" y="170864"/>
                                <a:pt x="7635" y="194879"/>
                              </a:cubicBezTo>
                              <a:cubicBezTo>
                                <a:pt x="7249" y="196687"/>
                                <a:pt x="5653" y="197909"/>
                                <a:pt x="3870" y="197909"/>
                              </a:cubicBezTo>
                              <a:close/>
                            </a:path>
                          </a:pathLst>
                        </a:custGeom>
                        <a:solidFill>
                          <a:srgbClr val="ABE1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53" name="Graphic 525">
                        <a:extLst>
                          <a:ext uri="{FF2B5EF4-FFF2-40B4-BE49-F238E27FC236}">
                            <a16:creationId xmlns:a16="http://schemas.microsoft.com/office/drawing/2014/main" id="{75DDB1ED-1DFA-9B3B-BFB3-B767510D133D}"/>
                          </a:ext>
                        </a:extLst>
                      </p:cNvPr>
                      <p:cNvGrpSpPr/>
                      <p:nvPr/>
                    </p:nvGrpSpPr>
                    <p:grpSpPr>
                      <a:xfrm>
                        <a:off x="7705991" y="6014503"/>
                        <a:ext cx="55429" cy="206176"/>
                        <a:chOff x="7705991" y="6014503"/>
                        <a:chExt cx="55429" cy="206176"/>
                      </a:xfrm>
                    </p:grpSpPr>
                    <p:grpSp>
                      <p:nvGrpSpPr>
                        <p:cNvPr id="2554" name="Graphic 525">
                          <a:extLst>
                            <a:ext uri="{FF2B5EF4-FFF2-40B4-BE49-F238E27FC236}">
                              <a16:creationId xmlns:a16="http://schemas.microsoft.com/office/drawing/2014/main" id="{E7FD50C4-6E2F-7B3F-C97B-4E73D9D389ED}"/>
                            </a:ext>
                          </a:extLst>
                        </p:cNvPr>
                        <p:cNvGrpSpPr/>
                        <p:nvPr/>
                      </p:nvGrpSpPr>
                      <p:grpSpPr>
                        <a:xfrm>
                          <a:off x="7740586" y="6014503"/>
                          <a:ext cx="20834" cy="24988"/>
                          <a:chOff x="7740586" y="6014503"/>
                          <a:chExt cx="20834" cy="24988"/>
                        </a:xfrm>
                      </p:grpSpPr>
                      <p:sp>
                        <p:nvSpPr>
                          <p:cNvPr id="2555" name="Freeform: Shape 2554">
                            <a:extLst>
                              <a:ext uri="{FF2B5EF4-FFF2-40B4-BE49-F238E27FC236}">
                                <a16:creationId xmlns:a16="http://schemas.microsoft.com/office/drawing/2014/main" id="{1F3F1052-E22F-6873-FB57-9901061C42E3}"/>
                              </a:ext>
                            </a:extLst>
                          </p:cNvPr>
                          <p:cNvSpPr/>
                          <p:nvPr/>
                        </p:nvSpPr>
                        <p:spPr>
                          <a:xfrm>
                            <a:off x="7743354" y="6014503"/>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9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2"/>
                                  <a:pt x="14663" y="24988"/>
                                  <a:pt x="9688" y="24988"/>
                                </a:cubicBezTo>
                                <a:cubicBezTo>
                                  <a:pt x="4713" y="24988"/>
                                  <a:pt x="386" y="19390"/>
                                  <a:pt x="24" y="12494"/>
                                </a:cubicBezTo>
                                <a:cubicBezTo>
                                  <a:pt x="-337" y="5586"/>
                                  <a:pt x="3403" y="0"/>
                                  <a:pt x="8379" y="0"/>
                                </a:cubicBezTo>
                                <a:cubicBezTo>
                                  <a:pt x="13354" y="0"/>
                                  <a:pt x="17681" y="5599"/>
                                  <a:pt x="18042" y="12494"/>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6" name="Freeform: Shape 2555">
                            <a:extLst>
                              <a:ext uri="{FF2B5EF4-FFF2-40B4-BE49-F238E27FC236}">
                                <a16:creationId xmlns:a16="http://schemas.microsoft.com/office/drawing/2014/main" id="{A70F1AE4-E16E-E824-5794-628A6988961C}"/>
                              </a:ext>
                            </a:extLst>
                          </p:cNvPr>
                          <p:cNvSpPr/>
                          <p:nvPr/>
                        </p:nvSpPr>
                        <p:spPr>
                          <a:xfrm>
                            <a:off x="7740586" y="6014503"/>
                            <a:ext cx="18066" cy="24988"/>
                          </a:xfrm>
                          <a:custGeom>
                            <a:avLst/>
                            <a:gdLst>
                              <a:gd name="connsiteX0" fmla="*/ 18042 w 18066"/>
                              <a:gd name="connsiteY0" fmla="*/ 12494 h 24988"/>
                              <a:gd name="connsiteX1" fmla="*/ 9688 w 18066"/>
                              <a:gd name="connsiteY1" fmla="*/ 24988 h 24988"/>
                              <a:gd name="connsiteX2" fmla="*/ 24 w 18066"/>
                              <a:gd name="connsiteY2" fmla="*/ 12494 h 24988"/>
                              <a:gd name="connsiteX3" fmla="*/ 8378 w 18066"/>
                              <a:gd name="connsiteY3" fmla="*/ 0 h 24988"/>
                              <a:gd name="connsiteX4" fmla="*/ 18042 w 18066"/>
                              <a:gd name="connsiteY4" fmla="*/ 12494 h 2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6" h="24988">
                                <a:moveTo>
                                  <a:pt x="18042" y="12494"/>
                                </a:moveTo>
                                <a:cubicBezTo>
                                  <a:pt x="18404" y="19402"/>
                                  <a:pt x="14663" y="24988"/>
                                  <a:pt x="9688" y="24988"/>
                                </a:cubicBezTo>
                                <a:cubicBezTo>
                                  <a:pt x="4713" y="24988"/>
                                  <a:pt x="386" y="19390"/>
                                  <a:pt x="24" y="12494"/>
                                </a:cubicBezTo>
                                <a:cubicBezTo>
                                  <a:pt x="-337" y="5586"/>
                                  <a:pt x="3403" y="0"/>
                                  <a:pt x="8378" y="0"/>
                                </a:cubicBezTo>
                                <a:cubicBezTo>
                                  <a:pt x="13354" y="0"/>
                                  <a:pt x="17681" y="5599"/>
                                  <a:pt x="18042" y="12494"/>
                                </a:cubicBez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57" name="Freeform: Shape 2556">
                          <a:extLst>
                            <a:ext uri="{FF2B5EF4-FFF2-40B4-BE49-F238E27FC236}">
                              <a16:creationId xmlns:a16="http://schemas.microsoft.com/office/drawing/2014/main" id="{F6C18D82-0FC2-1549-96F9-FC3897E7550C}"/>
                            </a:ext>
                          </a:extLst>
                        </p:cNvPr>
                        <p:cNvSpPr/>
                        <p:nvPr/>
                      </p:nvSpPr>
                      <p:spPr>
                        <a:xfrm>
                          <a:off x="7705991" y="6022757"/>
                          <a:ext cx="46863" cy="197921"/>
                        </a:xfrm>
                        <a:custGeom>
                          <a:avLst/>
                          <a:gdLst>
                            <a:gd name="connsiteX0" fmla="*/ 3858 w 46863"/>
                            <a:gd name="connsiteY0" fmla="*/ 197922 h 197921"/>
                            <a:gd name="connsiteX1" fmla="*/ 3035 w 46863"/>
                            <a:gd name="connsiteY1" fmla="*/ 197835 h 197921"/>
                            <a:gd name="connsiteX2" fmla="*/ 92 w 46863"/>
                            <a:gd name="connsiteY2" fmla="*/ 193246 h 197921"/>
                            <a:gd name="connsiteX3" fmla="*/ 3409 w 46863"/>
                            <a:gd name="connsiteY3" fmla="*/ 101236 h 197921"/>
                            <a:gd name="connsiteX4" fmla="*/ 14967 w 46863"/>
                            <a:gd name="connsiteY4" fmla="*/ 18965 h 197921"/>
                            <a:gd name="connsiteX5" fmla="*/ 43010 w 46863"/>
                            <a:gd name="connsiteY5" fmla="*/ 0 h 197921"/>
                            <a:gd name="connsiteX6" fmla="*/ 46863 w 46863"/>
                            <a:gd name="connsiteY6" fmla="*/ 3853 h 197921"/>
                            <a:gd name="connsiteX7" fmla="*/ 43023 w 46863"/>
                            <a:gd name="connsiteY7" fmla="*/ 7706 h 197921"/>
                            <a:gd name="connsiteX8" fmla="*/ 21726 w 46863"/>
                            <a:gd name="connsiteY8" fmla="*/ 22656 h 197921"/>
                            <a:gd name="connsiteX9" fmla="*/ 11090 w 46863"/>
                            <a:gd name="connsiteY9" fmla="*/ 100688 h 197921"/>
                            <a:gd name="connsiteX10" fmla="*/ 7623 w 46863"/>
                            <a:gd name="connsiteY10" fmla="*/ 194879 h 197921"/>
                            <a:gd name="connsiteX11" fmla="*/ 3858 w 46863"/>
                            <a:gd name="connsiteY11" fmla="*/ 197910 h 19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63" h="197921">
                              <a:moveTo>
                                <a:pt x="3858" y="197922"/>
                              </a:moveTo>
                              <a:cubicBezTo>
                                <a:pt x="3583" y="197922"/>
                                <a:pt x="3309" y="197897"/>
                                <a:pt x="3035" y="197835"/>
                              </a:cubicBezTo>
                              <a:cubicBezTo>
                                <a:pt x="952" y="197386"/>
                                <a:pt x="-370" y="195328"/>
                                <a:pt x="92" y="193246"/>
                              </a:cubicBezTo>
                              <a:cubicBezTo>
                                <a:pt x="5154" y="169966"/>
                                <a:pt x="6202" y="140726"/>
                                <a:pt x="3409" y="101236"/>
                              </a:cubicBezTo>
                              <a:cubicBezTo>
                                <a:pt x="1002" y="67396"/>
                                <a:pt x="5329" y="36634"/>
                                <a:pt x="14967" y="18965"/>
                              </a:cubicBezTo>
                              <a:cubicBezTo>
                                <a:pt x="25192" y="212"/>
                                <a:pt x="42287" y="0"/>
                                <a:pt x="43010" y="0"/>
                              </a:cubicBezTo>
                              <a:cubicBezTo>
                                <a:pt x="45143" y="0"/>
                                <a:pt x="46863" y="1721"/>
                                <a:pt x="46863" y="3853"/>
                              </a:cubicBezTo>
                              <a:cubicBezTo>
                                <a:pt x="46863" y="5986"/>
                                <a:pt x="45143" y="7693"/>
                                <a:pt x="43023" y="7706"/>
                              </a:cubicBezTo>
                              <a:cubicBezTo>
                                <a:pt x="42399" y="7706"/>
                                <a:pt x="29656" y="8105"/>
                                <a:pt x="21726" y="22656"/>
                              </a:cubicBezTo>
                              <a:cubicBezTo>
                                <a:pt x="12898" y="38841"/>
                                <a:pt x="8820" y="68742"/>
                                <a:pt x="11090" y="100688"/>
                              </a:cubicBezTo>
                              <a:cubicBezTo>
                                <a:pt x="13945" y="140938"/>
                                <a:pt x="12835" y="170864"/>
                                <a:pt x="7623" y="194879"/>
                              </a:cubicBezTo>
                              <a:cubicBezTo>
                                <a:pt x="7237" y="196688"/>
                                <a:pt x="5641" y="197910"/>
                                <a:pt x="3858" y="197910"/>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nvGrpSpPr>
              <p:cNvPr id="2558" name="Graphic 525">
                <a:extLst>
                  <a:ext uri="{FF2B5EF4-FFF2-40B4-BE49-F238E27FC236}">
                    <a16:creationId xmlns:a16="http://schemas.microsoft.com/office/drawing/2014/main" id="{8CDD4862-B47C-DAD4-2AA9-35C18624824D}"/>
                  </a:ext>
                </a:extLst>
              </p:cNvPr>
              <p:cNvGrpSpPr/>
              <p:nvPr/>
            </p:nvGrpSpPr>
            <p:grpSpPr>
              <a:xfrm>
                <a:off x="7684324" y="5679571"/>
                <a:ext cx="217661" cy="224006"/>
                <a:chOff x="7684324" y="5679571"/>
                <a:chExt cx="217661" cy="224006"/>
              </a:xfrm>
            </p:grpSpPr>
            <p:grpSp>
              <p:nvGrpSpPr>
                <p:cNvPr id="2559" name="Graphic 525">
                  <a:extLst>
                    <a:ext uri="{FF2B5EF4-FFF2-40B4-BE49-F238E27FC236}">
                      <a16:creationId xmlns:a16="http://schemas.microsoft.com/office/drawing/2014/main" id="{BF27C32B-1934-B932-83CC-D75366FD2F62}"/>
                    </a:ext>
                  </a:extLst>
                </p:cNvPr>
                <p:cNvGrpSpPr/>
                <p:nvPr/>
              </p:nvGrpSpPr>
              <p:grpSpPr>
                <a:xfrm>
                  <a:off x="7751995" y="5840410"/>
                  <a:ext cx="56584" cy="63168"/>
                  <a:chOff x="7751995" y="5840410"/>
                  <a:chExt cx="56584" cy="63168"/>
                </a:xfrm>
              </p:grpSpPr>
              <p:sp>
                <p:nvSpPr>
                  <p:cNvPr id="2560" name="Freeform: Shape 2559">
                    <a:extLst>
                      <a:ext uri="{FF2B5EF4-FFF2-40B4-BE49-F238E27FC236}">
                        <a16:creationId xmlns:a16="http://schemas.microsoft.com/office/drawing/2014/main" id="{72ABD907-BC75-1B6F-7838-C8BCFD475911}"/>
                      </a:ext>
                    </a:extLst>
                  </p:cNvPr>
                  <p:cNvSpPr/>
                  <p:nvPr/>
                </p:nvSpPr>
                <p:spPr>
                  <a:xfrm>
                    <a:off x="7751995" y="5840410"/>
                    <a:ext cx="40698" cy="63168"/>
                  </a:xfrm>
                  <a:custGeom>
                    <a:avLst/>
                    <a:gdLst>
                      <a:gd name="connsiteX0" fmla="*/ 12 w 40698"/>
                      <a:gd name="connsiteY0" fmla="*/ 0 h 63168"/>
                      <a:gd name="connsiteX1" fmla="*/ 12 w 40698"/>
                      <a:gd name="connsiteY1" fmla="*/ 46410 h 63168"/>
                      <a:gd name="connsiteX2" fmla="*/ 3641 w 40698"/>
                      <a:gd name="connsiteY2" fmla="*/ 51372 h 63168"/>
                      <a:gd name="connsiteX3" fmla="*/ 40699 w 40698"/>
                      <a:gd name="connsiteY3" fmla="*/ 63168 h 63168"/>
                      <a:gd name="connsiteX4" fmla="*/ 40699 w 40698"/>
                      <a:gd name="connsiteY4" fmla="*/ 8940 h 63168"/>
                      <a:gd name="connsiteX5" fmla="*/ 0 w 40698"/>
                      <a:gd name="connsiteY5" fmla="*/ 0 h 6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8" h="63168">
                        <a:moveTo>
                          <a:pt x="12" y="0"/>
                        </a:moveTo>
                        <a:lnTo>
                          <a:pt x="12" y="46410"/>
                        </a:lnTo>
                        <a:cubicBezTo>
                          <a:pt x="12" y="48679"/>
                          <a:pt x="1484" y="50687"/>
                          <a:pt x="3641" y="51372"/>
                        </a:cubicBezTo>
                        <a:lnTo>
                          <a:pt x="40699" y="63168"/>
                        </a:lnTo>
                        <a:lnTo>
                          <a:pt x="40699" y="8940"/>
                        </a:lnTo>
                        <a:lnTo>
                          <a:pt x="0" y="0"/>
                        </a:ln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1" name="Freeform: Shape 2560">
                    <a:extLst>
                      <a:ext uri="{FF2B5EF4-FFF2-40B4-BE49-F238E27FC236}">
                        <a16:creationId xmlns:a16="http://schemas.microsoft.com/office/drawing/2014/main" id="{D2FDEB63-7736-C13C-8FB0-57FCB0474685}"/>
                      </a:ext>
                    </a:extLst>
                  </p:cNvPr>
                  <p:cNvSpPr/>
                  <p:nvPr/>
                </p:nvSpPr>
                <p:spPr>
                  <a:xfrm>
                    <a:off x="7792706" y="5845646"/>
                    <a:ext cx="15873" cy="57931"/>
                  </a:xfrm>
                  <a:custGeom>
                    <a:avLst/>
                    <a:gdLst>
                      <a:gd name="connsiteX0" fmla="*/ 0 w 15873"/>
                      <a:gd name="connsiteY0" fmla="*/ 57931 h 57931"/>
                      <a:gd name="connsiteX1" fmla="*/ 12781 w 15873"/>
                      <a:gd name="connsiteY1" fmla="*/ 52245 h 57931"/>
                      <a:gd name="connsiteX2" fmla="*/ 15873 w 15873"/>
                      <a:gd name="connsiteY2" fmla="*/ 47482 h 57931"/>
                      <a:gd name="connsiteX3" fmla="*/ 15873 w 15873"/>
                      <a:gd name="connsiteY3" fmla="*/ 0 h 57931"/>
                      <a:gd name="connsiteX4" fmla="*/ 0 w 15873"/>
                      <a:gd name="connsiteY4" fmla="*/ 3704 h 57931"/>
                      <a:gd name="connsiteX5" fmla="*/ 0 w 15873"/>
                      <a:gd name="connsiteY5" fmla="*/ 57931 h 5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73" h="57931">
                        <a:moveTo>
                          <a:pt x="0" y="57931"/>
                        </a:moveTo>
                        <a:lnTo>
                          <a:pt x="12781" y="52245"/>
                        </a:lnTo>
                        <a:cubicBezTo>
                          <a:pt x="14664" y="51410"/>
                          <a:pt x="15873" y="49540"/>
                          <a:pt x="15873" y="47482"/>
                        </a:cubicBezTo>
                        <a:lnTo>
                          <a:pt x="15873" y="0"/>
                        </a:lnTo>
                        <a:lnTo>
                          <a:pt x="0" y="3704"/>
                        </a:lnTo>
                        <a:lnTo>
                          <a:pt x="0" y="57931"/>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62" name="Graphic 525">
                  <a:extLst>
                    <a:ext uri="{FF2B5EF4-FFF2-40B4-BE49-F238E27FC236}">
                      <a16:creationId xmlns:a16="http://schemas.microsoft.com/office/drawing/2014/main" id="{25993431-A1C2-606B-A46B-F978001744DE}"/>
                    </a:ext>
                  </a:extLst>
                </p:cNvPr>
                <p:cNvGrpSpPr/>
                <p:nvPr/>
              </p:nvGrpSpPr>
              <p:grpSpPr>
                <a:xfrm>
                  <a:off x="7684324" y="5679571"/>
                  <a:ext cx="217661" cy="205215"/>
                  <a:chOff x="7684324" y="5679571"/>
                  <a:chExt cx="217661" cy="205215"/>
                </a:xfrm>
              </p:grpSpPr>
              <p:sp>
                <p:nvSpPr>
                  <p:cNvPr id="2563" name="Freeform: Shape 2562">
                    <a:extLst>
                      <a:ext uri="{FF2B5EF4-FFF2-40B4-BE49-F238E27FC236}">
                        <a16:creationId xmlns:a16="http://schemas.microsoft.com/office/drawing/2014/main" id="{3AF7339C-6175-D8B4-B3DA-B5800E3AC05F}"/>
                      </a:ext>
                    </a:extLst>
                  </p:cNvPr>
                  <p:cNvSpPr/>
                  <p:nvPr/>
                </p:nvSpPr>
                <p:spPr>
                  <a:xfrm>
                    <a:off x="7865613" y="5691192"/>
                    <a:ext cx="36372" cy="193594"/>
                  </a:xfrm>
                  <a:custGeom>
                    <a:avLst/>
                    <a:gdLst>
                      <a:gd name="connsiteX0" fmla="*/ 20961 w 36372"/>
                      <a:gd name="connsiteY0" fmla="*/ 0 h 193594"/>
                      <a:gd name="connsiteX1" fmla="*/ 36373 w 36372"/>
                      <a:gd name="connsiteY1" fmla="*/ 14800 h 193594"/>
                      <a:gd name="connsiteX2" fmla="*/ 18492 w 36372"/>
                      <a:gd name="connsiteY2" fmla="*/ 185901 h 193594"/>
                      <a:gd name="connsiteX3" fmla="*/ 0 w 36372"/>
                      <a:gd name="connsiteY3" fmla="*/ 193083 h 193594"/>
                      <a:gd name="connsiteX4" fmla="*/ 20961 w 36372"/>
                      <a:gd name="connsiteY4" fmla="*/ 0 h 193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72" h="193594">
                        <a:moveTo>
                          <a:pt x="20961" y="0"/>
                        </a:moveTo>
                        <a:cubicBezTo>
                          <a:pt x="20961" y="0"/>
                          <a:pt x="36447" y="2618"/>
                          <a:pt x="36373" y="14800"/>
                        </a:cubicBezTo>
                        <a:cubicBezTo>
                          <a:pt x="36298" y="26209"/>
                          <a:pt x="18492" y="185901"/>
                          <a:pt x="18492" y="185901"/>
                        </a:cubicBezTo>
                        <a:cubicBezTo>
                          <a:pt x="18492" y="185901"/>
                          <a:pt x="17756" y="195939"/>
                          <a:pt x="0" y="193083"/>
                        </a:cubicBezTo>
                        <a:lnTo>
                          <a:pt x="20961" y="0"/>
                        </a:lnTo>
                        <a:close/>
                      </a:path>
                    </a:pathLst>
                  </a:custGeom>
                  <a:solidFill>
                    <a:srgbClr val="E0E0E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64" name="Graphic 525">
                    <a:extLst>
                      <a:ext uri="{FF2B5EF4-FFF2-40B4-BE49-F238E27FC236}">
                        <a16:creationId xmlns:a16="http://schemas.microsoft.com/office/drawing/2014/main" id="{0146F0E4-DE81-DE9F-8B7E-C3E80292E465}"/>
                      </a:ext>
                    </a:extLst>
                  </p:cNvPr>
                  <p:cNvGrpSpPr/>
                  <p:nvPr/>
                </p:nvGrpSpPr>
                <p:grpSpPr>
                  <a:xfrm>
                    <a:off x="7684324" y="5679571"/>
                    <a:ext cx="206379" cy="204772"/>
                    <a:chOff x="7684324" y="5679571"/>
                    <a:chExt cx="206379" cy="204772"/>
                  </a:xfrm>
                </p:grpSpPr>
                <p:sp>
                  <p:nvSpPr>
                    <p:cNvPr id="2565" name="Freeform: Shape 2564">
                      <a:extLst>
                        <a:ext uri="{FF2B5EF4-FFF2-40B4-BE49-F238E27FC236}">
                          <a16:creationId xmlns:a16="http://schemas.microsoft.com/office/drawing/2014/main" id="{BC3969FB-1CEC-A610-7322-427CE5E9F5E0}"/>
                        </a:ext>
                      </a:extLst>
                    </p:cNvPr>
                    <p:cNvSpPr/>
                    <p:nvPr/>
                  </p:nvSpPr>
                  <p:spPr>
                    <a:xfrm>
                      <a:off x="7684324" y="5679571"/>
                      <a:ext cx="206379" cy="204772"/>
                    </a:xfrm>
                    <a:custGeom>
                      <a:avLst/>
                      <a:gdLst>
                        <a:gd name="connsiteX0" fmla="*/ 179792 w 206379"/>
                        <a:gd name="connsiteY0" fmla="*/ 204417 h 204772"/>
                        <a:gd name="connsiteX1" fmla="*/ 7332 w 206379"/>
                        <a:gd name="connsiteY1" fmla="*/ 149516 h 204772"/>
                        <a:gd name="connsiteX2" fmla="*/ 26 w 206379"/>
                        <a:gd name="connsiteY2" fmla="*/ 138506 h 204772"/>
                        <a:gd name="connsiteX3" fmla="*/ 9402 w 206379"/>
                        <a:gd name="connsiteY3" fmla="*/ 9127 h 204772"/>
                        <a:gd name="connsiteX4" fmla="*/ 19976 w 206379"/>
                        <a:gd name="connsiteY4" fmla="*/ 24 h 204772"/>
                        <a:gd name="connsiteX5" fmla="*/ 200890 w 206379"/>
                        <a:gd name="connsiteY5" fmla="*/ 11321 h 204772"/>
                        <a:gd name="connsiteX6" fmla="*/ 206352 w 206379"/>
                        <a:gd name="connsiteY6" fmla="*/ 17706 h 204772"/>
                        <a:gd name="connsiteX7" fmla="*/ 187000 w 206379"/>
                        <a:gd name="connsiteY7" fmla="*/ 200041 h 204772"/>
                        <a:gd name="connsiteX8" fmla="*/ 179792 w 206379"/>
                        <a:gd name="connsiteY8" fmla="*/ 204430 h 20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79" h="204772">
                          <a:moveTo>
                            <a:pt x="179792" y="204417"/>
                          </a:moveTo>
                          <a:lnTo>
                            <a:pt x="7332" y="149516"/>
                          </a:lnTo>
                          <a:cubicBezTo>
                            <a:pt x="2706" y="147846"/>
                            <a:pt x="-311" y="143294"/>
                            <a:pt x="26" y="138506"/>
                          </a:cubicBezTo>
                          <a:lnTo>
                            <a:pt x="9402" y="9127"/>
                          </a:lnTo>
                          <a:cubicBezTo>
                            <a:pt x="9789" y="3640"/>
                            <a:pt x="14440" y="-350"/>
                            <a:pt x="19976" y="24"/>
                          </a:cubicBezTo>
                          <a:lnTo>
                            <a:pt x="200890" y="11321"/>
                          </a:lnTo>
                          <a:cubicBezTo>
                            <a:pt x="204145" y="11546"/>
                            <a:pt x="206676" y="14489"/>
                            <a:pt x="206352" y="17706"/>
                          </a:cubicBezTo>
                          <a:lnTo>
                            <a:pt x="187000" y="200041"/>
                          </a:lnTo>
                          <a:cubicBezTo>
                            <a:pt x="186650" y="203520"/>
                            <a:pt x="183171" y="205639"/>
                            <a:pt x="179792" y="20443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66" name="Graphic 525">
                      <a:extLst>
                        <a:ext uri="{FF2B5EF4-FFF2-40B4-BE49-F238E27FC236}">
                          <a16:creationId xmlns:a16="http://schemas.microsoft.com/office/drawing/2014/main" id="{404CE004-771A-BEC9-819B-A8AEF2865DB7}"/>
                        </a:ext>
                      </a:extLst>
                    </p:cNvPr>
                    <p:cNvGrpSpPr/>
                    <p:nvPr/>
                  </p:nvGrpSpPr>
                  <p:grpSpPr>
                    <a:xfrm>
                      <a:off x="7693679" y="5688922"/>
                      <a:ext cx="184003" cy="182597"/>
                      <a:chOff x="7693679" y="5688922"/>
                      <a:chExt cx="184003" cy="182597"/>
                    </a:xfrm>
                  </p:grpSpPr>
                  <p:grpSp>
                    <p:nvGrpSpPr>
                      <p:cNvPr id="2567" name="Graphic 525">
                        <a:extLst>
                          <a:ext uri="{FF2B5EF4-FFF2-40B4-BE49-F238E27FC236}">
                            <a16:creationId xmlns:a16="http://schemas.microsoft.com/office/drawing/2014/main" id="{32A3FD55-9DB4-20FB-CC28-B5B41C20EF00}"/>
                          </a:ext>
                        </a:extLst>
                      </p:cNvPr>
                      <p:cNvGrpSpPr/>
                      <p:nvPr/>
                    </p:nvGrpSpPr>
                    <p:grpSpPr>
                      <a:xfrm>
                        <a:off x="7693679" y="5688925"/>
                        <a:ext cx="184003" cy="182590"/>
                        <a:chOff x="7693679" y="5688925"/>
                        <a:chExt cx="184003" cy="182590"/>
                      </a:xfrm>
                    </p:grpSpPr>
                    <p:grpSp>
                      <p:nvGrpSpPr>
                        <p:cNvPr id="2568" name="Graphic 525">
                          <a:extLst>
                            <a:ext uri="{FF2B5EF4-FFF2-40B4-BE49-F238E27FC236}">
                              <a16:creationId xmlns:a16="http://schemas.microsoft.com/office/drawing/2014/main" id="{AFD98333-B3C4-5A85-11EE-E248F45A4CAC}"/>
                            </a:ext>
                          </a:extLst>
                        </p:cNvPr>
                        <p:cNvGrpSpPr/>
                        <p:nvPr/>
                      </p:nvGrpSpPr>
                      <p:grpSpPr>
                        <a:xfrm>
                          <a:off x="7693679" y="5688925"/>
                          <a:ext cx="184003" cy="182590"/>
                          <a:chOff x="7693679" y="5688925"/>
                          <a:chExt cx="184003" cy="182590"/>
                        </a:xfrm>
                      </p:grpSpPr>
                      <p:sp>
                        <p:nvSpPr>
                          <p:cNvPr id="2569" name="Freeform: Shape 2568">
                            <a:extLst>
                              <a:ext uri="{FF2B5EF4-FFF2-40B4-BE49-F238E27FC236}">
                                <a16:creationId xmlns:a16="http://schemas.microsoft.com/office/drawing/2014/main" id="{C0FBE691-35A0-84F3-F899-BF7FA08379CC}"/>
                              </a:ext>
                            </a:extLst>
                          </p:cNvPr>
                          <p:cNvSpPr/>
                          <p:nvPr/>
                        </p:nvSpPr>
                        <p:spPr>
                          <a:xfrm>
                            <a:off x="7693679" y="5688925"/>
                            <a:ext cx="184003" cy="182579"/>
                          </a:xfrm>
                          <a:custGeom>
                            <a:avLst/>
                            <a:gdLst>
                              <a:gd name="connsiteX0" fmla="*/ 160312 w 184003"/>
                              <a:gd name="connsiteY0" fmla="*/ 182283 h 182579"/>
                              <a:gd name="connsiteX1" fmla="*/ 6544 w 184003"/>
                              <a:gd name="connsiteY1" fmla="*/ 133329 h 182579"/>
                              <a:gd name="connsiteX2" fmla="*/ 23 w 184003"/>
                              <a:gd name="connsiteY2" fmla="*/ 123504 h 182579"/>
                              <a:gd name="connsiteX3" fmla="*/ 8377 w 184003"/>
                              <a:gd name="connsiteY3" fmla="*/ 8140 h 182579"/>
                              <a:gd name="connsiteX4" fmla="*/ 17803 w 184003"/>
                              <a:gd name="connsiteY4" fmla="*/ 22 h 182579"/>
                              <a:gd name="connsiteX5" fmla="*/ 179116 w 184003"/>
                              <a:gd name="connsiteY5" fmla="*/ 10097 h 182579"/>
                              <a:gd name="connsiteX6" fmla="*/ 183979 w 184003"/>
                              <a:gd name="connsiteY6" fmla="*/ 15783 h 182579"/>
                              <a:gd name="connsiteX7" fmla="*/ 166734 w 184003"/>
                              <a:gd name="connsiteY7" fmla="*/ 178368 h 182579"/>
                              <a:gd name="connsiteX8" fmla="*/ 160312 w 184003"/>
                              <a:gd name="connsiteY8" fmla="*/ 182270 h 18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003" h="182579">
                                <a:moveTo>
                                  <a:pt x="160312" y="182283"/>
                                </a:moveTo>
                                <a:lnTo>
                                  <a:pt x="6544" y="133329"/>
                                </a:lnTo>
                                <a:cubicBezTo>
                                  <a:pt x="2429" y="131846"/>
                                  <a:pt x="-277" y="127780"/>
                                  <a:pt x="23" y="123504"/>
                                </a:cubicBezTo>
                                <a:lnTo>
                                  <a:pt x="8377" y="8140"/>
                                </a:lnTo>
                                <a:cubicBezTo>
                                  <a:pt x="8726" y="3251"/>
                                  <a:pt x="12865" y="-315"/>
                                  <a:pt x="17803" y="22"/>
                                </a:cubicBezTo>
                                <a:lnTo>
                                  <a:pt x="179116" y="10097"/>
                                </a:lnTo>
                                <a:cubicBezTo>
                                  <a:pt x="182021" y="10297"/>
                                  <a:pt x="184266" y="12928"/>
                                  <a:pt x="183979" y="15783"/>
                                </a:cubicBezTo>
                                <a:lnTo>
                                  <a:pt x="166734" y="178368"/>
                                </a:lnTo>
                                <a:cubicBezTo>
                                  <a:pt x="166423" y="181472"/>
                                  <a:pt x="163318" y="183355"/>
                                  <a:pt x="160312" y="182270"/>
                                </a:cubicBez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0" name="Freeform: Shape 2569">
                            <a:extLst>
                              <a:ext uri="{FF2B5EF4-FFF2-40B4-BE49-F238E27FC236}">
                                <a16:creationId xmlns:a16="http://schemas.microsoft.com/office/drawing/2014/main" id="{3809E00B-801C-3BD4-C16D-DCE1AB3D4582}"/>
                              </a:ext>
                            </a:extLst>
                          </p:cNvPr>
                          <p:cNvSpPr/>
                          <p:nvPr/>
                        </p:nvSpPr>
                        <p:spPr>
                          <a:xfrm>
                            <a:off x="7818268" y="5696417"/>
                            <a:ext cx="59402" cy="175099"/>
                          </a:xfrm>
                          <a:custGeom>
                            <a:avLst/>
                            <a:gdLst>
                              <a:gd name="connsiteX0" fmla="*/ 54527 w 59402"/>
                              <a:gd name="connsiteY0" fmla="*/ 2606 h 175099"/>
                              <a:gd name="connsiteX1" fmla="*/ 12743 w 59402"/>
                              <a:gd name="connsiteY1" fmla="*/ 0 h 175099"/>
                              <a:gd name="connsiteX2" fmla="*/ 0 w 59402"/>
                              <a:gd name="connsiteY2" fmla="*/ 163420 h 175099"/>
                              <a:gd name="connsiteX3" fmla="*/ 35712 w 59402"/>
                              <a:gd name="connsiteY3" fmla="*/ 174791 h 175099"/>
                              <a:gd name="connsiteX4" fmla="*/ 42133 w 59402"/>
                              <a:gd name="connsiteY4" fmla="*/ 170889 h 175099"/>
                              <a:gd name="connsiteX5" fmla="*/ 59378 w 59402"/>
                              <a:gd name="connsiteY5" fmla="*/ 8304 h 175099"/>
                              <a:gd name="connsiteX6" fmla="*/ 54515 w 59402"/>
                              <a:gd name="connsiteY6" fmla="*/ 2618 h 175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2" h="175099">
                                <a:moveTo>
                                  <a:pt x="54527" y="2606"/>
                                </a:moveTo>
                                <a:lnTo>
                                  <a:pt x="12743" y="0"/>
                                </a:lnTo>
                                <a:lnTo>
                                  <a:pt x="0" y="163420"/>
                                </a:lnTo>
                                <a:cubicBezTo>
                                  <a:pt x="0" y="163420"/>
                                  <a:pt x="35712" y="174791"/>
                                  <a:pt x="35712" y="174791"/>
                                </a:cubicBezTo>
                                <a:cubicBezTo>
                                  <a:pt x="38717" y="175876"/>
                                  <a:pt x="41834" y="173981"/>
                                  <a:pt x="42133" y="170889"/>
                                </a:cubicBezTo>
                                <a:lnTo>
                                  <a:pt x="59378" y="8304"/>
                                </a:lnTo>
                                <a:cubicBezTo>
                                  <a:pt x="59665" y="5436"/>
                                  <a:pt x="57420" y="2818"/>
                                  <a:pt x="54515" y="2618"/>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71" name="Graphic 525">
                          <a:extLst>
                            <a:ext uri="{FF2B5EF4-FFF2-40B4-BE49-F238E27FC236}">
                              <a16:creationId xmlns:a16="http://schemas.microsoft.com/office/drawing/2014/main" id="{5674BAF6-D417-BF89-BAB1-6268F787835B}"/>
                            </a:ext>
                          </a:extLst>
                        </p:cNvPr>
                        <p:cNvGrpSpPr/>
                        <p:nvPr/>
                      </p:nvGrpSpPr>
                      <p:grpSpPr>
                        <a:xfrm>
                          <a:off x="7704460" y="5709223"/>
                          <a:ext cx="103996" cy="117221"/>
                          <a:chOff x="7704460" y="5709223"/>
                          <a:chExt cx="103996" cy="117221"/>
                        </a:xfrm>
                      </p:grpSpPr>
                      <p:sp>
                        <p:nvSpPr>
                          <p:cNvPr id="2572" name="Freeform: Shape 2571">
                            <a:extLst>
                              <a:ext uri="{FF2B5EF4-FFF2-40B4-BE49-F238E27FC236}">
                                <a16:creationId xmlns:a16="http://schemas.microsoft.com/office/drawing/2014/main" id="{F087BEEF-746B-1E7E-F2EE-86FD72FBB9F7}"/>
                              </a:ext>
                            </a:extLst>
                          </p:cNvPr>
                          <p:cNvSpPr/>
                          <p:nvPr/>
                        </p:nvSpPr>
                        <p:spPr>
                          <a:xfrm>
                            <a:off x="7748075" y="5709223"/>
                            <a:ext cx="49823" cy="52893"/>
                          </a:xfrm>
                          <a:custGeom>
                            <a:avLst/>
                            <a:gdLst>
                              <a:gd name="connsiteX0" fmla="*/ 22735 w 49823"/>
                              <a:gd name="connsiteY0" fmla="*/ 13241 h 52893"/>
                              <a:gd name="connsiteX1" fmla="*/ 3495 w 49823"/>
                              <a:gd name="connsiteY1" fmla="*/ 3329 h 52893"/>
                              <a:gd name="connsiteX2" fmla="*/ 19156 w 49823"/>
                              <a:gd name="connsiteY2" fmla="*/ 52893 h 52893"/>
                              <a:gd name="connsiteX3" fmla="*/ 48521 w 49823"/>
                              <a:gd name="connsiteY3" fmla="*/ 11484 h 52893"/>
                              <a:gd name="connsiteX4" fmla="*/ 22735 w 49823"/>
                              <a:gd name="connsiteY4" fmla="*/ 13241 h 5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3" h="52893">
                                <a:moveTo>
                                  <a:pt x="22735" y="13241"/>
                                </a:moveTo>
                                <a:cubicBezTo>
                                  <a:pt x="22735" y="13241"/>
                                  <a:pt x="16139" y="-8006"/>
                                  <a:pt x="3495" y="3329"/>
                                </a:cubicBezTo>
                                <a:cubicBezTo>
                                  <a:pt x="-9809" y="15249"/>
                                  <a:pt x="19156" y="52893"/>
                                  <a:pt x="19156" y="52893"/>
                                </a:cubicBezTo>
                                <a:cubicBezTo>
                                  <a:pt x="19156" y="52893"/>
                                  <a:pt x="57262" y="31035"/>
                                  <a:pt x="48521" y="11484"/>
                                </a:cubicBezTo>
                                <a:cubicBezTo>
                                  <a:pt x="39531" y="-8617"/>
                                  <a:pt x="22735" y="13241"/>
                                  <a:pt x="22735" y="13241"/>
                                </a:cubicBezTo>
                                <a:close/>
                              </a:path>
                            </a:pathLst>
                          </a:custGeom>
                          <a:solidFill>
                            <a:srgbClr val="F96B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3" name="Freeform: Shape 2572">
                            <a:extLst>
                              <a:ext uri="{FF2B5EF4-FFF2-40B4-BE49-F238E27FC236}">
                                <a16:creationId xmlns:a16="http://schemas.microsoft.com/office/drawing/2014/main" id="{C2A3B7F0-22A2-1188-03F5-4802258C3C6B}"/>
                              </a:ext>
                            </a:extLst>
                          </p:cNvPr>
                          <p:cNvSpPr/>
                          <p:nvPr/>
                        </p:nvSpPr>
                        <p:spPr>
                          <a:xfrm>
                            <a:off x="7704460" y="5769769"/>
                            <a:ext cx="103996" cy="56674"/>
                          </a:xfrm>
                          <a:custGeom>
                            <a:avLst/>
                            <a:gdLst>
                              <a:gd name="connsiteX0" fmla="*/ 74006 w 103996"/>
                              <a:gd name="connsiteY0" fmla="*/ 56638 h 56674"/>
                              <a:gd name="connsiteX1" fmla="*/ 73757 w 103996"/>
                              <a:gd name="connsiteY1" fmla="*/ 56600 h 56674"/>
                              <a:gd name="connsiteX2" fmla="*/ 73158 w 103996"/>
                              <a:gd name="connsiteY2" fmla="*/ 55678 h 56674"/>
                              <a:gd name="connsiteX3" fmla="*/ 77572 w 103996"/>
                              <a:gd name="connsiteY3" fmla="*/ 22223 h 56674"/>
                              <a:gd name="connsiteX4" fmla="*/ 73146 w 103996"/>
                              <a:gd name="connsiteY4" fmla="*/ 31512 h 56674"/>
                              <a:gd name="connsiteX5" fmla="*/ 72223 w 103996"/>
                              <a:gd name="connsiteY5" fmla="*/ 31986 h 56674"/>
                              <a:gd name="connsiteX6" fmla="*/ 66500 w 103996"/>
                              <a:gd name="connsiteY6" fmla="*/ 30901 h 56674"/>
                              <a:gd name="connsiteX7" fmla="*/ 56973 w 103996"/>
                              <a:gd name="connsiteY7" fmla="*/ 54019 h 56674"/>
                              <a:gd name="connsiteX8" fmla="*/ 55964 w 103996"/>
                              <a:gd name="connsiteY8" fmla="*/ 54518 h 56674"/>
                              <a:gd name="connsiteX9" fmla="*/ 55353 w 103996"/>
                              <a:gd name="connsiteY9" fmla="*/ 53570 h 56674"/>
                              <a:gd name="connsiteX10" fmla="*/ 61712 w 103996"/>
                              <a:gd name="connsiteY10" fmla="*/ 10676 h 56674"/>
                              <a:gd name="connsiteX11" fmla="*/ 54654 w 103996"/>
                              <a:gd name="connsiteY11" fmla="*/ 27996 h 56674"/>
                              <a:gd name="connsiteX12" fmla="*/ 53707 w 103996"/>
                              <a:gd name="connsiteY12" fmla="*/ 28507 h 56674"/>
                              <a:gd name="connsiteX13" fmla="*/ 43669 w 103996"/>
                              <a:gd name="connsiteY13" fmla="*/ 26637 h 56674"/>
                              <a:gd name="connsiteX14" fmla="*/ 33183 w 103996"/>
                              <a:gd name="connsiteY14" fmla="*/ 46176 h 56674"/>
                              <a:gd name="connsiteX15" fmla="*/ 32173 w 103996"/>
                              <a:gd name="connsiteY15" fmla="*/ 46588 h 56674"/>
                              <a:gd name="connsiteX16" fmla="*/ 31587 w 103996"/>
                              <a:gd name="connsiteY16" fmla="*/ 45677 h 56674"/>
                              <a:gd name="connsiteX17" fmla="*/ 36524 w 103996"/>
                              <a:gd name="connsiteY17" fmla="*/ 4392 h 56674"/>
                              <a:gd name="connsiteX18" fmla="*/ 24716 w 103996"/>
                              <a:gd name="connsiteY18" fmla="*/ 22560 h 56674"/>
                              <a:gd name="connsiteX19" fmla="*/ 23843 w 103996"/>
                              <a:gd name="connsiteY19" fmla="*/ 22933 h 56674"/>
                              <a:gd name="connsiteX20" fmla="*/ 701 w 103996"/>
                              <a:gd name="connsiteY20" fmla="*/ 18607 h 56674"/>
                              <a:gd name="connsiteX21" fmla="*/ 15 w 103996"/>
                              <a:gd name="connsiteY21" fmla="*/ 17609 h 56674"/>
                              <a:gd name="connsiteX22" fmla="*/ 1012 w 103996"/>
                              <a:gd name="connsiteY22" fmla="*/ 16924 h 56674"/>
                              <a:gd name="connsiteX23" fmla="*/ 23594 w 103996"/>
                              <a:gd name="connsiteY23" fmla="*/ 21151 h 56674"/>
                              <a:gd name="connsiteX24" fmla="*/ 37085 w 103996"/>
                              <a:gd name="connsiteY24" fmla="*/ 389 h 56674"/>
                              <a:gd name="connsiteX25" fmla="*/ 38095 w 103996"/>
                              <a:gd name="connsiteY25" fmla="*/ 53 h 56674"/>
                              <a:gd name="connsiteX26" fmla="*/ 38656 w 103996"/>
                              <a:gd name="connsiteY26" fmla="*/ 951 h 56674"/>
                              <a:gd name="connsiteX27" fmla="*/ 33819 w 103996"/>
                              <a:gd name="connsiteY27" fmla="*/ 41400 h 56674"/>
                              <a:gd name="connsiteX28" fmla="*/ 42472 w 103996"/>
                              <a:gd name="connsiteY28" fmla="*/ 25290 h 56674"/>
                              <a:gd name="connsiteX29" fmla="*/ 43382 w 103996"/>
                              <a:gd name="connsiteY29" fmla="*/ 24854 h 56674"/>
                              <a:gd name="connsiteX30" fmla="*/ 53345 w 103996"/>
                              <a:gd name="connsiteY30" fmla="*/ 26712 h 56674"/>
                              <a:gd name="connsiteX31" fmla="*/ 62809 w 103996"/>
                              <a:gd name="connsiteY31" fmla="*/ 3494 h 56674"/>
                              <a:gd name="connsiteX32" fmla="*/ 63819 w 103996"/>
                              <a:gd name="connsiteY32" fmla="*/ 2996 h 56674"/>
                              <a:gd name="connsiteX33" fmla="*/ 64442 w 103996"/>
                              <a:gd name="connsiteY33" fmla="*/ 3943 h 56674"/>
                              <a:gd name="connsiteX34" fmla="*/ 58071 w 103996"/>
                              <a:gd name="connsiteY34" fmla="*/ 46949 h 56674"/>
                              <a:gd name="connsiteX35" fmla="*/ 65203 w 103996"/>
                              <a:gd name="connsiteY35" fmla="*/ 29630 h 56674"/>
                              <a:gd name="connsiteX36" fmla="*/ 66151 w 103996"/>
                              <a:gd name="connsiteY36" fmla="*/ 29118 h 56674"/>
                              <a:gd name="connsiteX37" fmla="*/ 71911 w 103996"/>
                              <a:gd name="connsiteY37" fmla="*/ 30216 h 56674"/>
                              <a:gd name="connsiteX38" fmla="*/ 78371 w 103996"/>
                              <a:gd name="connsiteY38" fmla="*/ 16649 h 56674"/>
                              <a:gd name="connsiteX39" fmla="*/ 79381 w 103996"/>
                              <a:gd name="connsiteY39" fmla="*/ 16200 h 56674"/>
                              <a:gd name="connsiteX40" fmla="*/ 79979 w 103996"/>
                              <a:gd name="connsiteY40" fmla="*/ 17123 h 56674"/>
                              <a:gd name="connsiteX41" fmla="*/ 75553 w 103996"/>
                              <a:gd name="connsiteY41" fmla="*/ 50715 h 56674"/>
                              <a:gd name="connsiteX42" fmla="*/ 84094 w 103996"/>
                              <a:gd name="connsiteY42" fmla="*/ 33121 h 56674"/>
                              <a:gd name="connsiteX43" fmla="*/ 85016 w 103996"/>
                              <a:gd name="connsiteY43" fmla="*/ 32660 h 56674"/>
                              <a:gd name="connsiteX44" fmla="*/ 103296 w 103996"/>
                              <a:gd name="connsiteY44" fmla="*/ 36076 h 56674"/>
                              <a:gd name="connsiteX45" fmla="*/ 103982 w 103996"/>
                              <a:gd name="connsiteY45" fmla="*/ 37074 h 56674"/>
                              <a:gd name="connsiteX46" fmla="*/ 102985 w 103996"/>
                              <a:gd name="connsiteY46" fmla="*/ 37759 h 56674"/>
                              <a:gd name="connsiteX47" fmla="*/ 85353 w 103996"/>
                              <a:gd name="connsiteY47" fmla="*/ 34467 h 56674"/>
                              <a:gd name="connsiteX48" fmla="*/ 74792 w 103996"/>
                              <a:gd name="connsiteY48" fmla="*/ 56201 h 56674"/>
                              <a:gd name="connsiteX49" fmla="*/ 74031 w 103996"/>
                              <a:gd name="connsiteY49" fmla="*/ 56675 h 5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3996" h="56674">
                                <a:moveTo>
                                  <a:pt x="74006" y="56638"/>
                                </a:moveTo>
                                <a:cubicBezTo>
                                  <a:pt x="73919" y="56638"/>
                                  <a:pt x="73844" y="56638"/>
                                  <a:pt x="73757" y="56600"/>
                                </a:cubicBezTo>
                                <a:cubicBezTo>
                                  <a:pt x="73358" y="56475"/>
                                  <a:pt x="73109" y="56089"/>
                                  <a:pt x="73158" y="55678"/>
                                </a:cubicBezTo>
                                <a:lnTo>
                                  <a:pt x="77572" y="22223"/>
                                </a:lnTo>
                                <a:lnTo>
                                  <a:pt x="73146" y="31512"/>
                                </a:lnTo>
                                <a:cubicBezTo>
                                  <a:pt x="72984" y="31862"/>
                                  <a:pt x="72597" y="32048"/>
                                  <a:pt x="72223" y="31986"/>
                                </a:cubicBezTo>
                                <a:lnTo>
                                  <a:pt x="66500" y="30901"/>
                                </a:lnTo>
                                <a:lnTo>
                                  <a:pt x="56973" y="54019"/>
                                </a:lnTo>
                                <a:cubicBezTo>
                                  <a:pt x="56811" y="54418"/>
                                  <a:pt x="56375" y="54630"/>
                                  <a:pt x="55964" y="54518"/>
                                </a:cubicBezTo>
                                <a:cubicBezTo>
                                  <a:pt x="55552" y="54406"/>
                                  <a:pt x="55278" y="53994"/>
                                  <a:pt x="55353" y="53570"/>
                                </a:cubicBezTo>
                                <a:lnTo>
                                  <a:pt x="61712" y="10676"/>
                                </a:lnTo>
                                <a:lnTo>
                                  <a:pt x="54654" y="27996"/>
                                </a:lnTo>
                                <a:cubicBezTo>
                                  <a:pt x="54505" y="28370"/>
                                  <a:pt x="54106" y="28582"/>
                                  <a:pt x="53707" y="28507"/>
                                </a:cubicBezTo>
                                <a:lnTo>
                                  <a:pt x="43669" y="26637"/>
                                </a:lnTo>
                                <a:lnTo>
                                  <a:pt x="33183" y="46176"/>
                                </a:lnTo>
                                <a:cubicBezTo>
                                  <a:pt x="32983" y="46538"/>
                                  <a:pt x="32572" y="46712"/>
                                  <a:pt x="32173" y="46588"/>
                                </a:cubicBezTo>
                                <a:cubicBezTo>
                                  <a:pt x="31786" y="46463"/>
                                  <a:pt x="31537" y="46076"/>
                                  <a:pt x="31587" y="45677"/>
                                </a:cubicBezTo>
                                <a:lnTo>
                                  <a:pt x="36524" y="4392"/>
                                </a:lnTo>
                                <a:lnTo>
                                  <a:pt x="24716" y="22560"/>
                                </a:lnTo>
                                <a:cubicBezTo>
                                  <a:pt x="24529" y="22846"/>
                                  <a:pt x="24180" y="22996"/>
                                  <a:pt x="23843" y="22933"/>
                                </a:cubicBezTo>
                                <a:lnTo>
                                  <a:pt x="701" y="18607"/>
                                </a:lnTo>
                                <a:cubicBezTo>
                                  <a:pt x="239" y="18519"/>
                                  <a:pt x="-73" y="18071"/>
                                  <a:pt x="15" y="17609"/>
                                </a:cubicBezTo>
                                <a:cubicBezTo>
                                  <a:pt x="102" y="17148"/>
                                  <a:pt x="551" y="16836"/>
                                  <a:pt x="1012" y="16924"/>
                                </a:cubicBezTo>
                                <a:lnTo>
                                  <a:pt x="23594" y="21151"/>
                                </a:lnTo>
                                <a:lnTo>
                                  <a:pt x="37085" y="389"/>
                                </a:lnTo>
                                <a:cubicBezTo>
                                  <a:pt x="37297" y="53"/>
                                  <a:pt x="37721" y="-84"/>
                                  <a:pt x="38095" y="53"/>
                                </a:cubicBezTo>
                                <a:cubicBezTo>
                                  <a:pt x="38469" y="190"/>
                                  <a:pt x="38694" y="564"/>
                                  <a:pt x="38656" y="951"/>
                                </a:cubicBezTo>
                                <a:lnTo>
                                  <a:pt x="33819" y="41400"/>
                                </a:lnTo>
                                <a:lnTo>
                                  <a:pt x="42472" y="25290"/>
                                </a:lnTo>
                                <a:cubicBezTo>
                                  <a:pt x="42646" y="24966"/>
                                  <a:pt x="43021" y="24792"/>
                                  <a:pt x="43382" y="24854"/>
                                </a:cubicBezTo>
                                <a:lnTo>
                                  <a:pt x="53345" y="26712"/>
                                </a:lnTo>
                                <a:lnTo>
                                  <a:pt x="62809" y="3494"/>
                                </a:lnTo>
                                <a:cubicBezTo>
                                  <a:pt x="62971" y="3096"/>
                                  <a:pt x="63408" y="2883"/>
                                  <a:pt x="63819" y="2996"/>
                                </a:cubicBezTo>
                                <a:cubicBezTo>
                                  <a:pt x="64231" y="3108"/>
                                  <a:pt x="64505" y="3519"/>
                                  <a:pt x="64442" y="3943"/>
                                </a:cubicBezTo>
                                <a:lnTo>
                                  <a:pt x="58071" y="46949"/>
                                </a:lnTo>
                                <a:lnTo>
                                  <a:pt x="65203" y="29630"/>
                                </a:lnTo>
                                <a:cubicBezTo>
                                  <a:pt x="65353" y="29256"/>
                                  <a:pt x="65752" y="29043"/>
                                  <a:pt x="66151" y="29118"/>
                                </a:cubicBezTo>
                                <a:lnTo>
                                  <a:pt x="71911" y="30216"/>
                                </a:lnTo>
                                <a:lnTo>
                                  <a:pt x="78371" y="16649"/>
                                </a:lnTo>
                                <a:cubicBezTo>
                                  <a:pt x="78545" y="16275"/>
                                  <a:pt x="78982" y="16075"/>
                                  <a:pt x="79381" y="16200"/>
                                </a:cubicBezTo>
                                <a:cubicBezTo>
                                  <a:pt x="79779" y="16325"/>
                                  <a:pt x="80041" y="16712"/>
                                  <a:pt x="79979" y="17123"/>
                                </a:cubicBezTo>
                                <a:lnTo>
                                  <a:pt x="75553" y="50715"/>
                                </a:lnTo>
                                <a:lnTo>
                                  <a:pt x="84094" y="33121"/>
                                </a:lnTo>
                                <a:cubicBezTo>
                                  <a:pt x="84256" y="32772"/>
                                  <a:pt x="84643" y="32585"/>
                                  <a:pt x="85016" y="32660"/>
                                </a:cubicBezTo>
                                <a:lnTo>
                                  <a:pt x="103296" y="36076"/>
                                </a:lnTo>
                                <a:cubicBezTo>
                                  <a:pt x="103757" y="36163"/>
                                  <a:pt x="104069" y="36612"/>
                                  <a:pt x="103982" y="37074"/>
                                </a:cubicBezTo>
                                <a:cubicBezTo>
                                  <a:pt x="103895" y="37535"/>
                                  <a:pt x="103446" y="37846"/>
                                  <a:pt x="102985" y="37759"/>
                                </a:cubicBezTo>
                                <a:lnTo>
                                  <a:pt x="85353" y="34467"/>
                                </a:lnTo>
                                <a:lnTo>
                                  <a:pt x="74792" y="56201"/>
                                </a:lnTo>
                                <a:cubicBezTo>
                                  <a:pt x="74642" y="56500"/>
                                  <a:pt x="74343" y="56675"/>
                                  <a:pt x="74031" y="5667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574" name="Freeform: Shape 2573">
                        <a:extLst>
                          <a:ext uri="{FF2B5EF4-FFF2-40B4-BE49-F238E27FC236}">
                            <a16:creationId xmlns:a16="http://schemas.microsoft.com/office/drawing/2014/main" id="{840F75E8-9EEE-D838-D02A-454B7D5225C0}"/>
                          </a:ext>
                        </a:extLst>
                      </p:cNvPr>
                      <p:cNvSpPr/>
                      <p:nvPr/>
                    </p:nvSpPr>
                    <p:spPr>
                      <a:xfrm>
                        <a:off x="7693679" y="5688922"/>
                        <a:ext cx="184003" cy="182597"/>
                      </a:xfrm>
                      <a:custGeom>
                        <a:avLst/>
                        <a:gdLst>
                          <a:gd name="connsiteX0" fmla="*/ 17155 w 184003"/>
                          <a:gd name="connsiteY0" fmla="*/ 3704 h 182597"/>
                          <a:gd name="connsiteX1" fmla="*/ 17554 w 184003"/>
                          <a:gd name="connsiteY1" fmla="*/ 3716 h 182597"/>
                          <a:gd name="connsiteX2" fmla="*/ 178879 w 184003"/>
                          <a:gd name="connsiteY2" fmla="*/ 13791 h 182597"/>
                          <a:gd name="connsiteX3" fmla="*/ 179951 w 184003"/>
                          <a:gd name="connsiteY3" fmla="*/ 14352 h 182597"/>
                          <a:gd name="connsiteX4" fmla="*/ 180313 w 184003"/>
                          <a:gd name="connsiteY4" fmla="*/ 15412 h 182597"/>
                          <a:gd name="connsiteX5" fmla="*/ 163068 w 184003"/>
                          <a:gd name="connsiteY5" fmla="*/ 177971 h 182597"/>
                          <a:gd name="connsiteX6" fmla="*/ 162058 w 184003"/>
                          <a:gd name="connsiteY6" fmla="*/ 178882 h 182597"/>
                          <a:gd name="connsiteX7" fmla="*/ 161572 w 184003"/>
                          <a:gd name="connsiteY7" fmla="*/ 178794 h 182597"/>
                          <a:gd name="connsiteX8" fmla="*/ 161435 w 184003"/>
                          <a:gd name="connsiteY8" fmla="*/ 178745 h 182597"/>
                          <a:gd name="connsiteX9" fmla="*/ 7741 w 184003"/>
                          <a:gd name="connsiteY9" fmla="*/ 129816 h 182597"/>
                          <a:gd name="connsiteX10" fmla="*/ 3713 w 184003"/>
                          <a:gd name="connsiteY10" fmla="*/ 123769 h 182597"/>
                          <a:gd name="connsiteX11" fmla="*/ 12068 w 184003"/>
                          <a:gd name="connsiteY11" fmla="*/ 8392 h 182597"/>
                          <a:gd name="connsiteX12" fmla="*/ 17155 w 184003"/>
                          <a:gd name="connsiteY12" fmla="*/ 3691 h 182597"/>
                          <a:gd name="connsiteX13" fmla="*/ 17155 w 184003"/>
                          <a:gd name="connsiteY13" fmla="*/ 3691 h 182597"/>
                          <a:gd name="connsiteX14" fmla="*/ 17155 w 184003"/>
                          <a:gd name="connsiteY14" fmla="*/ 0 h 182597"/>
                          <a:gd name="connsiteX15" fmla="*/ 8377 w 184003"/>
                          <a:gd name="connsiteY15" fmla="*/ 8143 h 182597"/>
                          <a:gd name="connsiteX16" fmla="*/ 23 w 184003"/>
                          <a:gd name="connsiteY16" fmla="*/ 123507 h 182597"/>
                          <a:gd name="connsiteX17" fmla="*/ 6544 w 184003"/>
                          <a:gd name="connsiteY17" fmla="*/ 133332 h 182597"/>
                          <a:gd name="connsiteX18" fmla="*/ 160313 w 184003"/>
                          <a:gd name="connsiteY18" fmla="*/ 182286 h 182597"/>
                          <a:gd name="connsiteX19" fmla="*/ 162046 w 184003"/>
                          <a:gd name="connsiteY19" fmla="*/ 182597 h 182597"/>
                          <a:gd name="connsiteX20" fmla="*/ 166734 w 184003"/>
                          <a:gd name="connsiteY20" fmla="*/ 178383 h 182597"/>
                          <a:gd name="connsiteX21" fmla="*/ 183979 w 184003"/>
                          <a:gd name="connsiteY21" fmla="*/ 15798 h 182597"/>
                          <a:gd name="connsiteX22" fmla="*/ 179116 w 184003"/>
                          <a:gd name="connsiteY22" fmla="*/ 10112 h 182597"/>
                          <a:gd name="connsiteX23" fmla="*/ 17804 w 184003"/>
                          <a:gd name="connsiteY23" fmla="*/ 38 h 182597"/>
                          <a:gd name="connsiteX24" fmla="*/ 17155 w 184003"/>
                          <a:gd name="connsiteY24" fmla="*/ 13 h 182597"/>
                          <a:gd name="connsiteX25" fmla="*/ 17155 w 184003"/>
                          <a:gd name="connsiteY25" fmla="*/ 13 h 18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03" h="182597">
                            <a:moveTo>
                              <a:pt x="17155" y="3704"/>
                            </a:moveTo>
                            <a:cubicBezTo>
                              <a:pt x="17280" y="3704"/>
                              <a:pt x="17417" y="3704"/>
                              <a:pt x="17554" y="3716"/>
                            </a:cubicBezTo>
                            <a:cubicBezTo>
                              <a:pt x="17579" y="3716"/>
                              <a:pt x="178879" y="13791"/>
                              <a:pt x="178879" y="13791"/>
                            </a:cubicBezTo>
                            <a:cubicBezTo>
                              <a:pt x="179278" y="13816"/>
                              <a:pt x="179677" y="14028"/>
                              <a:pt x="179951" y="14352"/>
                            </a:cubicBezTo>
                            <a:cubicBezTo>
                              <a:pt x="180101" y="14539"/>
                              <a:pt x="180363" y="14913"/>
                              <a:pt x="180313" y="15412"/>
                            </a:cubicBezTo>
                            <a:lnTo>
                              <a:pt x="163068" y="177971"/>
                            </a:lnTo>
                            <a:cubicBezTo>
                              <a:pt x="163006" y="178608"/>
                              <a:pt x="162520" y="178882"/>
                              <a:pt x="162058" y="178882"/>
                            </a:cubicBezTo>
                            <a:cubicBezTo>
                              <a:pt x="161909" y="178882"/>
                              <a:pt x="161747" y="178857"/>
                              <a:pt x="161572" y="178794"/>
                            </a:cubicBezTo>
                            <a:cubicBezTo>
                              <a:pt x="161522" y="178782"/>
                              <a:pt x="161485" y="178770"/>
                              <a:pt x="161435" y="178745"/>
                            </a:cubicBezTo>
                            <a:lnTo>
                              <a:pt x="7741" y="129816"/>
                            </a:lnTo>
                            <a:cubicBezTo>
                              <a:pt x="5222" y="128880"/>
                              <a:pt x="3539" y="126337"/>
                              <a:pt x="3713" y="123769"/>
                            </a:cubicBezTo>
                            <a:lnTo>
                              <a:pt x="12068" y="8392"/>
                            </a:lnTo>
                            <a:cubicBezTo>
                              <a:pt x="12255" y="5674"/>
                              <a:pt x="14400" y="3691"/>
                              <a:pt x="17155" y="3691"/>
                            </a:cubicBezTo>
                            <a:lnTo>
                              <a:pt x="17155" y="3691"/>
                            </a:lnTo>
                            <a:close/>
                            <a:moveTo>
                              <a:pt x="17155" y="0"/>
                            </a:moveTo>
                            <a:cubicBezTo>
                              <a:pt x="12504" y="0"/>
                              <a:pt x="8701" y="3467"/>
                              <a:pt x="8377" y="8143"/>
                            </a:cubicBezTo>
                            <a:lnTo>
                              <a:pt x="23" y="123507"/>
                            </a:lnTo>
                            <a:cubicBezTo>
                              <a:pt x="-277" y="127771"/>
                              <a:pt x="2417" y="131836"/>
                              <a:pt x="6544" y="133332"/>
                            </a:cubicBezTo>
                            <a:lnTo>
                              <a:pt x="160313" y="182286"/>
                            </a:lnTo>
                            <a:cubicBezTo>
                              <a:pt x="160899" y="182497"/>
                              <a:pt x="161485" y="182597"/>
                              <a:pt x="162046" y="182597"/>
                            </a:cubicBezTo>
                            <a:cubicBezTo>
                              <a:pt x="164415" y="182597"/>
                              <a:pt x="166485" y="180889"/>
                              <a:pt x="166734" y="178383"/>
                            </a:cubicBezTo>
                            <a:lnTo>
                              <a:pt x="183979" y="15798"/>
                            </a:lnTo>
                            <a:cubicBezTo>
                              <a:pt x="184266" y="12931"/>
                              <a:pt x="182021" y="10312"/>
                              <a:pt x="179116" y="10112"/>
                            </a:cubicBezTo>
                            <a:lnTo>
                              <a:pt x="17804" y="38"/>
                            </a:lnTo>
                            <a:cubicBezTo>
                              <a:pt x="17591" y="25"/>
                              <a:pt x="17367" y="13"/>
                              <a:pt x="17155" y="13"/>
                            </a:cubicBezTo>
                            <a:lnTo>
                              <a:pt x="17155" y="13"/>
                            </a:lnTo>
                            <a:close/>
                          </a:path>
                        </a:pathLst>
                      </a:custGeom>
                      <a:solidFill>
                        <a:srgbClr val="17274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sp>
          <p:nvSpPr>
            <p:cNvPr id="2578" name="Freeform: Shape 2577">
              <a:extLst>
                <a:ext uri="{FF2B5EF4-FFF2-40B4-BE49-F238E27FC236}">
                  <a16:creationId xmlns:a16="http://schemas.microsoft.com/office/drawing/2014/main" id="{A7A6F122-0A0A-4EF1-DFFD-D91F402E18E1}"/>
                </a:ext>
              </a:extLst>
            </p:cNvPr>
            <p:cNvSpPr/>
            <p:nvPr/>
          </p:nvSpPr>
          <p:spPr>
            <a:xfrm>
              <a:off x="3770465" y="5180766"/>
              <a:ext cx="81232" cy="180744"/>
            </a:xfrm>
            <a:custGeom>
              <a:avLst/>
              <a:gdLst>
                <a:gd name="connsiteX0" fmla="*/ 78942 w 97969"/>
                <a:gd name="connsiteY0" fmla="*/ 34290 h 217985"/>
                <a:gd name="connsiteX1" fmla="*/ 84802 w 97969"/>
                <a:gd name="connsiteY1" fmla="*/ 68119 h 217985"/>
                <a:gd name="connsiteX2" fmla="*/ 84802 w 97969"/>
                <a:gd name="connsiteY2" fmla="*/ 113681 h 217985"/>
                <a:gd name="connsiteX3" fmla="*/ 97970 w 97969"/>
                <a:gd name="connsiteY3" fmla="*/ 217985 h 217985"/>
                <a:gd name="connsiteX4" fmla="*/ 6771 w 97969"/>
                <a:gd name="connsiteY4" fmla="*/ 113681 h 217985"/>
                <a:gd name="connsiteX5" fmla="*/ 0 w 97969"/>
                <a:gd name="connsiteY5" fmla="*/ 53680 h 217985"/>
                <a:gd name="connsiteX6" fmla="*/ 7220 w 97969"/>
                <a:gd name="connsiteY6" fmla="*/ 0 h 217985"/>
                <a:gd name="connsiteX7" fmla="*/ 78942 w 97969"/>
                <a:gd name="connsiteY7" fmla="*/ 34278 h 2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9" h="217985">
                  <a:moveTo>
                    <a:pt x="78942" y="34290"/>
                  </a:moveTo>
                  <a:cubicBezTo>
                    <a:pt x="78942" y="34290"/>
                    <a:pt x="76685" y="59103"/>
                    <a:pt x="84802" y="68119"/>
                  </a:cubicBezTo>
                  <a:lnTo>
                    <a:pt x="84802" y="113681"/>
                  </a:lnTo>
                  <a:lnTo>
                    <a:pt x="97970" y="217985"/>
                  </a:lnTo>
                  <a:lnTo>
                    <a:pt x="6771" y="113681"/>
                  </a:lnTo>
                  <a:lnTo>
                    <a:pt x="0" y="53680"/>
                  </a:lnTo>
                  <a:cubicBezTo>
                    <a:pt x="0" y="53680"/>
                    <a:pt x="11272" y="39240"/>
                    <a:pt x="7220" y="0"/>
                  </a:cubicBezTo>
                  <a:lnTo>
                    <a:pt x="78942" y="34278"/>
                  </a:ln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580" name="Graphic 525">
              <a:extLst>
                <a:ext uri="{FF2B5EF4-FFF2-40B4-BE49-F238E27FC236}">
                  <a16:creationId xmlns:a16="http://schemas.microsoft.com/office/drawing/2014/main" id="{4C1300C6-6CBB-4189-50C9-41D3F9A2D20F}"/>
                </a:ext>
              </a:extLst>
            </p:cNvPr>
            <p:cNvGrpSpPr/>
            <p:nvPr/>
          </p:nvGrpSpPr>
          <p:grpSpPr>
            <a:xfrm>
              <a:off x="3687176" y="5225275"/>
              <a:ext cx="467789" cy="653228"/>
              <a:chOff x="7164078" y="5737278"/>
              <a:chExt cx="564174" cy="787821"/>
            </a:xfrm>
          </p:grpSpPr>
          <p:grpSp>
            <p:nvGrpSpPr>
              <p:cNvPr id="2581" name="Graphic 525">
                <a:extLst>
                  <a:ext uri="{FF2B5EF4-FFF2-40B4-BE49-F238E27FC236}">
                    <a16:creationId xmlns:a16="http://schemas.microsoft.com/office/drawing/2014/main" id="{9601304F-FA30-DFF3-2679-C8FA7867C446}"/>
                  </a:ext>
                </a:extLst>
              </p:cNvPr>
              <p:cNvGrpSpPr/>
              <p:nvPr/>
            </p:nvGrpSpPr>
            <p:grpSpPr>
              <a:xfrm>
                <a:off x="7175254" y="5737278"/>
                <a:ext cx="552999" cy="787821"/>
                <a:chOff x="7175254" y="5737278"/>
                <a:chExt cx="552999" cy="787821"/>
              </a:xfrm>
            </p:grpSpPr>
            <p:grpSp>
              <p:nvGrpSpPr>
                <p:cNvPr id="2582" name="Graphic 525">
                  <a:extLst>
                    <a:ext uri="{FF2B5EF4-FFF2-40B4-BE49-F238E27FC236}">
                      <a16:creationId xmlns:a16="http://schemas.microsoft.com/office/drawing/2014/main" id="{955E1D17-BBB8-3F96-47BF-86A5512E41F8}"/>
                    </a:ext>
                  </a:extLst>
                </p:cNvPr>
                <p:cNvGrpSpPr/>
                <p:nvPr/>
              </p:nvGrpSpPr>
              <p:grpSpPr>
                <a:xfrm>
                  <a:off x="7376836" y="5744459"/>
                  <a:ext cx="351417" cy="301767"/>
                  <a:chOff x="7376836" y="5744459"/>
                  <a:chExt cx="351417" cy="301767"/>
                </a:xfrm>
              </p:grpSpPr>
              <p:grpSp>
                <p:nvGrpSpPr>
                  <p:cNvPr id="2583" name="Graphic 525">
                    <a:extLst>
                      <a:ext uri="{FF2B5EF4-FFF2-40B4-BE49-F238E27FC236}">
                        <a16:creationId xmlns:a16="http://schemas.microsoft.com/office/drawing/2014/main" id="{27487673-292D-3DDE-EEAC-48C6E2D9CEA7}"/>
                      </a:ext>
                    </a:extLst>
                  </p:cNvPr>
                  <p:cNvGrpSpPr/>
                  <p:nvPr/>
                </p:nvGrpSpPr>
                <p:grpSpPr>
                  <a:xfrm>
                    <a:off x="7376836" y="5762815"/>
                    <a:ext cx="116492" cy="281297"/>
                    <a:chOff x="7376836" y="5762815"/>
                    <a:chExt cx="116492" cy="281297"/>
                  </a:xfrm>
                </p:grpSpPr>
                <p:sp>
                  <p:nvSpPr>
                    <p:cNvPr id="2584" name="Freeform: Shape 2583">
                      <a:extLst>
                        <a:ext uri="{FF2B5EF4-FFF2-40B4-BE49-F238E27FC236}">
                          <a16:creationId xmlns:a16="http://schemas.microsoft.com/office/drawing/2014/main" id="{33B1A0F7-DAF6-317E-A98B-9D1BBC1A3CF1}"/>
                        </a:ext>
                      </a:extLst>
                    </p:cNvPr>
                    <p:cNvSpPr/>
                    <p:nvPr/>
                  </p:nvSpPr>
                  <p:spPr>
                    <a:xfrm>
                      <a:off x="7376836" y="5762815"/>
                      <a:ext cx="116492" cy="281297"/>
                    </a:xfrm>
                    <a:custGeom>
                      <a:avLst/>
                      <a:gdLst>
                        <a:gd name="connsiteX0" fmla="*/ 22009 w 116492"/>
                        <a:gd name="connsiteY0" fmla="*/ 0 h 281297"/>
                        <a:gd name="connsiteX1" fmla="*/ 53805 w 116492"/>
                        <a:gd name="connsiteY1" fmla="*/ 23005 h 281297"/>
                        <a:gd name="connsiteX2" fmla="*/ 110639 w 116492"/>
                        <a:gd name="connsiteY2" fmla="*/ 194193 h 281297"/>
                        <a:gd name="connsiteX3" fmla="*/ 99816 w 116492"/>
                        <a:gd name="connsiteY3" fmla="*/ 280118 h 281297"/>
                        <a:gd name="connsiteX4" fmla="*/ 45688 w 116492"/>
                        <a:gd name="connsiteY4" fmla="*/ 240192 h 281297"/>
                        <a:gd name="connsiteX5" fmla="*/ 350 w 116492"/>
                        <a:gd name="connsiteY5" fmla="*/ 54801 h 281297"/>
                        <a:gd name="connsiteX6" fmla="*/ 21996 w 116492"/>
                        <a:gd name="connsiteY6" fmla="*/ 0 h 28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2" h="281297">
                          <a:moveTo>
                            <a:pt x="22009" y="0"/>
                          </a:moveTo>
                          <a:cubicBezTo>
                            <a:pt x="22009" y="0"/>
                            <a:pt x="41635" y="1359"/>
                            <a:pt x="53805" y="23005"/>
                          </a:cubicBezTo>
                          <a:cubicBezTo>
                            <a:pt x="65987" y="44652"/>
                            <a:pt x="100489" y="144117"/>
                            <a:pt x="110639" y="194193"/>
                          </a:cubicBezTo>
                          <a:cubicBezTo>
                            <a:pt x="120789" y="244269"/>
                            <a:pt x="118083" y="275392"/>
                            <a:pt x="99816" y="280118"/>
                          </a:cubicBezTo>
                          <a:cubicBezTo>
                            <a:pt x="81549" y="284856"/>
                            <a:pt x="55164" y="276053"/>
                            <a:pt x="45688" y="240192"/>
                          </a:cubicBezTo>
                          <a:cubicBezTo>
                            <a:pt x="36211" y="204331"/>
                            <a:pt x="2382" y="71709"/>
                            <a:pt x="350" y="54801"/>
                          </a:cubicBezTo>
                          <a:cubicBezTo>
                            <a:pt x="-1682" y="37881"/>
                            <a:pt x="5088" y="673"/>
                            <a:pt x="21996" y="0"/>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5" name="Freeform: Shape 2584">
                      <a:extLst>
                        <a:ext uri="{FF2B5EF4-FFF2-40B4-BE49-F238E27FC236}">
                          <a16:creationId xmlns:a16="http://schemas.microsoft.com/office/drawing/2014/main" id="{B78FD414-41E5-70A0-DA4A-65C56AC7059D}"/>
                        </a:ext>
                      </a:extLst>
                    </p:cNvPr>
                    <p:cNvSpPr/>
                    <p:nvPr/>
                  </p:nvSpPr>
                  <p:spPr>
                    <a:xfrm>
                      <a:off x="7432387" y="5916521"/>
                      <a:ext cx="54963" cy="76859"/>
                    </a:xfrm>
                    <a:custGeom>
                      <a:avLst/>
                      <a:gdLst>
                        <a:gd name="connsiteX0" fmla="*/ 0 w 54963"/>
                        <a:gd name="connsiteY0" fmla="*/ 76859 h 76859"/>
                        <a:gd name="connsiteX1" fmla="*/ 44889 w 54963"/>
                        <a:gd name="connsiteY1" fmla="*/ 0 h 76859"/>
                        <a:gd name="connsiteX2" fmla="*/ 54964 w 54963"/>
                        <a:gd name="connsiteY2" fmla="*/ 39876 h 76859"/>
                        <a:gd name="connsiteX3" fmla="*/ 0 w 54963"/>
                        <a:gd name="connsiteY3" fmla="*/ 76859 h 76859"/>
                      </a:gdLst>
                      <a:ahLst/>
                      <a:cxnLst>
                        <a:cxn ang="0">
                          <a:pos x="connsiteX0" y="connsiteY0"/>
                        </a:cxn>
                        <a:cxn ang="0">
                          <a:pos x="connsiteX1" y="connsiteY1"/>
                        </a:cxn>
                        <a:cxn ang="0">
                          <a:pos x="connsiteX2" y="connsiteY2"/>
                        </a:cxn>
                        <a:cxn ang="0">
                          <a:pos x="connsiteX3" y="connsiteY3"/>
                        </a:cxn>
                      </a:cxnLst>
                      <a:rect l="l" t="t" r="r" b="b"/>
                      <a:pathLst>
                        <a:path w="54963" h="76859">
                          <a:moveTo>
                            <a:pt x="0" y="76859"/>
                          </a:moveTo>
                          <a:cubicBezTo>
                            <a:pt x="14776" y="30686"/>
                            <a:pt x="36223" y="7793"/>
                            <a:pt x="44889" y="0"/>
                          </a:cubicBezTo>
                          <a:cubicBezTo>
                            <a:pt x="49116" y="14800"/>
                            <a:pt x="52644" y="28566"/>
                            <a:pt x="54964" y="39876"/>
                          </a:cubicBezTo>
                          <a:lnTo>
                            <a:pt x="0" y="76859"/>
                          </a:ln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86" name="Graphic 525">
                    <a:extLst>
                      <a:ext uri="{FF2B5EF4-FFF2-40B4-BE49-F238E27FC236}">
                        <a16:creationId xmlns:a16="http://schemas.microsoft.com/office/drawing/2014/main" id="{5C2C3392-3E62-4DDB-5AB7-F6B3D092D0A1}"/>
                      </a:ext>
                    </a:extLst>
                  </p:cNvPr>
                  <p:cNvGrpSpPr/>
                  <p:nvPr/>
                </p:nvGrpSpPr>
                <p:grpSpPr>
                  <a:xfrm>
                    <a:off x="7424219" y="5744459"/>
                    <a:ext cx="304033" cy="301767"/>
                    <a:chOff x="7424219" y="5744459"/>
                    <a:chExt cx="304033" cy="301767"/>
                  </a:xfrm>
                </p:grpSpPr>
                <p:grpSp>
                  <p:nvGrpSpPr>
                    <p:cNvPr id="2587" name="Graphic 525">
                      <a:extLst>
                        <a:ext uri="{FF2B5EF4-FFF2-40B4-BE49-F238E27FC236}">
                          <a16:creationId xmlns:a16="http://schemas.microsoft.com/office/drawing/2014/main" id="{42DC40A5-CD7D-D89D-8B22-134DD9EDFC1F}"/>
                        </a:ext>
                      </a:extLst>
                    </p:cNvPr>
                    <p:cNvGrpSpPr/>
                    <p:nvPr/>
                  </p:nvGrpSpPr>
                  <p:grpSpPr>
                    <a:xfrm>
                      <a:off x="7581067" y="5744459"/>
                      <a:ext cx="147186" cy="120739"/>
                      <a:chOff x="7581067" y="5744459"/>
                      <a:chExt cx="147186" cy="120739"/>
                    </a:xfrm>
                  </p:grpSpPr>
                  <p:grpSp>
                    <p:nvGrpSpPr>
                      <p:cNvPr id="2588" name="Graphic 525">
                        <a:extLst>
                          <a:ext uri="{FF2B5EF4-FFF2-40B4-BE49-F238E27FC236}">
                            <a16:creationId xmlns:a16="http://schemas.microsoft.com/office/drawing/2014/main" id="{4F7F528E-7079-76A3-8930-4D35C951AA5D}"/>
                          </a:ext>
                        </a:extLst>
                      </p:cNvPr>
                      <p:cNvGrpSpPr/>
                      <p:nvPr/>
                    </p:nvGrpSpPr>
                    <p:grpSpPr>
                      <a:xfrm>
                        <a:off x="7591006" y="5777166"/>
                        <a:ext cx="113499" cy="88031"/>
                        <a:chOff x="7591006" y="5777166"/>
                        <a:chExt cx="113499" cy="88031"/>
                      </a:xfrm>
                    </p:grpSpPr>
                    <p:sp>
                      <p:nvSpPr>
                        <p:cNvPr id="2589" name="Freeform: Shape 2588">
                          <a:extLst>
                            <a:ext uri="{FF2B5EF4-FFF2-40B4-BE49-F238E27FC236}">
                              <a16:creationId xmlns:a16="http://schemas.microsoft.com/office/drawing/2014/main" id="{4143676B-5F8C-9C8A-CC9F-4566000AEB59}"/>
                            </a:ext>
                          </a:extLst>
                        </p:cNvPr>
                        <p:cNvSpPr/>
                        <p:nvPr/>
                      </p:nvSpPr>
                      <p:spPr>
                        <a:xfrm>
                          <a:off x="7591006" y="5777166"/>
                          <a:ext cx="113499" cy="88031"/>
                        </a:xfrm>
                        <a:custGeom>
                          <a:avLst/>
                          <a:gdLst>
                            <a:gd name="connsiteX0" fmla="*/ 0 w 113499"/>
                            <a:gd name="connsiteY0" fmla="*/ 64391 h 88031"/>
                            <a:gd name="connsiteX1" fmla="*/ 14178 w 113499"/>
                            <a:gd name="connsiteY1" fmla="*/ 43118 h 88031"/>
                            <a:gd name="connsiteX2" fmla="*/ 37220 w 113499"/>
                            <a:gd name="connsiteY2" fmla="*/ 14178 h 88031"/>
                            <a:gd name="connsiteX3" fmla="*/ 99840 w 113499"/>
                            <a:gd name="connsiteY3" fmla="*/ 0 h 88031"/>
                            <a:gd name="connsiteX4" fmla="*/ 111661 w 113499"/>
                            <a:gd name="connsiteY4" fmla="*/ 9452 h 88031"/>
                            <a:gd name="connsiteX5" fmla="*/ 87446 w 113499"/>
                            <a:gd name="connsiteY5" fmla="*/ 11821 h 88031"/>
                            <a:gd name="connsiteX6" fmla="*/ 71498 w 113499"/>
                            <a:gd name="connsiteY6" fmla="*/ 17133 h 88031"/>
                            <a:gd name="connsiteX7" fmla="*/ 85089 w 113499"/>
                            <a:gd name="connsiteY7" fmla="*/ 21859 h 88031"/>
                            <a:gd name="connsiteX8" fmla="*/ 93955 w 113499"/>
                            <a:gd name="connsiteY8" fmla="*/ 33679 h 88031"/>
                            <a:gd name="connsiteX9" fmla="*/ 98094 w 113499"/>
                            <a:gd name="connsiteY9" fmla="*/ 47856 h 88031"/>
                            <a:gd name="connsiteX10" fmla="*/ 78605 w 113499"/>
                            <a:gd name="connsiteY10" fmla="*/ 62034 h 88031"/>
                            <a:gd name="connsiteX11" fmla="*/ 66199 w 113499"/>
                            <a:gd name="connsiteY11" fmla="*/ 60263 h 88031"/>
                            <a:gd name="connsiteX12" fmla="*/ 57931 w 113499"/>
                            <a:gd name="connsiteY12" fmla="*/ 69129 h 88031"/>
                            <a:gd name="connsiteX13" fmla="*/ 24265 w 113499"/>
                            <a:gd name="connsiteY13" fmla="*/ 88032 h 88031"/>
                            <a:gd name="connsiteX14" fmla="*/ 50 w 113499"/>
                            <a:gd name="connsiteY14" fmla="*/ 64403 h 8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499" h="88031">
                              <a:moveTo>
                                <a:pt x="0" y="64391"/>
                              </a:moveTo>
                              <a:cubicBezTo>
                                <a:pt x="0" y="64391"/>
                                <a:pt x="12407" y="50799"/>
                                <a:pt x="14178" y="43118"/>
                              </a:cubicBezTo>
                              <a:cubicBezTo>
                                <a:pt x="15948" y="35437"/>
                                <a:pt x="31310" y="20075"/>
                                <a:pt x="37220" y="14178"/>
                              </a:cubicBezTo>
                              <a:cubicBezTo>
                                <a:pt x="43131" y="8280"/>
                                <a:pt x="59079" y="0"/>
                                <a:pt x="99840" y="0"/>
                              </a:cubicBezTo>
                              <a:cubicBezTo>
                                <a:pt x="113431" y="0"/>
                                <a:pt x="115788" y="7681"/>
                                <a:pt x="111661" y="9452"/>
                              </a:cubicBezTo>
                              <a:cubicBezTo>
                                <a:pt x="107521" y="11222"/>
                                <a:pt x="96299" y="10636"/>
                                <a:pt x="87446" y="11821"/>
                              </a:cubicBezTo>
                              <a:cubicBezTo>
                                <a:pt x="78580" y="13005"/>
                                <a:pt x="73854" y="13591"/>
                                <a:pt x="71498" y="17133"/>
                              </a:cubicBezTo>
                              <a:cubicBezTo>
                                <a:pt x="71498" y="17133"/>
                                <a:pt x="82720" y="14776"/>
                                <a:pt x="85089" y="21859"/>
                              </a:cubicBezTo>
                              <a:cubicBezTo>
                                <a:pt x="85089" y="21859"/>
                                <a:pt x="95127" y="25998"/>
                                <a:pt x="93955" y="33679"/>
                              </a:cubicBezTo>
                              <a:cubicBezTo>
                                <a:pt x="93955" y="33679"/>
                                <a:pt x="101636" y="40774"/>
                                <a:pt x="98094" y="47856"/>
                              </a:cubicBezTo>
                              <a:cubicBezTo>
                                <a:pt x="94553" y="54939"/>
                                <a:pt x="78605" y="62034"/>
                                <a:pt x="78605" y="62034"/>
                              </a:cubicBezTo>
                              <a:cubicBezTo>
                                <a:pt x="78605" y="62034"/>
                                <a:pt x="73293" y="63219"/>
                                <a:pt x="66199" y="60263"/>
                              </a:cubicBezTo>
                              <a:cubicBezTo>
                                <a:pt x="66199" y="60263"/>
                                <a:pt x="63842" y="67358"/>
                                <a:pt x="57931" y="69129"/>
                              </a:cubicBezTo>
                              <a:cubicBezTo>
                                <a:pt x="52021" y="70899"/>
                                <a:pt x="31933" y="79765"/>
                                <a:pt x="24265" y="88032"/>
                              </a:cubicBezTo>
                              <a:cubicBezTo>
                                <a:pt x="24265" y="88032"/>
                                <a:pt x="7718" y="78580"/>
                                <a:pt x="50" y="64403"/>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0" name="Freeform: Shape 2589">
                          <a:extLst>
                            <a:ext uri="{FF2B5EF4-FFF2-40B4-BE49-F238E27FC236}">
                              <a16:creationId xmlns:a16="http://schemas.microsoft.com/office/drawing/2014/main" id="{B64AE14E-A72A-E036-9519-F0A39E72D412}"/>
                            </a:ext>
                          </a:extLst>
                        </p:cNvPr>
                        <p:cNvSpPr/>
                        <p:nvPr/>
                      </p:nvSpPr>
                      <p:spPr>
                        <a:xfrm>
                          <a:off x="7611401" y="5786727"/>
                          <a:ext cx="51078" cy="47747"/>
                        </a:xfrm>
                        <a:custGeom>
                          <a:avLst/>
                          <a:gdLst>
                            <a:gd name="connsiteX0" fmla="*/ 51078 w 51078"/>
                            <a:gd name="connsiteY0" fmla="*/ 7572 h 47747"/>
                            <a:gd name="connsiteX1" fmla="*/ 42811 w 51078"/>
                            <a:gd name="connsiteY1" fmla="*/ 19979 h 47747"/>
                            <a:gd name="connsiteX2" fmla="*/ 30604 w 51078"/>
                            <a:gd name="connsiteY2" fmla="*/ 39082 h 47747"/>
                            <a:gd name="connsiteX3" fmla="*/ 20753 w 51078"/>
                            <a:gd name="connsiteY3" fmla="*/ 47747 h 47747"/>
                            <a:gd name="connsiteX4" fmla="*/ 79 w 51078"/>
                            <a:gd name="connsiteY4" fmla="*/ 31014 h 47747"/>
                            <a:gd name="connsiteX5" fmla="*/ 19382 w 51078"/>
                            <a:gd name="connsiteY5" fmla="*/ 7971 h 47747"/>
                            <a:gd name="connsiteX6" fmla="*/ 41302 w 51078"/>
                            <a:gd name="connsiteY6" fmla="*/ 315 h 47747"/>
                            <a:gd name="connsiteX7" fmla="*/ 51078 w 51078"/>
                            <a:gd name="connsiteY7" fmla="*/ 7572 h 4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78" h="47747">
                              <a:moveTo>
                                <a:pt x="51078" y="7572"/>
                              </a:moveTo>
                              <a:cubicBezTo>
                                <a:pt x="51078" y="7572"/>
                                <a:pt x="47924" y="16438"/>
                                <a:pt x="42811" y="19979"/>
                              </a:cubicBezTo>
                              <a:cubicBezTo>
                                <a:pt x="37686" y="23520"/>
                                <a:pt x="32574" y="32971"/>
                                <a:pt x="30604" y="39082"/>
                              </a:cubicBezTo>
                              <a:cubicBezTo>
                                <a:pt x="28634" y="45192"/>
                                <a:pt x="20753" y="47747"/>
                                <a:pt x="20753" y="47747"/>
                              </a:cubicBezTo>
                              <a:cubicBezTo>
                                <a:pt x="20753" y="47747"/>
                                <a:pt x="-1492" y="39481"/>
                                <a:pt x="79" y="31014"/>
                              </a:cubicBezTo>
                              <a:cubicBezTo>
                                <a:pt x="1651" y="22548"/>
                                <a:pt x="14257" y="10540"/>
                                <a:pt x="19382" y="7971"/>
                              </a:cubicBezTo>
                              <a:lnTo>
                                <a:pt x="41302" y="315"/>
                              </a:lnTo>
                              <a:cubicBezTo>
                                <a:pt x="50505" y="-1817"/>
                                <a:pt x="51078" y="7572"/>
                                <a:pt x="51078" y="7572"/>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1" name="Freeform: Shape 2590">
                          <a:extLst>
                            <a:ext uri="{FF2B5EF4-FFF2-40B4-BE49-F238E27FC236}">
                              <a16:creationId xmlns:a16="http://schemas.microsoft.com/office/drawing/2014/main" id="{03273278-4055-75C2-CF1A-8D71A74CD921}"/>
                            </a:ext>
                          </a:extLst>
                        </p:cNvPr>
                        <p:cNvSpPr/>
                        <p:nvPr/>
                      </p:nvSpPr>
                      <p:spPr>
                        <a:xfrm>
                          <a:off x="7642251" y="5799025"/>
                          <a:ext cx="42646" cy="38568"/>
                        </a:xfrm>
                        <a:custGeom>
                          <a:avLst/>
                          <a:gdLst>
                            <a:gd name="connsiteX0" fmla="*/ 115 w 42646"/>
                            <a:gd name="connsiteY0" fmla="*/ 22544 h 38568"/>
                            <a:gd name="connsiteX1" fmla="*/ 1062 w 42646"/>
                            <a:gd name="connsiteY1" fmla="*/ 20312 h 38568"/>
                            <a:gd name="connsiteX2" fmla="*/ 1811 w 42646"/>
                            <a:gd name="connsiteY2" fmla="*/ 19426 h 38568"/>
                            <a:gd name="connsiteX3" fmla="*/ 2235 w 42646"/>
                            <a:gd name="connsiteY3" fmla="*/ 19040 h 38568"/>
                            <a:gd name="connsiteX4" fmla="*/ 2771 w 42646"/>
                            <a:gd name="connsiteY4" fmla="*/ 18641 h 38568"/>
                            <a:gd name="connsiteX5" fmla="*/ 2970 w 42646"/>
                            <a:gd name="connsiteY5" fmla="*/ 18541 h 38568"/>
                            <a:gd name="connsiteX6" fmla="*/ 11200 w 42646"/>
                            <a:gd name="connsiteY6" fmla="*/ 14813 h 38568"/>
                            <a:gd name="connsiteX7" fmla="*/ 15202 w 42646"/>
                            <a:gd name="connsiteY7" fmla="*/ 12818 h 38568"/>
                            <a:gd name="connsiteX8" fmla="*/ 18943 w 42646"/>
                            <a:gd name="connsiteY8" fmla="*/ 10524 h 38568"/>
                            <a:gd name="connsiteX9" fmla="*/ 26337 w 42646"/>
                            <a:gd name="connsiteY9" fmla="*/ 5262 h 38568"/>
                            <a:gd name="connsiteX10" fmla="*/ 33794 w 42646"/>
                            <a:gd name="connsiteY10" fmla="*/ 0 h 38568"/>
                            <a:gd name="connsiteX11" fmla="*/ 27248 w 42646"/>
                            <a:gd name="connsiteY11" fmla="*/ 6372 h 38568"/>
                            <a:gd name="connsiteX12" fmla="*/ 20402 w 42646"/>
                            <a:gd name="connsiteY12" fmla="*/ 12456 h 38568"/>
                            <a:gd name="connsiteX13" fmla="*/ 18544 w 42646"/>
                            <a:gd name="connsiteY13" fmla="*/ 13903 h 38568"/>
                            <a:gd name="connsiteX14" fmla="*/ 16574 w 42646"/>
                            <a:gd name="connsiteY14" fmla="*/ 15212 h 38568"/>
                            <a:gd name="connsiteX15" fmla="*/ 12571 w 42646"/>
                            <a:gd name="connsiteY15" fmla="*/ 17531 h 38568"/>
                            <a:gd name="connsiteX16" fmla="*/ 4529 w 42646"/>
                            <a:gd name="connsiteY16" fmla="*/ 21571 h 38568"/>
                            <a:gd name="connsiteX17" fmla="*/ 4417 w 42646"/>
                            <a:gd name="connsiteY17" fmla="*/ 21658 h 38568"/>
                            <a:gd name="connsiteX18" fmla="*/ 4217 w 42646"/>
                            <a:gd name="connsiteY18" fmla="*/ 21846 h 38568"/>
                            <a:gd name="connsiteX19" fmla="*/ 3868 w 42646"/>
                            <a:gd name="connsiteY19" fmla="*/ 22270 h 38568"/>
                            <a:gd name="connsiteX20" fmla="*/ 3494 w 42646"/>
                            <a:gd name="connsiteY20" fmla="*/ 23180 h 38568"/>
                            <a:gd name="connsiteX21" fmla="*/ 4030 w 42646"/>
                            <a:gd name="connsiteY21" fmla="*/ 25275 h 38568"/>
                            <a:gd name="connsiteX22" fmla="*/ 4853 w 42646"/>
                            <a:gd name="connsiteY22" fmla="*/ 26397 h 38568"/>
                            <a:gd name="connsiteX23" fmla="*/ 5851 w 42646"/>
                            <a:gd name="connsiteY23" fmla="*/ 27419 h 38568"/>
                            <a:gd name="connsiteX24" fmla="*/ 8232 w 42646"/>
                            <a:gd name="connsiteY24" fmla="*/ 28679 h 38568"/>
                            <a:gd name="connsiteX25" fmla="*/ 11138 w 42646"/>
                            <a:gd name="connsiteY25" fmla="*/ 29115 h 38568"/>
                            <a:gd name="connsiteX26" fmla="*/ 12609 w 42646"/>
                            <a:gd name="connsiteY26" fmla="*/ 29053 h 38568"/>
                            <a:gd name="connsiteX27" fmla="*/ 14217 w 42646"/>
                            <a:gd name="connsiteY27" fmla="*/ 28816 h 38568"/>
                            <a:gd name="connsiteX28" fmla="*/ 20614 w 42646"/>
                            <a:gd name="connsiteY28" fmla="*/ 27269 h 38568"/>
                            <a:gd name="connsiteX29" fmla="*/ 23557 w 42646"/>
                            <a:gd name="connsiteY29" fmla="*/ 26035 h 38568"/>
                            <a:gd name="connsiteX30" fmla="*/ 24866 w 42646"/>
                            <a:gd name="connsiteY30" fmla="*/ 25250 h 38568"/>
                            <a:gd name="connsiteX31" fmla="*/ 26163 w 42646"/>
                            <a:gd name="connsiteY31" fmla="*/ 24240 h 38568"/>
                            <a:gd name="connsiteX32" fmla="*/ 31574 w 42646"/>
                            <a:gd name="connsiteY32" fmla="*/ 20013 h 38568"/>
                            <a:gd name="connsiteX33" fmla="*/ 42647 w 42646"/>
                            <a:gd name="connsiteY33" fmla="*/ 11833 h 38568"/>
                            <a:gd name="connsiteX34" fmla="*/ 32871 w 42646"/>
                            <a:gd name="connsiteY34" fmla="*/ 21521 h 38568"/>
                            <a:gd name="connsiteX35" fmla="*/ 27858 w 42646"/>
                            <a:gd name="connsiteY35" fmla="*/ 26222 h 38568"/>
                            <a:gd name="connsiteX36" fmla="*/ 26525 w 42646"/>
                            <a:gd name="connsiteY36" fmla="*/ 27419 h 38568"/>
                            <a:gd name="connsiteX37" fmla="*/ 24966 w 42646"/>
                            <a:gd name="connsiteY37" fmla="*/ 28516 h 38568"/>
                            <a:gd name="connsiteX38" fmla="*/ 21674 w 42646"/>
                            <a:gd name="connsiteY38" fmla="*/ 30138 h 38568"/>
                            <a:gd name="connsiteX39" fmla="*/ 14816 w 42646"/>
                            <a:gd name="connsiteY39" fmla="*/ 32133 h 38568"/>
                            <a:gd name="connsiteX40" fmla="*/ 13033 w 42646"/>
                            <a:gd name="connsiteY40" fmla="*/ 32445 h 38568"/>
                            <a:gd name="connsiteX41" fmla="*/ 11088 w 42646"/>
                            <a:gd name="connsiteY41" fmla="*/ 32569 h 38568"/>
                            <a:gd name="connsiteX42" fmla="*/ 10065 w 42646"/>
                            <a:gd name="connsiteY42" fmla="*/ 32532 h 38568"/>
                            <a:gd name="connsiteX43" fmla="*/ 10227 w 42646"/>
                            <a:gd name="connsiteY43" fmla="*/ 32793 h 38568"/>
                            <a:gd name="connsiteX44" fmla="*/ 10926 w 42646"/>
                            <a:gd name="connsiteY44" fmla="*/ 33990 h 38568"/>
                            <a:gd name="connsiteX45" fmla="*/ 11823 w 42646"/>
                            <a:gd name="connsiteY45" fmla="*/ 35075 h 38568"/>
                            <a:gd name="connsiteX46" fmla="*/ 12796 w 42646"/>
                            <a:gd name="connsiteY46" fmla="*/ 36160 h 38568"/>
                            <a:gd name="connsiteX47" fmla="*/ 14953 w 42646"/>
                            <a:gd name="connsiteY47" fmla="*/ 38243 h 38568"/>
                            <a:gd name="connsiteX48" fmla="*/ 15016 w 42646"/>
                            <a:gd name="connsiteY48" fmla="*/ 38417 h 38568"/>
                            <a:gd name="connsiteX49" fmla="*/ 14803 w 42646"/>
                            <a:gd name="connsiteY49" fmla="*/ 38567 h 38568"/>
                            <a:gd name="connsiteX50" fmla="*/ 11798 w 42646"/>
                            <a:gd name="connsiteY50" fmla="*/ 37631 h 38568"/>
                            <a:gd name="connsiteX51" fmla="*/ 10364 w 42646"/>
                            <a:gd name="connsiteY51" fmla="*/ 36933 h 38568"/>
                            <a:gd name="connsiteX52" fmla="*/ 8993 w 42646"/>
                            <a:gd name="connsiteY52" fmla="*/ 36073 h 38568"/>
                            <a:gd name="connsiteX53" fmla="*/ 7609 w 42646"/>
                            <a:gd name="connsiteY53" fmla="*/ 35125 h 38568"/>
                            <a:gd name="connsiteX54" fmla="*/ 6537 w 42646"/>
                            <a:gd name="connsiteY54" fmla="*/ 33816 h 38568"/>
                            <a:gd name="connsiteX55" fmla="*/ 6100 w 42646"/>
                            <a:gd name="connsiteY55" fmla="*/ 32095 h 38568"/>
                            <a:gd name="connsiteX56" fmla="*/ 6100 w 42646"/>
                            <a:gd name="connsiteY56" fmla="*/ 31646 h 38568"/>
                            <a:gd name="connsiteX57" fmla="*/ 3569 w 42646"/>
                            <a:gd name="connsiteY57" fmla="*/ 30138 h 38568"/>
                            <a:gd name="connsiteX58" fmla="*/ 2160 w 42646"/>
                            <a:gd name="connsiteY58" fmla="*/ 28704 h 38568"/>
                            <a:gd name="connsiteX59" fmla="*/ 988 w 42646"/>
                            <a:gd name="connsiteY59" fmla="*/ 27045 h 38568"/>
                            <a:gd name="connsiteX60" fmla="*/ 165 w 42646"/>
                            <a:gd name="connsiteY60" fmla="*/ 24987 h 38568"/>
                            <a:gd name="connsiteX61" fmla="*/ 102 w 42646"/>
                            <a:gd name="connsiteY61" fmla="*/ 22569 h 38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2646" h="38568">
                              <a:moveTo>
                                <a:pt x="115" y="22544"/>
                              </a:moveTo>
                              <a:cubicBezTo>
                                <a:pt x="265" y="21721"/>
                                <a:pt x="614" y="20960"/>
                                <a:pt x="1062" y="20312"/>
                              </a:cubicBezTo>
                              <a:cubicBezTo>
                                <a:pt x="1287" y="19988"/>
                                <a:pt x="1536" y="19688"/>
                                <a:pt x="1811" y="19426"/>
                              </a:cubicBezTo>
                              <a:cubicBezTo>
                                <a:pt x="1948" y="19289"/>
                                <a:pt x="2085" y="19165"/>
                                <a:pt x="2235" y="19040"/>
                              </a:cubicBezTo>
                              <a:cubicBezTo>
                                <a:pt x="2397" y="18903"/>
                                <a:pt x="2509" y="18816"/>
                                <a:pt x="2771" y="18641"/>
                              </a:cubicBezTo>
                              <a:cubicBezTo>
                                <a:pt x="2833" y="18604"/>
                                <a:pt x="2895" y="18566"/>
                                <a:pt x="2970" y="18541"/>
                              </a:cubicBezTo>
                              <a:cubicBezTo>
                                <a:pt x="5726" y="17332"/>
                                <a:pt x="8506" y="16122"/>
                                <a:pt x="11200" y="14813"/>
                              </a:cubicBezTo>
                              <a:cubicBezTo>
                                <a:pt x="12546" y="14152"/>
                                <a:pt x="13906" y="13516"/>
                                <a:pt x="15202" y="12818"/>
                              </a:cubicBezTo>
                              <a:cubicBezTo>
                                <a:pt x="16537" y="12120"/>
                                <a:pt x="17721" y="11409"/>
                                <a:pt x="18943" y="10524"/>
                              </a:cubicBezTo>
                              <a:cubicBezTo>
                                <a:pt x="21425" y="8840"/>
                                <a:pt x="23856" y="7007"/>
                                <a:pt x="26337" y="5262"/>
                              </a:cubicBezTo>
                              <a:cubicBezTo>
                                <a:pt x="28794" y="3478"/>
                                <a:pt x="31287" y="1733"/>
                                <a:pt x="33794" y="0"/>
                              </a:cubicBezTo>
                              <a:cubicBezTo>
                                <a:pt x="31662" y="2182"/>
                                <a:pt x="29480" y="4301"/>
                                <a:pt x="27248" y="6372"/>
                              </a:cubicBezTo>
                              <a:cubicBezTo>
                                <a:pt x="25028" y="8466"/>
                                <a:pt x="22759" y="10461"/>
                                <a:pt x="20402" y="12456"/>
                              </a:cubicBezTo>
                              <a:cubicBezTo>
                                <a:pt x="19804" y="12943"/>
                                <a:pt x="19205" y="13429"/>
                                <a:pt x="18544" y="13903"/>
                              </a:cubicBezTo>
                              <a:cubicBezTo>
                                <a:pt x="17896" y="14364"/>
                                <a:pt x="17235" y="14800"/>
                                <a:pt x="16574" y="15212"/>
                              </a:cubicBezTo>
                              <a:cubicBezTo>
                                <a:pt x="15252" y="16035"/>
                                <a:pt x="13931" y="16820"/>
                                <a:pt x="12571" y="17531"/>
                              </a:cubicBezTo>
                              <a:cubicBezTo>
                                <a:pt x="9916" y="18940"/>
                                <a:pt x="7260" y="20299"/>
                                <a:pt x="4529" y="21571"/>
                              </a:cubicBezTo>
                              <a:cubicBezTo>
                                <a:pt x="4529" y="21571"/>
                                <a:pt x="4417" y="21658"/>
                                <a:pt x="4417" y="21658"/>
                              </a:cubicBezTo>
                              <a:cubicBezTo>
                                <a:pt x="4342" y="21721"/>
                                <a:pt x="4280" y="21783"/>
                                <a:pt x="4217" y="21846"/>
                              </a:cubicBezTo>
                              <a:cubicBezTo>
                                <a:pt x="4093" y="21983"/>
                                <a:pt x="3968" y="22120"/>
                                <a:pt x="3868" y="22270"/>
                              </a:cubicBezTo>
                              <a:cubicBezTo>
                                <a:pt x="3669" y="22569"/>
                                <a:pt x="3544" y="22868"/>
                                <a:pt x="3494" y="23180"/>
                              </a:cubicBezTo>
                              <a:cubicBezTo>
                                <a:pt x="3382" y="23778"/>
                                <a:pt x="3569" y="24514"/>
                                <a:pt x="4030" y="25275"/>
                              </a:cubicBezTo>
                              <a:cubicBezTo>
                                <a:pt x="4242" y="25649"/>
                                <a:pt x="4541" y="26035"/>
                                <a:pt x="4853" y="26397"/>
                              </a:cubicBezTo>
                              <a:cubicBezTo>
                                <a:pt x="5165" y="26759"/>
                                <a:pt x="5551" y="27157"/>
                                <a:pt x="5851" y="27419"/>
                              </a:cubicBezTo>
                              <a:cubicBezTo>
                                <a:pt x="6512" y="27981"/>
                                <a:pt x="7322" y="28392"/>
                                <a:pt x="8232" y="28679"/>
                              </a:cubicBezTo>
                              <a:cubicBezTo>
                                <a:pt x="9142" y="28953"/>
                                <a:pt x="10127" y="29090"/>
                                <a:pt x="11138" y="29115"/>
                              </a:cubicBezTo>
                              <a:cubicBezTo>
                                <a:pt x="11636" y="29115"/>
                                <a:pt x="12160" y="29115"/>
                                <a:pt x="12609" y="29053"/>
                              </a:cubicBezTo>
                              <a:cubicBezTo>
                                <a:pt x="13120" y="28991"/>
                                <a:pt x="13669" y="28903"/>
                                <a:pt x="14217" y="28816"/>
                              </a:cubicBezTo>
                              <a:cubicBezTo>
                                <a:pt x="16399" y="28466"/>
                                <a:pt x="18569" y="27968"/>
                                <a:pt x="20614" y="27269"/>
                              </a:cubicBezTo>
                              <a:cubicBezTo>
                                <a:pt x="21636" y="26908"/>
                                <a:pt x="22634" y="26509"/>
                                <a:pt x="23557" y="26035"/>
                              </a:cubicBezTo>
                              <a:cubicBezTo>
                                <a:pt x="24018" y="25798"/>
                                <a:pt x="24454" y="25537"/>
                                <a:pt x="24866" y="25250"/>
                              </a:cubicBezTo>
                              <a:cubicBezTo>
                                <a:pt x="25240" y="24987"/>
                                <a:pt x="25726" y="24589"/>
                                <a:pt x="26163" y="24240"/>
                              </a:cubicBezTo>
                              <a:cubicBezTo>
                                <a:pt x="27946" y="22805"/>
                                <a:pt x="29766" y="21409"/>
                                <a:pt x="31574" y="20013"/>
                              </a:cubicBezTo>
                              <a:cubicBezTo>
                                <a:pt x="35203" y="17219"/>
                                <a:pt x="38869" y="14464"/>
                                <a:pt x="42647" y="11833"/>
                              </a:cubicBezTo>
                              <a:cubicBezTo>
                                <a:pt x="39467" y="15162"/>
                                <a:pt x="36188" y="18367"/>
                                <a:pt x="32871" y="21521"/>
                              </a:cubicBezTo>
                              <a:cubicBezTo>
                                <a:pt x="31213" y="23093"/>
                                <a:pt x="29554" y="24689"/>
                                <a:pt x="27858" y="26222"/>
                              </a:cubicBezTo>
                              <a:cubicBezTo>
                                <a:pt x="27422" y="26621"/>
                                <a:pt x="27061" y="26983"/>
                                <a:pt x="26525" y="27419"/>
                              </a:cubicBezTo>
                              <a:cubicBezTo>
                                <a:pt x="26026" y="27831"/>
                                <a:pt x="25502" y="28192"/>
                                <a:pt x="24966" y="28516"/>
                              </a:cubicBezTo>
                              <a:cubicBezTo>
                                <a:pt x="23906" y="29178"/>
                                <a:pt x="22796" y="29688"/>
                                <a:pt x="21674" y="30138"/>
                              </a:cubicBezTo>
                              <a:cubicBezTo>
                                <a:pt x="19429" y="31023"/>
                                <a:pt x="17148" y="31646"/>
                                <a:pt x="14816" y="32133"/>
                              </a:cubicBezTo>
                              <a:cubicBezTo>
                                <a:pt x="14230" y="32257"/>
                                <a:pt x="13656" y="32357"/>
                                <a:pt x="13033" y="32445"/>
                              </a:cubicBezTo>
                              <a:cubicBezTo>
                                <a:pt x="12359" y="32532"/>
                                <a:pt x="11736" y="32569"/>
                                <a:pt x="11088" y="32569"/>
                              </a:cubicBezTo>
                              <a:cubicBezTo>
                                <a:pt x="10751" y="32569"/>
                                <a:pt x="10402" y="32557"/>
                                <a:pt x="10065" y="32532"/>
                              </a:cubicBezTo>
                              <a:cubicBezTo>
                                <a:pt x="10115" y="32619"/>
                                <a:pt x="10177" y="32706"/>
                                <a:pt x="10227" y="32793"/>
                              </a:cubicBezTo>
                              <a:cubicBezTo>
                                <a:pt x="10427" y="33205"/>
                                <a:pt x="10651" y="33617"/>
                                <a:pt x="10926" y="33990"/>
                              </a:cubicBezTo>
                              <a:cubicBezTo>
                                <a:pt x="11212" y="34352"/>
                                <a:pt x="11499" y="34726"/>
                                <a:pt x="11823" y="35075"/>
                              </a:cubicBezTo>
                              <a:cubicBezTo>
                                <a:pt x="12123" y="35449"/>
                                <a:pt x="12459" y="35799"/>
                                <a:pt x="12796" y="36160"/>
                              </a:cubicBezTo>
                              <a:cubicBezTo>
                                <a:pt x="13469" y="36871"/>
                                <a:pt x="14192" y="37569"/>
                                <a:pt x="14953" y="38243"/>
                              </a:cubicBezTo>
                              <a:cubicBezTo>
                                <a:pt x="15003" y="38293"/>
                                <a:pt x="15028" y="38355"/>
                                <a:pt x="15016" y="38417"/>
                              </a:cubicBezTo>
                              <a:cubicBezTo>
                                <a:pt x="15003" y="38517"/>
                                <a:pt x="14903" y="38579"/>
                                <a:pt x="14803" y="38567"/>
                              </a:cubicBezTo>
                              <a:cubicBezTo>
                                <a:pt x="13756" y="38380"/>
                                <a:pt x="12771" y="38031"/>
                                <a:pt x="11798" y="37631"/>
                              </a:cubicBezTo>
                              <a:cubicBezTo>
                                <a:pt x="11312" y="37419"/>
                                <a:pt x="10826" y="37195"/>
                                <a:pt x="10364" y="36933"/>
                              </a:cubicBezTo>
                              <a:cubicBezTo>
                                <a:pt x="9891" y="36671"/>
                                <a:pt x="9442" y="36372"/>
                                <a:pt x="8993" y="36073"/>
                              </a:cubicBezTo>
                              <a:cubicBezTo>
                                <a:pt x="8556" y="35749"/>
                                <a:pt x="8058" y="35474"/>
                                <a:pt x="7609" y="35125"/>
                              </a:cubicBezTo>
                              <a:cubicBezTo>
                                <a:pt x="7148" y="34801"/>
                                <a:pt x="6798" y="34327"/>
                                <a:pt x="6537" y="33816"/>
                              </a:cubicBezTo>
                              <a:cubicBezTo>
                                <a:pt x="6300" y="33280"/>
                                <a:pt x="6125" y="32706"/>
                                <a:pt x="6100" y="32095"/>
                              </a:cubicBezTo>
                              <a:cubicBezTo>
                                <a:pt x="6088" y="31945"/>
                                <a:pt x="6088" y="31796"/>
                                <a:pt x="6100" y="31646"/>
                              </a:cubicBezTo>
                              <a:cubicBezTo>
                                <a:pt x="5202" y="31272"/>
                                <a:pt x="4342" y="30786"/>
                                <a:pt x="3569" y="30138"/>
                              </a:cubicBezTo>
                              <a:cubicBezTo>
                                <a:pt x="3008" y="29651"/>
                                <a:pt x="2584" y="29215"/>
                                <a:pt x="2160" y="28704"/>
                              </a:cubicBezTo>
                              <a:cubicBezTo>
                                <a:pt x="1736" y="28192"/>
                                <a:pt x="1337" y="27656"/>
                                <a:pt x="988" y="27045"/>
                              </a:cubicBezTo>
                              <a:cubicBezTo>
                                <a:pt x="639" y="26434"/>
                                <a:pt x="339" y="25749"/>
                                <a:pt x="165" y="24987"/>
                              </a:cubicBezTo>
                              <a:cubicBezTo>
                                <a:pt x="-22" y="24227"/>
                                <a:pt x="-60" y="23392"/>
                                <a:pt x="102" y="22569"/>
                              </a:cubicBezTo>
                              <a:close/>
                            </a:path>
                          </a:pathLst>
                        </a:custGeom>
                        <a:solidFill>
                          <a:srgbClr val="D4877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92" name="Freeform: Shape 2591">
                        <a:extLst>
                          <a:ext uri="{FF2B5EF4-FFF2-40B4-BE49-F238E27FC236}">
                            <a16:creationId xmlns:a16="http://schemas.microsoft.com/office/drawing/2014/main" id="{9A66F559-3F79-CD4B-B620-70912AD8FAFB}"/>
                          </a:ext>
                        </a:extLst>
                      </p:cNvPr>
                      <p:cNvSpPr/>
                      <p:nvPr/>
                    </p:nvSpPr>
                    <p:spPr>
                      <a:xfrm>
                        <a:off x="7581067" y="5744459"/>
                        <a:ext cx="147186" cy="109367"/>
                      </a:xfrm>
                      <a:custGeom>
                        <a:avLst/>
                        <a:gdLst>
                          <a:gd name="connsiteX0" fmla="*/ 1485 w 147186"/>
                          <a:gd name="connsiteY0" fmla="*/ 7844 h 109367"/>
                          <a:gd name="connsiteX1" fmla="*/ 131226 w 147186"/>
                          <a:gd name="connsiteY1" fmla="*/ 103470 h 109367"/>
                          <a:gd name="connsiteX2" fmla="*/ 147186 w 147186"/>
                          <a:gd name="connsiteY2" fmla="*/ 109368 h 109367"/>
                          <a:gd name="connsiteX3" fmla="*/ 136488 w 147186"/>
                          <a:gd name="connsiteY3" fmla="*/ 96338 h 109367"/>
                          <a:gd name="connsiteX4" fmla="*/ 6747 w 147186"/>
                          <a:gd name="connsiteY4" fmla="*/ 712 h 109367"/>
                          <a:gd name="connsiteX5" fmla="*/ 1647 w 147186"/>
                          <a:gd name="connsiteY5" fmla="*/ 1485 h 109367"/>
                          <a:gd name="connsiteX6" fmla="*/ 712 w 147186"/>
                          <a:gd name="connsiteY6" fmla="*/ 2757 h 109367"/>
                          <a:gd name="connsiteX7" fmla="*/ 1485 w 147186"/>
                          <a:gd name="connsiteY7" fmla="*/ 7856 h 109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186" h="109367">
                            <a:moveTo>
                              <a:pt x="1485" y="7844"/>
                            </a:moveTo>
                            <a:lnTo>
                              <a:pt x="131226" y="103470"/>
                            </a:lnTo>
                            <a:lnTo>
                              <a:pt x="147186" y="109368"/>
                            </a:lnTo>
                            <a:lnTo>
                              <a:pt x="136488" y="96338"/>
                            </a:lnTo>
                            <a:lnTo>
                              <a:pt x="6747" y="712"/>
                            </a:lnTo>
                            <a:cubicBezTo>
                              <a:pt x="5126" y="-485"/>
                              <a:pt x="2844" y="-136"/>
                              <a:pt x="1647" y="1485"/>
                            </a:cubicBezTo>
                            <a:lnTo>
                              <a:pt x="712" y="2757"/>
                            </a:lnTo>
                            <a:cubicBezTo>
                              <a:pt x="-485" y="4378"/>
                              <a:pt x="-136" y="6659"/>
                              <a:pt x="1485" y="7856"/>
                            </a:cubicBezTo>
                            <a:close/>
                          </a:path>
                        </a:pathLst>
                      </a:custGeom>
                      <a:solidFill>
                        <a:srgbClr val="1B1F3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3" name="Freeform: Shape 2592">
                        <a:extLst>
                          <a:ext uri="{FF2B5EF4-FFF2-40B4-BE49-F238E27FC236}">
                            <a16:creationId xmlns:a16="http://schemas.microsoft.com/office/drawing/2014/main" id="{7C9DB404-3F6A-5445-1B44-C4AAD07D6A4D}"/>
                          </a:ext>
                        </a:extLst>
                      </p:cNvPr>
                      <p:cNvSpPr/>
                      <p:nvPr/>
                    </p:nvSpPr>
                    <p:spPr>
                      <a:xfrm>
                        <a:off x="7611493" y="5788987"/>
                        <a:ext cx="47779" cy="50290"/>
                      </a:xfrm>
                      <a:custGeom>
                        <a:avLst/>
                        <a:gdLst>
                          <a:gd name="connsiteX0" fmla="*/ 17319 w 47779"/>
                          <a:gd name="connsiteY0" fmla="*/ 49029 h 50290"/>
                          <a:gd name="connsiteX1" fmla="*/ 29140 w 47779"/>
                          <a:gd name="connsiteY1" fmla="*/ 30711 h 50290"/>
                          <a:gd name="connsiteX2" fmla="*/ 46272 w 47779"/>
                          <a:gd name="connsiteY2" fmla="*/ 8267 h 50290"/>
                          <a:gd name="connsiteX3" fmla="*/ 41546 w 47779"/>
                          <a:gd name="connsiteY3" fmla="*/ 0 h 50290"/>
                          <a:gd name="connsiteX4" fmla="*/ 18504 w 47779"/>
                          <a:gd name="connsiteY4" fmla="*/ 12407 h 50290"/>
                          <a:gd name="connsiteX5" fmla="*/ 187 w 47779"/>
                          <a:gd name="connsiteY5" fmla="*/ 35450 h 50290"/>
                          <a:gd name="connsiteX6" fmla="*/ 17319 w 47779"/>
                          <a:gd name="connsiteY6" fmla="*/ 49041 h 5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79" h="50290">
                            <a:moveTo>
                              <a:pt x="17319" y="49029"/>
                            </a:moveTo>
                            <a:cubicBezTo>
                              <a:pt x="17319" y="49029"/>
                              <a:pt x="24414" y="44303"/>
                              <a:pt x="29140" y="30711"/>
                            </a:cubicBezTo>
                            <a:cubicBezTo>
                              <a:pt x="33866" y="17120"/>
                              <a:pt x="42133" y="12993"/>
                              <a:pt x="46272" y="8267"/>
                            </a:cubicBezTo>
                            <a:cubicBezTo>
                              <a:pt x="50412" y="3541"/>
                              <a:pt x="45088" y="0"/>
                              <a:pt x="41546" y="0"/>
                            </a:cubicBezTo>
                            <a:cubicBezTo>
                              <a:pt x="38005" y="0"/>
                              <a:pt x="26184" y="8865"/>
                              <a:pt x="18504" y="12407"/>
                            </a:cubicBezTo>
                            <a:cubicBezTo>
                              <a:pt x="10823" y="15948"/>
                              <a:pt x="1957" y="24228"/>
                              <a:pt x="187" y="35450"/>
                            </a:cubicBezTo>
                            <a:cubicBezTo>
                              <a:pt x="-1584" y="46672"/>
                              <a:pt x="9638" y="53168"/>
                              <a:pt x="17319" y="49041"/>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94" name="Freeform: Shape 2593">
                      <a:extLst>
                        <a:ext uri="{FF2B5EF4-FFF2-40B4-BE49-F238E27FC236}">
                          <a16:creationId xmlns:a16="http://schemas.microsoft.com/office/drawing/2014/main" id="{FD2D452E-81DA-DA5B-E7CF-D54BE2BE03F9}"/>
                        </a:ext>
                      </a:extLst>
                    </p:cNvPr>
                    <p:cNvSpPr/>
                    <p:nvPr/>
                  </p:nvSpPr>
                  <p:spPr>
                    <a:xfrm>
                      <a:off x="7424219" y="5836207"/>
                      <a:ext cx="198695" cy="210018"/>
                    </a:xfrm>
                    <a:custGeom>
                      <a:avLst/>
                      <a:gdLst>
                        <a:gd name="connsiteX0" fmla="*/ 42146 w 198695"/>
                        <a:gd name="connsiteY0" fmla="*/ 209892 h 210018"/>
                        <a:gd name="connsiteX1" fmla="*/ 62645 w 198695"/>
                        <a:gd name="connsiteY1" fmla="*/ 200304 h 210018"/>
                        <a:gd name="connsiteX2" fmla="*/ 149081 w 198695"/>
                        <a:gd name="connsiteY2" fmla="*/ 103668 h 210018"/>
                        <a:gd name="connsiteX3" fmla="*/ 198695 w 198695"/>
                        <a:gd name="connsiteY3" fmla="*/ 33667 h 210018"/>
                        <a:gd name="connsiteX4" fmla="*/ 164143 w 198695"/>
                        <a:gd name="connsiteY4" fmla="*/ 0 h 210018"/>
                        <a:gd name="connsiteX5" fmla="*/ 0 w 198695"/>
                        <a:gd name="connsiteY5" fmla="*/ 171163 h 210018"/>
                        <a:gd name="connsiteX6" fmla="*/ 7282 w 198695"/>
                        <a:gd name="connsiteY6" fmla="*/ 191637 h 210018"/>
                        <a:gd name="connsiteX7" fmla="*/ 42146 w 198695"/>
                        <a:gd name="connsiteY7" fmla="*/ 209904 h 2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695" h="210018">
                          <a:moveTo>
                            <a:pt x="42146" y="209892"/>
                          </a:moveTo>
                          <a:cubicBezTo>
                            <a:pt x="49889" y="209244"/>
                            <a:pt x="57096" y="205740"/>
                            <a:pt x="62645" y="200304"/>
                          </a:cubicBezTo>
                          <a:cubicBezTo>
                            <a:pt x="75662" y="187510"/>
                            <a:pt x="114354" y="148519"/>
                            <a:pt x="149081" y="103668"/>
                          </a:cubicBezTo>
                          <a:cubicBezTo>
                            <a:pt x="183595" y="59091"/>
                            <a:pt x="198695" y="33667"/>
                            <a:pt x="198695" y="33667"/>
                          </a:cubicBezTo>
                          <a:cubicBezTo>
                            <a:pt x="198695" y="33667"/>
                            <a:pt x="186288" y="8853"/>
                            <a:pt x="164143" y="0"/>
                          </a:cubicBezTo>
                          <a:cubicBezTo>
                            <a:pt x="164143" y="0"/>
                            <a:pt x="13978" y="115040"/>
                            <a:pt x="0" y="171163"/>
                          </a:cubicBezTo>
                          <a:cubicBezTo>
                            <a:pt x="0" y="171163"/>
                            <a:pt x="611" y="182199"/>
                            <a:pt x="7282" y="191637"/>
                          </a:cubicBezTo>
                          <a:cubicBezTo>
                            <a:pt x="14464" y="201800"/>
                            <a:pt x="26983" y="211164"/>
                            <a:pt x="42146" y="209904"/>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95" name="Freeform: Shape 2594">
                    <a:extLst>
                      <a:ext uri="{FF2B5EF4-FFF2-40B4-BE49-F238E27FC236}">
                        <a16:creationId xmlns:a16="http://schemas.microsoft.com/office/drawing/2014/main" id="{1CF0170A-9EED-DDE5-B21B-A7F647D92056}"/>
                      </a:ext>
                    </a:extLst>
                  </p:cNvPr>
                  <p:cNvSpPr/>
                  <p:nvPr/>
                </p:nvSpPr>
                <p:spPr>
                  <a:xfrm>
                    <a:off x="7397423" y="5785558"/>
                    <a:ext cx="55886" cy="236426"/>
                  </a:xfrm>
                  <a:custGeom>
                    <a:avLst/>
                    <a:gdLst>
                      <a:gd name="connsiteX0" fmla="*/ 25100 w 55886"/>
                      <a:gd name="connsiteY0" fmla="*/ 217461 h 236426"/>
                      <a:gd name="connsiteX1" fmla="*/ 0 w 55886"/>
                      <a:gd name="connsiteY1" fmla="*/ 119105 h 236426"/>
                      <a:gd name="connsiteX2" fmla="*/ 17307 w 55886"/>
                      <a:gd name="connsiteY2" fmla="*/ 0 h 236426"/>
                      <a:gd name="connsiteX3" fmla="*/ 40313 w 55886"/>
                      <a:gd name="connsiteY3" fmla="*/ 53230 h 236426"/>
                      <a:gd name="connsiteX4" fmla="*/ 49340 w 55886"/>
                      <a:gd name="connsiteY4" fmla="*/ 169168 h 236426"/>
                      <a:gd name="connsiteX5" fmla="*/ 32968 w 55886"/>
                      <a:gd name="connsiteY5" fmla="*/ 236426 h 236426"/>
                      <a:gd name="connsiteX6" fmla="*/ 25100 w 55886"/>
                      <a:gd name="connsiteY6" fmla="*/ 217474 h 23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86" h="236426">
                        <a:moveTo>
                          <a:pt x="25100" y="217461"/>
                        </a:moveTo>
                        <a:cubicBezTo>
                          <a:pt x="20425" y="199742"/>
                          <a:pt x="9801" y="158420"/>
                          <a:pt x="0" y="119105"/>
                        </a:cubicBezTo>
                        <a:cubicBezTo>
                          <a:pt x="1983" y="63393"/>
                          <a:pt x="17307" y="0"/>
                          <a:pt x="17307" y="0"/>
                        </a:cubicBezTo>
                        <a:cubicBezTo>
                          <a:pt x="17307" y="0"/>
                          <a:pt x="32195" y="19851"/>
                          <a:pt x="40313" y="53230"/>
                        </a:cubicBezTo>
                        <a:cubicBezTo>
                          <a:pt x="48430" y="86610"/>
                          <a:pt x="65126" y="129467"/>
                          <a:pt x="49340" y="169168"/>
                        </a:cubicBezTo>
                        <a:cubicBezTo>
                          <a:pt x="37208" y="199667"/>
                          <a:pt x="33866" y="225915"/>
                          <a:pt x="32968" y="236426"/>
                        </a:cubicBezTo>
                        <a:cubicBezTo>
                          <a:pt x="29764" y="231190"/>
                          <a:pt x="27070" y="224917"/>
                          <a:pt x="25100" y="217474"/>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6" name="Freeform: Shape 2595">
                    <a:extLst>
                      <a:ext uri="{FF2B5EF4-FFF2-40B4-BE49-F238E27FC236}">
                        <a16:creationId xmlns:a16="http://schemas.microsoft.com/office/drawing/2014/main" id="{BF70DF04-C340-C061-8EA9-7A5BE891A935}"/>
                      </a:ext>
                    </a:extLst>
                  </p:cNvPr>
                  <p:cNvSpPr/>
                  <p:nvPr/>
                </p:nvSpPr>
                <p:spPr>
                  <a:xfrm>
                    <a:off x="7427998" y="6017071"/>
                    <a:ext cx="29339" cy="27718"/>
                  </a:xfrm>
                  <a:custGeom>
                    <a:avLst/>
                    <a:gdLst>
                      <a:gd name="connsiteX0" fmla="*/ 27881 w 29339"/>
                      <a:gd name="connsiteY0" fmla="*/ 7282 h 27718"/>
                      <a:gd name="connsiteX1" fmla="*/ 2269 w 29339"/>
                      <a:gd name="connsiteY1" fmla="*/ 0 h 27718"/>
                      <a:gd name="connsiteX2" fmla="*/ 0 w 29339"/>
                      <a:gd name="connsiteY2" fmla="*/ 4601 h 27718"/>
                      <a:gd name="connsiteX3" fmla="*/ 3504 w 29339"/>
                      <a:gd name="connsiteY3" fmla="*/ 10773 h 27718"/>
                      <a:gd name="connsiteX4" fmla="*/ 25986 w 29339"/>
                      <a:gd name="connsiteY4" fmla="*/ 27719 h 27718"/>
                      <a:gd name="connsiteX5" fmla="*/ 29265 w 29339"/>
                      <a:gd name="connsiteY5" fmla="*/ 24577 h 27718"/>
                      <a:gd name="connsiteX6" fmla="*/ 27869 w 29339"/>
                      <a:gd name="connsiteY6" fmla="*/ 7295 h 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9" h="27718">
                        <a:moveTo>
                          <a:pt x="27881" y="7282"/>
                        </a:moveTo>
                        <a:cubicBezTo>
                          <a:pt x="25936" y="6172"/>
                          <a:pt x="2269" y="0"/>
                          <a:pt x="2269" y="0"/>
                        </a:cubicBezTo>
                        <a:cubicBezTo>
                          <a:pt x="2269" y="0"/>
                          <a:pt x="1272" y="1795"/>
                          <a:pt x="0" y="4601"/>
                        </a:cubicBezTo>
                        <a:cubicBezTo>
                          <a:pt x="923" y="6646"/>
                          <a:pt x="2082" y="8741"/>
                          <a:pt x="3504" y="10773"/>
                        </a:cubicBezTo>
                        <a:cubicBezTo>
                          <a:pt x="8616" y="18005"/>
                          <a:pt x="16434" y="24838"/>
                          <a:pt x="25986" y="27719"/>
                        </a:cubicBezTo>
                        <a:cubicBezTo>
                          <a:pt x="28030" y="25911"/>
                          <a:pt x="29265" y="24577"/>
                          <a:pt x="29265" y="24577"/>
                        </a:cubicBezTo>
                        <a:cubicBezTo>
                          <a:pt x="29265" y="24577"/>
                          <a:pt x="29826" y="8417"/>
                          <a:pt x="27869" y="7295"/>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597" name="Graphic 525">
                  <a:extLst>
                    <a:ext uri="{FF2B5EF4-FFF2-40B4-BE49-F238E27FC236}">
                      <a16:creationId xmlns:a16="http://schemas.microsoft.com/office/drawing/2014/main" id="{1714CF58-6B0B-EB33-F1F2-018ADFFA6FBB}"/>
                    </a:ext>
                  </a:extLst>
                </p:cNvPr>
                <p:cNvGrpSpPr/>
                <p:nvPr/>
              </p:nvGrpSpPr>
              <p:grpSpPr>
                <a:xfrm>
                  <a:off x="7175254" y="5737278"/>
                  <a:ext cx="283167" cy="787821"/>
                  <a:chOff x="7175254" y="5737278"/>
                  <a:chExt cx="283167" cy="787821"/>
                </a:xfrm>
              </p:grpSpPr>
              <p:grpSp>
                <p:nvGrpSpPr>
                  <p:cNvPr id="2598" name="Graphic 525">
                    <a:extLst>
                      <a:ext uri="{FF2B5EF4-FFF2-40B4-BE49-F238E27FC236}">
                        <a16:creationId xmlns:a16="http://schemas.microsoft.com/office/drawing/2014/main" id="{CB065FA9-86DE-0912-7EB4-BEDBADD61C8D}"/>
                      </a:ext>
                    </a:extLst>
                  </p:cNvPr>
                  <p:cNvGrpSpPr/>
                  <p:nvPr/>
                </p:nvGrpSpPr>
                <p:grpSpPr>
                  <a:xfrm>
                    <a:off x="7175254" y="5750621"/>
                    <a:ext cx="283167" cy="774478"/>
                    <a:chOff x="7175254" y="5750621"/>
                    <a:chExt cx="283167" cy="774478"/>
                  </a:xfrm>
                </p:grpSpPr>
                <p:sp>
                  <p:nvSpPr>
                    <p:cNvPr id="2599" name="Freeform: Shape 2598">
                      <a:extLst>
                        <a:ext uri="{FF2B5EF4-FFF2-40B4-BE49-F238E27FC236}">
                          <a16:creationId xmlns:a16="http://schemas.microsoft.com/office/drawing/2014/main" id="{6EFA46D4-A519-38B7-015E-0D95A251EAD3}"/>
                        </a:ext>
                      </a:extLst>
                    </p:cNvPr>
                    <p:cNvSpPr/>
                    <p:nvPr/>
                  </p:nvSpPr>
                  <p:spPr>
                    <a:xfrm>
                      <a:off x="7175254" y="5750621"/>
                      <a:ext cx="283167" cy="774478"/>
                    </a:xfrm>
                    <a:custGeom>
                      <a:avLst/>
                      <a:gdLst>
                        <a:gd name="connsiteX0" fmla="*/ 261110 w 283167"/>
                        <a:gd name="connsiteY0" fmla="*/ 341714 h 774478"/>
                        <a:gd name="connsiteX1" fmla="*/ 257731 w 283167"/>
                        <a:gd name="connsiteY1" fmla="*/ 211125 h 774478"/>
                        <a:gd name="connsiteX2" fmla="*/ 263816 w 283167"/>
                        <a:gd name="connsiteY2" fmla="*/ 131959 h 774478"/>
                        <a:gd name="connsiteX3" fmla="*/ 243517 w 283167"/>
                        <a:gd name="connsiteY3" fmla="*/ 37231 h 774478"/>
                        <a:gd name="connsiteX4" fmla="*/ 213740 w 283167"/>
                        <a:gd name="connsiteY4" fmla="*/ 10847 h 774478"/>
                        <a:gd name="connsiteX5" fmla="*/ 180585 w 283167"/>
                        <a:gd name="connsiteY5" fmla="*/ 3402 h 774478"/>
                        <a:gd name="connsiteX6" fmla="*/ 179986 w 283167"/>
                        <a:gd name="connsiteY6" fmla="*/ 140887 h 774478"/>
                        <a:gd name="connsiteX7" fmla="*/ 143527 w 283167"/>
                        <a:gd name="connsiteY7" fmla="*/ 63691 h 774478"/>
                        <a:gd name="connsiteX8" fmla="*/ 103376 w 283167"/>
                        <a:gd name="connsiteY8" fmla="*/ 15585 h 774478"/>
                        <a:gd name="connsiteX9" fmla="*/ 71655 w 283167"/>
                        <a:gd name="connsiteY9" fmla="*/ 23 h 774478"/>
                        <a:gd name="connsiteX10" fmla="*/ 14821 w 283167"/>
                        <a:gd name="connsiteY10" fmla="*/ 20323 h 774478"/>
                        <a:gd name="connsiteX11" fmla="*/ 45944 w 283167"/>
                        <a:gd name="connsiteY11" fmla="*/ 190825 h 774478"/>
                        <a:gd name="connsiteX12" fmla="*/ 48313 w 283167"/>
                        <a:gd name="connsiteY12" fmla="*/ 331739 h 774478"/>
                        <a:gd name="connsiteX13" fmla="*/ 30407 w 283167"/>
                        <a:gd name="connsiteY13" fmla="*/ 378810 h 774478"/>
                        <a:gd name="connsiteX14" fmla="*/ 8 w 283167"/>
                        <a:gd name="connsiteY14" fmla="*/ 565808 h 774478"/>
                        <a:gd name="connsiteX15" fmla="*/ 1367 w 283167"/>
                        <a:gd name="connsiteY15" fmla="*/ 603964 h 774478"/>
                        <a:gd name="connsiteX16" fmla="*/ 99810 w 283167"/>
                        <a:gd name="connsiteY16" fmla="*/ 774479 h 774478"/>
                        <a:gd name="connsiteX17" fmla="*/ 187505 w 283167"/>
                        <a:gd name="connsiteY17" fmla="*/ 760513 h 774478"/>
                        <a:gd name="connsiteX18" fmla="*/ 274228 w 283167"/>
                        <a:gd name="connsiteY18" fmla="*/ 769815 h 774478"/>
                        <a:gd name="connsiteX19" fmla="*/ 283144 w 283167"/>
                        <a:gd name="connsiteY19" fmla="*/ 637157 h 774478"/>
                        <a:gd name="connsiteX20" fmla="*/ 261098 w 283167"/>
                        <a:gd name="connsiteY20" fmla="*/ 341726 h 7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3167" h="774478">
                          <a:moveTo>
                            <a:pt x="261110" y="341714"/>
                          </a:moveTo>
                          <a:cubicBezTo>
                            <a:pt x="256372" y="292324"/>
                            <a:pt x="250961" y="239542"/>
                            <a:pt x="257731" y="211125"/>
                          </a:cubicBezTo>
                          <a:cubicBezTo>
                            <a:pt x="264502" y="182708"/>
                            <a:pt x="270587" y="172558"/>
                            <a:pt x="263816" y="131959"/>
                          </a:cubicBezTo>
                          <a:cubicBezTo>
                            <a:pt x="257046" y="91359"/>
                            <a:pt x="249602" y="56172"/>
                            <a:pt x="243517" y="37231"/>
                          </a:cubicBezTo>
                          <a:cubicBezTo>
                            <a:pt x="237432" y="18290"/>
                            <a:pt x="228628" y="11520"/>
                            <a:pt x="213740" y="10847"/>
                          </a:cubicBezTo>
                          <a:cubicBezTo>
                            <a:pt x="198852" y="10173"/>
                            <a:pt x="180585" y="3402"/>
                            <a:pt x="180585" y="3402"/>
                          </a:cubicBezTo>
                          <a:cubicBezTo>
                            <a:pt x="176894" y="13677"/>
                            <a:pt x="178690" y="106222"/>
                            <a:pt x="179986" y="140887"/>
                          </a:cubicBezTo>
                          <a:lnTo>
                            <a:pt x="143527" y="63691"/>
                          </a:lnTo>
                          <a:cubicBezTo>
                            <a:pt x="140372" y="54227"/>
                            <a:pt x="121320" y="25984"/>
                            <a:pt x="103376" y="15585"/>
                          </a:cubicBezTo>
                          <a:cubicBezTo>
                            <a:pt x="91531" y="8727"/>
                            <a:pt x="79847" y="-525"/>
                            <a:pt x="71655" y="23"/>
                          </a:cubicBezTo>
                          <a:cubicBezTo>
                            <a:pt x="41206" y="2056"/>
                            <a:pt x="16854" y="14238"/>
                            <a:pt x="14821" y="20323"/>
                          </a:cubicBezTo>
                          <a:cubicBezTo>
                            <a:pt x="1292" y="58216"/>
                            <a:pt x="35794" y="129939"/>
                            <a:pt x="45944" y="190825"/>
                          </a:cubicBezTo>
                          <a:cubicBezTo>
                            <a:pt x="53812" y="238021"/>
                            <a:pt x="50295" y="304294"/>
                            <a:pt x="48313" y="331739"/>
                          </a:cubicBezTo>
                          <a:cubicBezTo>
                            <a:pt x="48313" y="331739"/>
                            <a:pt x="44373" y="347387"/>
                            <a:pt x="30407" y="378810"/>
                          </a:cubicBezTo>
                          <a:cubicBezTo>
                            <a:pt x="16442" y="410231"/>
                            <a:pt x="-416" y="503251"/>
                            <a:pt x="8" y="565808"/>
                          </a:cubicBezTo>
                          <a:cubicBezTo>
                            <a:pt x="83" y="577642"/>
                            <a:pt x="581" y="590560"/>
                            <a:pt x="1367" y="603964"/>
                          </a:cubicBezTo>
                          <a:lnTo>
                            <a:pt x="99810" y="774479"/>
                          </a:lnTo>
                          <a:cubicBezTo>
                            <a:pt x="126719" y="773917"/>
                            <a:pt x="157493" y="770376"/>
                            <a:pt x="187505" y="760513"/>
                          </a:cubicBezTo>
                          <a:cubicBezTo>
                            <a:pt x="187505" y="760513"/>
                            <a:pt x="245137" y="780289"/>
                            <a:pt x="274228" y="769815"/>
                          </a:cubicBezTo>
                          <a:cubicBezTo>
                            <a:pt x="274228" y="769815"/>
                            <a:pt x="283705" y="705200"/>
                            <a:pt x="283144" y="637157"/>
                          </a:cubicBezTo>
                          <a:cubicBezTo>
                            <a:pt x="282059" y="506281"/>
                            <a:pt x="261098" y="341726"/>
                            <a:pt x="261098" y="341726"/>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00" name="Graphic 525">
                      <a:extLst>
                        <a:ext uri="{FF2B5EF4-FFF2-40B4-BE49-F238E27FC236}">
                          <a16:creationId xmlns:a16="http://schemas.microsoft.com/office/drawing/2014/main" id="{17833FE3-90FA-4393-9943-EDD0B5EEA21A}"/>
                        </a:ext>
                      </a:extLst>
                    </p:cNvPr>
                    <p:cNvGrpSpPr/>
                    <p:nvPr/>
                  </p:nvGrpSpPr>
                  <p:grpSpPr>
                    <a:xfrm>
                      <a:off x="7191459" y="5781888"/>
                      <a:ext cx="245840" cy="729245"/>
                      <a:chOff x="7191459" y="5781888"/>
                      <a:chExt cx="245840" cy="729245"/>
                    </a:xfrm>
                  </p:grpSpPr>
                  <p:sp>
                    <p:nvSpPr>
                      <p:cNvPr id="2601" name="Freeform: Shape 2600">
                        <a:extLst>
                          <a:ext uri="{FF2B5EF4-FFF2-40B4-BE49-F238E27FC236}">
                            <a16:creationId xmlns:a16="http://schemas.microsoft.com/office/drawing/2014/main" id="{4C11322F-E872-C067-EE5A-630F3BE3D926}"/>
                          </a:ext>
                        </a:extLst>
                      </p:cNvPr>
                      <p:cNvSpPr/>
                      <p:nvPr/>
                    </p:nvSpPr>
                    <p:spPr>
                      <a:xfrm>
                        <a:off x="7369126" y="5882263"/>
                        <a:ext cx="61220" cy="19774"/>
                      </a:xfrm>
                      <a:custGeom>
                        <a:avLst/>
                        <a:gdLst>
                          <a:gd name="connsiteX0" fmla="*/ 3297 w 61220"/>
                          <a:gd name="connsiteY0" fmla="*/ 19769 h 19774"/>
                          <a:gd name="connsiteX1" fmla="*/ 60480 w 61220"/>
                          <a:gd name="connsiteY1" fmla="*/ 13983 h 19774"/>
                          <a:gd name="connsiteX2" fmla="*/ 61203 w 61220"/>
                          <a:gd name="connsiteY2" fmla="*/ 13011 h 19774"/>
                          <a:gd name="connsiteX3" fmla="*/ 58809 w 61220"/>
                          <a:gd name="connsiteY3" fmla="*/ 666 h 19774"/>
                          <a:gd name="connsiteX4" fmla="*/ 57924 w 61220"/>
                          <a:gd name="connsiteY4" fmla="*/ 6 h 19774"/>
                          <a:gd name="connsiteX5" fmla="*/ 741 w 61220"/>
                          <a:gd name="connsiteY5" fmla="*/ 5791 h 19774"/>
                          <a:gd name="connsiteX6" fmla="*/ 18 w 61220"/>
                          <a:gd name="connsiteY6" fmla="*/ 6764 h 19774"/>
                          <a:gd name="connsiteX7" fmla="*/ 2412 w 61220"/>
                          <a:gd name="connsiteY7" fmla="*/ 19108 h 19774"/>
                          <a:gd name="connsiteX8" fmla="*/ 3297 w 61220"/>
                          <a:gd name="connsiteY8" fmla="*/ 19769 h 1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20" h="19774">
                            <a:moveTo>
                              <a:pt x="3297" y="19769"/>
                            </a:moveTo>
                            <a:lnTo>
                              <a:pt x="60480" y="13983"/>
                            </a:lnTo>
                            <a:cubicBezTo>
                              <a:pt x="60966" y="13934"/>
                              <a:pt x="61303" y="13485"/>
                              <a:pt x="61203" y="13011"/>
                            </a:cubicBezTo>
                            <a:lnTo>
                              <a:pt x="58809" y="666"/>
                            </a:lnTo>
                            <a:cubicBezTo>
                              <a:pt x="58722" y="242"/>
                              <a:pt x="58336" y="-44"/>
                              <a:pt x="57924" y="6"/>
                            </a:cubicBezTo>
                            <a:lnTo>
                              <a:pt x="741" y="5791"/>
                            </a:lnTo>
                            <a:cubicBezTo>
                              <a:pt x="254" y="5841"/>
                              <a:pt x="-82" y="6290"/>
                              <a:pt x="18" y="6764"/>
                            </a:cubicBezTo>
                            <a:lnTo>
                              <a:pt x="2412" y="19108"/>
                            </a:lnTo>
                            <a:cubicBezTo>
                              <a:pt x="2499" y="19532"/>
                              <a:pt x="2886" y="19819"/>
                              <a:pt x="3297" y="19769"/>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2" name="Freeform: Shape 2601">
                        <a:extLst>
                          <a:ext uri="{FF2B5EF4-FFF2-40B4-BE49-F238E27FC236}">
                            <a16:creationId xmlns:a16="http://schemas.microsoft.com/office/drawing/2014/main" id="{2D3788E0-9B27-5ED1-C3AA-2041562B7519}"/>
                          </a:ext>
                        </a:extLst>
                      </p:cNvPr>
                      <p:cNvSpPr/>
                      <p:nvPr/>
                    </p:nvSpPr>
                    <p:spPr>
                      <a:xfrm>
                        <a:off x="7354866" y="5890710"/>
                        <a:ext cx="29203" cy="620424"/>
                      </a:xfrm>
                      <a:custGeom>
                        <a:avLst/>
                        <a:gdLst>
                          <a:gd name="connsiteX0" fmla="*/ 75 w 29203"/>
                          <a:gd name="connsiteY0" fmla="*/ 0 h 620424"/>
                          <a:gd name="connsiteX1" fmla="*/ 4551 w 29203"/>
                          <a:gd name="connsiteY1" fmla="*/ 19776 h 620424"/>
                          <a:gd name="connsiteX2" fmla="*/ 7643 w 29203"/>
                          <a:gd name="connsiteY2" fmla="*/ 38941 h 620424"/>
                          <a:gd name="connsiteX3" fmla="*/ 8604 w 29203"/>
                          <a:gd name="connsiteY3" fmla="*/ 48555 h 620424"/>
                          <a:gd name="connsiteX4" fmla="*/ 8491 w 29203"/>
                          <a:gd name="connsiteY4" fmla="*/ 58181 h 620424"/>
                          <a:gd name="connsiteX5" fmla="*/ 6534 w 29203"/>
                          <a:gd name="connsiteY5" fmla="*/ 77495 h 620424"/>
                          <a:gd name="connsiteX6" fmla="*/ 5624 w 29203"/>
                          <a:gd name="connsiteY6" fmla="*/ 97047 h 620424"/>
                          <a:gd name="connsiteX7" fmla="*/ 6895 w 29203"/>
                          <a:gd name="connsiteY7" fmla="*/ 116598 h 620424"/>
                          <a:gd name="connsiteX8" fmla="*/ 9838 w 29203"/>
                          <a:gd name="connsiteY8" fmla="*/ 135888 h 620424"/>
                          <a:gd name="connsiteX9" fmla="*/ 11297 w 29203"/>
                          <a:gd name="connsiteY9" fmla="*/ 145465 h 620424"/>
                          <a:gd name="connsiteX10" fmla="*/ 12606 w 29203"/>
                          <a:gd name="connsiteY10" fmla="*/ 155078 h 620424"/>
                          <a:gd name="connsiteX11" fmla="*/ 20262 w 29203"/>
                          <a:gd name="connsiteY11" fmla="*/ 232374 h 620424"/>
                          <a:gd name="connsiteX12" fmla="*/ 23005 w 29203"/>
                          <a:gd name="connsiteY12" fmla="*/ 271141 h 620424"/>
                          <a:gd name="connsiteX13" fmla="*/ 24152 w 29203"/>
                          <a:gd name="connsiteY13" fmla="*/ 290542 h 620424"/>
                          <a:gd name="connsiteX14" fmla="*/ 24414 w 29203"/>
                          <a:gd name="connsiteY14" fmla="*/ 295393 h 620424"/>
                          <a:gd name="connsiteX15" fmla="*/ 24564 w 29203"/>
                          <a:gd name="connsiteY15" fmla="*/ 300168 h 620424"/>
                          <a:gd name="connsiteX16" fmla="*/ 24527 w 29203"/>
                          <a:gd name="connsiteY16" fmla="*/ 309820 h 620424"/>
                          <a:gd name="connsiteX17" fmla="*/ 23255 w 29203"/>
                          <a:gd name="connsiteY17" fmla="*/ 348623 h 620424"/>
                          <a:gd name="connsiteX18" fmla="*/ 21322 w 29203"/>
                          <a:gd name="connsiteY18" fmla="*/ 387452 h 620424"/>
                          <a:gd name="connsiteX19" fmla="*/ 16945 w 29203"/>
                          <a:gd name="connsiteY19" fmla="*/ 465097 h 620424"/>
                          <a:gd name="connsiteX20" fmla="*/ 12344 w 29203"/>
                          <a:gd name="connsiteY20" fmla="*/ 542754 h 620424"/>
                          <a:gd name="connsiteX21" fmla="*/ 10100 w 29203"/>
                          <a:gd name="connsiteY21" fmla="*/ 581583 h 620424"/>
                          <a:gd name="connsiteX22" fmla="*/ 8953 w 29203"/>
                          <a:gd name="connsiteY22" fmla="*/ 600998 h 620424"/>
                          <a:gd name="connsiteX23" fmla="*/ 7868 w 29203"/>
                          <a:gd name="connsiteY23" fmla="*/ 620424 h 620424"/>
                          <a:gd name="connsiteX24" fmla="*/ 9651 w 29203"/>
                          <a:gd name="connsiteY24" fmla="*/ 601060 h 620424"/>
                          <a:gd name="connsiteX25" fmla="*/ 11322 w 29203"/>
                          <a:gd name="connsiteY25" fmla="*/ 581683 h 620424"/>
                          <a:gd name="connsiteX26" fmla="*/ 14601 w 29203"/>
                          <a:gd name="connsiteY26" fmla="*/ 542917 h 620424"/>
                          <a:gd name="connsiteX27" fmla="*/ 20549 w 29203"/>
                          <a:gd name="connsiteY27" fmla="*/ 465347 h 620424"/>
                          <a:gd name="connsiteX28" fmla="*/ 25699 w 29203"/>
                          <a:gd name="connsiteY28" fmla="*/ 387702 h 620424"/>
                          <a:gd name="connsiteX29" fmla="*/ 27781 w 29203"/>
                          <a:gd name="connsiteY29" fmla="*/ 348835 h 620424"/>
                          <a:gd name="connsiteX30" fmla="*/ 29165 w 29203"/>
                          <a:gd name="connsiteY30" fmla="*/ 309894 h 620424"/>
                          <a:gd name="connsiteX31" fmla="*/ 29165 w 29203"/>
                          <a:gd name="connsiteY31" fmla="*/ 300106 h 620424"/>
                          <a:gd name="connsiteX32" fmla="*/ 28991 w 29203"/>
                          <a:gd name="connsiteY32" fmla="*/ 295156 h 620424"/>
                          <a:gd name="connsiteX33" fmla="*/ 28704 w 29203"/>
                          <a:gd name="connsiteY33" fmla="*/ 290293 h 620424"/>
                          <a:gd name="connsiteX34" fmla="*/ 27494 w 29203"/>
                          <a:gd name="connsiteY34" fmla="*/ 270866 h 620424"/>
                          <a:gd name="connsiteX35" fmla="*/ 24614 w 29203"/>
                          <a:gd name="connsiteY35" fmla="*/ 232037 h 620424"/>
                          <a:gd name="connsiteX36" fmla="*/ 20948 w 29203"/>
                          <a:gd name="connsiteY36" fmla="*/ 193271 h 620424"/>
                          <a:gd name="connsiteX37" fmla="*/ 16172 w 29203"/>
                          <a:gd name="connsiteY37" fmla="*/ 154605 h 620424"/>
                          <a:gd name="connsiteX38" fmla="*/ 14713 w 29203"/>
                          <a:gd name="connsiteY38" fmla="*/ 144965 h 620424"/>
                          <a:gd name="connsiteX39" fmla="*/ 13105 w 29203"/>
                          <a:gd name="connsiteY39" fmla="*/ 135340 h 620424"/>
                          <a:gd name="connsiteX40" fmla="*/ 9888 w 29203"/>
                          <a:gd name="connsiteY40" fmla="*/ 116224 h 620424"/>
                          <a:gd name="connsiteX41" fmla="*/ 8267 w 29203"/>
                          <a:gd name="connsiteY41" fmla="*/ 97009 h 620424"/>
                          <a:gd name="connsiteX42" fmla="*/ 8790 w 29203"/>
                          <a:gd name="connsiteY42" fmla="*/ 77707 h 620424"/>
                          <a:gd name="connsiteX43" fmla="*/ 10237 w 29203"/>
                          <a:gd name="connsiteY43" fmla="*/ 58281 h 620424"/>
                          <a:gd name="connsiteX44" fmla="*/ 10087 w 29203"/>
                          <a:gd name="connsiteY44" fmla="*/ 48468 h 620424"/>
                          <a:gd name="connsiteX45" fmla="*/ 9576 w 29203"/>
                          <a:gd name="connsiteY45" fmla="*/ 43580 h 620424"/>
                          <a:gd name="connsiteX46" fmla="*/ 8853 w 29203"/>
                          <a:gd name="connsiteY46" fmla="*/ 38754 h 620424"/>
                          <a:gd name="connsiteX47" fmla="*/ 5200 w 29203"/>
                          <a:gd name="connsiteY47" fmla="*/ 19627 h 620424"/>
                          <a:gd name="connsiteX48" fmla="*/ 0 w 29203"/>
                          <a:gd name="connsiteY48" fmla="*/ 0 h 62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9203" h="620424">
                            <a:moveTo>
                              <a:pt x="75" y="0"/>
                            </a:moveTo>
                            <a:cubicBezTo>
                              <a:pt x="1708" y="6272"/>
                              <a:pt x="3342" y="13404"/>
                              <a:pt x="4551" y="19776"/>
                            </a:cubicBezTo>
                            <a:cubicBezTo>
                              <a:pt x="5761" y="26135"/>
                              <a:pt x="6808" y="32532"/>
                              <a:pt x="7643" y="38941"/>
                            </a:cubicBezTo>
                            <a:cubicBezTo>
                              <a:pt x="8030" y="42158"/>
                              <a:pt x="8479" y="45350"/>
                              <a:pt x="8604" y="48555"/>
                            </a:cubicBezTo>
                            <a:cubicBezTo>
                              <a:pt x="8753" y="51759"/>
                              <a:pt x="8691" y="54976"/>
                              <a:pt x="8491" y="58181"/>
                            </a:cubicBezTo>
                            <a:cubicBezTo>
                              <a:pt x="8080" y="64602"/>
                              <a:pt x="7157" y="71012"/>
                              <a:pt x="6534" y="77495"/>
                            </a:cubicBezTo>
                            <a:cubicBezTo>
                              <a:pt x="5910" y="83979"/>
                              <a:pt x="5561" y="90513"/>
                              <a:pt x="5624" y="97047"/>
                            </a:cubicBezTo>
                            <a:cubicBezTo>
                              <a:pt x="5686" y="103581"/>
                              <a:pt x="6147" y="110115"/>
                              <a:pt x="6895" y="116598"/>
                            </a:cubicBezTo>
                            <a:cubicBezTo>
                              <a:pt x="7593" y="123082"/>
                              <a:pt x="8815" y="129542"/>
                              <a:pt x="9838" y="135888"/>
                            </a:cubicBezTo>
                            <a:cubicBezTo>
                              <a:pt x="10387" y="139068"/>
                              <a:pt x="10823" y="142272"/>
                              <a:pt x="11297" y="145465"/>
                            </a:cubicBezTo>
                            <a:cubicBezTo>
                              <a:pt x="11783" y="148657"/>
                              <a:pt x="12182" y="151873"/>
                              <a:pt x="12606" y="155078"/>
                            </a:cubicBezTo>
                            <a:cubicBezTo>
                              <a:pt x="15873" y="180740"/>
                              <a:pt x="18305" y="206538"/>
                              <a:pt x="20262" y="232374"/>
                            </a:cubicBezTo>
                            <a:cubicBezTo>
                              <a:pt x="21260" y="245292"/>
                              <a:pt x="22195" y="258210"/>
                              <a:pt x="23005" y="271141"/>
                            </a:cubicBezTo>
                            <a:lnTo>
                              <a:pt x="24152" y="290542"/>
                            </a:lnTo>
                            <a:lnTo>
                              <a:pt x="24414" y="295393"/>
                            </a:lnTo>
                            <a:lnTo>
                              <a:pt x="24564" y="300168"/>
                            </a:lnTo>
                            <a:cubicBezTo>
                              <a:pt x="24577" y="303373"/>
                              <a:pt x="24601" y="306590"/>
                              <a:pt x="24527" y="309820"/>
                            </a:cubicBezTo>
                            <a:cubicBezTo>
                              <a:pt x="24352" y="322725"/>
                              <a:pt x="23828" y="335680"/>
                              <a:pt x="23255" y="348623"/>
                            </a:cubicBezTo>
                            <a:cubicBezTo>
                              <a:pt x="22681" y="361567"/>
                              <a:pt x="21995" y="374509"/>
                              <a:pt x="21322" y="387452"/>
                            </a:cubicBezTo>
                            <a:cubicBezTo>
                              <a:pt x="19988" y="413338"/>
                              <a:pt x="18417" y="439224"/>
                              <a:pt x="16945" y="465097"/>
                            </a:cubicBezTo>
                            <a:lnTo>
                              <a:pt x="12344" y="542754"/>
                            </a:lnTo>
                            <a:lnTo>
                              <a:pt x="10100" y="581583"/>
                            </a:lnTo>
                            <a:lnTo>
                              <a:pt x="8953" y="600998"/>
                            </a:lnTo>
                            <a:lnTo>
                              <a:pt x="7868" y="620424"/>
                            </a:lnTo>
                            <a:lnTo>
                              <a:pt x="9651" y="601060"/>
                            </a:lnTo>
                            <a:lnTo>
                              <a:pt x="11322" y="581683"/>
                            </a:lnTo>
                            <a:lnTo>
                              <a:pt x="14601" y="542917"/>
                            </a:lnTo>
                            <a:cubicBezTo>
                              <a:pt x="16683" y="517068"/>
                              <a:pt x="18704" y="491207"/>
                              <a:pt x="20549" y="465347"/>
                            </a:cubicBezTo>
                            <a:cubicBezTo>
                              <a:pt x="22457" y="439486"/>
                              <a:pt x="24115" y="413600"/>
                              <a:pt x="25699" y="387702"/>
                            </a:cubicBezTo>
                            <a:cubicBezTo>
                              <a:pt x="26484" y="374758"/>
                              <a:pt x="27158" y="361803"/>
                              <a:pt x="27781" y="348835"/>
                            </a:cubicBezTo>
                            <a:cubicBezTo>
                              <a:pt x="28392" y="335867"/>
                              <a:pt x="28953" y="322912"/>
                              <a:pt x="29165" y="309894"/>
                            </a:cubicBezTo>
                            <a:cubicBezTo>
                              <a:pt x="29227" y="306640"/>
                              <a:pt x="29203" y="303373"/>
                              <a:pt x="29165" y="300106"/>
                            </a:cubicBezTo>
                            <a:lnTo>
                              <a:pt x="28991" y="295156"/>
                            </a:lnTo>
                            <a:lnTo>
                              <a:pt x="28704" y="290293"/>
                            </a:lnTo>
                            <a:lnTo>
                              <a:pt x="27494" y="270866"/>
                            </a:lnTo>
                            <a:cubicBezTo>
                              <a:pt x="26634" y="257923"/>
                              <a:pt x="25699" y="244981"/>
                              <a:pt x="24614" y="232037"/>
                            </a:cubicBezTo>
                            <a:cubicBezTo>
                              <a:pt x="23517" y="219107"/>
                              <a:pt x="22320" y="206177"/>
                              <a:pt x="20948" y="193271"/>
                            </a:cubicBezTo>
                            <a:cubicBezTo>
                              <a:pt x="19589" y="180365"/>
                              <a:pt x="18043" y="167460"/>
                              <a:pt x="16172" y="154605"/>
                            </a:cubicBezTo>
                            <a:cubicBezTo>
                              <a:pt x="15698" y="151387"/>
                              <a:pt x="15262" y="148170"/>
                              <a:pt x="14713" y="144965"/>
                            </a:cubicBezTo>
                            <a:cubicBezTo>
                              <a:pt x="14190" y="141761"/>
                              <a:pt x="13704" y="138544"/>
                              <a:pt x="13105" y="135340"/>
                            </a:cubicBezTo>
                            <a:cubicBezTo>
                              <a:pt x="11970" y="128905"/>
                              <a:pt x="10723" y="122621"/>
                              <a:pt x="9888" y="116224"/>
                            </a:cubicBezTo>
                            <a:cubicBezTo>
                              <a:pt x="9028" y="109853"/>
                              <a:pt x="8454" y="103431"/>
                              <a:pt x="8267" y="97009"/>
                            </a:cubicBezTo>
                            <a:cubicBezTo>
                              <a:pt x="8080" y="90576"/>
                              <a:pt x="8292" y="84141"/>
                              <a:pt x="8790" y="77707"/>
                            </a:cubicBezTo>
                            <a:cubicBezTo>
                              <a:pt x="9252" y="71274"/>
                              <a:pt x="9988" y="64814"/>
                              <a:pt x="10237" y="58281"/>
                            </a:cubicBezTo>
                            <a:cubicBezTo>
                              <a:pt x="10349" y="55014"/>
                              <a:pt x="10324" y="51735"/>
                              <a:pt x="10087" y="48468"/>
                            </a:cubicBezTo>
                            <a:cubicBezTo>
                              <a:pt x="9975" y="46834"/>
                              <a:pt x="9788" y="45200"/>
                              <a:pt x="9576" y="43580"/>
                            </a:cubicBezTo>
                            <a:lnTo>
                              <a:pt x="8853" y="38754"/>
                            </a:lnTo>
                            <a:cubicBezTo>
                              <a:pt x="7831" y="32333"/>
                              <a:pt x="6596" y="25960"/>
                              <a:pt x="5200" y="19627"/>
                            </a:cubicBezTo>
                            <a:cubicBezTo>
                              <a:pt x="3753" y="13292"/>
                              <a:pt x="1870" y="6210"/>
                              <a:pt x="0" y="0"/>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3" name="Freeform: Shape 2602">
                        <a:extLst>
                          <a:ext uri="{FF2B5EF4-FFF2-40B4-BE49-F238E27FC236}">
                            <a16:creationId xmlns:a16="http://schemas.microsoft.com/office/drawing/2014/main" id="{6A25A0DA-3E88-8F79-C740-9D65703F8DDE}"/>
                          </a:ext>
                        </a:extLst>
                      </p:cNvPr>
                      <p:cNvSpPr/>
                      <p:nvPr/>
                    </p:nvSpPr>
                    <p:spPr>
                      <a:xfrm>
                        <a:off x="7191459" y="5781888"/>
                        <a:ext cx="245840" cy="317080"/>
                      </a:xfrm>
                      <a:custGeom>
                        <a:avLst/>
                        <a:gdLst>
                          <a:gd name="connsiteX0" fmla="*/ 29739 w 245840"/>
                          <a:gd name="connsiteY0" fmla="*/ 159558 h 317080"/>
                          <a:gd name="connsiteX1" fmla="*/ 0 w 245840"/>
                          <a:gd name="connsiteY1" fmla="*/ 44331 h 317080"/>
                          <a:gd name="connsiteX2" fmla="*/ 35649 w 245840"/>
                          <a:gd name="connsiteY2" fmla="*/ 4 h 317080"/>
                          <a:gd name="connsiteX3" fmla="*/ 77595 w 245840"/>
                          <a:gd name="connsiteY3" fmla="*/ 96889 h 317080"/>
                          <a:gd name="connsiteX4" fmla="*/ 98867 w 245840"/>
                          <a:gd name="connsiteY4" fmla="*/ 187277 h 317080"/>
                          <a:gd name="connsiteX5" fmla="*/ 150265 w 245840"/>
                          <a:gd name="connsiteY5" fmla="*/ 202639 h 317080"/>
                          <a:gd name="connsiteX6" fmla="*/ 238821 w 245840"/>
                          <a:gd name="connsiteY6" fmla="*/ 235196 h 317080"/>
                          <a:gd name="connsiteX7" fmla="*/ 244918 w 245840"/>
                          <a:gd name="connsiteY7" fmla="*/ 310459 h 317080"/>
                          <a:gd name="connsiteX8" fmla="*/ 245840 w 245840"/>
                          <a:gd name="connsiteY8" fmla="*/ 317080 h 317080"/>
                          <a:gd name="connsiteX9" fmla="*/ 33330 w 245840"/>
                          <a:gd name="connsiteY9" fmla="*/ 281070 h 317080"/>
                          <a:gd name="connsiteX10" fmla="*/ 29751 w 245840"/>
                          <a:gd name="connsiteY10" fmla="*/ 159571 h 3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840" h="317080">
                            <a:moveTo>
                              <a:pt x="29739" y="159558"/>
                            </a:moveTo>
                            <a:cubicBezTo>
                              <a:pt x="23442" y="121764"/>
                              <a:pt x="7756" y="79794"/>
                              <a:pt x="0" y="44331"/>
                            </a:cubicBezTo>
                            <a:cubicBezTo>
                              <a:pt x="4726" y="17572"/>
                              <a:pt x="15424" y="-295"/>
                              <a:pt x="35649" y="4"/>
                            </a:cubicBezTo>
                            <a:cubicBezTo>
                              <a:pt x="35649" y="4"/>
                              <a:pt x="62233" y="22448"/>
                              <a:pt x="77595" y="96889"/>
                            </a:cubicBezTo>
                            <a:cubicBezTo>
                              <a:pt x="92957" y="171317"/>
                              <a:pt x="98867" y="187277"/>
                              <a:pt x="98867" y="187277"/>
                            </a:cubicBezTo>
                            <a:cubicBezTo>
                              <a:pt x="98867" y="187277"/>
                              <a:pt x="128993" y="194372"/>
                              <a:pt x="150265" y="202639"/>
                            </a:cubicBezTo>
                            <a:cubicBezTo>
                              <a:pt x="168806" y="209846"/>
                              <a:pt x="216987" y="229185"/>
                              <a:pt x="238821" y="235196"/>
                            </a:cubicBezTo>
                            <a:cubicBezTo>
                              <a:pt x="239855" y="258650"/>
                              <a:pt x="242486" y="284997"/>
                              <a:pt x="244918" y="310459"/>
                            </a:cubicBezTo>
                            <a:cubicBezTo>
                              <a:pt x="244918" y="310459"/>
                              <a:pt x="245254" y="312778"/>
                              <a:pt x="245840" y="317080"/>
                            </a:cubicBezTo>
                            <a:cubicBezTo>
                              <a:pt x="218670" y="316120"/>
                              <a:pt x="96324" y="310259"/>
                              <a:pt x="33330" y="281070"/>
                            </a:cubicBezTo>
                            <a:cubicBezTo>
                              <a:pt x="35025" y="248575"/>
                              <a:pt x="36123" y="197814"/>
                              <a:pt x="29751" y="159571"/>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04" name="Graphic 525">
                    <a:extLst>
                      <a:ext uri="{FF2B5EF4-FFF2-40B4-BE49-F238E27FC236}">
                        <a16:creationId xmlns:a16="http://schemas.microsoft.com/office/drawing/2014/main" id="{8A26D885-C9CD-BD85-F67E-37D3928272A4}"/>
                      </a:ext>
                    </a:extLst>
                  </p:cNvPr>
                  <p:cNvGrpSpPr/>
                  <p:nvPr/>
                </p:nvGrpSpPr>
                <p:grpSpPr>
                  <a:xfrm>
                    <a:off x="7218654" y="5737278"/>
                    <a:ext cx="185916" cy="274624"/>
                    <a:chOff x="7218654" y="5737278"/>
                    <a:chExt cx="185916" cy="274624"/>
                  </a:xfrm>
                </p:grpSpPr>
                <p:grpSp>
                  <p:nvGrpSpPr>
                    <p:cNvPr id="2605" name="Graphic 525">
                      <a:extLst>
                        <a:ext uri="{FF2B5EF4-FFF2-40B4-BE49-F238E27FC236}">
                          <a16:creationId xmlns:a16="http://schemas.microsoft.com/office/drawing/2014/main" id="{B8C575F9-0F45-D5B8-40FB-9D4A2842A3A0}"/>
                        </a:ext>
                      </a:extLst>
                    </p:cNvPr>
                    <p:cNvGrpSpPr/>
                    <p:nvPr/>
                  </p:nvGrpSpPr>
                  <p:grpSpPr>
                    <a:xfrm>
                      <a:off x="7218654" y="5745311"/>
                      <a:ext cx="185916" cy="266590"/>
                      <a:chOff x="7218654" y="5745311"/>
                      <a:chExt cx="185916" cy="266590"/>
                    </a:xfrm>
                  </p:grpSpPr>
                  <p:sp>
                    <p:nvSpPr>
                      <p:cNvPr id="2606" name="Freeform: Shape 2605">
                        <a:extLst>
                          <a:ext uri="{FF2B5EF4-FFF2-40B4-BE49-F238E27FC236}">
                            <a16:creationId xmlns:a16="http://schemas.microsoft.com/office/drawing/2014/main" id="{90CAA534-FC21-DA13-7A05-65103819A7CF}"/>
                          </a:ext>
                        </a:extLst>
                      </p:cNvPr>
                      <p:cNvSpPr/>
                      <p:nvPr/>
                    </p:nvSpPr>
                    <p:spPr>
                      <a:xfrm>
                        <a:off x="7353661" y="5754011"/>
                        <a:ext cx="30582" cy="168133"/>
                      </a:xfrm>
                      <a:custGeom>
                        <a:avLst/>
                        <a:gdLst>
                          <a:gd name="connsiteX0" fmla="*/ 869 w 30582"/>
                          <a:gd name="connsiteY0" fmla="*/ 135963 h 168133"/>
                          <a:gd name="connsiteX1" fmla="*/ 1592 w 30582"/>
                          <a:gd name="connsiteY1" fmla="*/ 137484 h 168133"/>
                          <a:gd name="connsiteX2" fmla="*/ 2190 w 30582"/>
                          <a:gd name="connsiteY2" fmla="*/ 0 h 168133"/>
                          <a:gd name="connsiteX3" fmla="*/ 30582 w 30582"/>
                          <a:gd name="connsiteY3" fmla="*/ 7045 h 168133"/>
                          <a:gd name="connsiteX4" fmla="*/ 9609 w 30582"/>
                          <a:gd name="connsiteY4" fmla="*/ 61971 h 168133"/>
                          <a:gd name="connsiteX5" fmla="*/ 19959 w 30582"/>
                          <a:gd name="connsiteY5" fmla="*/ 67408 h 168133"/>
                          <a:gd name="connsiteX6" fmla="*/ 8574 w 30582"/>
                          <a:gd name="connsiteY6" fmla="*/ 168133 h 168133"/>
                          <a:gd name="connsiteX7" fmla="*/ 869 w 30582"/>
                          <a:gd name="connsiteY7" fmla="*/ 135963 h 16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2" h="168133">
                            <a:moveTo>
                              <a:pt x="869" y="135963"/>
                            </a:moveTo>
                            <a:lnTo>
                              <a:pt x="1592" y="137484"/>
                            </a:lnTo>
                            <a:cubicBezTo>
                              <a:pt x="295" y="102832"/>
                              <a:pt x="-1488" y="10287"/>
                              <a:pt x="2190" y="0"/>
                            </a:cubicBezTo>
                            <a:cubicBezTo>
                              <a:pt x="2190" y="0"/>
                              <a:pt x="16829" y="5424"/>
                              <a:pt x="30582" y="7045"/>
                            </a:cubicBezTo>
                            <a:cubicBezTo>
                              <a:pt x="12814" y="28130"/>
                              <a:pt x="9609" y="61971"/>
                              <a:pt x="9609" y="61971"/>
                            </a:cubicBezTo>
                            <a:cubicBezTo>
                              <a:pt x="15046" y="63268"/>
                              <a:pt x="19959" y="67408"/>
                              <a:pt x="19959" y="67408"/>
                            </a:cubicBezTo>
                            <a:cubicBezTo>
                              <a:pt x="3412" y="102321"/>
                              <a:pt x="8574" y="168133"/>
                              <a:pt x="8574" y="168133"/>
                            </a:cubicBezTo>
                            <a:cubicBezTo>
                              <a:pt x="5545" y="158033"/>
                              <a:pt x="3001" y="147160"/>
                              <a:pt x="869" y="135963"/>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7" name="Freeform: Shape 2606">
                        <a:extLst>
                          <a:ext uri="{FF2B5EF4-FFF2-40B4-BE49-F238E27FC236}">
                            <a16:creationId xmlns:a16="http://schemas.microsoft.com/office/drawing/2014/main" id="{356FCCAF-15B7-D268-3B7E-B7BCE2353B66}"/>
                          </a:ext>
                        </a:extLst>
                      </p:cNvPr>
                      <p:cNvSpPr/>
                      <p:nvPr/>
                    </p:nvSpPr>
                    <p:spPr>
                      <a:xfrm>
                        <a:off x="7218654" y="5750621"/>
                        <a:ext cx="143581" cy="173218"/>
                      </a:xfrm>
                      <a:custGeom>
                        <a:avLst/>
                        <a:gdLst>
                          <a:gd name="connsiteX0" fmla="*/ 0 w 143581"/>
                          <a:gd name="connsiteY0" fmla="*/ 4961 h 173218"/>
                          <a:gd name="connsiteX1" fmla="*/ 28267 w 143581"/>
                          <a:gd name="connsiteY1" fmla="*/ 23 h 173218"/>
                          <a:gd name="connsiteX2" fmla="*/ 59989 w 143581"/>
                          <a:gd name="connsiteY2" fmla="*/ 15585 h 173218"/>
                          <a:gd name="connsiteX3" fmla="*/ 100139 w 143581"/>
                          <a:gd name="connsiteY3" fmla="*/ 63691 h 173218"/>
                          <a:gd name="connsiteX4" fmla="*/ 136599 w 143581"/>
                          <a:gd name="connsiteY4" fmla="*/ 140887 h 173218"/>
                          <a:gd name="connsiteX5" fmla="*/ 143581 w 143581"/>
                          <a:gd name="connsiteY5" fmla="*/ 173219 h 173218"/>
                          <a:gd name="connsiteX6" fmla="*/ 80475 w 143581"/>
                          <a:gd name="connsiteY6" fmla="*/ 87357 h 173218"/>
                          <a:gd name="connsiteX7" fmla="*/ 89790 w 143581"/>
                          <a:gd name="connsiteY7" fmla="*/ 72357 h 173218"/>
                          <a:gd name="connsiteX8" fmla="*/ 0 w 143581"/>
                          <a:gd name="connsiteY8" fmla="*/ 4974 h 17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81" h="173218">
                            <a:moveTo>
                              <a:pt x="0" y="4961"/>
                            </a:moveTo>
                            <a:cubicBezTo>
                              <a:pt x="8329" y="2542"/>
                              <a:pt x="17930" y="709"/>
                              <a:pt x="28267" y="23"/>
                            </a:cubicBezTo>
                            <a:cubicBezTo>
                              <a:pt x="36460" y="-525"/>
                              <a:pt x="48143" y="8727"/>
                              <a:pt x="59989" y="15585"/>
                            </a:cubicBezTo>
                            <a:cubicBezTo>
                              <a:pt x="77932" y="25984"/>
                              <a:pt x="96984" y="54227"/>
                              <a:pt x="100139" y="63691"/>
                            </a:cubicBezTo>
                            <a:lnTo>
                              <a:pt x="136599" y="140887"/>
                            </a:lnTo>
                            <a:cubicBezTo>
                              <a:pt x="139230" y="151174"/>
                              <a:pt x="141586" y="161960"/>
                              <a:pt x="143581" y="173219"/>
                            </a:cubicBezTo>
                            <a:cubicBezTo>
                              <a:pt x="143581" y="173219"/>
                              <a:pt x="123668" y="124079"/>
                              <a:pt x="80475" y="87357"/>
                            </a:cubicBezTo>
                            <a:cubicBezTo>
                              <a:pt x="80475" y="87357"/>
                              <a:pt x="84615" y="76758"/>
                              <a:pt x="89790" y="72357"/>
                            </a:cubicBezTo>
                            <a:cubicBezTo>
                              <a:pt x="89790" y="72357"/>
                              <a:pt x="40849" y="18727"/>
                              <a:pt x="0" y="4974"/>
                            </a:cubicBezTo>
                            <a:close/>
                          </a:path>
                        </a:pathLst>
                      </a:custGeom>
                      <a:solidFill>
                        <a:srgbClr val="65B2E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08" name="Graphic 525">
                        <a:extLst>
                          <a:ext uri="{FF2B5EF4-FFF2-40B4-BE49-F238E27FC236}">
                            <a16:creationId xmlns:a16="http://schemas.microsoft.com/office/drawing/2014/main" id="{951A5766-C0C6-3076-0F13-24D1071C8988}"/>
                          </a:ext>
                        </a:extLst>
                      </p:cNvPr>
                      <p:cNvGrpSpPr/>
                      <p:nvPr/>
                    </p:nvGrpSpPr>
                    <p:grpSpPr>
                      <a:xfrm>
                        <a:off x="7246808" y="5745311"/>
                        <a:ext cx="157762" cy="266590"/>
                        <a:chOff x="7246808" y="5745311"/>
                        <a:chExt cx="157762" cy="266590"/>
                      </a:xfrm>
                    </p:grpSpPr>
                    <p:sp>
                      <p:nvSpPr>
                        <p:cNvPr id="2609" name="Freeform: Shape 2608">
                          <a:extLst>
                            <a:ext uri="{FF2B5EF4-FFF2-40B4-BE49-F238E27FC236}">
                              <a16:creationId xmlns:a16="http://schemas.microsoft.com/office/drawing/2014/main" id="{ACEB54BC-9177-E627-82FB-61B568CE45E2}"/>
                            </a:ext>
                          </a:extLst>
                        </p:cNvPr>
                        <p:cNvSpPr/>
                        <p:nvPr/>
                      </p:nvSpPr>
                      <p:spPr>
                        <a:xfrm>
                          <a:off x="7354268" y="5753849"/>
                          <a:ext cx="34359" cy="237859"/>
                        </a:xfrm>
                        <a:custGeom>
                          <a:avLst/>
                          <a:gdLst>
                            <a:gd name="connsiteX0" fmla="*/ 31148 w 34359"/>
                            <a:gd name="connsiteY0" fmla="*/ 237860 h 237859"/>
                            <a:gd name="connsiteX1" fmla="*/ 32432 w 34359"/>
                            <a:gd name="connsiteY1" fmla="*/ 236913 h 237859"/>
                            <a:gd name="connsiteX2" fmla="*/ 28654 w 34359"/>
                            <a:gd name="connsiteY2" fmla="*/ 193420 h 237859"/>
                            <a:gd name="connsiteX3" fmla="*/ 24788 w 34359"/>
                            <a:gd name="connsiteY3" fmla="*/ 177996 h 237859"/>
                            <a:gd name="connsiteX4" fmla="*/ 25586 w 34359"/>
                            <a:gd name="connsiteY4" fmla="*/ 102234 h 237859"/>
                            <a:gd name="connsiteX5" fmla="*/ 27519 w 34359"/>
                            <a:gd name="connsiteY5" fmla="*/ 84602 h 237859"/>
                            <a:gd name="connsiteX6" fmla="*/ 20648 w 34359"/>
                            <a:gd name="connsiteY6" fmla="*/ 18977 h 237859"/>
                            <a:gd name="connsiteX7" fmla="*/ 1833 w 34359"/>
                            <a:gd name="connsiteY7" fmla="*/ 87 h 237859"/>
                            <a:gd name="connsiteX8" fmla="*/ 87 w 34359"/>
                            <a:gd name="connsiteY8" fmla="*/ 872 h 237859"/>
                            <a:gd name="connsiteX9" fmla="*/ 873 w 34359"/>
                            <a:gd name="connsiteY9" fmla="*/ 2618 h 237859"/>
                            <a:gd name="connsiteX10" fmla="*/ 18167 w 34359"/>
                            <a:gd name="connsiteY10" fmla="*/ 20050 h 237859"/>
                            <a:gd name="connsiteX11" fmla="*/ 24826 w 34359"/>
                            <a:gd name="connsiteY11" fmla="*/ 84340 h 237859"/>
                            <a:gd name="connsiteX12" fmla="*/ 22893 w 34359"/>
                            <a:gd name="connsiteY12" fmla="*/ 101910 h 237859"/>
                            <a:gd name="connsiteX13" fmla="*/ 22145 w 34359"/>
                            <a:gd name="connsiteY13" fmla="*/ 178607 h 237859"/>
                            <a:gd name="connsiteX14" fmla="*/ 26023 w 34359"/>
                            <a:gd name="connsiteY14" fmla="*/ 194068 h 237859"/>
                            <a:gd name="connsiteX15" fmla="*/ 29838 w 34359"/>
                            <a:gd name="connsiteY15" fmla="*/ 236077 h 237859"/>
                            <a:gd name="connsiteX16" fmla="*/ 30724 w 34359"/>
                            <a:gd name="connsiteY16" fmla="*/ 237773 h 237859"/>
                            <a:gd name="connsiteX17" fmla="*/ 31135 w 34359"/>
                            <a:gd name="connsiteY17" fmla="*/ 237835 h 23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359" h="237859">
                              <a:moveTo>
                                <a:pt x="31148" y="237860"/>
                              </a:moveTo>
                              <a:cubicBezTo>
                                <a:pt x="31721" y="237860"/>
                                <a:pt x="32257" y="237486"/>
                                <a:pt x="32432" y="236913"/>
                              </a:cubicBezTo>
                              <a:cubicBezTo>
                                <a:pt x="36522" y="223907"/>
                                <a:pt x="33554" y="212435"/>
                                <a:pt x="28654" y="193420"/>
                              </a:cubicBezTo>
                              <a:cubicBezTo>
                                <a:pt x="27469" y="188857"/>
                                <a:pt x="26135" y="183669"/>
                                <a:pt x="24788" y="177996"/>
                              </a:cubicBezTo>
                              <a:cubicBezTo>
                                <a:pt x="19402" y="155389"/>
                                <a:pt x="22694" y="127147"/>
                                <a:pt x="25586" y="102234"/>
                              </a:cubicBezTo>
                              <a:cubicBezTo>
                                <a:pt x="26309" y="96049"/>
                                <a:pt x="26983" y="90201"/>
                                <a:pt x="27519" y="84602"/>
                              </a:cubicBezTo>
                              <a:cubicBezTo>
                                <a:pt x="29950" y="59053"/>
                                <a:pt x="27382" y="34527"/>
                                <a:pt x="20648" y="18977"/>
                              </a:cubicBezTo>
                              <a:cubicBezTo>
                                <a:pt x="14626" y="5075"/>
                                <a:pt x="2356" y="287"/>
                                <a:pt x="1833" y="87"/>
                              </a:cubicBezTo>
                              <a:cubicBezTo>
                                <a:pt x="1134" y="-175"/>
                                <a:pt x="349" y="174"/>
                                <a:pt x="87" y="872"/>
                              </a:cubicBezTo>
                              <a:cubicBezTo>
                                <a:pt x="-175" y="1571"/>
                                <a:pt x="174" y="2356"/>
                                <a:pt x="873" y="2618"/>
                              </a:cubicBezTo>
                              <a:cubicBezTo>
                                <a:pt x="1010" y="2668"/>
                                <a:pt x="12618" y="7244"/>
                                <a:pt x="18167" y="20050"/>
                              </a:cubicBezTo>
                              <a:cubicBezTo>
                                <a:pt x="24726" y="35200"/>
                                <a:pt x="27220" y="59228"/>
                                <a:pt x="24826" y="84340"/>
                              </a:cubicBezTo>
                              <a:cubicBezTo>
                                <a:pt x="24290" y="89902"/>
                                <a:pt x="23616" y="95737"/>
                                <a:pt x="22893" y="101910"/>
                              </a:cubicBezTo>
                              <a:cubicBezTo>
                                <a:pt x="19963" y="127047"/>
                                <a:pt x="16646" y="155539"/>
                                <a:pt x="22145" y="178607"/>
                              </a:cubicBezTo>
                              <a:cubicBezTo>
                                <a:pt x="23504" y="184305"/>
                                <a:pt x="24838" y="189492"/>
                                <a:pt x="26023" y="194068"/>
                              </a:cubicBezTo>
                              <a:cubicBezTo>
                                <a:pt x="30811" y="212610"/>
                                <a:pt x="33691" y="223807"/>
                                <a:pt x="29838" y="236077"/>
                              </a:cubicBezTo>
                              <a:cubicBezTo>
                                <a:pt x="29614" y="236788"/>
                                <a:pt x="30013" y="237548"/>
                                <a:pt x="30724" y="237773"/>
                              </a:cubicBezTo>
                              <a:cubicBezTo>
                                <a:pt x="30861" y="237810"/>
                                <a:pt x="30998" y="237835"/>
                                <a:pt x="31135" y="237835"/>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10" name="Graphic 525">
                          <a:extLst>
                            <a:ext uri="{FF2B5EF4-FFF2-40B4-BE49-F238E27FC236}">
                              <a16:creationId xmlns:a16="http://schemas.microsoft.com/office/drawing/2014/main" id="{7D8EAAD0-ACE6-4079-254A-FEBEC136398D}"/>
                            </a:ext>
                          </a:extLst>
                        </p:cNvPr>
                        <p:cNvGrpSpPr/>
                        <p:nvPr/>
                      </p:nvGrpSpPr>
                      <p:grpSpPr>
                        <a:xfrm>
                          <a:off x="7246808" y="5745311"/>
                          <a:ext cx="89510" cy="220150"/>
                          <a:chOff x="7246808" y="5745311"/>
                          <a:chExt cx="89510" cy="220150"/>
                        </a:xfrm>
                      </p:grpSpPr>
                      <p:grpSp>
                        <p:nvGrpSpPr>
                          <p:cNvPr id="2611" name="Graphic 525">
                            <a:extLst>
                              <a:ext uri="{FF2B5EF4-FFF2-40B4-BE49-F238E27FC236}">
                                <a16:creationId xmlns:a16="http://schemas.microsoft.com/office/drawing/2014/main" id="{222957C1-FDEC-ACAE-E140-FB3401A36C9C}"/>
                              </a:ext>
                            </a:extLst>
                          </p:cNvPr>
                          <p:cNvGrpSpPr/>
                          <p:nvPr/>
                        </p:nvGrpSpPr>
                        <p:grpSpPr>
                          <a:xfrm>
                            <a:off x="7246808" y="5745311"/>
                            <a:ext cx="89510" cy="220150"/>
                            <a:chOff x="7246808" y="5745311"/>
                            <a:chExt cx="89510" cy="220150"/>
                          </a:xfrm>
                          <a:solidFill>
                            <a:srgbClr val="1E2C56"/>
                          </a:solidFill>
                        </p:grpSpPr>
                        <p:sp>
                          <p:nvSpPr>
                            <p:cNvPr id="2612" name="Freeform: Shape 2611">
                              <a:extLst>
                                <a:ext uri="{FF2B5EF4-FFF2-40B4-BE49-F238E27FC236}">
                                  <a16:creationId xmlns:a16="http://schemas.microsoft.com/office/drawing/2014/main" id="{11D37A41-D3C6-E9F1-2BFA-489BAA83A979}"/>
                                </a:ext>
                              </a:extLst>
                            </p:cNvPr>
                            <p:cNvSpPr/>
                            <p:nvPr/>
                          </p:nvSpPr>
                          <p:spPr>
                            <a:xfrm>
                              <a:off x="7246808" y="5745311"/>
                              <a:ext cx="35978" cy="136657"/>
                            </a:xfrm>
                            <a:custGeom>
                              <a:avLst/>
                              <a:gdLst>
                                <a:gd name="connsiteX0" fmla="*/ 34628 w 35978"/>
                                <a:gd name="connsiteY0" fmla="*/ 136658 h 136657"/>
                                <a:gd name="connsiteX1" fmla="*/ 35401 w 35978"/>
                                <a:gd name="connsiteY1" fmla="*/ 136408 h 136657"/>
                                <a:gd name="connsiteX2" fmla="*/ 35738 w 35978"/>
                                <a:gd name="connsiteY2" fmla="*/ 134525 h 136657"/>
                                <a:gd name="connsiteX3" fmla="*/ 2819 w 35978"/>
                                <a:gd name="connsiteY3" fmla="*/ 40621 h 136657"/>
                                <a:gd name="connsiteX4" fmla="*/ 12558 w 35978"/>
                                <a:gd name="connsiteY4" fmla="*/ 2577 h 136657"/>
                                <a:gd name="connsiteX5" fmla="*/ 13194 w 35978"/>
                                <a:gd name="connsiteY5" fmla="*/ 769 h 136657"/>
                                <a:gd name="connsiteX6" fmla="*/ 11386 w 35978"/>
                                <a:gd name="connsiteY6" fmla="*/ 133 h 136657"/>
                                <a:gd name="connsiteX7" fmla="*/ 114 w 35978"/>
                                <a:gd name="connsiteY7" fmla="*/ 40733 h 136657"/>
                                <a:gd name="connsiteX8" fmla="*/ 33518 w 35978"/>
                                <a:gd name="connsiteY8" fmla="*/ 136071 h 136657"/>
                                <a:gd name="connsiteX9" fmla="*/ 34628 w 35978"/>
                                <a:gd name="connsiteY9" fmla="*/ 136645 h 13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978" h="136657">
                                  <a:moveTo>
                                    <a:pt x="34628" y="136658"/>
                                  </a:moveTo>
                                  <a:cubicBezTo>
                                    <a:pt x="34890" y="136658"/>
                                    <a:pt x="35164" y="136583"/>
                                    <a:pt x="35401" y="136408"/>
                                  </a:cubicBezTo>
                                  <a:cubicBezTo>
                                    <a:pt x="36012" y="135984"/>
                                    <a:pt x="36162" y="135136"/>
                                    <a:pt x="35738" y="134525"/>
                                  </a:cubicBezTo>
                                  <a:cubicBezTo>
                                    <a:pt x="35426" y="134076"/>
                                    <a:pt x="4852" y="89686"/>
                                    <a:pt x="2819" y="40621"/>
                                  </a:cubicBezTo>
                                  <a:cubicBezTo>
                                    <a:pt x="1485" y="8250"/>
                                    <a:pt x="12445" y="2627"/>
                                    <a:pt x="12558" y="2577"/>
                                  </a:cubicBezTo>
                                  <a:cubicBezTo>
                                    <a:pt x="13231" y="2253"/>
                                    <a:pt x="13518" y="1442"/>
                                    <a:pt x="13194" y="769"/>
                                  </a:cubicBezTo>
                                  <a:cubicBezTo>
                                    <a:pt x="12869" y="96"/>
                                    <a:pt x="12059" y="-191"/>
                                    <a:pt x="11386" y="133"/>
                                  </a:cubicBezTo>
                                  <a:cubicBezTo>
                                    <a:pt x="10862" y="383"/>
                                    <a:pt x="-1296" y="6605"/>
                                    <a:pt x="114" y="40733"/>
                                  </a:cubicBezTo>
                                  <a:cubicBezTo>
                                    <a:pt x="2171" y="90596"/>
                                    <a:pt x="33194" y="135623"/>
                                    <a:pt x="33518" y="136071"/>
                                  </a:cubicBezTo>
                                  <a:cubicBezTo>
                                    <a:pt x="33780" y="136445"/>
                                    <a:pt x="34204" y="136645"/>
                                    <a:pt x="34628" y="136645"/>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3" name="Freeform: Shape 2612">
                              <a:extLst>
                                <a:ext uri="{FF2B5EF4-FFF2-40B4-BE49-F238E27FC236}">
                                  <a16:creationId xmlns:a16="http://schemas.microsoft.com/office/drawing/2014/main" id="{6BEEC8E8-3242-A1BB-38B7-91E5EA0A1F0E}"/>
                                </a:ext>
                              </a:extLst>
                            </p:cNvPr>
                            <p:cNvSpPr/>
                            <p:nvPr/>
                          </p:nvSpPr>
                          <p:spPr>
                            <a:xfrm>
                              <a:off x="7266356" y="5876603"/>
                              <a:ext cx="69962" cy="88858"/>
                            </a:xfrm>
                            <a:custGeom>
                              <a:avLst/>
                              <a:gdLst>
                                <a:gd name="connsiteX0" fmla="*/ 43859 w 69962"/>
                                <a:gd name="connsiteY0" fmla="*/ 88859 h 88858"/>
                                <a:gd name="connsiteX1" fmla="*/ 45654 w 69962"/>
                                <a:gd name="connsiteY1" fmla="*/ 88734 h 88858"/>
                                <a:gd name="connsiteX2" fmla="*/ 46814 w 69962"/>
                                <a:gd name="connsiteY2" fmla="*/ 87212 h 88858"/>
                                <a:gd name="connsiteX3" fmla="*/ 45293 w 69962"/>
                                <a:gd name="connsiteY3" fmla="*/ 86053 h 88858"/>
                                <a:gd name="connsiteX4" fmla="*/ 19095 w 69962"/>
                                <a:gd name="connsiteY4" fmla="*/ 67125 h 88858"/>
                                <a:gd name="connsiteX5" fmla="*/ 3097 w 69962"/>
                                <a:gd name="connsiteY5" fmla="*/ 32560 h 88858"/>
                                <a:gd name="connsiteX6" fmla="*/ 2860 w 69962"/>
                                <a:gd name="connsiteY6" fmla="*/ 30616 h 88858"/>
                                <a:gd name="connsiteX7" fmla="*/ 16888 w 69962"/>
                                <a:gd name="connsiteY7" fmla="*/ 5328 h 88858"/>
                                <a:gd name="connsiteX8" fmla="*/ 45268 w 69962"/>
                                <a:gd name="connsiteY8" fmla="*/ 9954 h 88858"/>
                                <a:gd name="connsiteX9" fmla="*/ 45767 w 69962"/>
                                <a:gd name="connsiteY9" fmla="*/ 10440 h 88858"/>
                                <a:gd name="connsiteX10" fmla="*/ 63822 w 69962"/>
                                <a:gd name="connsiteY10" fmla="*/ 43970 h 88858"/>
                                <a:gd name="connsiteX11" fmla="*/ 63248 w 69962"/>
                                <a:gd name="connsiteY11" fmla="*/ 76277 h 88858"/>
                                <a:gd name="connsiteX12" fmla="*/ 63261 w 69962"/>
                                <a:gd name="connsiteY12" fmla="*/ 78185 h 88858"/>
                                <a:gd name="connsiteX13" fmla="*/ 65169 w 69962"/>
                                <a:gd name="connsiteY13" fmla="*/ 78172 h 88858"/>
                                <a:gd name="connsiteX14" fmla="*/ 66391 w 69962"/>
                                <a:gd name="connsiteY14" fmla="*/ 43159 h 88858"/>
                                <a:gd name="connsiteX15" fmla="*/ 47662 w 69962"/>
                                <a:gd name="connsiteY15" fmla="*/ 8520 h 88858"/>
                                <a:gd name="connsiteX16" fmla="*/ 47138 w 69962"/>
                                <a:gd name="connsiteY16" fmla="*/ 8009 h 88858"/>
                                <a:gd name="connsiteX17" fmla="*/ 15691 w 69962"/>
                                <a:gd name="connsiteY17" fmla="*/ 2884 h 88858"/>
                                <a:gd name="connsiteX18" fmla="*/ 155 w 69962"/>
                                <a:gd name="connsiteY18" fmla="*/ 30890 h 88858"/>
                                <a:gd name="connsiteX19" fmla="*/ 404 w 69962"/>
                                <a:gd name="connsiteY19" fmla="*/ 32935 h 88858"/>
                                <a:gd name="connsiteX20" fmla="*/ 16888 w 69962"/>
                                <a:gd name="connsiteY20" fmla="*/ 68696 h 88858"/>
                                <a:gd name="connsiteX21" fmla="*/ 43834 w 69962"/>
                                <a:gd name="connsiteY21" fmla="*/ 88834 h 8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962" h="88858">
                                  <a:moveTo>
                                    <a:pt x="43859" y="88859"/>
                                  </a:moveTo>
                                  <a:cubicBezTo>
                                    <a:pt x="44457" y="88859"/>
                                    <a:pt x="45056" y="88821"/>
                                    <a:pt x="45654" y="88734"/>
                                  </a:cubicBezTo>
                                  <a:cubicBezTo>
                                    <a:pt x="46390" y="88634"/>
                                    <a:pt x="46914" y="87949"/>
                                    <a:pt x="46814" y="87212"/>
                                  </a:cubicBezTo>
                                  <a:cubicBezTo>
                                    <a:pt x="46714" y="86477"/>
                                    <a:pt x="46028" y="85953"/>
                                    <a:pt x="45293" y="86053"/>
                                  </a:cubicBezTo>
                                  <a:cubicBezTo>
                                    <a:pt x="38036" y="87026"/>
                                    <a:pt x="28472" y="80130"/>
                                    <a:pt x="19095" y="67125"/>
                                  </a:cubicBezTo>
                                  <a:cubicBezTo>
                                    <a:pt x="10978" y="55866"/>
                                    <a:pt x="4394" y="41663"/>
                                    <a:pt x="3097" y="32560"/>
                                  </a:cubicBezTo>
                                  <a:cubicBezTo>
                                    <a:pt x="3010" y="31912"/>
                                    <a:pt x="2923" y="31251"/>
                                    <a:pt x="2860" y="30616"/>
                                  </a:cubicBezTo>
                                  <a:cubicBezTo>
                                    <a:pt x="1514" y="17635"/>
                                    <a:pt x="9220" y="9044"/>
                                    <a:pt x="16888" y="5328"/>
                                  </a:cubicBezTo>
                                  <a:cubicBezTo>
                                    <a:pt x="24507" y="1637"/>
                                    <a:pt x="35966" y="914"/>
                                    <a:pt x="45268" y="9954"/>
                                  </a:cubicBezTo>
                                  <a:cubicBezTo>
                                    <a:pt x="45430" y="10116"/>
                                    <a:pt x="45592" y="10279"/>
                                    <a:pt x="45767" y="10440"/>
                                  </a:cubicBezTo>
                                  <a:cubicBezTo>
                                    <a:pt x="52263" y="16924"/>
                                    <a:pt x="59682" y="30715"/>
                                    <a:pt x="63822" y="43970"/>
                                  </a:cubicBezTo>
                                  <a:cubicBezTo>
                                    <a:pt x="68598" y="59270"/>
                                    <a:pt x="68385" y="71053"/>
                                    <a:pt x="63248" y="76277"/>
                                  </a:cubicBezTo>
                                  <a:cubicBezTo>
                                    <a:pt x="62724" y="76813"/>
                                    <a:pt x="62737" y="77662"/>
                                    <a:pt x="63261" y="78185"/>
                                  </a:cubicBezTo>
                                  <a:cubicBezTo>
                                    <a:pt x="63797" y="78709"/>
                                    <a:pt x="64645" y="78696"/>
                                    <a:pt x="65169" y="78172"/>
                                  </a:cubicBezTo>
                                  <a:cubicBezTo>
                                    <a:pt x="73186" y="70005"/>
                                    <a:pt x="69383" y="52736"/>
                                    <a:pt x="66391" y="43159"/>
                                  </a:cubicBezTo>
                                  <a:cubicBezTo>
                                    <a:pt x="62076" y="29319"/>
                                    <a:pt x="54545" y="15403"/>
                                    <a:pt x="47662" y="8520"/>
                                  </a:cubicBezTo>
                                  <a:cubicBezTo>
                                    <a:pt x="47487" y="8345"/>
                                    <a:pt x="47313" y="8171"/>
                                    <a:pt x="47138" y="8009"/>
                                  </a:cubicBezTo>
                                  <a:cubicBezTo>
                                    <a:pt x="38522" y="-370"/>
                                    <a:pt x="26465" y="-2340"/>
                                    <a:pt x="15691" y="2884"/>
                                  </a:cubicBezTo>
                                  <a:cubicBezTo>
                                    <a:pt x="5030" y="8047"/>
                                    <a:pt x="-1067" y="19044"/>
                                    <a:pt x="155" y="30890"/>
                                  </a:cubicBezTo>
                                  <a:cubicBezTo>
                                    <a:pt x="230" y="31563"/>
                                    <a:pt x="304" y="32249"/>
                                    <a:pt x="404" y="32935"/>
                                  </a:cubicBezTo>
                                  <a:cubicBezTo>
                                    <a:pt x="1776" y="42561"/>
                                    <a:pt x="8397" y="56938"/>
                                    <a:pt x="16888" y="68696"/>
                                  </a:cubicBezTo>
                                  <a:cubicBezTo>
                                    <a:pt x="22450" y="76402"/>
                                    <a:pt x="33085" y="88834"/>
                                    <a:pt x="43834" y="88834"/>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14" name="Freeform: Shape 2613">
                            <a:extLst>
                              <a:ext uri="{FF2B5EF4-FFF2-40B4-BE49-F238E27FC236}">
                                <a16:creationId xmlns:a16="http://schemas.microsoft.com/office/drawing/2014/main" id="{3161EE30-9160-F36C-96B9-FDA1236661A1}"/>
                              </a:ext>
                            </a:extLst>
                          </p:cNvPr>
                          <p:cNvSpPr/>
                          <p:nvPr/>
                        </p:nvSpPr>
                        <p:spPr>
                          <a:xfrm>
                            <a:off x="7311748" y="5958792"/>
                            <a:ext cx="8102" cy="6262"/>
                          </a:xfrm>
                          <a:custGeom>
                            <a:avLst/>
                            <a:gdLst>
                              <a:gd name="connsiteX0" fmla="*/ 88 w 8102"/>
                              <a:gd name="connsiteY0" fmla="*/ 5074 h 6262"/>
                              <a:gd name="connsiteX1" fmla="*/ 6235 w 8102"/>
                              <a:gd name="connsiteY1" fmla="*/ 5797 h 6262"/>
                              <a:gd name="connsiteX2" fmla="*/ 7881 w 8102"/>
                              <a:gd name="connsiteY2" fmla="*/ 1870 h 6262"/>
                              <a:gd name="connsiteX3" fmla="*/ 3953 w 8102"/>
                              <a:gd name="connsiteY3" fmla="*/ 223 h 6262"/>
                              <a:gd name="connsiteX4" fmla="*/ 88 w 8102"/>
                              <a:gd name="connsiteY4" fmla="*/ 5062 h 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 h="6262">
                                <a:moveTo>
                                  <a:pt x="88" y="5074"/>
                                </a:moveTo>
                                <a:cubicBezTo>
                                  <a:pt x="724" y="6608"/>
                                  <a:pt x="4702" y="6433"/>
                                  <a:pt x="6235" y="5797"/>
                                </a:cubicBezTo>
                                <a:cubicBezTo>
                                  <a:pt x="7769" y="5162"/>
                                  <a:pt x="8505" y="3416"/>
                                  <a:pt x="7881" y="1870"/>
                                </a:cubicBezTo>
                                <a:cubicBezTo>
                                  <a:pt x="7258" y="323"/>
                                  <a:pt x="5499" y="-400"/>
                                  <a:pt x="3953" y="223"/>
                                </a:cubicBezTo>
                                <a:cubicBezTo>
                                  <a:pt x="2420" y="860"/>
                                  <a:pt x="-548" y="3528"/>
                                  <a:pt x="88" y="5062"/>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5" name="Freeform: Shape 2614">
                            <a:extLst>
                              <a:ext uri="{FF2B5EF4-FFF2-40B4-BE49-F238E27FC236}">
                                <a16:creationId xmlns:a16="http://schemas.microsoft.com/office/drawing/2014/main" id="{7596C9D3-E41D-3796-2199-43526712FAB1}"/>
                              </a:ext>
                            </a:extLst>
                          </p:cNvPr>
                          <p:cNvSpPr/>
                          <p:nvPr/>
                        </p:nvSpPr>
                        <p:spPr>
                          <a:xfrm>
                            <a:off x="7324464" y="5951610"/>
                            <a:ext cx="7344" cy="7121"/>
                          </a:xfrm>
                          <a:custGeom>
                            <a:avLst/>
                            <a:gdLst>
                              <a:gd name="connsiteX0" fmla="*/ 6998 w 7344"/>
                              <a:gd name="connsiteY0" fmla="*/ 448 h 7121"/>
                              <a:gd name="connsiteX1" fmla="*/ 976 w 7344"/>
                              <a:gd name="connsiteY1" fmla="*/ 1894 h 7121"/>
                              <a:gd name="connsiteX2" fmla="*/ 789 w 7344"/>
                              <a:gd name="connsiteY2" fmla="*/ 6146 h 7121"/>
                              <a:gd name="connsiteX3" fmla="*/ 5041 w 7344"/>
                              <a:gd name="connsiteY3" fmla="*/ 6333 h 7121"/>
                              <a:gd name="connsiteX4" fmla="*/ 6998 w 7344"/>
                              <a:gd name="connsiteY4" fmla="*/ 460 h 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 h="7121">
                                <a:moveTo>
                                  <a:pt x="6998" y="448"/>
                                </a:moveTo>
                                <a:cubicBezTo>
                                  <a:pt x="5876" y="-774"/>
                                  <a:pt x="2198" y="772"/>
                                  <a:pt x="976" y="1894"/>
                                </a:cubicBezTo>
                                <a:cubicBezTo>
                                  <a:pt x="-246" y="3016"/>
                                  <a:pt x="-334" y="4924"/>
                                  <a:pt x="789" y="6146"/>
                                </a:cubicBezTo>
                                <a:cubicBezTo>
                                  <a:pt x="1911" y="7368"/>
                                  <a:pt x="3819" y="7455"/>
                                  <a:pt x="5041" y="6333"/>
                                </a:cubicBezTo>
                                <a:cubicBezTo>
                                  <a:pt x="6262" y="5211"/>
                                  <a:pt x="8120" y="1682"/>
                                  <a:pt x="6998" y="460"/>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16" name="Graphic 525">
                          <a:extLst>
                            <a:ext uri="{FF2B5EF4-FFF2-40B4-BE49-F238E27FC236}">
                              <a16:creationId xmlns:a16="http://schemas.microsoft.com/office/drawing/2014/main" id="{FBB0E486-88E5-043B-5FBF-AE1B4A295B5F}"/>
                            </a:ext>
                          </a:extLst>
                        </p:cNvPr>
                        <p:cNvGrpSpPr/>
                        <p:nvPr/>
                      </p:nvGrpSpPr>
                      <p:grpSpPr>
                        <a:xfrm>
                          <a:off x="7365666" y="5972998"/>
                          <a:ext cx="38904" cy="38904"/>
                          <a:chOff x="7365666" y="5972998"/>
                          <a:chExt cx="38904" cy="38904"/>
                        </a:xfrm>
                      </p:grpSpPr>
                      <p:sp>
                        <p:nvSpPr>
                          <p:cNvPr id="2617" name="Freeform: Shape 2616">
                            <a:extLst>
                              <a:ext uri="{FF2B5EF4-FFF2-40B4-BE49-F238E27FC236}">
                                <a16:creationId xmlns:a16="http://schemas.microsoft.com/office/drawing/2014/main" id="{8F56A4D8-C1FC-4290-F63D-5ACE62FF767E}"/>
                              </a:ext>
                            </a:extLst>
                          </p:cNvPr>
                          <p:cNvSpPr/>
                          <p:nvPr/>
                        </p:nvSpPr>
                        <p:spPr>
                          <a:xfrm rot="-4050002">
                            <a:off x="7370230" y="5977562"/>
                            <a:ext cx="29776" cy="29776"/>
                          </a:xfrm>
                          <a:custGeom>
                            <a:avLst/>
                            <a:gdLst>
                              <a:gd name="connsiteX0" fmla="*/ 29776 w 29776"/>
                              <a:gd name="connsiteY0" fmla="*/ 14888 h 29776"/>
                              <a:gd name="connsiteX1" fmla="*/ 14888 w 29776"/>
                              <a:gd name="connsiteY1" fmla="*/ 29776 h 29776"/>
                              <a:gd name="connsiteX2" fmla="*/ 0 w 29776"/>
                              <a:gd name="connsiteY2" fmla="*/ 14888 h 29776"/>
                              <a:gd name="connsiteX3" fmla="*/ 14888 w 29776"/>
                              <a:gd name="connsiteY3" fmla="*/ 0 h 29776"/>
                              <a:gd name="connsiteX4" fmla="*/ 29776 w 29776"/>
                              <a:gd name="connsiteY4" fmla="*/ 14888 h 29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76" h="29776">
                                <a:moveTo>
                                  <a:pt x="29776" y="14888"/>
                                </a:moveTo>
                                <a:cubicBezTo>
                                  <a:pt x="29776" y="23111"/>
                                  <a:pt x="23111" y="29776"/>
                                  <a:pt x="14888" y="29776"/>
                                </a:cubicBezTo>
                                <a:cubicBezTo>
                                  <a:pt x="6666" y="29776"/>
                                  <a:pt x="0" y="23111"/>
                                  <a:pt x="0" y="14888"/>
                                </a:cubicBezTo>
                                <a:cubicBezTo>
                                  <a:pt x="0" y="6666"/>
                                  <a:pt x="6666" y="0"/>
                                  <a:pt x="14888" y="0"/>
                                </a:cubicBezTo>
                                <a:cubicBezTo>
                                  <a:pt x="23111" y="0"/>
                                  <a:pt x="29776" y="6666"/>
                                  <a:pt x="29776" y="14888"/>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8" name="Freeform: Shape 2617">
                            <a:extLst>
                              <a:ext uri="{FF2B5EF4-FFF2-40B4-BE49-F238E27FC236}">
                                <a16:creationId xmlns:a16="http://schemas.microsoft.com/office/drawing/2014/main" id="{1CD0C5A8-6934-3A22-7366-66C45A90876B}"/>
                              </a:ext>
                            </a:extLst>
                          </p:cNvPr>
                          <p:cNvSpPr/>
                          <p:nvPr/>
                        </p:nvSpPr>
                        <p:spPr>
                          <a:xfrm>
                            <a:off x="7376251" y="5983592"/>
                            <a:ext cx="17743" cy="17743"/>
                          </a:xfrm>
                          <a:custGeom>
                            <a:avLst/>
                            <a:gdLst>
                              <a:gd name="connsiteX0" fmla="*/ 0 w 17743"/>
                              <a:gd name="connsiteY0" fmla="*/ 8865 h 17743"/>
                              <a:gd name="connsiteX1" fmla="*/ 8866 w 17743"/>
                              <a:gd name="connsiteY1" fmla="*/ 17743 h 17743"/>
                              <a:gd name="connsiteX2" fmla="*/ 17743 w 17743"/>
                              <a:gd name="connsiteY2" fmla="*/ 8865 h 17743"/>
                              <a:gd name="connsiteX3" fmla="*/ 8866 w 17743"/>
                              <a:gd name="connsiteY3" fmla="*/ 0 h 17743"/>
                              <a:gd name="connsiteX4" fmla="*/ 0 w 17743"/>
                              <a:gd name="connsiteY4" fmla="*/ 8865 h 1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43" h="17743">
                                <a:moveTo>
                                  <a:pt x="0" y="8865"/>
                                </a:moveTo>
                                <a:cubicBezTo>
                                  <a:pt x="0" y="13765"/>
                                  <a:pt x="3978" y="17743"/>
                                  <a:pt x="8866" y="17743"/>
                                </a:cubicBezTo>
                                <a:cubicBezTo>
                                  <a:pt x="13753" y="17743"/>
                                  <a:pt x="17743" y="13765"/>
                                  <a:pt x="17743" y="8865"/>
                                </a:cubicBezTo>
                                <a:cubicBezTo>
                                  <a:pt x="17743" y="3965"/>
                                  <a:pt x="13766" y="0"/>
                                  <a:pt x="8866" y="0"/>
                                </a:cubicBezTo>
                                <a:cubicBezTo>
                                  <a:pt x="3965" y="0"/>
                                  <a:pt x="0" y="3978"/>
                                  <a:pt x="0" y="8865"/>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619" name="Freeform: Shape 2618">
                      <a:extLst>
                        <a:ext uri="{FF2B5EF4-FFF2-40B4-BE49-F238E27FC236}">
                          <a16:creationId xmlns:a16="http://schemas.microsoft.com/office/drawing/2014/main" id="{D2E3347E-BB30-4B1B-9E02-1286AFDC4CF7}"/>
                        </a:ext>
                      </a:extLst>
                    </p:cNvPr>
                    <p:cNvSpPr/>
                    <p:nvPr/>
                  </p:nvSpPr>
                  <p:spPr>
                    <a:xfrm>
                      <a:off x="7221591" y="5737278"/>
                      <a:ext cx="140645" cy="184866"/>
                    </a:xfrm>
                    <a:custGeom>
                      <a:avLst/>
                      <a:gdLst>
                        <a:gd name="connsiteX0" fmla="*/ 140645 w 140645"/>
                        <a:gd name="connsiteY0" fmla="*/ 184866 h 184866"/>
                        <a:gd name="connsiteX1" fmla="*/ 82065 w 140645"/>
                        <a:gd name="connsiteY1" fmla="*/ 97196 h 184866"/>
                        <a:gd name="connsiteX2" fmla="*/ 92539 w 140645"/>
                        <a:gd name="connsiteY2" fmla="*/ 86722 h 184866"/>
                        <a:gd name="connsiteX3" fmla="*/ 692 w 140645"/>
                        <a:gd name="connsiteY3" fmla="*/ 14775 h 184866"/>
                        <a:gd name="connsiteX4" fmla="*/ 692 w 140645"/>
                        <a:gd name="connsiteY4" fmla="*/ 12668 h 184866"/>
                        <a:gd name="connsiteX5" fmla="*/ 42937 w 140645"/>
                        <a:gd name="connsiteY5" fmla="*/ 0 h 184866"/>
                        <a:gd name="connsiteX6" fmla="*/ 140645 w 140645"/>
                        <a:gd name="connsiteY6" fmla="*/ 184866 h 18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645" h="184866">
                          <a:moveTo>
                            <a:pt x="140645" y="184866"/>
                          </a:moveTo>
                          <a:cubicBezTo>
                            <a:pt x="140645" y="184866"/>
                            <a:pt x="113101" y="122022"/>
                            <a:pt x="82065" y="97196"/>
                          </a:cubicBezTo>
                          <a:cubicBezTo>
                            <a:pt x="82065" y="97196"/>
                            <a:pt x="85557" y="90213"/>
                            <a:pt x="92539" y="86722"/>
                          </a:cubicBezTo>
                          <a:cubicBezTo>
                            <a:pt x="92539" y="86722"/>
                            <a:pt x="39558" y="31945"/>
                            <a:pt x="692" y="14775"/>
                          </a:cubicBezTo>
                          <a:cubicBezTo>
                            <a:pt x="-231" y="14364"/>
                            <a:pt x="-231" y="13068"/>
                            <a:pt x="692" y="12668"/>
                          </a:cubicBezTo>
                          <a:cubicBezTo>
                            <a:pt x="7550" y="9614"/>
                            <a:pt x="30568" y="1596"/>
                            <a:pt x="42937" y="0"/>
                          </a:cubicBezTo>
                          <a:cubicBezTo>
                            <a:pt x="42937" y="0"/>
                            <a:pt x="119697" y="71585"/>
                            <a:pt x="140645" y="184866"/>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0" name="Freeform: Shape 2619">
                      <a:extLst>
                        <a:ext uri="{FF2B5EF4-FFF2-40B4-BE49-F238E27FC236}">
                          <a16:creationId xmlns:a16="http://schemas.microsoft.com/office/drawing/2014/main" id="{B5E76AD1-129D-E1C2-D899-16F859684DDE}"/>
                        </a:ext>
                      </a:extLst>
                    </p:cNvPr>
                    <p:cNvSpPr/>
                    <p:nvPr/>
                  </p:nvSpPr>
                  <p:spPr>
                    <a:xfrm>
                      <a:off x="7347243" y="5751717"/>
                      <a:ext cx="29893" cy="168233"/>
                    </a:xfrm>
                    <a:custGeom>
                      <a:avLst/>
                      <a:gdLst>
                        <a:gd name="connsiteX0" fmla="*/ 2087 w 29893"/>
                        <a:gd name="connsiteY0" fmla="*/ 0 h 168233"/>
                        <a:gd name="connsiteX1" fmla="*/ 14469 w 29893"/>
                        <a:gd name="connsiteY1" fmla="*/ 168233 h 168233"/>
                        <a:gd name="connsiteX2" fmla="*/ 21576 w 29893"/>
                        <a:gd name="connsiteY2" fmla="*/ 69965 h 168233"/>
                        <a:gd name="connsiteX3" fmla="*/ 13047 w 29893"/>
                        <a:gd name="connsiteY3" fmla="*/ 67246 h 168233"/>
                        <a:gd name="connsiteX4" fmla="*/ 29619 w 29893"/>
                        <a:gd name="connsiteY4" fmla="*/ 7357 h 168233"/>
                        <a:gd name="connsiteX5" fmla="*/ 28247 w 29893"/>
                        <a:gd name="connsiteY5" fmla="*/ 3940 h 168233"/>
                        <a:gd name="connsiteX6" fmla="*/ 2075 w 29893"/>
                        <a:gd name="connsiteY6" fmla="*/ 13 h 16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3" h="168233">
                          <a:moveTo>
                            <a:pt x="2087" y="0"/>
                          </a:moveTo>
                          <a:cubicBezTo>
                            <a:pt x="2087" y="0"/>
                            <a:pt x="-7514" y="90127"/>
                            <a:pt x="14469" y="168233"/>
                          </a:cubicBezTo>
                          <a:cubicBezTo>
                            <a:pt x="14469" y="168233"/>
                            <a:pt x="10329" y="94790"/>
                            <a:pt x="21576" y="69965"/>
                          </a:cubicBezTo>
                          <a:cubicBezTo>
                            <a:pt x="21576" y="69965"/>
                            <a:pt x="19245" y="67633"/>
                            <a:pt x="13047" y="67246"/>
                          </a:cubicBezTo>
                          <a:cubicBezTo>
                            <a:pt x="13047" y="67246"/>
                            <a:pt x="13047" y="38991"/>
                            <a:pt x="29619" y="7357"/>
                          </a:cubicBezTo>
                          <a:cubicBezTo>
                            <a:pt x="30305" y="6035"/>
                            <a:pt x="29656" y="4414"/>
                            <a:pt x="28247" y="3940"/>
                          </a:cubicBezTo>
                          <a:cubicBezTo>
                            <a:pt x="24270" y="2594"/>
                            <a:pt x="15729" y="349"/>
                            <a:pt x="2075" y="13"/>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621" name="Graphic 525">
                <a:extLst>
                  <a:ext uri="{FF2B5EF4-FFF2-40B4-BE49-F238E27FC236}">
                    <a16:creationId xmlns:a16="http://schemas.microsoft.com/office/drawing/2014/main" id="{04585223-639E-ED4D-11C3-8C6650D1C87E}"/>
                  </a:ext>
                </a:extLst>
              </p:cNvPr>
              <p:cNvGrpSpPr/>
              <p:nvPr/>
            </p:nvGrpSpPr>
            <p:grpSpPr>
              <a:xfrm>
                <a:off x="7164078" y="5758326"/>
                <a:ext cx="463455" cy="365523"/>
                <a:chOff x="7164078" y="5758326"/>
                <a:chExt cx="463455" cy="365523"/>
              </a:xfrm>
            </p:grpSpPr>
            <p:sp>
              <p:nvSpPr>
                <p:cNvPr id="2622" name="Freeform: Shape 2621">
                  <a:extLst>
                    <a:ext uri="{FF2B5EF4-FFF2-40B4-BE49-F238E27FC236}">
                      <a16:creationId xmlns:a16="http://schemas.microsoft.com/office/drawing/2014/main" id="{5E02A1DD-DFA7-FBA0-08E2-068FE9E42A84}"/>
                    </a:ext>
                  </a:extLst>
                </p:cNvPr>
                <p:cNvSpPr/>
                <p:nvPr/>
              </p:nvSpPr>
              <p:spPr>
                <a:xfrm>
                  <a:off x="7164078" y="5758326"/>
                  <a:ext cx="123747" cy="297039"/>
                </a:xfrm>
                <a:custGeom>
                  <a:avLst/>
                  <a:gdLst>
                    <a:gd name="connsiteX0" fmla="*/ 51496 w 123747"/>
                    <a:gd name="connsiteY0" fmla="*/ 0 h 297039"/>
                    <a:gd name="connsiteX1" fmla="*/ 83354 w 123747"/>
                    <a:gd name="connsiteY1" fmla="*/ 72146 h 297039"/>
                    <a:gd name="connsiteX2" fmla="*/ 123642 w 123747"/>
                    <a:gd name="connsiteY2" fmla="*/ 261427 h 297039"/>
                    <a:gd name="connsiteX3" fmla="*/ 90848 w 123747"/>
                    <a:gd name="connsiteY3" fmla="*/ 297038 h 297039"/>
                    <a:gd name="connsiteX4" fmla="*/ 29937 w 123747"/>
                    <a:gd name="connsiteY4" fmla="*/ 240815 h 297039"/>
                    <a:gd name="connsiteX5" fmla="*/ 51484 w 123747"/>
                    <a:gd name="connsiteY5" fmla="*/ 0 h 29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747" h="297039">
                      <a:moveTo>
                        <a:pt x="51496" y="0"/>
                      </a:moveTo>
                      <a:cubicBezTo>
                        <a:pt x="51496" y="0"/>
                        <a:pt x="73042" y="27170"/>
                        <a:pt x="83354" y="72146"/>
                      </a:cubicBezTo>
                      <a:cubicBezTo>
                        <a:pt x="93666" y="117122"/>
                        <a:pt x="121772" y="237063"/>
                        <a:pt x="123642" y="261427"/>
                      </a:cubicBezTo>
                      <a:cubicBezTo>
                        <a:pt x="125512" y="285791"/>
                        <a:pt x="102095" y="297038"/>
                        <a:pt x="90848" y="297038"/>
                      </a:cubicBezTo>
                      <a:cubicBezTo>
                        <a:pt x="79601" y="297038"/>
                        <a:pt x="47743" y="297974"/>
                        <a:pt x="29937" y="240815"/>
                      </a:cubicBezTo>
                      <a:cubicBezTo>
                        <a:pt x="12131" y="183657"/>
                        <a:pt x="-37533" y="1870"/>
                        <a:pt x="51484" y="0"/>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23" name="Graphic 525">
                  <a:extLst>
                    <a:ext uri="{FF2B5EF4-FFF2-40B4-BE49-F238E27FC236}">
                      <a16:creationId xmlns:a16="http://schemas.microsoft.com/office/drawing/2014/main" id="{6762864C-2D8E-CA9C-4627-1B9A33FC97F2}"/>
                    </a:ext>
                  </a:extLst>
                </p:cNvPr>
                <p:cNvGrpSpPr/>
                <p:nvPr/>
              </p:nvGrpSpPr>
              <p:grpSpPr>
                <a:xfrm>
                  <a:off x="7222336" y="5931618"/>
                  <a:ext cx="405198" cy="192231"/>
                  <a:chOff x="7222336" y="5931618"/>
                  <a:chExt cx="405198" cy="192231"/>
                </a:xfrm>
              </p:grpSpPr>
              <p:grpSp>
                <p:nvGrpSpPr>
                  <p:cNvPr id="2624" name="Graphic 525">
                    <a:extLst>
                      <a:ext uri="{FF2B5EF4-FFF2-40B4-BE49-F238E27FC236}">
                        <a16:creationId xmlns:a16="http://schemas.microsoft.com/office/drawing/2014/main" id="{C1DC8983-28BC-D23A-B82C-D07F81CBAF4B}"/>
                      </a:ext>
                    </a:extLst>
                  </p:cNvPr>
                  <p:cNvGrpSpPr/>
                  <p:nvPr/>
                </p:nvGrpSpPr>
                <p:grpSpPr>
                  <a:xfrm>
                    <a:off x="7422423" y="5931618"/>
                    <a:ext cx="205110" cy="192231"/>
                    <a:chOff x="7422423" y="5931618"/>
                    <a:chExt cx="205110" cy="192231"/>
                  </a:xfrm>
                </p:grpSpPr>
                <p:sp>
                  <p:nvSpPr>
                    <p:cNvPr id="2625" name="Freeform: Shape 2624">
                      <a:extLst>
                        <a:ext uri="{FF2B5EF4-FFF2-40B4-BE49-F238E27FC236}">
                          <a16:creationId xmlns:a16="http://schemas.microsoft.com/office/drawing/2014/main" id="{BA494D14-7690-31BA-37C3-38E3F6F0CDCD}"/>
                        </a:ext>
                      </a:extLst>
                    </p:cNvPr>
                    <p:cNvSpPr/>
                    <p:nvPr/>
                  </p:nvSpPr>
                  <p:spPr>
                    <a:xfrm>
                      <a:off x="7422423" y="5931618"/>
                      <a:ext cx="202367" cy="190984"/>
                    </a:xfrm>
                    <a:custGeom>
                      <a:avLst/>
                      <a:gdLst>
                        <a:gd name="connsiteX0" fmla="*/ 78705 w 202367"/>
                        <a:gd name="connsiteY0" fmla="*/ 188586 h 190984"/>
                        <a:gd name="connsiteX1" fmla="*/ 200366 w 202367"/>
                        <a:gd name="connsiteY1" fmla="*/ 57298 h 190984"/>
                        <a:gd name="connsiteX2" fmla="*/ 199568 w 202367"/>
                        <a:gd name="connsiteY2" fmla="*/ 46339 h 190984"/>
                        <a:gd name="connsiteX3" fmla="*/ 144106 w 202367"/>
                        <a:gd name="connsiteY3" fmla="*/ 1662 h 190984"/>
                        <a:gd name="connsiteX4" fmla="*/ 133632 w 202367"/>
                        <a:gd name="connsiteY4" fmla="*/ 2684 h 190984"/>
                        <a:gd name="connsiteX5" fmla="*/ 1758 w 202367"/>
                        <a:gd name="connsiteY5" fmla="*/ 160231 h 190984"/>
                        <a:gd name="connsiteX6" fmla="*/ 5487 w 202367"/>
                        <a:gd name="connsiteY6" fmla="*/ 172289 h 190984"/>
                        <a:gd name="connsiteX7" fmla="*/ 71162 w 202367"/>
                        <a:gd name="connsiteY7" fmla="*/ 190706 h 190984"/>
                        <a:gd name="connsiteX8" fmla="*/ 78705 w 202367"/>
                        <a:gd name="connsiteY8" fmla="*/ 188573 h 19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67" h="190984">
                          <a:moveTo>
                            <a:pt x="78705" y="188586"/>
                          </a:moveTo>
                          <a:lnTo>
                            <a:pt x="200366" y="57298"/>
                          </a:lnTo>
                          <a:cubicBezTo>
                            <a:pt x="203322" y="54107"/>
                            <a:pt x="202960" y="49069"/>
                            <a:pt x="199568" y="46339"/>
                          </a:cubicBezTo>
                          <a:lnTo>
                            <a:pt x="144106" y="1662"/>
                          </a:lnTo>
                          <a:cubicBezTo>
                            <a:pt x="140914" y="-907"/>
                            <a:pt x="136263" y="-445"/>
                            <a:pt x="133632" y="2684"/>
                          </a:cubicBezTo>
                          <a:lnTo>
                            <a:pt x="1758" y="160231"/>
                          </a:lnTo>
                          <a:cubicBezTo>
                            <a:pt x="-1745" y="164408"/>
                            <a:pt x="237" y="170817"/>
                            <a:pt x="5487" y="172289"/>
                          </a:cubicBezTo>
                          <a:lnTo>
                            <a:pt x="71162" y="190706"/>
                          </a:lnTo>
                          <a:cubicBezTo>
                            <a:pt x="73880" y="191466"/>
                            <a:pt x="76785" y="190643"/>
                            <a:pt x="78705" y="188573"/>
                          </a:cubicBezTo>
                          <a:close/>
                        </a:path>
                      </a:pathLst>
                    </a:custGeom>
                    <a:solidFill>
                      <a:srgbClr val="F4CEC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6" name="Freeform: Shape 2625">
                      <a:extLst>
                        <a:ext uri="{FF2B5EF4-FFF2-40B4-BE49-F238E27FC236}">
                          <a16:creationId xmlns:a16="http://schemas.microsoft.com/office/drawing/2014/main" id="{66A43195-287A-4268-4318-A49EBC6253DB}"/>
                        </a:ext>
                      </a:extLst>
                    </p:cNvPr>
                    <p:cNvSpPr/>
                    <p:nvPr/>
                  </p:nvSpPr>
                  <p:spPr>
                    <a:xfrm>
                      <a:off x="7425167" y="5932865"/>
                      <a:ext cx="202367" cy="190984"/>
                    </a:xfrm>
                    <a:custGeom>
                      <a:avLst/>
                      <a:gdLst>
                        <a:gd name="connsiteX0" fmla="*/ 78705 w 202367"/>
                        <a:gd name="connsiteY0" fmla="*/ 188586 h 190984"/>
                        <a:gd name="connsiteX1" fmla="*/ 200366 w 202367"/>
                        <a:gd name="connsiteY1" fmla="*/ 57298 h 190984"/>
                        <a:gd name="connsiteX2" fmla="*/ 199568 w 202367"/>
                        <a:gd name="connsiteY2" fmla="*/ 46339 h 190984"/>
                        <a:gd name="connsiteX3" fmla="*/ 144106 w 202367"/>
                        <a:gd name="connsiteY3" fmla="*/ 1662 h 190984"/>
                        <a:gd name="connsiteX4" fmla="*/ 133632 w 202367"/>
                        <a:gd name="connsiteY4" fmla="*/ 2684 h 190984"/>
                        <a:gd name="connsiteX5" fmla="*/ 1758 w 202367"/>
                        <a:gd name="connsiteY5" fmla="*/ 160231 h 190984"/>
                        <a:gd name="connsiteX6" fmla="*/ 5487 w 202367"/>
                        <a:gd name="connsiteY6" fmla="*/ 172289 h 190984"/>
                        <a:gd name="connsiteX7" fmla="*/ 71162 w 202367"/>
                        <a:gd name="connsiteY7" fmla="*/ 190706 h 190984"/>
                        <a:gd name="connsiteX8" fmla="*/ 78705 w 202367"/>
                        <a:gd name="connsiteY8" fmla="*/ 188573 h 19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67" h="190984">
                          <a:moveTo>
                            <a:pt x="78705" y="188586"/>
                          </a:moveTo>
                          <a:lnTo>
                            <a:pt x="200366" y="57298"/>
                          </a:lnTo>
                          <a:cubicBezTo>
                            <a:pt x="203321" y="54107"/>
                            <a:pt x="202960" y="49069"/>
                            <a:pt x="199568" y="46339"/>
                          </a:cubicBezTo>
                          <a:lnTo>
                            <a:pt x="144106" y="1662"/>
                          </a:lnTo>
                          <a:cubicBezTo>
                            <a:pt x="140914" y="-907"/>
                            <a:pt x="136263" y="-445"/>
                            <a:pt x="133632" y="2684"/>
                          </a:cubicBezTo>
                          <a:lnTo>
                            <a:pt x="1758" y="160231"/>
                          </a:lnTo>
                          <a:cubicBezTo>
                            <a:pt x="-1745" y="164408"/>
                            <a:pt x="237" y="170817"/>
                            <a:pt x="5487" y="172289"/>
                          </a:cubicBezTo>
                          <a:lnTo>
                            <a:pt x="71162" y="190706"/>
                          </a:lnTo>
                          <a:cubicBezTo>
                            <a:pt x="73880" y="191466"/>
                            <a:pt x="76785" y="190643"/>
                            <a:pt x="78705" y="188573"/>
                          </a:cubicBez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7" name="Freeform: Shape 2626">
                      <a:extLst>
                        <a:ext uri="{FF2B5EF4-FFF2-40B4-BE49-F238E27FC236}">
                          <a16:creationId xmlns:a16="http://schemas.microsoft.com/office/drawing/2014/main" id="{1100002C-5735-B57F-8C30-9C548DD387CA}"/>
                        </a:ext>
                      </a:extLst>
                    </p:cNvPr>
                    <p:cNvSpPr/>
                    <p:nvPr/>
                  </p:nvSpPr>
                  <p:spPr>
                    <a:xfrm>
                      <a:off x="7571846" y="5934774"/>
                      <a:ext cx="42525" cy="37411"/>
                    </a:xfrm>
                    <a:custGeom>
                      <a:avLst/>
                      <a:gdLst>
                        <a:gd name="connsiteX0" fmla="*/ 40345 w 42525"/>
                        <a:gd name="connsiteY0" fmla="*/ 30077 h 37411"/>
                        <a:gd name="connsiteX1" fmla="*/ 36368 w 42525"/>
                        <a:gd name="connsiteY1" fmla="*/ 35277 h 37411"/>
                        <a:gd name="connsiteX2" fmla="*/ 28836 w 42525"/>
                        <a:gd name="connsiteY2" fmla="*/ 36374 h 37411"/>
                        <a:gd name="connsiteX3" fmla="*/ 2240 w 42525"/>
                        <a:gd name="connsiteY3" fmla="*/ 17010 h 37411"/>
                        <a:gd name="connsiteX4" fmla="*/ 1142 w 42525"/>
                        <a:gd name="connsiteY4" fmla="*/ 9266 h 37411"/>
                        <a:gd name="connsiteX5" fmla="*/ 5532 w 42525"/>
                        <a:gd name="connsiteY5" fmla="*/ 3630 h 37411"/>
                        <a:gd name="connsiteX6" fmla="*/ 18699 w 42525"/>
                        <a:gd name="connsiteY6" fmla="*/ 1822 h 37411"/>
                        <a:gd name="connsiteX7" fmla="*/ 38537 w 42525"/>
                        <a:gd name="connsiteY7" fmla="*/ 16162 h 37411"/>
                        <a:gd name="connsiteX8" fmla="*/ 40333 w 42525"/>
                        <a:gd name="connsiteY8" fmla="*/ 30077 h 3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25" h="37411">
                          <a:moveTo>
                            <a:pt x="40345" y="30077"/>
                          </a:moveTo>
                          <a:lnTo>
                            <a:pt x="36368" y="35277"/>
                          </a:lnTo>
                          <a:cubicBezTo>
                            <a:pt x="34572" y="37621"/>
                            <a:pt x="31230" y="38107"/>
                            <a:pt x="28836" y="36374"/>
                          </a:cubicBezTo>
                          <a:lnTo>
                            <a:pt x="2240" y="17010"/>
                          </a:lnTo>
                          <a:cubicBezTo>
                            <a:pt x="-242" y="15201"/>
                            <a:pt x="-740" y="11685"/>
                            <a:pt x="1142" y="9266"/>
                          </a:cubicBezTo>
                          <a:lnTo>
                            <a:pt x="5532" y="3630"/>
                          </a:lnTo>
                          <a:cubicBezTo>
                            <a:pt x="8736" y="-397"/>
                            <a:pt x="14534" y="-1182"/>
                            <a:pt x="18699" y="1822"/>
                          </a:cubicBezTo>
                          <a:lnTo>
                            <a:pt x="38537" y="16162"/>
                          </a:lnTo>
                          <a:cubicBezTo>
                            <a:pt x="43039" y="19417"/>
                            <a:pt x="43862" y="25788"/>
                            <a:pt x="40333" y="30077"/>
                          </a:cubicBezTo>
                          <a:close/>
                        </a:path>
                      </a:pathLst>
                    </a:custGeom>
                    <a:solidFill>
                      <a:srgbClr val="151D3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28" name="Freeform: Shape 2627">
                    <a:extLst>
                      <a:ext uri="{FF2B5EF4-FFF2-40B4-BE49-F238E27FC236}">
                        <a16:creationId xmlns:a16="http://schemas.microsoft.com/office/drawing/2014/main" id="{B30303E5-14A5-8077-CC72-3F997D7B358D}"/>
                      </a:ext>
                    </a:extLst>
                  </p:cNvPr>
                  <p:cNvSpPr/>
                  <p:nvPr/>
                </p:nvSpPr>
                <p:spPr>
                  <a:xfrm>
                    <a:off x="7437454" y="6003900"/>
                    <a:ext cx="124719" cy="102258"/>
                  </a:xfrm>
                  <a:custGeom>
                    <a:avLst/>
                    <a:gdLst>
                      <a:gd name="connsiteX0" fmla="*/ 5818 w 124719"/>
                      <a:gd name="connsiteY0" fmla="*/ 40217 h 102258"/>
                      <a:gd name="connsiteX1" fmla="*/ 24560 w 124719"/>
                      <a:gd name="connsiteY1" fmla="*/ 28970 h 102258"/>
                      <a:gd name="connsiteX2" fmla="*/ 53613 w 124719"/>
                      <a:gd name="connsiteY2" fmla="*/ 1800 h 102258"/>
                      <a:gd name="connsiteX3" fmla="*/ 48924 w 124719"/>
                      <a:gd name="connsiteY3" fmla="*/ 20541 h 102258"/>
                      <a:gd name="connsiteX4" fmla="*/ 41430 w 124719"/>
                      <a:gd name="connsiteY4" fmla="*/ 49594 h 102258"/>
                      <a:gd name="connsiteX5" fmla="*/ 95783 w 124719"/>
                      <a:gd name="connsiteY5" fmla="*/ 61776 h 102258"/>
                      <a:gd name="connsiteX6" fmla="*/ 123888 w 124719"/>
                      <a:gd name="connsiteY6" fmla="*/ 61776 h 102258"/>
                      <a:gd name="connsiteX7" fmla="*/ 100459 w 124719"/>
                      <a:gd name="connsiteY7" fmla="*/ 76764 h 102258"/>
                      <a:gd name="connsiteX8" fmla="*/ 91094 w 124719"/>
                      <a:gd name="connsiteY8" fmla="*/ 91752 h 102258"/>
                      <a:gd name="connsiteX9" fmla="*/ 70483 w 124719"/>
                      <a:gd name="connsiteY9" fmla="*/ 102064 h 102258"/>
                      <a:gd name="connsiteX10" fmla="*/ 207 w 124719"/>
                      <a:gd name="connsiteY10" fmla="*/ 76764 h 102258"/>
                      <a:gd name="connsiteX11" fmla="*/ 5831 w 124719"/>
                      <a:gd name="connsiteY11" fmla="*/ 40217 h 10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719" h="102258">
                        <a:moveTo>
                          <a:pt x="5818" y="40217"/>
                        </a:moveTo>
                        <a:cubicBezTo>
                          <a:pt x="5818" y="40217"/>
                          <a:pt x="12377" y="35529"/>
                          <a:pt x="24560" y="28970"/>
                        </a:cubicBezTo>
                        <a:cubicBezTo>
                          <a:pt x="36742" y="22411"/>
                          <a:pt x="44236" y="-7577"/>
                          <a:pt x="53613" y="1800"/>
                        </a:cubicBezTo>
                        <a:cubicBezTo>
                          <a:pt x="58051" y="6239"/>
                          <a:pt x="50869" y="15179"/>
                          <a:pt x="48924" y="20541"/>
                        </a:cubicBezTo>
                        <a:cubicBezTo>
                          <a:pt x="45171" y="30853"/>
                          <a:pt x="42365" y="40217"/>
                          <a:pt x="41430" y="49594"/>
                        </a:cubicBezTo>
                        <a:cubicBezTo>
                          <a:pt x="40495" y="58958"/>
                          <a:pt x="78912" y="64581"/>
                          <a:pt x="95783" y="61776"/>
                        </a:cubicBezTo>
                        <a:cubicBezTo>
                          <a:pt x="112654" y="58970"/>
                          <a:pt x="128577" y="53347"/>
                          <a:pt x="123888" y="61776"/>
                        </a:cubicBezTo>
                        <a:cubicBezTo>
                          <a:pt x="119200" y="70205"/>
                          <a:pt x="106082" y="76764"/>
                          <a:pt x="100459" y="76764"/>
                        </a:cubicBezTo>
                        <a:cubicBezTo>
                          <a:pt x="100459" y="76764"/>
                          <a:pt x="106082" y="88946"/>
                          <a:pt x="91094" y="91752"/>
                        </a:cubicBezTo>
                        <a:cubicBezTo>
                          <a:pt x="91094" y="91752"/>
                          <a:pt x="85471" y="103934"/>
                          <a:pt x="70483" y="102064"/>
                        </a:cubicBezTo>
                        <a:cubicBezTo>
                          <a:pt x="55495" y="100193"/>
                          <a:pt x="22689" y="90817"/>
                          <a:pt x="207" y="76764"/>
                        </a:cubicBezTo>
                        <a:cubicBezTo>
                          <a:pt x="207" y="76764"/>
                          <a:pt x="-1663" y="61776"/>
                          <a:pt x="5831" y="40217"/>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9" name="Freeform: Shape 2628">
                    <a:extLst>
                      <a:ext uri="{FF2B5EF4-FFF2-40B4-BE49-F238E27FC236}">
                        <a16:creationId xmlns:a16="http://schemas.microsoft.com/office/drawing/2014/main" id="{FCE92EE9-1362-CA12-4022-889F12644D91}"/>
                      </a:ext>
                    </a:extLst>
                  </p:cNvPr>
                  <p:cNvSpPr/>
                  <p:nvPr/>
                </p:nvSpPr>
                <p:spPr>
                  <a:xfrm>
                    <a:off x="7222336" y="5978493"/>
                    <a:ext cx="231820" cy="110612"/>
                  </a:xfrm>
                  <a:custGeom>
                    <a:avLst/>
                    <a:gdLst>
                      <a:gd name="connsiteX0" fmla="*/ 7291 w 231820"/>
                      <a:gd name="connsiteY0" fmla="*/ 72195 h 110612"/>
                      <a:gd name="connsiteX1" fmla="*/ 219066 w 231820"/>
                      <a:gd name="connsiteY1" fmla="*/ 110612 h 110612"/>
                      <a:gd name="connsiteX2" fmla="*/ 231248 w 231820"/>
                      <a:gd name="connsiteY2" fmla="*/ 56260 h 110612"/>
                      <a:gd name="connsiteX3" fmla="*/ 104750 w 231820"/>
                      <a:gd name="connsiteY3" fmla="*/ 14089 h 110612"/>
                      <a:gd name="connsiteX4" fmla="*/ 7303 w 231820"/>
                      <a:gd name="connsiteY4" fmla="*/ 72183 h 110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820" h="110612">
                        <a:moveTo>
                          <a:pt x="7291" y="72195"/>
                        </a:moveTo>
                        <a:cubicBezTo>
                          <a:pt x="7291" y="72195"/>
                          <a:pt x="74761" y="103119"/>
                          <a:pt x="219066" y="110612"/>
                        </a:cubicBezTo>
                        <a:cubicBezTo>
                          <a:pt x="219066" y="110612"/>
                          <a:pt x="235002" y="90936"/>
                          <a:pt x="231248" y="56260"/>
                        </a:cubicBezTo>
                        <a:cubicBezTo>
                          <a:pt x="231248" y="56260"/>
                          <a:pt x="147556" y="32344"/>
                          <a:pt x="104750" y="14089"/>
                        </a:cubicBezTo>
                        <a:cubicBezTo>
                          <a:pt x="41032" y="-13081"/>
                          <a:pt x="-21749" y="-4652"/>
                          <a:pt x="7303" y="72183"/>
                        </a:cubicBezTo>
                        <a:close/>
                      </a:path>
                    </a:pathLst>
                  </a:custGeom>
                  <a:solidFill>
                    <a:srgbClr val="86C5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631" name="Freeform: Shape 2630">
              <a:extLst>
                <a:ext uri="{FF2B5EF4-FFF2-40B4-BE49-F238E27FC236}">
                  <a16:creationId xmlns:a16="http://schemas.microsoft.com/office/drawing/2014/main" id="{2682CF06-0B71-393A-CC28-2518B4C65881}"/>
                </a:ext>
              </a:extLst>
            </p:cNvPr>
            <p:cNvSpPr/>
            <p:nvPr/>
          </p:nvSpPr>
          <p:spPr>
            <a:xfrm>
              <a:off x="3729160" y="5161060"/>
              <a:ext cx="47705" cy="56468"/>
            </a:xfrm>
            <a:custGeom>
              <a:avLst/>
              <a:gdLst>
                <a:gd name="connsiteX0" fmla="*/ 20189 w 57535"/>
                <a:gd name="connsiteY0" fmla="*/ 0 h 68103"/>
                <a:gd name="connsiteX1" fmla="*/ 687 w 57535"/>
                <a:gd name="connsiteY1" fmla="*/ 38742 h 68103"/>
                <a:gd name="connsiteX2" fmla="*/ 57534 w 57535"/>
                <a:gd name="connsiteY2" fmla="*/ 49328 h 68103"/>
                <a:gd name="connsiteX3" fmla="*/ 20189 w 57535"/>
                <a:gd name="connsiteY3" fmla="*/ 0 h 68103"/>
              </a:gdLst>
              <a:ahLst/>
              <a:cxnLst>
                <a:cxn ang="0">
                  <a:pos x="connsiteX0" y="connsiteY0"/>
                </a:cxn>
                <a:cxn ang="0">
                  <a:pos x="connsiteX1" y="connsiteY1"/>
                </a:cxn>
                <a:cxn ang="0">
                  <a:pos x="connsiteX2" y="connsiteY2"/>
                </a:cxn>
                <a:cxn ang="0">
                  <a:pos x="connsiteX3" y="connsiteY3"/>
                </a:cxn>
              </a:cxnLst>
              <a:rect l="l" t="t" r="r" b="b"/>
              <a:pathLst>
                <a:path w="57535" h="68103">
                  <a:moveTo>
                    <a:pt x="20189" y="0"/>
                  </a:moveTo>
                  <a:cubicBezTo>
                    <a:pt x="20189" y="0"/>
                    <a:pt x="-4375" y="5898"/>
                    <a:pt x="687" y="38742"/>
                  </a:cubicBezTo>
                  <a:cubicBezTo>
                    <a:pt x="4590" y="64104"/>
                    <a:pt x="46386" y="84441"/>
                    <a:pt x="57534" y="49328"/>
                  </a:cubicBezTo>
                  <a:cubicBezTo>
                    <a:pt x="57534" y="49328"/>
                    <a:pt x="58369" y="13105"/>
                    <a:pt x="20189" y="0"/>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2" name="Freeform: Shape 2631">
              <a:extLst>
                <a:ext uri="{FF2B5EF4-FFF2-40B4-BE49-F238E27FC236}">
                  <a16:creationId xmlns:a16="http://schemas.microsoft.com/office/drawing/2014/main" id="{274F4CB3-7C17-4121-87C7-28743092B66F}"/>
                </a:ext>
              </a:extLst>
            </p:cNvPr>
            <p:cNvSpPr/>
            <p:nvPr/>
          </p:nvSpPr>
          <p:spPr>
            <a:xfrm>
              <a:off x="3756521" y="5063884"/>
              <a:ext cx="113516" cy="148557"/>
            </a:xfrm>
            <a:custGeom>
              <a:avLst/>
              <a:gdLst>
                <a:gd name="connsiteX0" fmla="*/ 76806 w 136906"/>
                <a:gd name="connsiteY0" fmla="*/ 676 h 179167"/>
                <a:gd name="connsiteX1" fmla="*/ 127780 w 136906"/>
                <a:gd name="connsiteY1" fmla="*/ 51649 h 179167"/>
                <a:gd name="connsiteX2" fmla="*/ 120560 w 136906"/>
                <a:gd name="connsiteY2" fmla="*/ 175704 h 179167"/>
                <a:gd name="connsiteX3" fmla="*/ 26281 w 136906"/>
                <a:gd name="connsiteY3" fmla="*/ 147736 h 179167"/>
                <a:gd name="connsiteX4" fmla="*/ 15907 w 136906"/>
                <a:gd name="connsiteY4" fmla="*/ 23232 h 179167"/>
                <a:gd name="connsiteX5" fmla="*/ 76806 w 136906"/>
                <a:gd name="connsiteY5" fmla="*/ 676 h 17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906" h="179167">
                  <a:moveTo>
                    <a:pt x="76806" y="676"/>
                  </a:moveTo>
                  <a:cubicBezTo>
                    <a:pt x="76806" y="676"/>
                    <a:pt x="116046" y="5638"/>
                    <a:pt x="127780" y="51649"/>
                  </a:cubicBezTo>
                  <a:cubicBezTo>
                    <a:pt x="139513" y="97660"/>
                    <a:pt x="142668" y="165330"/>
                    <a:pt x="120560" y="175704"/>
                  </a:cubicBezTo>
                  <a:cubicBezTo>
                    <a:pt x="98453" y="186078"/>
                    <a:pt x="44773" y="172101"/>
                    <a:pt x="26281" y="147736"/>
                  </a:cubicBezTo>
                  <a:cubicBezTo>
                    <a:pt x="7790" y="123371"/>
                    <a:pt x="-16575" y="63383"/>
                    <a:pt x="15907" y="23232"/>
                  </a:cubicBezTo>
                  <a:cubicBezTo>
                    <a:pt x="41169" y="-6095"/>
                    <a:pt x="76806" y="676"/>
                    <a:pt x="76806" y="676"/>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34" name="Graphic 525">
              <a:extLst>
                <a:ext uri="{FF2B5EF4-FFF2-40B4-BE49-F238E27FC236}">
                  <a16:creationId xmlns:a16="http://schemas.microsoft.com/office/drawing/2014/main" id="{E608D39C-8D94-1677-5156-977EEA9D8F99}"/>
                </a:ext>
              </a:extLst>
            </p:cNvPr>
            <p:cNvGrpSpPr/>
            <p:nvPr/>
          </p:nvGrpSpPr>
          <p:grpSpPr>
            <a:xfrm>
              <a:off x="3739957" y="5058864"/>
              <a:ext cx="123482" cy="144263"/>
              <a:chOff x="7227734" y="5536579"/>
              <a:chExt cx="148925" cy="173988"/>
            </a:xfrm>
          </p:grpSpPr>
          <p:sp>
            <p:nvSpPr>
              <p:cNvPr id="2635" name="Freeform: Shape 2634">
                <a:extLst>
                  <a:ext uri="{FF2B5EF4-FFF2-40B4-BE49-F238E27FC236}">
                    <a16:creationId xmlns:a16="http://schemas.microsoft.com/office/drawing/2014/main" id="{C0362C66-DABE-8111-EF0F-BD24D4C43069}"/>
                  </a:ext>
                </a:extLst>
              </p:cNvPr>
              <p:cNvSpPr/>
              <p:nvPr/>
            </p:nvSpPr>
            <p:spPr>
              <a:xfrm>
                <a:off x="7227734" y="5536579"/>
                <a:ext cx="148925" cy="173988"/>
              </a:xfrm>
              <a:custGeom>
                <a:avLst/>
                <a:gdLst>
                  <a:gd name="connsiteX0" fmla="*/ 102493 w 148925"/>
                  <a:gd name="connsiteY0" fmla="*/ 24772 h 173988"/>
                  <a:gd name="connsiteX1" fmla="*/ 93777 w 148925"/>
                  <a:gd name="connsiteY1" fmla="*/ 72891 h 173988"/>
                  <a:gd name="connsiteX2" fmla="*/ 56183 w 148925"/>
                  <a:gd name="connsiteY2" fmla="*/ 129126 h 173988"/>
                  <a:gd name="connsiteX3" fmla="*/ 44512 w 148925"/>
                  <a:gd name="connsiteY3" fmla="*/ 173977 h 173988"/>
                  <a:gd name="connsiteX4" fmla="*/ 4386 w 148925"/>
                  <a:gd name="connsiteY4" fmla="*/ 54149 h 173988"/>
                  <a:gd name="connsiteX5" fmla="*/ 85660 w 148925"/>
                  <a:gd name="connsiteY5" fmla="*/ 1617 h 173988"/>
                  <a:gd name="connsiteX6" fmla="*/ 148903 w 148925"/>
                  <a:gd name="connsiteY6" fmla="*/ 62379 h 173988"/>
                  <a:gd name="connsiteX7" fmla="*/ 102493 w 148925"/>
                  <a:gd name="connsiteY7" fmla="*/ 24772 h 17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25" h="173988">
                    <a:moveTo>
                      <a:pt x="102493" y="24772"/>
                    </a:moveTo>
                    <a:cubicBezTo>
                      <a:pt x="102493" y="24772"/>
                      <a:pt x="105199" y="53039"/>
                      <a:pt x="93777" y="72891"/>
                    </a:cubicBezTo>
                    <a:cubicBezTo>
                      <a:pt x="82356" y="92741"/>
                      <a:pt x="57093" y="91831"/>
                      <a:pt x="56183" y="129126"/>
                    </a:cubicBezTo>
                    <a:cubicBezTo>
                      <a:pt x="55285" y="166421"/>
                      <a:pt x="46657" y="174326"/>
                      <a:pt x="44512" y="173977"/>
                    </a:cubicBezTo>
                    <a:cubicBezTo>
                      <a:pt x="-1187" y="166459"/>
                      <a:pt x="-5539" y="89624"/>
                      <a:pt x="4386" y="54149"/>
                    </a:cubicBezTo>
                    <a:cubicBezTo>
                      <a:pt x="14312" y="18662"/>
                      <a:pt x="46569" y="-6799"/>
                      <a:pt x="85660" y="1617"/>
                    </a:cubicBezTo>
                    <a:cubicBezTo>
                      <a:pt x="85660" y="1617"/>
                      <a:pt x="150312" y="-8296"/>
                      <a:pt x="148903" y="62379"/>
                    </a:cubicBezTo>
                    <a:cubicBezTo>
                      <a:pt x="148903" y="62379"/>
                      <a:pt x="135873" y="27179"/>
                      <a:pt x="102493" y="24772"/>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6" name="Freeform: Shape 2635">
                <a:extLst>
                  <a:ext uri="{FF2B5EF4-FFF2-40B4-BE49-F238E27FC236}">
                    <a16:creationId xmlns:a16="http://schemas.microsoft.com/office/drawing/2014/main" id="{B21BFCC7-E4D0-154E-E5E3-C8913C85C134}"/>
                  </a:ext>
                </a:extLst>
              </p:cNvPr>
              <p:cNvSpPr/>
              <p:nvPr/>
            </p:nvSpPr>
            <p:spPr>
              <a:xfrm>
                <a:off x="7313394" y="5538196"/>
                <a:ext cx="16845" cy="23154"/>
              </a:xfrm>
              <a:custGeom>
                <a:avLst/>
                <a:gdLst>
                  <a:gd name="connsiteX0" fmla="*/ 16833 w 16845"/>
                  <a:gd name="connsiteY0" fmla="*/ 23155 h 23154"/>
                  <a:gd name="connsiteX1" fmla="*/ 15536 w 16845"/>
                  <a:gd name="connsiteY1" fmla="*/ 15661 h 23154"/>
                  <a:gd name="connsiteX2" fmla="*/ 12294 w 16845"/>
                  <a:gd name="connsiteY2" fmla="*/ 8728 h 23154"/>
                  <a:gd name="connsiteX3" fmla="*/ 7107 w 16845"/>
                  <a:gd name="connsiteY3" fmla="*/ 2943 h 23154"/>
                  <a:gd name="connsiteX4" fmla="*/ 3741 w 16845"/>
                  <a:gd name="connsiteY4" fmla="*/ 947 h 23154"/>
                  <a:gd name="connsiteX5" fmla="*/ 0 w 16845"/>
                  <a:gd name="connsiteY5" fmla="*/ 0 h 23154"/>
                  <a:gd name="connsiteX6" fmla="*/ 2943 w 16845"/>
                  <a:gd name="connsiteY6" fmla="*/ 2244 h 23154"/>
                  <a:gd name="connsiteX7" fmla="*/ 5461 w 16845"/>
                  <a:gd name="connsiteY7" fmla="*/ 4751 h 23154"/>
                  <a:gd name="connsiteX8" fmla="*/ 9689 w 16845"/>
                  <a:gd name="connsiteY8" fmla="*/ 10399 h 23154"/>
                  <a:gd name="connsiteX9" fmla="*/ 13317 w 16845"/>
                  <a:gd name="connsiteY9" fmla="*/ 16609 h 23154"/>
                  <a:gd name="connsiteX10" fmla="*/ 16846 w 16845"/>
                  <a:gd name="connsiteY10" fmla="*/ 23155 h 2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45" h="23154">
                    <a:moveTo>
                      <a:pt x="16833" y="23155"/>
                    </a:moveTo>
                    <a:cubicBezTo>
                      <a:pt x="16833" y="20586"/>
                      <a:pt x="16309" y="18080"/>
                      <a:pt x="15536" y="15661"/>
                    </a:cubicBezTo>
                    <a:cubicBezTo>
                      <a:pt x="14751" y="13242"/>
                      <a:pt x="13691" y="10898"/>
                      <a:pt x="12294" y="8728"/>
                    </a:cubicBezTo>
                    <a:cubicBezTo>
                      <a:pt x="10910" y="6558"/>
                      <a:pt x="9190" y="4551"/>
                      <a:pt x="7107" y="2943"/>
                    </a:cubicBezTo>
                    <a:cubicBezTo>
                      <a:pt x="6060" y="2157"/>
                      <a:pt x="4938" y="1459"/>
                      <a:pt x="3741" y="947"/>
                    </a:cubicBezTo>
                    <a:cubicBezTo>
                      <a:pt x="2531" y="449"/>
                      <a:pt x="1272" y="100"/>
                      <a:pt x="0" y="0"/>
                    </a:cubicBezTo>
                    <a:cubicBezTo>
                      <a:pt x="1060" y="735"/>
                      <a:pt x="2032" y="1459"/>
                      <a:pt x="2943" y="2244"/>
                    </a:cubicBezTo>
                    <a:cubicBezTo>
                      <a:pt x="3840" y="3030"/>
                      <a:pt x="4676" y="3878"/>
                      <a:pt x="5461" y="4751"/>
                    </a:cubicBezTo>
                    <a:cubicBezTo>
                      <a:pt x="7032" y="6509"/>
                      <a:pt x="8404" y="8404"/>
                      <a:pt x="9689" y="10399"/>
                    </a:cubicBezTo>
                    <a:cubicBezTo>
                      <a:pt x="10973" y="12394"/>
                      <a:pt x="12145" y="14476"/>
                      <a:pt x="13317" y="16609"/>
                    </a:cubicBezTo>
                    <a:cubicBezTo>
                      <a:pt x="14476" y="18741"/>
                      <a:pt x="15611" y="20923"/>
                      <a:pt x="16846" y="23155"/>
                    </a:cubicBezTo>
                    <a:close/>
                  </a:path>
                </a:pathLst>
              </a:custGeom>
              <a:solidFill>
                <a:srgbClr val="732C2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40" name="Graphic 525">
              <a:extLst>
                <a:ext uri="{FF2B5EF4-FFF2-40B4-BE49-F238E27FC236}">
                  <a16:creationId xmlns:a16="http://schemas.microsoft.com/office/drawing/2014/main" id="{EEF3B865-6931-5C4A-5D26-86333B5264B7}"/>
                </a:ext>
              </a:extLst>
            </p:cNvPr>
            <p:cNvGrpSpPr/>
            <p:nvPr/>
          </p:nvGrpSpPr>
          <p:grpSpPr>
            <a:xfrm>
              <a:off x="3771222" y="5138109"/>
              <a:ext cx="24606" cy="34812"/>
              <a:chOff x="7265441" y="5632152"/>
              <a:chExt cx="29676" cy="41985"/>
            </a:xfrm>
          </p:grpSpPr>
          <p:sp>
            <p:nvSpPr>
              <p:cNvPr id="2641" name="Freeform: Shape 2640">
                <a:extLst>
                  <a:ext uri="{FF2B5EF4-FFF2-40B4-BE49-F238E27FC236}">
                    <a16:creationId xmlns:a16="http://schemas.microsoft.com/office/drawing/2014/main" id="{4E67AD6C-5D6E-CD6A-94B4-9D28A04F8C24}"/>
                  </a:ext>
                </a:extLst>
              </p:cNvPr>
              <p:cNvSpPr/>
              <p:nvPr/>
            </p:nvSpPr>
            <p:spPr>
              <a:xfrm>
                <a:off x="7265441" y="5632152"/>
                <a:ext cx="29676" cy="41985"/>
              </a:xfrm>
              <a:custGeom>
                <a:avLst/>
                <a:gdLst>
                  <a:gd name="connsiteX0" fmla="*/ 25696 w 29676"/>
                  <a:gd name="connsiteY0" fmla="*/ 12655 h 41985"/>
                  <a:gd name="connsiteX1" fmla="*/ 3588 w 29676"/>
                  <a:gd name="connsiteY1" fmla="*/ 922 h 41985"/>
                  <a:gd name="connsiteX2" fmla="*/ 18925 w 29676"/>
                  <a:gd name="connsiteY2" fmla="*/ 41970 h 41985"/>
                  <a:gd name="connsiteX3" fmla="*/ 25696 w 29676"/>
                  <a:gd name="connsiteY3" fmla="*/ 12642 h 41985"/>
                </a:gdLst>
                <a:ahLst/>
                <a:cxnLst>
                  <a:cxn ang="0">
                    <a:pos x="connsiteX0" y="connsiteY0"/>
                  </a:cxn>
                  <a:cxn ang="0">
                    <a:pos x="connsiteX1" y="connsiteY1"/>
                  </a:cxn>
                  <a:cxn ang="0">
                    <a:pos x="connsiteX2" y="connsiteY2"/>
                  </a:cxn>
                  <a:cxn ang="0">
                    <a:pos x="connsiteX3" y="connsiteY3"/>
                  </a:cxn>
                </a:cxnLst>
                <a:rect l="l" t="t" r="r" b="b"/>
                <a:pathLst>
                  <a:path w="29676" h="41985">
                    <a:moveTo>
                      <a:pt x="25696" y="12655"/>
                    </a:moveTo>
                    <a:cubicBezTo>
                      <a:pt x="25696" y="12655"/>
                      <a:pt x="16219" y="-4041"/>
                      <a:pt x="3588" y="922"/>
                    </a:cubicBezTo>
                    <a:cubicBezTo>
                      <a:pt x="-6387" y="4837"/>
                      <a:pt x="6294" y="42880"/>
                      <a:pt x="18925" y="41970"/>
                    </a:cubicBezTo>
                    <a:cubicBezTo>
                      <a:pt x="31556" y="41072"/>
                      <a:pt x="32005" y="27980"/>
                      <a:pt x="25696" y="12642"/>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2" name="Freeform: Shape 2641">
                <a:extLst>
                  <a:ext uri="{FF2B5EF4-FFF2-40B4-BE49-F238E27FC236}">
                    <a16:creationId xmlns:a16="http://schemas.microsoft.com/office/drawing/2014/main" id="{734A2B91-9EB5-7A49-556D-38AB93A7F3E7}"/>
                  </a:ext>
                </a:extLst>
              </p:cNvPr>
              <p:cNvSpPr/>
              <p:nvPr/>
            </p:nvSpPr>
            <p:spPr>
              <a:xfrm>
                <a:off x="7273997" y="5642964"/>
                <a:ext cx="14893" cy="16282"/>
              </a:xfrm>
              <a:custGeom>
                <a:avLst/>
                <a:gdLst>
                  <a:gd name="connsiteX0" fmla="*/ 1478 w 14893"/>
                  <a:gd name="connsiteY0" fmla="*/ 2741 h 16282"/>
                  <a:gd name="connsiteX1" fmla="*/ 7 w 14893"/>
                  <a:gd name="connsiteY1" fmla="*/ 1519 h 16282"/>
                  <a:gd name="connsiteX2" fmla="*/ 1229 w 14893"/>
                  <a:gd name="connsiteY2" fmla="*/ 48 h 16282"/>
                  <a:gd name="connsiteX3" fmla="*/ 14870 w 14893"/>
                  <a:gd name="connsiteY3" fmla="*/ 14674 h 16282"/>
                  <a:gd name="connsiteX4" fmla="*/ 13785 w 14893"/>
                  <a:gd name="connsiteY4" fmla="*/ 16258 h 16282"/>
                  <a:gd name="connsiteX5" fmla="*/ 13536 w 14893"/>
                  <a:gd name="connsiteY5" fmla="*/ 16282 h 16282"/>
                  <a:gd name="connsiteX6" fmla="*/ 12202 w 14893"/>
                  <a:gd name="connsiteY6" fmla="*/ 15185 h 16282"/>
                  <a:gd name="connsiteX7" fmla="*/ 10867 w 14893"/>
                  <a:gd name="connsiteY7" fmla="*/ 10808 h 16282"/>
                  <a:gd name="connsiteX8" fmla="*/ 10431 w 14893"/>
                  <a:gd name="connsiteY8" fmla="*/ 10584 h 16282"/>
                  <a:gd name="connsiteX9" fmla="*/ 3598 w 14893"/>
                  <a:gd name="connsiteY9" fmla="*/ 10534 h 16282"/>
                  <a:gd name="connsiteX10" fmla="*/ 2700 w 14893"/>
                  <a:gd name="connsiteY10" fmla="*/ 10870 h 16282"/>
                  <a:gd name="connsiteX11" fmla="*/ 1690 w 14893"/>
                  <a:gd name="connsiteY11" fmla="*/ 10422 h 16282"/>
                  <a:gd name="connsiteX12" fmla="*/ 1802 w 14893"/>
                  <a:gd name="connsiteY12" fmla="*/ 8514 h 16282"/>
                  <a:gd name="connsiteX13" fmla="*/ 8823 w 14893"/>
                  <a:gd name="connsiteY13" fmla="*/ 6856 h 16282"/>
                  <a:gd name="connsiteX14" fmla="*/ 1478 w 14893"/>
                  <a:gd name="connsiteY14" fmla="*/ 2753 h 1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93" h="16282">
                    <a:moveTo>
                      <a:pt x="1478" y="2741"/>
                    </a:moveTo>
                    <a:cubicBezTo>
                      <a:pt x="743" y="2815"/>
                      <a:pt x="69" y="2267"/>
                      <a:pt x="7" y="1519"/>
                    </a:cubicBezTo>
                    <a:cubicBezTo>
                      <a:pt x="-68" y="771"/>
                      <a:pt x="481" y="110"/>
                      <a:pt x="1229" y="48"/>
                    </a:cubicBezTo>
                    <a:cubicBezTo>
                      <a:pt x="11803" y="-950"/>
                      <a:pt x="14745" y="14038"/>
                      <a:pt x="14870" y="14674"/>
                    </a:cubicBezTo>
                    <a:cubicBezTo>
                      <a:pt x="15007" y="15409"/>
                      <a:pt x="14521" y="16121"/>
                      <a:pt x="13785" y="16258"/>
                    </a:cubicBezTo>
                    <a:cubicBezTo>
                      <a:pt x="13698" y="16270"/>
                      <a:pt x="13611" y="16282"/>
                      <a:pt x="13536" y="16282"/>
                    </a:cubicBezTo>
                    <a:cubicBezTo>
                      <a:pt x="12900" y="16282"/>
                      <a:pt x="12326" y="15833"/>
                      <a:pt x="12202" y="15185"/>
                    </a:cubicBezTo>
                    <a:cubicBezTo>
                      <a:pt x="12202" y="15135"/>
                      <a:pt x="11803" y="13165"/>
                      <a:pt x="10867" y="10808"/>
                    </a:cubicBezTo>
                    <a:cubicBezTo>
                      <a:pt x="10718" y="10758"/>
                      <a:pt x="10568" y="10684"/>
                      <a:pt x="10431" y="10584"/>
                    </a:cubicBezTo>
                    <a:cubicBezTo>
                      <a:pt x="10281" y="10472"/>
                      <a:pt x="6740" y="7741"/>
                      <a:pt x="3598" y="10534"/>
                    </a:cubicBezTo>
                    <a:cubicBezTo>
                      <a:pt x="3336" y="10758"/>
                      <a:pt x="3024" y="10870"/>
                      <a:pt x="2700" y="10870"/>
                    </a:cubicBezTo>
                    <a:cubicBezTo>
                      <a:pt x="2326" y="10870"/>
                      <a:pt x="1952" y="10721"/>
                      <a:pt x="1690" y="10422"/>
                    </a:cubicBezTo>
                    <a:cubicBezTo>
                      <a:pt x="1191" y="9861"/>
                      <a:pt x="1241" y="9013"/>
                      <a:pt x="1802" y="8514"/>
                    </a:cubicBezTo>
                    <a:cubicBezTo>
                      <a:pt x="4147" y="6432"/>
                      <a:pt x="6728" y="6307"/>
                      <a:pt x="8823" y="6856"/>
                    </a:cubicBezTo>
                    <a:cubicBezTo>
                      <a:pt x="7152" y="4399"/>
                      <a:pt x="4770" y="2442"/>
                      <a:pt x="1478" y="2753"/>
                    </a:cubicBezTo>
                    <a:close/>
                  </a:path>
                </a:pathLst>
              </a:custGeom>
              <a:solidFill>
                <a:srgbClr val="9966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51" name="Graphic 525">
              <a:extLst>
                <a:ext uri="{FF2B5EF4-FFF2-40B4-BE49-F238E27FC236}">
                  <a16:creationId xmlns:a16="http://schemas.microsoft.com/office/drawing/2014/main" id="{AA2E830F-EE32-6B71-B48A-E383B1DD0997}"/>
                </a:ext>
              </a:extLst>
            </p:cNvPr>
            <p:cNvGrpSpPr/>
            <p:nvPr/>
          </p:nvGrpSpPr>
          <p:grpSpPr>
            <a:xfrm>
              <a:off x="3707295" y="5337096"/>
              <a:ext cx="972602" cy="625556"/>
              <a:chOff x="7188342" y="5872139"/>
              <a:chExt cx="1173000" cy="754447"/>
            </a:xfrm>
          </p:grpSpPr>
          <p:grpSp>
            <p:nvGrpSpPr>
              <p:cNvPr id="2652" name="Graphic 525">
                <a:extLst>
                  <a:ext uri="{FF2B5EF4-FFF2-40B4-BE49-F238E27FC236}">
                    <a16:creationId xmlns:a16="http://schemas.microsoft.com/office/drawing/2014/main" id="{B389605B-5537-7111-0747-E1893400039F}"/>
                  </a:ext>
                </a:extLst>
              </p:cNvPr>
              <p:cNvGrpSpPr/>
              <p:nvPr/>
            </p:nvGrpSpPr>
            <p:grpSpPr>
              <a:xfrm>
                <a:off x="7195025" y="5872139"/>
                <a:ext cx="1166317" cy="752626"/>
                <a:chOff x="7195025" y="5872139"/>
                <a:chExt cx="1166317" cy="752626"/>
              </a:xfrm>
            </p:grpSpPr>
            <p:grpSp>
              <p:nvGrpSpPr>
                <p:cNvPr id="2653" name="Graphic 525">
                  <a:extLst>
                    <a:ext uri="{FF2B5EF4-FFF2-40B4-BE49-F238E27FC236}">
                      <a16:creationId xmlns:a16="http://schemas.microsoft.com/office/drawing/2014/main" id="{EAFF225C-05E9-B740-3D91-8E0C69FC32FF}"/>
                    </a:ext>
                  </a:extLst>
                </p:cNvPr>
                <p:cNvGrpSpPr/>
                <p:nvPr/>
              </p:nvGrpSpPr>
              <p:grpSpPr>
                <a:xfrm>
                  <a:off x="7195037" y="6095522"/>
                  <a:ext cx="1113514" cy="529243"/>
                  <a:chOff x="7195037" y="6095522"/>
                  <a:chExt cx="1113514" cy="529243"/>
                </a:xfrm>
              </p:grpSpPr>
              <p:sp>
                <p:nvSpPr>
                  <p:cNvPr id="2654" name="Freeform: Shape 2653">
                    <a:extLst>
                      <a:ext uri="{FF2B5EF4-FFF2-40B4-BE49-F238E27FC236}">
                        <a16:creationId xmlns:a16="http://schemas.microsoft.com/office/drawing/2014/main" id="{3EB676C7-40BD-1963-B059-842B670EE4ED}"/>
                      </a:ext>
                    </a:extLst>
                  </p:cNvPr>
                  <p:cNvSpPr/>
                  <p:nvPr/>
                </p:nvSpPr>
                <p:spPr>
                  <a:xfrm>
                    <a:off x="7890327" y="6501271"/>
                    <a:ext cx="218608" cy="123481"/>
                  </a:xfrm>
                  <a:custGeom>
                    <a:avLst/>
                    <a:gdLst>
                      <a:gd name="connsiteX0" fmla="*/ 0 w 218608"/>
                      <a:gd name="connsiteY0" fmla="*/ 123481 h 123481"/>
                      <a:gd name="connsiteX1" fmla="*/ 39864 w 218608"/>
                      <a:gd name="connsiteY1" fmla="*/ 123481 h 123481"/>
                      <a:gd name="connsiteX2" fmla="*/ 201052 w 218608"/>
                      <a:gd name="connsiteY2" fmla="*/ 30424 h 123481"/>
                      <a:gd name="connsiteX3" fmla="*/ 218608 w 218608"/>
                      <a:gd name="connsiteY3" fmla="*/ 0 h 123481"/>
                      <a:gd name="connsiteX4" fmla="*/ 0 w 218608"/>
                      <a:gd name="connsiteY4" fmla="*/ 123481 h 123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608" h="123481">
                        <a:moveTo>
                          <a:pt x="0" y="123481"/>
                        </a:moveTo>
                        <a:lnTo>
                          <a:pt x="39864" y="123481"/>
                        </a:lnTo>
                        <a:cubicBezTo>
                          <a:pt x="106361" y="123481"/>
                          <a:pt x="167809" y="88007"/>
                          <a:pt x="201052" y="30424"/>
                        </a:cubicBezTo>
                        <a:lnTo>
                          <a:pt x="218608" y="0"/>
                        </a:lnTo>
                        <a:lnTo>
                          <a:pt x="0" y="123481"/>
                        </a:lnTo>
                        <a:close/>
                      </a:path>
                    </a:pathLst>
                  </a:custGeom>
                  <a:solidFill>
                    <a:srgbClr val="17254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5" name="Freeform: Shape 2654">
                    <a:extLst>
                      <a:ext uri="{FF2B5EF4-FFF2-40B4-BE49-F238E27FC236}">
                        <a16:creationId xmlns:a16="http://schemas.microsoft.com/office/drawing/2014/main" id="{D80D9BD6-80E3-0E2C-1C89-D1C7C46781BA}"/>
                      </a:ext>
                    </a:extLst>
                  </p:cNvPr>
                  <p:cNvSpPr/>
                  <p:nvPr/>
                </p:nvSpPr>
                <p:spPr>
                  <a:xfrm>
                    <a:off x="7832195" y="6452567"/>
                    <a:ext cx="304856" cy="172198"/>
                  </a:xfrm>
                  <a:custGeom>
                    <a:avLst/>
                    <a:gdLst>
                      <a:gd name="connsiteX0" fmla="*/ 0 w 304856"/>
                      <a:gd name="connsiteY0" fmla="*/ 172185 h 172198"/>
                      <a:gd name="connsiteX1" fmla="*/ 97982 w 304856"/>
                      <a:gd name="connsiteY1" fmla="*/ 172185 h 172198"/>
                      <a:gd name="connsiteX2" fmla="*/ 98568 w 304856"/>
                      <a:gd name="connsiteY2" fmla="*/ 172185 h 172198"/>
                      <a:gd name="connsiteX3" fmla="*/ 257275 w 304856"/>
                      <a:gd name="connsiteY3" fmla="*/ 82296 h 172198"/>
                      <a:gd name="connsiteX4" fmla="*/ 259170 w 304856"/>
                      <a:gd name="connsiteY4" fmla="*/ 79129 h 172198"/>
                      <a:gd name="connsiteX5" fmla="*/ 304857 w 304856"/>
                      <a:gd name="connsiteY5" fmla="*/ 0 h 172198"/>
                      <a:gd name="connsiteX6" fmla="*/ 0 w 304856"/>
                      <a:gd name="connsiteY6" fmla="*/ 172198 h 17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56" h="172198">
                        <a:moveTo>
                          <a:pt x="0" y="172185"/>
                        </a:moveTo>
                        <a:lnTo>
                          <a:pt x="97982" y="172185"/>
                        </a:lnTo>
                        <a:cubicBezTo>
                          <a:pt x="98182" y="172185"/>
                          <a:pt x="98369" y="172185"/>
                          <a:pt x="98568" y="172185"/>
                        </a:cubicBezTo>
                        <a:lnTo>
                          <a:pt x="257275" y="82296"/>
                        </a:lnTo>
                        <a:cubicBezTo>
                          <a:pt x="257911" y="81248"/>
                          <a:pt x="258559" y="80201"/>
                          <a:pt x="259170" y="79129"/>
                        </a:cubicBezTo>
                        <a:lnTo>
                          <a:pt x="304857" y="0"/>
                        </a:lnTo>
                        <a:lnTo>
                          <a:pt x="0" y="172198"/>
                        </a:lnTo>
                        <a:close/>
                      </a:path>
                    </a:pathLst>
                  </a:custGeom>
                  <a:solidFill>
                    <a:srgbClr val="1E2C5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56" name="Graphic 525">
                    <a:extLst>
                      <a:ext uri="{FF2B5EF4-FFF2-40B4-BE49-F238E27FC236}">
                        <a16:creationId xmlns:a16="http://schemas.microsoft.com/office/drawing/2014/main" id="{4E67C5AA-06E5-A53A-9FB0-2996FA813E67}"/>
                      </a:ext>
                    </a:extLst>
                  </p:cNvPr>
                  <p:cNvGrpSpPr/>
                  <p:nvPr/>
                </p:nvGrpSpPr>
                <p:grpSpPr>
                  <a:xfrm>
                    <a:off x="7195037" y="6095522"/>
                    <a:ext cx="1113514" cy="529243"/>
                    <a:chOff x="7195037" y="6095522"/>
                    <a:chExt cx="1113514" cy="529243"/>
                  </a:xfrm>
                </p:grpSpPr>
                <p:sp>
                  <p:nvSpPr>
                    <p:cNvPr id="2657" name="Freeform: Shape 2656">
                      <a:extLst>
                        <a:ext uri="{FF2B5EF4-FFF2-40B4-BE49-F238E27FC236}">
                          <a16:creationId xmlns:a16="http://schemas.microsoft.com/office/drawing/2014/main" id="{39089CD3-4BB8-B627-AF45-3C943BB25099}"/>
                        </a:ext>
                      </a:extLst>
                    </p:cNvPr>
                    <p:cNvSpPr/>
                    <p:nvPr/>
                  </p:nvSpPr>
                  <p:spPr>
                    <a:xfrm>
                      <a:off x="7195037" y="6095522"/>
                      <a:ext cx="1113514" cy="529243"/>
                    </a:xfrm>
                    <a:custGeom>
                      <a:avLst/>
                      <a:gdLst>
                        <a:gd name="connsiteX0" fmla="*/ 924072 w 1113514"/>
                        <a:gd name="connsiteY0" fmla="*/ 388130 h 529243"/>
                        <a:gd name="connsiteX1" fmla="*/ 1113515 w 1113514"/>
                        <a:gd name="connsiteY1" fmla="*/ 60006 h 529243"/>
                        <a:gd name="connsiteX2" fmla="*/ 704566 w 1113514"/>
                        <a:gd name="connsiteY2" fmla="*/ 3396 h 529243"/>
                        <a:gd name="connsiteX3" fmla="*/ 667234 w 1113514"/>
                        <a:gd name="connsiteY3" fmla="*/ 3995 h 529243"/>
                        <a:gd name="connsiteX4" fmla="*/ 0 w 1113514"/>
                        <a:gd name="connsiteY4" fmla="*/ 290946 h 529243"/>
                        <a:gd name="connsiteX5" fmla="*/ 83855 w 1113514"/>
                        <a:gd name="connsiteY5" fmla="*/ 436186 h 529243"/>
                        <a:gd name="connsiteX6" fmla="*/ 245043 w 1113514"/>
                        <a:gd name="connsiteY6" fmla="*/ 529243 h 529243"/>
                        <a:gd name="connsiteX7" fmla="*/ 674029 w 1113514"/>
                        <a:gd name="connsiteY7" fmla="*/ 529243 h 529243"/>
                        <a:gd name="connsiteX8" fmla="*/ 924072 w 1113514"/>
                        <a:gd name="connsiteY8" fmla="*/ 388143 h 52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3514" h="529243">
                          <a:moveTo>
                            <a:pt x="924072" y="388130"/>
                          </a:moveTo>
                          <a:lnTo>
                            <a:pt x="1113515" y="60006"/>
                          </a:lnTo>
                          <a:lnTo>
                            <a:pt x="704566" y="3396"/>
                          </a:lnTo>
                          <a:cubicBezTo>
                            <a:pt x="692533" y="-1329"/>
                            <a:pt x="679117" y="-1118"/>
                            <a:pt x="667234" y="3995"/>
                          </a:cubicBezTo>
                          <a:lnTo>
                            <a:pt x="0" y="290946"/>
                          </a:lnTo>
                          <a:lnTo>
                            <a:pt x="83855" y="436186"/>
                          </a:lnTo>
                          <a:cubicBezTo>
                            <a:pt x="117097" y="493768"/>
                            <a:pt x="178545" y="529243"/>
                            <a:pt x="245043" y="529243"/>
                          </a:cubicBezTo>
                          <a:lnTo>
                            <a:pt x="674029" y="529243"/>
                          </a:lnTo>
                          <a:lnTo>
                            <a:pt x="924072" y="388143"/>
                          </a:ln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8" name="Freeform: Shape 2657">
                      <a:extLst>
                        <a:ext uri="{FF2B5EF4-FFF2-40B4-BE49-F238E27FC236}">
                          <a16:creationId xmlns:a16="http://schemas.microsoft.com/office/drawing/2014/main" id="{EC8511FE-5681-82E5-09D6-B462DDA0AC2D}"/>
                        </a:ext>
                      </a:extLst>
                    </p:cNvPr>
                    <p:cNvSpPr/>
                    <p:nvPr/>
                  </p:nvSpPr>
                  <p:spPr>
                    <a:xfrm>
                      <a:off x="7770324" y="6401681"/>
                      <a:ext cx="396105" cy="223071"/>
                    </a:xfrm>
                    <a:custGeom>
                      <a:avLst/>
                      <a:gdLst>
                        <a:gd name="connsiteX0" fmla="*/ 98793 w 396105"/>
                        <a:gd name="connsiteY0" fmla="*/ 223072 h 223071"/>
                        <a:gd name="connsiteX1" fmla="*/ 348773 w 396105"/>
                        <a:gd name="connsiteY1" fmla="*/ 81984 h 223071"/>
                        <a:gd name="connsiteX2" fmla="*/ 396106 w 396105"/>
                        <a:gd name="connsiteY2" fmla="*/ 0 h 223071"/>
                        <a:gd name="connsiteX3" fmla="*/ 0 w 396105"/>
                        <a:gd name="connsiteY3" fmla="*/ 223072 h 223071"/>
                        <a:gd name="connsiteX4" fmla="*/ 98793 w 396105"/>
                        <a:gd name="connsiteY4" fmla="*/ 223072 h 22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105" h="223071">
                          <a:moveTo>
                            <a:pt x="98793" y="223072"/>
                          </a:moveTo>
                          <a:lnTo>
                            <a:pt x="348773" y="81984"/>
                          </a:lnTo>
                          <a:lnTo>
                            <a:pt x="396106" y="0"/>
                          </a:lnTo>
                          <a:lnTo>
                            <a:pt x="0" y="223072"/>
                          </a:lnTo>
                          <a:lnTo>
                            <a:pt x="98793" y="223072"/>
                          </a:ln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59" name="Graphic 525">
                  <a:extLst>
                    <a:ext uri="{FF2B5EF4-FFF2-40B4-BE49-F238E27FC236}">
                      <a16:creationId xmlns:a16="http://schemas.microsoft.com/office/drawing/2014/main" id="{AEAF76AC-F76D-C111-97CA-8A0D36CAD69B}"/>
                    </a:ext>
                  </a:extLst>
                </p:cNvPr>
                <p:cNvGrpSpPr/>
                <p:nvPr/>
              </p:nvGrpSpPr>
              <p:grpSpPr>
                <a:xfrm>
                  <a:off x="7745747" y="5872139"/>
                  <a:ext cx="615594" cy="528070"/>
                  <a:chOff x="7745747" y="5872139"/>
                  <a:chExt cx="615594" cy="528070"/>
                </a:xfrm>
              </p:grpSpPr>
              <p:sp>
                <p:nvSpPr>
                  <p:cNvPr id="2660" name="Freeform: Shape 2659">
                    <a:extLst>
                      <a:ext uri="{FF2B5EF4-FFF2-40B4-BE49-F238E27FC236}">
                        <a16:creationId xmlns:a16="http://schemas.microsoft.com/office/drawing/2014/main" id="{859B3046-D227-A762-3988-81F8B0756EC5}"/>
                      </a:ext>
                    </a:extLst>
                  </p:cNvPr>
                  <p:cNvSpPr/>
                  <p:nvPr/>
                </p:nvSpPr>
                <p:spPr>
                  <a:xfrm>
                    <a:off x="7745747" y="5872139"/>
                    <a:ext cx="615594" cy="528070"/>
                  </a:xfrm>
                  <a:custGeom>
                    <a:avLst/>
                    <a:gdLst>
                      <a:gd name="connsiteX0" fmla="*/ 421542 w 615594"/>
                      <a:gd name="connsiteY0" fmla="*/ 528071 h 528070"/>
                      <a:gd name="connsiteX1" fmla="*/ 590673 w 615594"/>
                      <a:gd name="connsiteY1" fmla="*/ 235122 h 528070"/>
                      <a:gd name="connsiteX2" fmla="*/ 614851 w 615594"/>
                      <a:gd name="connsiteY2" fmla="*/ 125444 h 528070"/>
                      <a:gd name="connsiteX3" fmla="*/ 270417 w 615594"/>
                      <a:gd name="connsiteY3" fmla="*/ 2511 h 528070"/>
                      <a:gd name="connsiteX4" fmla="*/ 223047 w 615594"/>
                      <a:gd name="connsiteY4" fmla="*/ 15192 h 528070"/>
                      <a:gd name="connsiteX5" fmla="*/ 0 w 615594"/>
                      <a:gd name="connsiteY5" fmla="*/ 277480 h 528070"/>
                      <a:gd name="connsiteX6" fmla="*/ 421542 w 615594"/>
                      <a:gd name="connsiteY6" fmla="*/ 528071 h 52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594" h="528070">
                        <a:moveTo>
                          <a:pt x="421542" y="528071"/>
                        </a:moveTo>
                        <a:lnTo>
                          <a:pt x="590673" y="235122"/>
                        </a:lnTo>
                        <a:cubicBezTo>
                          <a:pt x="610162" y="201355"/>
                          <a:pt x="618218" y="163013"/>
                          <a:pt x="614851" y="125444"/>
                        </a:cubicBezTo>
                        <a:lnTo>
                          <a:pt x="270417" y="2511"/>
                        </a:lnTo>
                        <a:cubicBezTo>
                          <a:pt x="253521" y="-3512"/>
                          <a:pt x="234668" y="1526"/>
                          <a:pt x="223047" y="15192"/>
                        </a:cubicBezTo>
                        <a:lnTo>
                          <a:pt x="0" y="277480"/>
                        </a:lnTo>
                        <a:lnTo>
                          <a:pt x="421542" y="528071"/>
                        </a:lnTo>
                        <a:close/>
                      </a:path>
                    </a:pathLst>
                  </a:custGeom>
                  <a:solidFill>
                    <a:srgbClr val="FFDAD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1" name="Freeform: Shape 2660">
                    <a:extLst>
                      <a:ext uri="{FF2B5EF4-FFF2-40B4-BE49-F238E27FC236}">
                        <a16:creationId xmlns:a16="http://schemas.microsoft.com/office/drawing/2014/main" id="{D446F656-85E8-895A-5ABC-95D8C3B21314}"/>
                      </a:ext>
                    </a:extLst>
                  </p:cNvPr>
                  <p:cNvSpPr/>
                  <p:nvPr/>
                </p:nvSpPr>
                <p:spPr>
                  <a:xfrm>
                    <a:off x="8143362" y="6056162"/>
                    <a:ext cx="213208" cy="344034"/>
                  </a:xfrm>
                  <a:custGeom>
                    <a:avLst/>
                    <a:gdLst>
                      <a:gd name="connsiteX0" fmla="*/ 213209 w 213208"/>
                      <a:gd name="connsiteY0" fmla="*/ 0 h 344034"/>
                      <a:gd name="connsiteX1" fmla="*/ 0 w 213208"/>
                      <a:gd name="connsiteY1" fmla="*/ 329807 h 344034"/>
                      <a:gd name="connsiteX2" fmla="*/ 23941 w 213208"/>
                      <a:gd name="connsiteY2" fmla="*/ 344035 h 344034"/>
                      <a:gd name="connsiteX3" fmla="*/ 193072 w 213208"/>
                      <a:gd name="connsiteY3" fmla="*/ 51086 h 344034"/>
                      <a:gd name="connsiteX4" fmla="*/ 213209 w 213208"/>
                      <a:gd name="connsiteY4" fmla="*/ 0 h 34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208" h="344034">
                        <a:moveTo>
                          <a:pt x="213209" y="0"/>
                        </a:moveTo>
                        <a:cubicBezTo>
                          <a:pt x="169729" y="68568"/>
                          <a:pt x="40400" y="267649"/>
                          <a:pt x="0" y="329807"/>
                        </a:cubicBezTo>
                        <a:lnTo>
                          <a:pt x="23941" y="344035"/>
                        </a:lnTo>
                        <a:lnTo>
                          <a:pt x="193072" y="51086"/>
                        </a:lnTo>
                        <a:cubicBezTo>
                          <a:pt x="202411" y="34913"/>
                          <a:pt x="209119" y="17694"/>
                          <a:pt x="213209" y="0"/>
                        </a:cubicBezTo>
                        <a:close/>
                      </a:path>
                    </a:pathLst>
                  </a:custGeom>
                  <a:solidFill>
                    <a:srgbClr val="F2CBC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62" name="Graphic 525">
                  <a:extLst>
                    <a:ext uri="{FF2B5EF4-FFF2-40B4-BE49-F238E27FC236}">
                      <a16:creationId xmlns:a16="http://schemas.microsoft.com/office/drawing/2014/main" id="{40008B76-7F19-4438-DEDE-E992021BDAD6}"/>
                    </a:ext>
                  </a:extLst>
                </p:cNvPr>
                <p:cNvGrpSpPr/>
                <p:nvPr/>
              </p:nvGrpSpPr>
              <p:grpSpPr>
                <a:xfrm>
                  <a:off x="7195025" y="6149605"/>
                  <a:ext cx="973112" cy="475147"/>
                  <a:chOff x="7195025" y="6149605"/>
                  <a:chExt cx="973112" cy="475147"/>
                </a:xfrm>
              </p:grpSpPr>
              <p:sp>
                <p:nvSpPr>
                  <p:cNvPr id="2663" name="Freeform: Shape 2662">
                    <a:extLst>
                      <a:ext uri="{FF2B5EF4-FFF2-40B4-BE49-F238E27FC236}">
                        <a16:creationId xmlns:a16="http://schemas.microsoft.com/office/drawing/2014/main" id="{BE6BA19D-107B-B963-D828-EC43A3E77C13}"/>
                      </a:ext>
                    </a:extLst>
                  </p:cNvPr>
                  <p:cNvSpPr/>
                  <p:nvPr/>
                </p:nvSpPr>
                <p:spPr>
                  <a:xfrm>
                    <a:off x="7195025" y="6149605"/>
                    <a:ext cx="973100" cy="475135"/>
                  </a:xfrm>
                  <a:custGeom>
                    <a:avLst/>
                    <a:gdLst>
                      <a:gd name="connsiteX0" fmla="*/ 948487 w 973100"/>
                      <a:gd name="connsiteY0" fmla="*/ 175228 h 475135"/>
                      <a:gd name="connsiteX1" fmla="*/ 550723 w 973100"/>
                      <a:gd name="connsiteY1" fmla="*/ 0 h 475135"/>
                      <a:gd name="connsiteX2" fmla="*/ 0 w 973100"/>
                      <a:gd name="connsiteY2" fmla="*/ 236838 h 475135"/>
                      <a:gd name="connsiteX3" fmla="*/ 83855 w 973100"/>
                      <a:gd name="connsiteY3" fmla="*/ 382078 h 475135"/>
                      <a:gd name="connsiteX4" fmla="*/ 245043 w 973100"/>
                      <a:gd name="connsiteY4" fmla="*/ 475135 h 475135"/>
                      <a:gd name="connsiteX5" fmla="*/ 575237 w 973100"/>
                      <a:gd name="connsiteY5" fmla="*/ 475135 h 475135"/>
                      <a:gd name="connsiteX6" fmla="*/ 971405 w 973100"/>
                      <a:gd name="connsiteY6" fmla="*/ 252050 h 475135"/>
                      <a:gd name="connsiteX7" fmla="*/ 973100 w 973100"/>
                      <a:gd name="connsiteY7" fmla="*/ 249108 h 475135"/>
                      <a:gd name="connsiteX8" fmla="*/ 973100 w 973100"/>
                      <a:gd name="connsiteY8" fmla="*/ 212985 h 475135"/>
                      <a:gd name="connsiteX9" fmla="*/ 948474 w 973100"/>
                      <a:gd name="connsiteY9" fmla="*/ 175228 h 47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100" h="475135">
                        <a:moveTo>
                          <a:pt x="948487" y="175228"/>
                        </a:moveTo>
                        <a:lnTo>
                          <a:pt x="550723" y="0"/>
                        </a:lnTo>
                        <a:lnTo>
                          <a:pt x="0" y="236838"/>
                        </a:lnTo>
                        <a:lnTo>
                          <a:pt x="83855" y="382078"/>
                        </a:lnTo>
                        <a:cubicBezTo>
                          <a:pt x="117097" y="439660"/>
                          <a:pt x="178545" y="475135"/>
                          <a:pt x="245043" y="475135"/>
                        </a:cubicBezTo>
                        <a:lnTo>
                          <a:pt x="575237" y="475135"/>
                        </a:lnTo>
                        <a:lnTo>
                          <a:pt x="971405" y="252050"/>
                        </a:lnTo>
                        <a:lnTo>
                          <a:pt x="973100" y="249108"/>
                        </a:lnTo>
                        <a:lnTo>
                          <a:pt x="973100" y="212985"/>
                        </a:lnTo>
                        <a:cubicBezTo>
                          <a:pt x="973100" y="196625"/>
                          <a:pt x="963437" y="181812"/>
                          <a:pt x="948474" y="175228"/>
                        </a:cubicBezTo>
                        <a:close/>
                      </a:path>
                    </a:pathLst>
                  </a:custGeom>
                  <a:solidFill>
                    <a:srgbClr val="FFE0D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4" name="Freeform: Shape 2663">
                    <a:extLst>
                      <a:ext uri="{FF2B5EF4-FFF2-40B4-BE49-F238E27FC236}">
                        <a16:creationId xmlns:a16="http://schemas.microsoft.com/office/drawing/2014/main" id="{D4BD7D4E-2640-6740-774E-2DED0A147F0D}"/>
                      </a:ext>
                    </a:extLst>
                  </p:cNvPr>
                  <p:cNvSpPr/>
                  <p:nvPr/>
                </p:nvSpPr>
                <p:spPr>
                  <a:xfrm>
                    <a:off x="7653389" y="6338138"/>
                    <a:ext cx="514749" cy="286614"/>
                  </a:xfrm>
                  <a:custGeom>
                    <a:avLst/>
                    <a:gdLst>
                      <a:gd name="connsiteX0" fmla="*/ 12 w 514749"/>
                      <a:gd name="connsiteY0" fmla="*/ 286614 h 286614"/>
                      <a:gd name="connsiteX1" fmla="*/ 116885 w 514749"/>
                      <a:gd name="connsiteY1" fmla="*/ 286614 h 286614"/>
                      <a:gd name="connsiteX2" fmla="*/ 513053 w 514749"/>
                      <a:gd name="connsiteY2" fmla="*/ 63530 h 286614"/>
                      <a:gd name="connsiteX3" fmla="*/ 514749 w 514749"/>
                      <a:gd name="connsiteY3" fmla="*/ 60587 h 286614"/>
                      <a:gd name="connsiteX4" fmla="*/ 514749 w 514749"/>
                      <a:gd name="connsiteY4" fmla="*/ 24465 h 286614"/>
                      <a:gd name="connsiteX5" fmla="*/ 506707 w 514749"/>
                      <a:gd name="connsiteY5" fmla="*/ 0 h 286614"/>
                      <a:gd name="connsiteX6" fmla="*/ 0 w 514749"/>
                      <a:gd name="connsiteY6" fmla="*/ 286614 h 28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749" h="286614">
                        <a:moveTo>
                          <a:pt x="12" y="286614"/>
                        </a:moveTo>
                        <a:lnTo>
                          <a:pt x="116885" y="286614"/>
                        </a:lnTo>
                        <a:lnTo>
                          <a:pt x="513053" y="63530"/>
                        </a:lnTo>
                        <a:lnTo>
                          <a:pt x="514749" y="60587"/>
                        </a:lnTo>
                        <a:lnTo>
                          <a:pt x="514749" y="24465"/>
                        </a:lnTo>
                        <a:cubicBezTo>
                          <a:pt x="514749" y="15474"/>
                          <a:pt x="511831" y="6958"/>
                          <a:pt x="506707" y="0"/>
                        </a:cubicBezTo>
                        <a:lnTo>
                          <a:pt x="0" y="286614"/>
                        </a:lnTo>
                        <a:close/>
                      </a:path>
                    </a:pathLst>
                  </a:custGeom>
                  <a:solidFill>
                    <a:srgbClr val="F4D3C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65" name="Graphic 525">
                <a:extLst>
                  <a:ext uri="{FF2B5EF4-FFF2-40B4-BE49-F238E27FC236}">
                    <a16:creationId xmlns:a16="http://schemas.microsoft.com/office/drawing/2014/main" id="{64D9538A-0000-6749-E840-185384D2A4B7}"/>
                  </a:ext>
                </a:extLst>
              </p:cNvPr>
              <p:cNvGrpSpPr/>
              <p:nvPr/>
            </p:nvGrpSpPr>
            <p:grpSpPr>
              <a:xfrm>
                <a:off x="7188342" y="5903350"/>
                <a:ext cx="1138296" cy="723236"/>
                <a:chOff x="7188342" y="5903350"/>
                <a:chExt cx="1138296" cy="723236"/>
              </a:xfrm>
            </p:grpSpPr>
            <p:grpSp>
              <p:nvGrpSpPr>
                <p:cNvPr id="2666" name="Graphic 525">
                  <a:extLst>
                    <a:ext uri="{FF2B5EF4-FFF2-40B4-BE49-F238E27FC236}">
                      <a16:creationId xmlns:a16="http://schemas.microsoft.com/office/drawing/2014/main" id="{5AFD5779-8B46-E60C-0DBD-5C5A6CF2B542}"/>
                    </a:ext>
                  </a:extLst>
                </p:cNvPr>
                <p:cNvGrpSpPr/>
                <p:nvPr/>
              </p:nvGrpSpPr>
              <p:grpSpPr>
                <a:xfrm>
                  <a:off x="7834775" y="5903350"/>
                  <a:ext cx="491863" cy="427340"/>
                  <a:chOff x="7834775" y="5903350"/>
                  <a:chExt cx="491863" cy="427340"/>
                </a:xfrm>
              </p:grpSpPr>
              <p:sp>
                <p:nvSpPr>
                  <p:cNvPr id="2667" name="Freeform: Shape 2666">
                    <a:extLst>
                      <a:ext uri="{FF2B5EF4-FFF2-40B4-BE49-F238E27FC236}">
                        <a16:creationId xmlns:a16="http://schemas.microsoft.com/office/drawing/2014/main" id="{48562D75-2926-000E-6167-C05FBA52AA72}"/>
                      </a:ext>
                    </a:extLst>
                  </p:cNvPr>
                  <p:cNvSpPr/>
                  <p:nvPr/>
                </p:nvSpPr>
                <p:spPr>
                  <a:xfrm>
                    <a:off x="7834775" y="5903350"/>
                    <a:ext cx="491851" cy="427340"/>
                  </a:xfrm>
                  <a:custGeom>
                    <a:avLst/>
                    <a:gdLst>
                      <a:gd name="connsiteX0" fmla="*/ 32982 w 491851"/>
                      <a:gd name="connsiteY0" fmla="*/ 275458 h 427340"/>
                      <a:gd name="connsiteX1" fmla="*/ 13007 w 491851"/>
                      <a:gd name="connsiteY1" fmla="*/ 263451 h 427340"/>
                      <a:gd name="connsiteX2" fmla="*/ 16473 w 491851"/>
                      <a:gd name="connsiteY2" fmla="*/ 231555 h 427340"/>
                      <a:gd name="connsiteX3" fmla="*/ 61961 w 491851"/>
                      <a:gd name="connsiteY3" fmla="*/ 159322 h 427340"/>
                      <a:gd name="connsiteX4" fmla="*/ 149107 w 491851"/>
                      <a:gd name="connsiteY4" fmla="*/ 69394 h 427340"/>
                      <a:gd name="connsiteX5" fmla="*/ 193048 w 491851"/>
                      <a:gd name="connsiteY5" fmla="*/ 2797 h 427340"/>
                      <a:gd name="connsiteX6" fmla="*/ 236528 w 491851"/>
                      <a:gd name="connsiteY6" fmla="*/ 18969 h 427340"/>
                      <a:gd name="connsiteX7" fmla="*/ 415360 w 491851"/>
                      <a:gd name="connsiteY7" fmla="*/ 94208 h 427340"/>
                      <a:gd name="connsiteX8" fmla="*/ 487157 w 491851"/>
                      <a:gd name="connsiteY8" fmla="*/ 154845 h 427340"/>
                      <a:gd name="connsiteX9" fmla="*/ 430684 w 491851"/>
                      <a:gd name="connsiteY9" fmla="*/ 229522 h 427340"/>
                      <a:gd name="connsiteX10" fmla="*/ 349336 w 491851"/>
                      <a:gd name="connsiteY10" fmla="*/ 358029 h 427340"/>
                      <a:gd name="connsiteX11" fmla="*/ 297015 w 491851"/>
                      <a:gd name="connsiteY11" fmla="*/ 418279 h 427340"/>
                      <a:gd name="connsiteX12" fmla="*/ 232438 w 491851"/>
                      <a:gd name="connsiteY12" fmla="*/ 400162 h 427340"/>
                      <a:gd name="connsiteX13" fmla="*/ 32970 w 491851"/>
                      <a:gd name="connsiteY13" fmla="*/ 275446 h 4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851" h="427340">
                        <a:moveTo>
                          <a:pt x="32982" y="275458"/>
                        </a:moveTo>
                        <a:cubicBezTo>
                          <a:pt x="27459" y="269810"/>
                          <a:pt x="20588" y="265683"/>
                          <a:pt x="13007" y="263451"/>
                        </a:cubicBezTo>
                        <a:cubicBezTo>
                          <a:pt x="1386" y="260034"/>
                          <a:pt x="-10746" y="251618"/>
                          <a:pt x="16473" y="231555"/>
                        </a:cubicBezTo>
                        <a:cubicBezTo>
                          <a:pt x="30938" y="220881"/>
                          <a:pt x="45177" y="179983"/>
                          <a:pt x="61961" y="159322"/>
                        </a:cubicBezTo>
                        <a:cubicBezTo>
                          <a:pt x="78744" y="138660"/>
                          <a:pt x="131451" y="96901"/>
                          <a:pt x="149107" y="69394"/>
                        </a:cubicBezTo>
                        <a:cubicBezTo>
                          <a:pt x="166763" y="41887"/>
                          <a:pt x="176926" y="12934"/>
                          <a:pt x="193048" y="2797"/>
                        </a:cubicBezTo>
                        <a:cubicBezTo>
                          <a:pt x="209171" y="-7341"/>
                          <a:pt x="212114" y="12885"/>
                          <a:pt x="236528" y="18969"/>
                        </a:cubicBezTo>
                        <a:cubicBezTo>
                          <a:pt x="260942" y="25054"/>
                          <a:pt x="323475" y="40902"/>
                          <a:pt x="415360" y="94208"/>
                        </a:cubicBezTo>
                        <a:cubicBezTo>
                          <a:pt x="463228" y="121976"/>
                          <a:pt x="506422" y="122924"/>
                          <a:pt x="487157" y="154845"/>
                        </a:cubicBezTo>
                        <a:cubicBezTo>
                          <a:pt x="467892" y="186766"/>
                          <a:pt x="442019" y="199273"/>
                          <a:pt x="430684" y="229522"/>
                        </a:cubicBezTo>
                        <a:cubicBezTo>
                          <a:pt x="419350" y="259773"/>
                          <a:pt x="387142" y="326345"/>
                          <a:pt x="349336" y="358029"/>
                        </a:cubicBezTo>
                        <a:cubicBezTo>
                          <a:pt x="311530" y="389713"/>
                          <a:pt x="307552" y="396097"/>
                          <a:pt x="297015" y="418279"/>
                        </a:cubicBezTo>
                        <a:cubicBezTo>
                          <a:pt x="286479" y="440462"/>
                          <a:pt x="251877" y="417020"/>
                          <a:pt x="232438" y="400162"/>
                        </a:cubicBezTo>
                        <a:cubicBezTo>
                          <a:pt x="214520" y="384625"/>
                          <a:pt x="73058" y="316469"/>
                          <a:pt x="32970" y="27544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8" name="Freeform: Shape 2667">
                    <a:extLst>
                      <a:ext uri="{FF2B5EF4-FFF2-40B4-BE49-F238E27FC236}">
                        <a16:creationId xmlns:a16="http://schemas.microsoft.com/office/drawing/2014/main" id="{52BF44C6-C596-7E0A-A4BE-05629AA6A757}"/>
                      </a:ext>
                    </a:extLst>
                  </p:cNvPr>
                  <p:cNvSpPr/>
                  <p:nvPr/>
                </p:nvSpPr>
                <p:spPr>
                  <a:xfrm>
                    <a:off x="8095293" y="6017720"/>
                    <a:ext cx="231345" cy="312968"/>
                  </a:xfrm>
                  <a:custGeom>
                    <a:avLst/>
                    <a:gdLst>
                      <a:gd name="connsiteX0" fmla="*/ 226651 w 231345"/>
                      <a:gd name="connsiteY0" fmla="*/ 40475 h 312968"/>
                      <a:gd name="connsiteX1" fmla="*/ 197136 w 231345"/>
                      <a:gd name="connsiteY1" fmla="*/ 0 h 312968"/>
                      <a:gd name="connsiteX2" fmla="*/ 202037 w 231345"/>
                      <a:gd name="connsiteY2" fmla="*/ 19602 h 312968"/>
                      <a:gd name="connsiteX3" fmla="*/ 159492 w 231345"/>
                      <a:gd name="connsiteY3" fmla="*/ 73244 h 312968"/>
                      <a:gd name="connsiteX4" fmla="*/ 73468 w 231345"/>
                      <a:gd name="connsiteY4" fmla="*/ 184244 h 312968"/>
                      <a:gd name="connsiteX5" fmla="*/ 24440 w 231345"/>
                      <a:gd name="connsiteY5" fmla="*/ 273036 h 312968"/>
                      <a:gd name="connsiteX6" fmla="*/ 0 w 231345"/>
                      <a:gd name="connsiteY6" fmla="*/ 305817 h 312968"/>
                      <a:gd name="connsiteX7" fmla="*/ 36510 w 231345"/>
                      <a:gd name="connsiteY7" fmla="*/ 303909 h 312968"/>
                      <a:gd name="connsiteX8" fmla="*/ 88830 w 231345"/>
                      <a:gd name="connsiteY8" fmla="*/ 243659 h 312968"/>
                      <a:gd name="connsiteX9" fmla="*/ 170178 w 231345"/>
                      <a:gd name="connsiteY9" fmla="*/ 115152 h 312968"/>
                      <a:gd name="connsiteX10" fmla="*/ 226651 w 231345"/>
                      <a:gd name="connsiteY10" fmla="*/ 40475 h 31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345" h="312968">
                        <a:moveTo>
                          <a:pt x="226651" y="40475"/>
                        </a:moveTo>
                        <a:cubicBezTo>
                          <a:pt x="239806" y="18679"/>
                          <a:pt x="223833" y="11322"/>
                          <a:pt x="197136" y="0"/>
                        </a:cubicBezTo>
                        <a:cubicBezTo>
                          <a:pt x="200752" y="5287"/>
                          <a:pt x="203845" y="12332"/>
                          <a:pt x="202037" y="19602"/>
                        </a:cubicBezTo>
                        <a:cubicBezTo>
                          <a:pt x="198333" y="34403"/>
                          <a:pt x="173358" y="55674"/>
                          <a:pt x="159492" y="73244"/>
                        </a:cubicBezTo>
                        <a:cubicBezTo>
                          <a:pt x="145614" y="90812"/>
                          <a:pt x="91972" y="152784"/>
                          <a:pt x="73468" y="184244"/>
                        </a:cubicBezTo>
                        <a:cubicBezTo>
                          <a:pt x="54964" y="215690"/>
                          <a:pt x="36472" y="260093"/>
                          <a:pt x="24440" y="273036"/>
                        </a:cubicBezTo>
                        <a:cubicBezTo>
                          <a:pt x="13591" y="284720"/>
                          <a:pt x="7257" y="297924"/>
                          <a:pt x="0" y="305817"/>
                        </a:cubicBezTo>
                        <a:cubicBezTo>
                          <a:pt x="15188" y="314096"/>
                          <a:pt x="30188" y="317226"/>
                          <a:pt x="36510" y="303909"/>
                        </a:cubicBezTo>
                        <a:cubicBezTo>
                          <a:pt x="47046" y="281727"/>
                          <a:pt x="51024" y="275343"/>
                          <a:pt x="88830" y="243659"/>
                        </a:cubicBezTo>
                        <a:cubicBezTo>
                          <a:pt x="126636" y="211975"/>
                          <a:pt x="158844" y="145403"/>
                          <a:pt x="170178" y="115152"/>
                        </a:cubicBezTo>
                        <a:cubicBezTo>
                          <a:pt x="181513" y="84902"/>
                          <a:pt x="207386" y="72383"/>
                          <a:pt x="226651" y="40475"/>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9" name="Freeform: Shape 2668">
                    <a:extLst>
                      <a:ext uri="{FF2B5EF4-FFF2-40B4-BE49-F238E27FC236}">
                        <a16:creationId xmlns:a16="http://schemas.microsoft.com/office/drawing/2014/main" id="{F7E11CB9-AA32-BBA4-4CB5-D66A725269A5}"/>
                      </a:ext>
                    </a:extLst>
                  </p:cNvPr>
                  <p:cNvSpPr/>
                  <p:nvPr/>
                </p:nvSpPr>
                <p:spPr>
                  <a:xfrm>
                    <a:off x="7881698" y="6082572"/>
                    <a:ext cx="289213" cy="139977"/>
                  </a:xfrm>
                  <a:custGeom>
                    <a:avLst/>
                    <a:gdLst>
                      <a:gd name="connsiteX0" fmla="*/ 288298 w 289213"/>
                      <a:gd name="connsiteY0" fmla="*/ 136050 h 139977"/>
                      <a:gd name="connsiteX1" fmla="*/ 273135 w 289213"/>
                      <a:gd name="connsiteY1" fmla="*/ 124828 h 139977"/>
                      <a:gd name="connsiteX2" fmla="*/ 137347 w 289213"/>
                      <a:gd name="connsiteY2" fmla="*/ 48555 h 139977"/>
                      <a:gd name="connsiteX3" fmla="*/ 2095 w 289213"/>
                      <a:gd name="connsiteY3" fmla="*/ 0 h 139977"/>
                      <a:gd name="connsiteX4" fmla="*/ 0 w 289213"/>
                      <a:gd name="connsiteY4" fmla="*/ 3803 h 139977"/>
                      <a:gd name="connsiteX5" fmla="*/ 136187 w 289213"/>
                      <a:gd name="connsiteY5" fmla="*/ 52707 h 139977"/>
                      <a:gd name="connsiteX6" fmla="*/ 270542 w 289213"/>
                      <a:gd name="connsiteY6" fmla="*/ 128282 h 139977"/>
                      <a:gd name="connsiteX7" fmla="*/ 285816 w 289213"/>
                      <a:gd name="connsiteY7" fmla="*/ 139579 h 139977"/>
                      <a:gd name="connsiteX8" fmla="*/ 287051 w 289213"/>
                      <a:gd name="connsiteY8" fmla="*/ 139978 h 139977"/>
                      <a:gd name="connsiteX9" fmla="*/ 288821 w 289213"/>
                      <a:gd name="connsiteY9" fmla="*/ 139068 h 139977"/>
                      <a:gd name="connsiteX10" fmla="*/ 288298 w 289213"/>
                      <a:gd name="connsiteY10" fmla="*/ 136063 h 13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213" h="139977">
                        <a:moveTo>
                          <a:pt x="288298" y="136050"/>
                        </a:moveTo>
                        <a:cubicBezTo>
                          <a:pt x="284170" y="133145"/>
                          <a:pt x="279058" y="129292"/>
                          <a:pt x="273135" y="124828"/>
                        </a:cubicBezTo>
                        <a:cubicBezTo>
                          <a:pt x="242973" y="102109"/>
                          <a:pt x="192473" y="64078"/>
                          <a:pt x="137347" y="48555"/>
                        </a:cubicBezTo>
                        <a:cubicBezTo>
                          <a:pt x="85924" y="34065"/>
                          <a:pt x="25300" y="9626"/>
                          <a:pt x="2095" y="0"/>
                        </a:cubicBezTo>
                        <a:cubicBezTo>
                          <a:pt x="1396" y="1259"/>
                          <a:pt x="686" y="2519"/>
                          <a:pt x="0" y="3803"/>
                        </a:cubicBezTo>
                        <a:cubicBezTo>
                          <a:pt x="22955" y="13342"/>
                          <a:pt x="84216" y="38068"/>
                          <a:pt x="136187" y="52707"/>
                        </a:cubicBezTo>
                        <a:cubicBezTo>
                          <a:pt x="190540" y="68019"/>
                          <a:pt x="240628" y="105738"/>
                          <a:pt x="270542" y="128282"/>
                        </a:cubicBezTo>
                        <a:cubicBezTo>
                          <a:pt x="276490" y="132771"/>
                          <a:pt x="281639" y="136636"/>
                          <a:pt x="285816" y="139579"/>
                        </a:cubicBezTo>
                        <a:cubicBezTo>
                          <a:pt x="286191" y="139841"/>
                          <a:pt x="286627" y="139978"/>
                          <a:pt x="287051" y="139978"/>
                        </a:cubicBezTo>
                        <a:cubicBezTo>
                          <a:pt x="287724" y="139978"/>
                          <a:pt x="288397" y="139654"/>
                          <a:pt x="288821" y="139068"/>
                        </a:cubicBezTo>
                        <a:cubicBezTo>
                          <a:pt x="289507" y="138095"/>
                          <a:pt x="289270" y="136748"/>
                          <a:pt x="288298" y="136063"/>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0" name="Freeform: Shape 2669">
                    <a:extLst>
                      <a:ext uri="{FF2B5EF4-FFF2-40B4-BE49-F238E27FC236}">
                        <a16:creationId xmlns:a16="http://schemas.microsoft.com/office/drawing/2014/main" id="{EAF80918-626C-F2FC-4856-701AA9A3E162}"/>
                      </a:ext>
                    </a:extLst>
                  </p:cNvPr>
                  <p:cNvSpPr/>
                  <p:nvPr/>
                </p:nvSpPr>
                <p:spPr>
                  <a:xfrm>
                    <a:off x="7866548" y="6110851"/>
                    <a:ext cx="280934" cy="148706"/>
                  </a:xfrm>
                  <a:custGeom>
                    <a:avLst/>
                    <a:gdLst>
                      <a:gd name="connsiteX0" fmla="*/ 280018 w 280934"/>
                      <a:gd name="connsiteY0" fmla="*/ 144766 h 148706"/>
                      <a:gd name="connsiteX1" fmla="*/ 259058 w 280934"/>
                      <a:gd name="connsiteY1" fmla="*/ 128282 h 148706"/>
                      <a:gd name="connsiteX2" fmla="*/ 202772 w 280934"/>
                      <a:gd name="connsiteY2" fmla="*/ 85813 h 148706"/>
                      <a:gd name="connsiteX3" fmla="*/ 130153 w 280934"/>
                      <a:gd name="connsiteY3" fmla="*/ 50737 h 148706"/>
                      <a:gd name="connsiteX4" fmla="*/ 2107 w 280934"/>
                      <a:gd name="connsiteY4" fmla="*/ 0 h 148706"/>
                      <a:gd name="connsiteX5" fmla="*/ 0 w 280934"/>
                      <a:gd name="connsiteY5" fmla="*/ 3778 h 148706"/>
                      <a:gd name="connsiteX6" fmla="*/ 128980 w 280934"/>
                      <a:gd name="connsiteY6" fmla="*/ 54902 h 148706"/>
                      <a:gd name="connsiteX7" fmla="*/ 256327 w 280934"/>
                      <a:gd name="connsiteY7" fmla="*/ 131637 h 148706"/>
                      <a:gd name="connsiteX8" fmla="*/ 277537 w 280934"/>
                      <a:gd name="connsiteY8" fmla="*/ 148308 h 148706"/>
                      <a:gd name="connsiteX9" fmla="*/ 278772 w 280934"/>
                      <a:gd name="connsiteY9" fmla="*/ 148707 h 148706"/>
                      <a:gd name="connsiteX10" fmla="*/ 280542 w 280934"/>
                      <a:gd name="connsiteY10" fmla="*/ 147796 h 148706"/>
                      <a:gd name="connsiteX11" fmla="*/ 280018 w 280934"/>
                      <a:gd name="connsiteY11" fmla="*/ 144791 h 14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934" h="148706">
                        <a:moveTo>
                          <a:pt x="280018" y="144766"/>
                        </a:moveTo>
                        <a:cubicBezTo>
                          <a:pt x="274582" y="140938"/>
                          <a:pt x="267387" y="135078"/>
                          <a:pt x="259058" y="128282"/>
                        </a:cubicBezTo>
                        <a:cubicBezTo>
                          <a:pt x="243771" y="115813"/>
                          <a:pt x="224743" y="100302"/>
                          <a:pt x="202772" y="85813"/>
                        </a:cubicBezTo>
                        <a:cubicBezTo>
                          <a:pt x="176712" y="68630"/>
                          <a:pt x="152959" y="57159"/>
                          <a:pt x="130153" y="50737"/>
                        </a:cubicBezTo>
                        <a:cubicBezTo>
                          <a:pt x="81149" y="36934"/>
                          <a:pt x="26210" y="11634"/>
                          <a:pt x="2107" y="0"/>
                        </a:cubicBezTo>
                        <a:cubicBezTo>
                          <a:pt x="1397" y="1285"/>
                          <a:pt x="698" y="2544"/>
                          <a:pt x="0" y="3778"/>
                        </a:cubicBezTo>
                        <a:cubicBezTo>
                          <a:pt x="24115" y="15424"/>
                          <a:pt x="79515" y="40974"/>
                          <a:pt x="128980" y="54902"/>
                        </a:cubicBezTo>
                        <a:cubicBezTo>
                          <a:pt x="179767" y="69203"/>
                          <a:pt x="225840" y="106773"/>
                          <a:pt x="256327" y="131637"/>
                        </a:cubicBezTo>
                        <a:cubicBezTo>
                          <a:pt x="264719" y="138482"/>
                          <a:pt x="271976" y="144392"/>
                          <a:pt x="277537" y="148308"/>
                        </a:cubicBezTo>
                        <a:cubicBezTo>
                          <a:pt x="277911" y="148570"/>
                          <a:pt x="278347" y="148707"/>
                          <a:pt x="278772" y="148707"/>
                        </a:cubicBezTo>
                        <a:cubicBezTo>
                          <a:pt x="279445" y="148707"/>
                          <a:pt x="280118" y="148382"/>
                          <a:pt x="280542" y="147796"/>
                        </a:cubicBezTo>
                        <a:cubicBezTo>
                          <a:pt x="281228" y="146824"/>
                          <a:pt x="280991" y="145477"/>
                          <a:pt x="280018" y="144791"/>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1" name="Freeform: Shape 2670">
                    <a:extLst>
                      <a:ext uri="{FF2B5EF4-FFF2-40B4-BE49-F238E27FC236}">
                        <a16:creationId xmlns:a16="http://schemas.microsoft.com/office/drawing/2014/main" id="{560CE61E-8DAD-C0FE-35D3-1499193EE35F}"/>
                      </a:ext>
                    </a:extLst>
                  </p:cNvPr>
                  <p:cNvSpPr/>
                  <p:nvPr/>
                </p:nvSpPr>
                <p:spPr>
                  <a:xfrm>
                    <a:off x="7904579" y="6050663"/>
                    <a:ext cx="291620" cy="136125"/>
                  </a:xfrm>
                  <a:custGeom>
                    <a:avLst/>
                    <a:gdLst>
                      <a:gd name="connsiteX0" fmla="*/ 291228 w 291620"/>
                      <a:gd name="connsiteY0" fmla="*/ 135203 h 136125"/>
                      <a:gd name="connsiteX1" fmla="*/ 290705 w 291620"/>
                      <a:gd name="connsiteY1" fmla="*/ 132197 h 136125"/>
                      <a:gd name="connsiteX2" fmla="*/ 282450 w 291620"/>
                      <a:gd name="connsiteY2" fmla="*/ 126312 h 136125"/>
                      <a:gd name="connsiteX3" fmla="*/ 221152 w 291620"/>
                      <a:gd name="connsiteY3" fmla="*/ 85613 h 136125"/>
                      <a:gd name="connsiteX4" fmla="*/ 136661 w 291620"/>
                      <a:gd name="connsiteY4" fmla="*/ 47782 h 136125"/>
                      <a:gd name="connsiteX5" fmla="*/ 3280 w 291620"/>
                      <a:gd name="connsiteY5" fmla="*/ 0 h 136125"/>
                      <a:gd name="connsiteX6" fmla="*/ 0 w 291620"/>
                      <a:gd name="connsiteY6" fmla="*/ 3317 h 136125"/>
                      <a:gd name="connsiteX7" fmla="*/ 135489 w 291620"/>
                      <a:gd name="connsiteY7" fmla="*/ 51934 h 136125"/>
                      <a:gd name="connsiteX8" fmla="*/ 279931 w 291620"/>
                      <a:gd name="connsiteY8" fmla="*/ 129816 h 136125"/>
                      <a:gd name="connsiteX9" fmla="*/ 288211 w 291620"/>
                      <a:gd name="connsiteY9" fmla="*/ 135726 h 136125"/>
                      <a:gd name="connsiteX10" fmla="*/ 289445 w 291620"/>
                      <a:gd name="connsiteY10" fmla="*/ 136126 h 136125"/>
                      <a:gd name="connsiteX11" fmla="*/ 291216 w 291620"/>
                      <a:gd name="connsiteY11" fmla="*/ 135203 h 13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1620" h="136125">
                        <a:moveTo>
                          <a:pt x="291228" y="135203"/>
                        </a:moveTo>
                        <a:cubicBezTo>
                          <a:pt x="291914" y="134230"/>
                          <a:pt x="291677" y="132883"/>
                          <a:pt x="290705" y="132197"/>
                        </a:cubicBezTo>
                        <a:cubicBezTo>
                          <a:pt x="288298" y="130502"/>
                          <a:pt x="285592" y="128556"/>
                          <a:pt x="282450" y="126312"/>
                        </a:cubicBezTo>
                        <a:cubicBezTo>
                          <a:pt x="268135" y="116050"/>
                          <a:pt x="246489" y="100539"/>
                          <a:pt x="221152" y="85613"/>
                        </a:cubicBezTo>
                        <a:cubicBezTo>
                          <a:pt x="190864" y="67770"/>
                          <a:pt x="162435" y="55052"/>
                          <a:pt x="136661" y="47782"/>
                        </a:cubicBezTo>
                        <a:cubicBezTo>
                          <a:pt x="86573" y="33667"/>
                          <a:pt x="27744" y="10113"/>
                          <a:pt x="3280" y="0"/>
                        </a:cubicBezTo>
                        <a:cubicBezTo>
                          <a:pt x="2145" y="1135"/>
                          <a:pt x="1048" y="2245"/>
                          <a:pt x="0" y="3317"/>
                        </a:cubicBezTo>
                        <a:cubicBezTo>
                          <a:pt x="23479" y="13055"/>
                          <a:pt x="84042" y="37445"/>
                          <a:pt x="135489" y="51934"/>
                        </a:cubicBezTo>
                        <a:cubicBezTo>
                          <a:pt x="194443" y="68543"/>
                          <a:pt x="252175" y="109928"/>
                          <a:pt x="279931" y="129816"/>
                        </a:cubicBezTo>
                        <a:cubicBezTo>
                          <a:pt x="283073" y="132073"/>
                          <a:pt x="285791" y="134018"/>
                          <a:pt x="288211" y="135726"/>
                        </a:cubicBezTo>
                        <a:cubicBezTo>
                          <a:pt x="288585" y="135988"/>
                          <a:pt x="289021" y="136126"/>
                          <a:pt x="289445" y="136126"/>
                        </a:cubicBezTo>
                        <a:cubicBezTo>
                          <a:pt x="290119" y="136126"/>
                          <a:pt x="290792" y="135801"/>
                          <a:pt x="291216" y="135203"/>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2" name="Freeform: Shape 2671">
                    <a:extLst>
                      <a:ext uri="{FF2B5EF4-FFF2-40B4-BE49-F238E27FC236}">
                        <a16:creationId xmlns:a16="http://schemas.microsoft.com/office/drawing/2014/main" id="{75E064C8-7E10-3432-EB35-FCFAA4BF7E89}"/>
                      </a:ext>
                    </a:extLst>
                  </p:cNvPr>
                  <p:cNvSpPr/>
                  <p:nvPr/>
                </p:nvSpPr>
                <p:spPr>
                  <a:xfrm>
                    <a:off x="7931799" y="6024690"/>
                    <a:ext cx="285373" cy="129416"/>
                  </a:xfrm>
                  <a:custGeom>
                    <a:avLst/>
                    <a:gdLst>
                      <a:gd name="connsiteX0" fmla="*/ 3466 w 285373"/>
                      <a:gd name="connsiteY0" fmla="*/ 12 h 129416"/>
                      <a:gd name="connsiteX1" fmla="*/ 0 w 285373"/>
                      <a:gd name="connsiteY1" fmla="*/ 3254 h 129416"/>
                      <a:gd name="connsiteX2" fmla="*/ 129865 w 285373"/>
                      <a:gd name="connsiteY2" fmla="*/ 49552 h 129416"/>
                      <a:gd name="connsiteX3" fmla="*/ 281976 w 285373"/>
                      <a:gd name="connsiteY3" fmla="*/ 129017 h 129416"/>
                      <a:gd name="connsiteX4" fmla="*/ 283210 w 285373"/>
                      <a:gd name="connsiteY4" fmla="*/ 129417 h 129416"/>
                      <a:gd name="connsiteX5" fmla="*/ 284981 w 285373"/>
                      <a:gd name="connsiteY5" fmla="*/ 128494 h 129416"/>
                      <a:gd name="connsiteX6" fmla="*/ 284457 w 285373"/>
                      <a:gd name="connsiteY6" fmla="*/ 125488 h 129416"/>
                      <a:gd name="connsiteX7" fmla="*/ 223172 w 285373"/>
                      <a:gd name="connsiteY7" fmla="*/ 85837 h 129416"/>
                      <a:gd name="connsiteX8" fmla="*/ 131038 w 285373"/>
                      <a:gd name="connsiteY8" fmla="*/ 45387 h 129416"/>
                      <a:gd name="connsiteX9" fmla="*/ 3479 w 285373"/>
                      <a:gd name="connsiteY9" fmla="*/ 0 h 12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373" h="129416">
                        <a:moveTo>
                          <a:pt x="3466" y="12"/>
                        </a:moveTo>
                        <a:cubicBezTo>
                          <a:pt x="2307" y="1097"/>
                          <a:pt x="1147" y="2182"/>
                          <a:pt x="0" y="3254"/>
                        </a:cubicBezTo>
                        <a:cubicBezTo>
                          <a:pt x="26522" y="14127"/>
                          <a:pt x="82121" y="36098"/>
                          <a:pt x="129865" y="49552"/>
                        </a:cubicBezTo>
                        <a:cubicBezTo>
                          <a:pt x="195191" y="67957"/>
                          <a:pt x="256003" y="110750"/>
                          <a:pt x="281976" y="129017"/>
                        </a:cubicBezTo>
                        <a:cubicBezTo>
                          <a:pt x="282350" y="129279"/>
                          <a:pt x="282787" y="129417"/>
                          <a:pt x="283210" y="129417"/>
                        </a:cubicBezTo>
                        <a:cubicBezTo>
                          <a:pt x="283884" y="129417"/>
                          <a:pt x="284557" y="129092"/>
                          <a:pt x="284981" y="128494"/>
                        </a:cubicBezTo>
                        <a:cubicBezTo>
                          <a:pt x="285667" y="127521"/>
                          <a:pt x="285430" y="126175"/>
                          <a:pt x="284457" y="125488"/>
                        </a:cubicBezTo>
                        <a:cubicBezTo>
                          <a:pt x="271614" y="116448"/>
                          <a:pt x="250118" y="101324"/>
                          <a:pt x="223172" y="85837"/>
                        </a:cubicBezTo>
                        <a:cubicBezTo>
                          <a:pt x="190353" y="66971"/>
                          <a:pt x="159355" y="53367"/>
                          <a:pt x="131038" y="45387"/>
                        </a:cubicBezTo>
                        <a:cubicBezTo>
                          <a:pt x="84553" y="32295"/>
                          <a:pt x="30562" y="11072"/>
                          <a:pt x="3479" y="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3" name="Freeform: Shape 2672">
                    <a:extLst>
                      <a:ext uri="{FF2B5EF4-FFF2-40B4-BE49-F238E27FC236}">
                        <a16:creationId xmlns:a16="http://schemas.microsoft.com/office/drawing/2014/main" id="{C86EAA98-FCB3-8B64-606B-0A81C50AB619}"/>
                      </a:ext>
                    </a:extLst>
                  </p:cNvPr>
                  <p:cNvSpPr/>
                  <p:nvPr/>
                </p:nvSpPr>
                <p:spPr>
                  <a:xfrm>
                    <a:off x="7958632" y="5998916"/>
                    <a:ext cx="284276" cy="123830"/>
                  </a:xfrm>
                  <a:custGeom>
                    <a:avLst/>
                    <a:gdLst>
                      <a:gd name="connsiteX0" fmla="*/ 0 w 284276"/>
                      <a:gd name="connsiteY0" fmla="*/ 3317 h 123830"/>
                      <a:gd name="connsiteX1" fmla="*/ 123369 w 284276"/>
                      <a:gd name="connsiteY1" fmla="*/ 46972 h 123830"/>
                      <a:gd name="connsiteX2" fmla="*/ 280879 w 284276"/>
                      <a:gd name="connsiteY2" fmla="*/ 123432 h 123830"/>
                      <a:gd name="connsiteX3" fmla="*/ 282113 w 284276"/>
                      <a:gd name="connsiteY3" fmla="*/ 123831 h 123830"/>
                      <a:gd name="connsiteX4" fmla="*/ 283884 w 284276"/>
                      <a:gd name="connsiteY4" fmla="*/ 122920 h 123830"/>
                      <a:gd name="connsiteX5" fmla="*/ 283360 w 284276"/>
                      <a:gd name="connsiteY5" fmla="*/ 119916 h 123830"/>
                      <a:gd name="connsiteX6" fmla="*/ 124541 w 284276"/>
                      <a:gd name="connsiteY6" fmla="*/ 42831 h 123830"/>
                      <a:gd name="connsiteX7" fmla="*/ 3279 w 284276"/>
                      <a:gd name="connsiteY7" fmla="*/ 0 h 123830"/>
                      <a:gd name="connsiteX8" fmla="*/ 0 w 284276"/>
                      <a:gd name="connsiteY8" fmla="*/ 3330 h 12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276" h="123830">
                        <a:moveTo>
                          <a:pt x="0" y="3317"/>
                        </a:moveTo>
                        <a:cubicBezTo>
                          <a:pt x="28380" y="14814"/>
                          <a:pt x="79229" y="34540"/>
                          <a:pt x="123369" y="46972"/>
                        </a:cubicBezTo>
                        <a:cubicBezTo>
                          <a:pt x="187809" y="65126"/>
                          <a:pt x="254581" y="104928"/>
                          <a:pt x="280879" y="123432"/>
                        </a:cubicBezTo>
                        <a:cubicBezTo>
                          <a:pt x="281253" y="123694"/>
                          <a:pt x="281689" y="123831"/>
                          <a:pt x="282113" y="123831"/>
                        </a:cubicBezTo>
                        <a:cubicBezTo>
                          <a:pt x="282787" y="123831"/>
                          <a:pt x="283460" y="123507"/>
                          <a:pt x="283884" y="122920"/>
                        </a:cubicBezTo>
                        <a:cubicBezTo>
                          <a:pt x="284570" y="121948"/>
                          <a:pt x="284333" y="120601"/>
                          <a:pt x="283360" y="119916"/>
                        </a:cubicBezTo>
                        <a:cubicBezTo>
                          <a:pt x="256851" y="101262"/>
                          <a:pt x="189543" y="61148"/>
                          <a:pt x="124541" y="42831"/>
                        </a:cubicBezTo>
                        <a:cubicBezTo>
                          <a:pt x="81423" y="30687"/>
                          <a:pt x="31846" y="11547"/>
                          <a:pt x="3279" y="0"/>
                        </a:cubicBezTo>
                        <a:cubicBezTo>
                          <a:pt x="2207" y="1110"/>
                          <a:pt x="1110" y="2220"/>
                          <a:pt x="0" y="333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4" name="Freeform: Shape 2673">
                    <a:extLst>
                      <a:ext uri="{FF2B5EF4-FFF2-40B4-BE49-F238E27FC236}">
                        <a16:creationId xmlns:a16="http://schemas.microsoft.com/office/drawing/2014/main" id="{8851EB92-25CB-B2FE-9B6C-81B6D4C944F1}"/>
                      </a:ext>
                    </a:extLst>
                  </p:cNvPr>
                  <p:cNvSpPr/>
                  <p:nvPr/>
                </p:nvSpPr>
                <p:spPr>
                  <a:xfrm>
                    <a:off x="7982847" y="5970612"/>
                    <a:ext cx="284725" cy="124379"/>
                  </a:xfrm>
                  <a:custGeom>
                    <a:avLst/>
                    <a:gdLst>
                      <a:gd name="connsiteX0" fmla="*/ 284333 w 284725"/>
                      <a:gd name="connsiteY0" fmla="*/ 123456 h 124379"/>
                      <a:gd name="connsiteX1" fmla="*/ 283809 w 284725"/>
                      <a:gd name="connsiteY1" fmla="*/ 120452 h 124379"/>
                      <a:gd name="connsiteX2" fmla="*/ 124990 w 284725"/>
                      <a:gd name="connsiteY2" fmla="*/ 43367 h 124379"/>
                      <a:gd name="connsiteX3" fmla="*/ 2381 w 284725"/>
                      <a:gd name="connsiteY3" fmla="*/ 0 h 124379"/>
                      <a:gd name="connsiteX4" fmla="*/ 1035 w 284725"/>
                      <a:gd name="connsiteY4" fmla="*/ 2132 h 124379"/>
                      <a:gd name="connsiteX5" fmla="*/ 0 w 284725"/>
                      <a:gd name="connsiteY5" fmla="*/ 3691 h 124379"/>
                      <a:gd name="connsiteX6" fmla="*/ 123818 w 284725"/>
                      <a:gd name="connsiteY6" fmla="*/ 47520 h 124379"/>
                      <a:gd name="connsiteX7" fmla="*/ 281328 w 284725"/>
                      <a:gd name="connsiteY7" fmla="*/ 123980 h 124379"/>
                      <a:gd name="connsiteX8" fmla="*/ 282562 w 284725"/>
                      <a:gd name="connsiteY8" fmla="*/ 124379 h 124379"/>
                      <a:gd name="connsiteX9" fmla="*/ 284333 w 284725"/>
                      <a:gd name="connsiteY9" fmla="*/ 123469 h 12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725" h="124379">
                        <a:moveTo>
                          <a:pt x="284333" y="123456"/>
                        </a:moveTo>
                        <a:cubicBezTo>
                          <a:pt x="285019" y="122484"/>
                          <a:pt x="284782" y="121137"/>
                          <a:pt x="283809" y="120452"/>
                        </a:cubicBezTo>
                        <a:cubicBezTo>
                          <a:pt x="257300" y="101798"/>
                          <a:pt x="189992" y="61684"/>
                          <a:pt x="124990" y="43367"/>
                        </a:cubicBezTo>
                        <a:cubicBezTo>
                          <a:pt x="81199" y="31036"/>
                          <a:pt x="30736" y="11484"/>
                          <a:pt x="2381" y="0"/>
                        </a:cubicBezTo>
                        <a:cubicBezTo>
                          <a:pt x="1933" y="711"/>
                          <a:pt x="1484" y="1422"/>
                          <a:pt x="1035" y="2132"/>
                        </a:cubicBezTo>
                        <a:cubicBezTo>
                          <a:pt x="698" y="2644"/>
                          <a:pt x="362" y="3167"/>
                          <a:pt x="0" y="3691"/>
                        </a:cubicBezTo>
                        <a:cubicBezTo>
                          <a:pt x="28292" y="15163"/>
                          <a:pt x="79441" y="35025"/>
                          <a:pt x="123818" y="47520"/>
                        </a:cubicBezTo>
                        <a:cubicBezTo>
                          <a:pt x="188258" y="65675"/>
                          <a:pt x="255030" y="105476"/>
                          <a:pt x="281328" y="123980"/>
                        </a:cubicBezTo>
                        <a:cubicBezTo>
                          <a:pt x="281702" y="124242"/>
                          <a:pt x="282138" y="124379"/>
                          <a:pt x="282562" y="124379"/>
                        </a:cubicBezTo>
                        <a:cubicBezTo>
                          <a:pt x="283236" y="124379"/>
                          <a:pt x="283909" y="124055"/>
                          <a:pt x="284333" y="123469"/>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5" name="Freeform: Shape 2674">
                    <a:extLst>
                      <a:ext uri="{FF2B5EF4-FFF2-40B4-BE49-F238E27FC236}">
                        <a16:creationId xmlns:a16="http://schemas.microsoft.com/office/drawing/2014/main" id="{4D2E33F7-0A45-C87E-C8C3-6144A171D28F}"/>
                      </a:ext>
                    </a:extLst>
                  </p:cNvPr>
                  <p:cNvSpPr/>
                  <p:nvPr/>
                </p:nvSpPr>
                <p:spPr>
                  <a:xfrm>
                    <a:off x="8000578" y="5939763"/>
                    <a:ext cx="294276" cy="128419"/>
                  </a:xfrm>
                  <a:custGeom>
                    <a:avLst/>
                    <a:gdLst>
                      <a:gd name="connsiteX0" fmla="*/ 2070 w 294276"/>
                      <a:gd name="connsiteY0" fmla="*/ 0 h 128419"/>
                      <a:gd name="connsiteX1" fmla="*/ 0 w 294276"/>
                      <a:gd name="connsiteY1" fmla="*/ 3816 h 128419"/>
                      <a:gd name="connsiteX2" fmla="*/ 133369 w 294276"/>
                      <a:gd name="connsiteY2" fmla="*/ 51560 h 128419"/>
                      <a:gd name="connsiteX3" fmla="*/ 290879 w 294276"/>
                      <a:gd name="connsiteY3" fmla="*/ 128020 h 128419"/>
                      <a:gd name="connsiteX4" fmla="*/ 292113 w 294276"/>
                      <a:gd name="connsiteY4" fmla="*/ 128419 h 128419"/>
                      <a:gd name="connsiteX5" fmla="*/ 293884 w 294276"/>
                      <a:gd name="connsiteY5" fmla="*/ 127509 h 128419"/>
                      <a:gd name="connsiteX6" fmla="*/ 293360 w 294276"/>
                      <a:gd name="connsiteY6" fmla="*/ 124504 h 128419"/>
                      <a:gd name="connsiteX7" fmla="*/ 134542 w 294276"/>
                      <a:gd name="connsiteY7" fmla="*/ 47420 h 128419"/>
                      <a:gd name="connsiteX8" fmla="*/ 2070 w 294276"/>
                      <a:gd name="connsiteY8" fmla="*/ 25 h 1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276" h="128419">
                        <a:moveTo>
                          <a:pt x="2070" y="0"/>
                        </a:moveTo>
                        <a:cubicBezTo>
                          <a:pt x="1384" y="1260"/>
                          <a:pt x="698" y="2532"/>
                          <a:pt x="0" y="3816"/>
                        </a:cubicBezTo>
                        <a:cubicBezTo>
                          <a:pt x="24839" y="14078"/>
                          <a:pt x="83406" y="37482"/>
                          <a:pt x="133369" y="51560"/>
                        </a:cubicBezTo>
                        <a:cubicBezTo>
                          <a:pt x="197810" y="69715"/>
                          <a:pt x="264582" y="109516"/>
                          <a:pt x="290879" y="128020"/>
                        </a:cubicBezTo>
                        <a:cubicBezTo>
                          <a:pt x="291253" y="128282"/>
                          <a:pt x="291690" y="128419"/>
                          <a:pt x="292113" y="128419"/>
                        </a:cubicBezTo>
                        <a:cubicBezTo>
                          <a:pt x="292787" y="128419"/>
                          <a:pt x="293460" y="128095"/>
                          <a:pt x="293884" y="127509"/>
                        </a:cubicBezTo>
                        <a:cubicBezTo>
                          <a:pt x="294570" y="126536"/>
                          <a:pt x="294333" y="125190"/>
                          <a:pt x="293360" y="124504"/>
                        </a:cubicBezTo>
                        <a:cubicBezTo>
                          <a:pt x="266851" y="105850"/>
                          <a:pt x="199543" y="65737"/>
                          <a:pt x="134542" y="47420"/>
                        </a:cubicBezTo>
                        <a:cubicBezTo>
                          <a:pt x="85064" y="33480"/>
                          <a:pt x="27058" y="10325"/>
                          <a:pt x="2070" y="25"/>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6" name="Freeform: Shape 2675">
                    <a:extLst>
                      <a:ext uri="{FF2B5EF4-FFF2-40B4-BE49-F238E27FC236}">
                        <a16:creationId xmlns:a16="http://schemas.microsoft.com/office/drawing/2014/main" id="{BDF849CA-51FC-B0AC-EEAD-8A3CE9F0925D}"/>
                      </a:ext>
                    </a:extLst>
                  </p:cNvPr>
                  <p:cNvSpPr/>
                  <p:nvPr/>
                </p:nvSpPr>
                <p:spPr>
                  <a:xfrm>
                    <a:off x="7843704" y="6138084"/>
                    <a:ext cx="281595" cy="156611"/>
                  </a:xfrm>
                  <a:custGeom>
                    <a:avLst/>
                    <a:gdLst>
                      <a:gd name="connsiteX0" fmla="*/ 280667 w 281595"/>
                      <a:gd name="connsiteY0" fmla="*/ 152684 h 156611"/>
                      <a:gd name="connsiteX1" fmla="*/ 259544 w 281595"/>
                      <a:gd name="connsiteY1" fmla="*/ 136162 h 156611"/>
                      <a:gd name="connsiteX2" fmla="*/ 200141 w 281595"/>
                      <a:gd name="connsiteY2" fmla="*/ 91535 h 156611"/>
                      <a:gd name="connsiteX3" fmla="*/ 125265 w 281595"/>
                      <a:gd name="connsiteY3" fmla="*/ 54951 h 156611"/>
                      <a:gd name="connsiteX4" fmla="*/ 34340 w 281595"/>
                      <a:gd name="connsiteY4" fmla="*/ 17207 h 156611"/>
                      <a:gd name="connsiteX5" fmla="*/ 3441 w 281595"/>
                      <a:gd name="connsiteY5" fmla="*/ 0 h 156611"/>
                      <a:gd name="connsiteX6" fmla="*/ 0 w 281595"/>
                      <a:gd name="connsiteY6" fmla="*/ 2980 h 156611"/>
                      <a:gd name="connsiteX7" fmla="*/ 32295 w 281595"/>
                      <a:gd name="connsiteY7" fmla="*/ 21011 h 156611"/>
                      <a:gd name="connsiteX8" fmla="*/ 124092 w 281595"/>
                      <a:gd name="connsiteY8" fmla="*/ 59103 h 156611"/>
                      <a:gd name="connsiteX9" fmla="*/ 256839 w 281595"/>
                      <a:gd name="connsiteY9" fmla="*/ 139516 h 156611"/>
                      <a:gd name="connsiteX10" fmla="*/ 278198 w 281595"/>
                      <a:gd name="connsiteY10" fmla="*/ 156213 h 156611"/>
                      <a:gd name="connsiteX11" fmla="*/ 279432 w 281595"/>
                      <a:gd name="connsiteY11" fmla="*/ 156612 h 156611"/>
                      <a:gd name="connsiteX12" fmla="*/ 281203 w 281595"/>
                      <a:gd name="connsiteY12" fmla="*/ 155701 h 156611"/>
                      <a:gd name="connsiteX13" fmla="*/ 280679 w 281595"/>
                      <a:gd name="connsiteY13" fmla="*/ 152696 h 1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595" h="156611">
                        <a:moveTo>
                          <a:pt x="280667" y="152684"/>
                        </a:moveTo>
                        <a:cubicBezTo>
                          <a:pt x="275343" y="148931"/>
                          <a:pt x="268023" y="143020"/>
                          <a:pt x="259544" y="136162"/>
                        </a:cubicBezTo>
                        <a:cubicBezTo>
                          <a:pt x="244220" y="123768"/>
                          <a:pt x="223234" y="106810"/>
                          <a:pt x="200141" y="91535"/>
                        </a:cubicBezTo>
                        <a:cubicBezTo>
                          <a:pt x="172660" y="73368"/>
                          <a:pt x="148170" y="61397"/>
                          <a:pt x="125265" y="54951"/>
                        </a:cubicBezTo>
                        <a:cubicBezTo>
                          <a:pt x="91536" y="45449"/>
                          <a:pt x="57208" y="29190"/>
                          <a:pt x="34340" y="17207"/>
                        </a:cubicBezTo>
                        <a:cubicBezTo>
                          <a:pt x="21559" y="10511"/>
                          <a:pt x="10848" y="4389"/>
                          <a:pt x="3441" y="0"/>
                        </a:cubicBezTo>
                        <a:cubicBezTo>
                          <a:pt x="2182" y="1022"/>
                          <a:pt x="1035" y="2020"/>
                          <a:pt x="0" y="2980"/>
                        </a:cubicBezTo>
                        <a:cubicBezTo>
                          <a:pt x="7481" y="7432"/>
                          <a:pt x="18741" y="13915"/>
                          <a:pt x="32295" y="21011"/>
                        </a:cubicBezTo>
                        <a:cubicBezTo>
                          <a:pt x="55350" y="33080"/>
                          <a:pt x="89990" y="49490"/>
                          <a:pt x="124092" y="59103"/>
                        </a:cubicBezTo>
                        <a:cubicBezTo>
                          <a:pt x="175179" y="73493"/>
                          <a:pt x="226289" y="114815"/>
                          <a:pt x="256839" y="139516"/>
                        </a:cubicBezTo>
                        <a:cubicBezTo>
                          <a:pt x="265380" y="146424"/>
                          <a:pt x="272749" y="152385"/>
                          <a:pt x="278198" y="156213"/>
                        </a:cubicBezTo>
                        <a:cubicBezTo>
                          <a:pt x="278572" y="156474"/>
                          <a:pt x="279008" y="156612"/>
                          <a:pt x="279432" y="156612"/>
                        </a:cubicBezTo>
                        <a:cubicBezTo>
                          <a:pt x="280106" y="156612"/>
                          <a:pt x="280779" y="156287"/>
                          <a:pt x="281203" y="155701"/>
                        </a:cubicBezTo>
                        <a:cubicBezTo>
                          <a:pt x="281889" y="154729"/>
                          <a:pt x="281652" y="153382"/>
                          <a:pt x="280679" y="152696"/>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677" name="Graphic 525">
                  <a:extLst>
                    <a:ext uri="{FF2B5EF4-FFF2-40B4-BE49-F238E27FC236}">
                      <a16:creationId xmlns:a16="http://schemas.microsoft.com/office/drawing/2014/main" id="{76179BC3-F996-E137-2C61-8573D3917544}"/>
                    </a:ext>
                  </a:extLst>
                </p:cNvPr>
                <p:cNvGrpSpPr/>
                <p:nvPr/>
              </p:nvGrpSpPr>
              <p:grpSpPr>
                <a:xfrm>
                  <a:off x="7730697" y="6102312"/>
                  <a:ext cx="375401" cy="282293"/>
                  <a:chOff x="7730697" y="6102312"/>
                  <a:chExt cx="375401" cy="282293"/>
                </a:xfrm>
              </p:grpSpPr>
              <p:grpSp>
                <p:nvGrpSpPr>
                  <p:cNvPr id="2678" name="Graphic 525">
                    <a:extLst>
                      <a:ext uri="{FF2B5EF4-FFF2-40B4-BE49-F238E27FC236}">
                        <a16:creationId xmlns:a16="http://schemas.microsoft.com/office/drawing/2014/main" id="{AF83167A-F1DF-26BA-0DFC-59C5C8309CF3}"/>
                      </a:ext>
                    </a:extLst>
                  </p:cNvPr>
                  <p:cNvGrpSpPr/>
                  <p:nvPr/>
                </p:nvGrpSpPr>
                <p:grpSpPr>
                  <a:xfrm>
                    <a:off x="7730697" y="6102312"/>
                    <a:ext cx="245600" cy="103731"/>
                    <a:chOff x="7730697" y="6102312"/>
                    <a:chExt cx="245600" cy="103731"/>
                  </a:xfrm>
                </p:grpSpPr>
                <p:sp>
                  <p:nvSpPr>
                    <p:cNvPr id="2679" name="Freeform: Shape 2678">
                      <a:extLst>
                        <a:ext uri="{FF2B5EF4-FFF2-40B4-BE49-F238E27FC236}">
                          <a16:creationId xmlns:a16="http://schemas.microsoft.com/office/drawing/2014/main" id="{0902062F-F724-32E7-3496-48C616D354C0}"/>
                        </a:ext>
                      </a:extLst>
                    </p:cNvPr>
                    <p:cNvSpPr/>
                    <p:nvPr/>
                  </p:nvSpPr>
                  <p:spPr>
                    <a:xfrm>
                      <a:off x="7732775" y="6103587"/>
                      <a:ext cx="242472" cy="100639"/>
                    </a:xfrm>
                    <a:custGeom>
                      <a:avLst/>
                      <a:gdLst>
                        <a:gd name="connsiteX0" fmla="*/ 230047 w 242472"/>
                        <a:gd name="connsiteY0" fmla="*/ 880 h 100639"/>
                        <a:gd name="connsiteX1" fmla="*/ 141254 w 242472"/>
                        <a:gd name="connsiteY1" fmla="*/ 7040 h 100639"/>
                        <a:gd name="connsiteX2" fmla="*/ 678 w 242472"/>
                        <a:gd name="connsiteY2" fmla="*/ 58837 h 100639"/>
                        <a:gd name="connsiteX3" fmla="*/ 87612 w 242472"/>
                        <a:gd name="connsiteY3" fmla="*/ 95209 h 100639"/>
                        <a:gd name="connsiteX4" fmla="*/ 241144 w 242472"/>
                        <a:gd name="connsiteY4" fmla="*/ 26155 h 100639"/>
                        <a:gd name="connsiteX5" fmla="*/ 230047 w 242472"/>
                        <a:gd name="connsiteY5" fmla="*/ 880 h 10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472" h="100639">
                          <a:moveTo>
                            <a:pt x="230047" y="880"/>
                          </a:moveTo>
                          <a:cubicBezTo>
                            <a:pt x="230047" y="880"/>
                            <a:pt x="194896" y="-3434"/>
                            <a:pt x="141254" y="7040"/>
                          </a:cubicBezTo>
                          <a:cubicBezTo>
                            <a:pt x="87612" y="17526"/>
                            <a:pt x="6837" y="32315"/>
                            <a:pt x="678" y="58837"/>
                          </a:cubicBezTo>
                          <a:cubicBezTo>
                            <a:pt x="-5482" y="85346"/>
                            <a:pt x="30890" y="112479"/>
                            <a:pt x="87612" y="95209"/>
                          </a:cubicBezTo>
                          <a:cubicBezTo>
                            <a:pt x="144334" y="77939"/>
                            <a:pt x="236842" y="38611"/>
                            <a:pt x="241144" y="26155"/>
                          </a:cubicBezTo>
                          <a:cubicBezTo>
                            <a:pt x="247304" y="8274"/>
                            <a:pt x="230047" y="880"/>
                            <a:pt x="230047" y="88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80" name="Graphic 525">
                      <a:extLst>
                        <a:ext uri="{FF2B5EF4-FFF2-40B4-BE49-F238E27FC236}">
                          <a16:creationId xmlns:a16="http://schemas.microsoft.com/office/drawing/2014/main" id="{90637DDA-0D33-492C-DA6A-CB1839E0BC16}"/>
                        </a:ext>
                      </a:extLst>
                    </p:cNvPr>
                    <p:cNvGrpSpPr/>
                    <p:nvPr/>
                  </p:nvGrpSpPr>
                  <p:grpSpPr>
                    <a:xfrm>
                      <a:off x="7730697" y="6102312"/>
                      <a:ext cx="245600" cy="103731"/>
                      <a:chOff x="7730697" y="6102312"/>
                      <a:chExt cx="245600" cy="103731"/>
                    </a:xfrm>
                  </p:grpSpPr>
                  <p:sp>
                    <p:nvSpPr>
                      <p:cNvPr id="2681" name="Freeform: Shape 2680">
                        <a:extLst>
                          <a:ext uri="{FF2B5EF4-FFF2-40B4-BE49-F238E27FC236}">
                            <a16:creationId xmlns:a16="http://schemas.microsoft.com/office/drawing/2014/main" id="{AE8C8146-AAC4-B0CD-BC71-7EF8021FBC82}"/>
                          </a:ext>
                        </a:extLst>
                      </p:cNvPr>
                      <p:cNvSpPr/>
                      <p:nvPr/>
                    </p:nvSpPr>
                    <p:spPr>
                      <a:xfrm>
                        <a:off x="7730697" y="6102312"/>
                        <a:ext cx="245600" cy="103731"/>
                      </a:xfrm>
                      <a:custGeom>
                        <a:avLst/>
                        <a:gdLst>
                          <a:gd name="connsiteX0" fmla="*/ 236128 w 245600"/>
                          <a:gd name="connsiteY0" fmla="*/ 2468 h 103731"/>
                          <a:gd name="connsiteX1" fmla="*/ 161213 w 245600"/>
                          <a:gd name="connsiteY1" fmla="*/ 4013 h 103731"/>
                          <a:gd name="connsiteX2" fmla="*/ 24951 w 245600"/>
                          <a:gd name="connsiteY2" fmla="*/ 37306 h 103731"/>
                          <a:gd name="connsiteX3" fmla="*/ 1833 w 245600"/>
                          <a:gd name="connsiteY3" fmla="*/ 76771 h 103731"/>
                          <a:gd name="connsiteX4" fmla="*/ 77359 w 245600"/>
                          <a:gd name="connsiteY4" fmla="*/ 100811 h 103731"/>
                          <a:gd name="connsiteX5" fmla="*/ 205603 w 245600"/>
                          <a:gd name="connsiteY5" fmla="*/ 52406 h 103731"/>
                          <a:gd name="connsiteX6" fmla="*/ 245367 w 245600"/>
                          <a:gd name="connsiteY6" fmla="*/ 24351 h 103731"/>
                          <a:gd name="connsiteX7" fmla="*/ 236115 w 245600"/>
                          <a:gd name="connsiteY7" fmla="*/ 2468 h 10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600" h="103731">
                            <a:moveTo>
                              <a:pt x="236128" y="2468"/>
                            </a:moveTo>
                            <a:cubicBezTo>
                              <a:pt x="236128" y="2468"/>
                              <a:pt x="212087" y="-4004"/>
                              <a:pt x="161213" y="4013"/>
                            </a:cubicBezTo>
                            <a:cubicBezTo>
                              <a:pt x="110352" y="12031"/>
                              <a:pt x="45600" y="26520"/>
                              <a:pt x="24951" y="37306"/>
                            </a:cubicBezTo>
                            <a:cubicBezTo>
                              <a:pt x="4290" y="48092"/>
                              <a:pt x="-4027" y="62281"/>
                              <a:pt x="1833" y="76771"/>
                            </a:cubicBezTo>
                            <a:cubicBezTo>
                              <a:pt x="7694" y="91260"/>
                              <a:pt x="35749" y="111298"/>
                              <a:pt x="77359" y="100811"/>
                            </a:cubicBezTo>
                            <a:cubicBezTo>
                              <a:pt x="118968" y="90325"/>
                              <a:pt x="187723" y="61047"/>
                              <a:pt x="205603" y="52406"/>
                            </a:cubicBezTo>
                            <a:cubicBezTo>
                              <a:pt x="223484" y="43778"/>
                              <a:pt x="243834" y="35136"/>
                              <a:pt x="245367" y="24351"/>
                            </a:cubicBezTo>
                            <a:cubicBezTo>
                              <a:pt x="246913" y="13565"/>
                              <a:pt x="240430" y="3690"/>
                              <a:pt x="236115" y="2468"/>
                            </a:cubicBezTo>
                            <a:close/>
                          </a:path>
                        </a:pathLst>
                      </a:custGeom>
                      <a:solidFill>
                        <a:srgbClr val="72B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2" name="Freeform: Shape 2681">
                        <a:extLst>
                          <a:ext uri="{FF2B5EF4-FFF2-40B4-BE49-F238E27FC236}">
                            <a16:creationId xmlns:a16="http://schemas.microsoft.com/office/drawing/2014/main" id="{6AFF71B2-9C9F-BED1-6D8D-417AA827F1A3}"/>
                          </a:ext>
                        </a:extLst>
                      </p:cNvPr>
                      <p:cNvSpPr/>
                      <p:nvPr/>
                    </p:nvSpPr>
                    <p:spPr>
                      <a:xfrm>
                        <a:off x="7806509" y="6113108"/>
                        <a:ext cx="122708" cy="72757"/>
                      </a:xfrm>
                      <a:custGeom>
                        <a:avLst/>
                        <a:gdLst>
                          <a:gd name="connsiteX0" fmla="*/ 122708 w 122708"/>
                          <a:gd name="connsiteY0" fmla="*/ 0 h 72757"/>
                          <a:gd name="connsiteX1" fmla="*/ 84166 w 122708"/>
                          <a:gd name="connsiteY1" fmla="*/ 6471 h 72757"/>
                          <a:gd name="connsiteX2" fmla="*/ 0 w 122708"/>
                          <a:gd name="connsiteY2" fmla="*/ 54565 h 72757"/>
                          <a:gd name="connsiteX3" fmla="*/ 7706 w 122708"/>
                          <a:gd name="connsiteY3" fmla="*/ 72757 h 72757"/>
                          <a:gd name="connsiteX4" fmla="*/ 122696 w 122708"/>
                          <a:gd name="connsiteY4" fmla="*/ 0 h 72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08" h="72757">
                            <a:moveTo>
                              <a:pt x="122708" y="0"/>
                            </a:moveTo>
                            <a:cubicBezTo>
                              <a:pt x="122708" y="0"/>
                              <a:pt x="104216" y="3704"/>
                              <a:pt x="84166" y="6471"/>
                            </a:cubicBezTo>
                            <a:cubicBezTo>
                              <a:pt x="64128" y="9252"/>
                              <a:pt x="2469" y="21884"/>
                              <a:pt x="0" y="54565"/>
                            </a:cubicBezTo>
                            <a:lnTo>
                              <a:pt x="7706" y="72757"/>
                            </a:lnTo>
                            <a:lnTo>
                              <a:pt x="122696" y="0"/>
                            </a:lnTo>
                            <a:close/>
                          </a:path>
                        </a:pathLst>
                      </a:custGeom>
                      <a:solidFill>
                        <a:srgbClr val="60AC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83" name="Graphic 525">
                    <a:extLst>
                      <a:ext uri="{FF2B5EF4-FFF2-40B4-BE49-F238E27FC236}">
                        <a16:creationId xmlns:a16="http://schemas.microsoft.com/office/drawing/2014/main" id="{0478CD18-9B46-1E17-97DA-9A38BBE93C89}"/>
                      </a:ext>
                    </a:extLst>
                  </p:cNvPr>
                  <p:cNvGrpSpPr/>
                  <p:nvPr/>
                </p:nvGrpSpPr>
                <p:grpSpPr>
                  <a:xfrm>
                    <a:off x="7750305" y="6103659"/>
                    <a:ext cx="355793" cy="280946"/>
                    <a:chOff x="7750305" y="6103659"/>
                    <a:chExt cx="355793" cy="280946"/>
                  </a:xfrm>
                </p:grpSpPr>
                <p:sp>
                  <p:nvSpPr>
                    <p:cNvPr id="2684" name="Freeform: Shape 2683">
                      <a:extLst>
                        <a:ext uri="{FF2B5EF4-FFF2-40B4-BE49-F238E27FC236}">
                          <a16:creationId xmlns:a16="http://schemas.microsoft.com/office/drawing/2014/main" id="{FF2CEA1E-64A9-7868-F900-06FDC94C50FB}"/>
                        </a:ext>
                      </a:extLst>
                    </p:cNvPr>
                    <p:cNvSpPr/>
                    <p:nvPr/>
                  </p:nvSpPr>
                  <p:spPr>
                    <a:xfrm>
                      <a:off x="7750305" y="6103659"/>
                      <a:ext cx="355793" cy="280946"/>
                    </a:xfrm>
                    <a:custGeom>
                      <a:avLst/>
                      <a:gdLst>
                        <a:gd name="connsiteX0" fmla="*/ 265074 w 355793"/>
                        <a:gd name="connsiteY0" fmla="*/ 15048 h 280946"/>
                        <a:gd name="connsiteX1" fmla="*/ 301783 w 355793"/>
                        <a:gd name="connsiteY1" fmla="*/ 44662 h 280946"/>
                        <a:gd name="connsiteX2" fmla="*/ 351410 w 355793"/>
                        <a:gd name="connsiteY2" fmla="*/ 145861 h 280946"/>
                        <a:gd name="connsiteX3" fmla="*/ 206881 w 355793"/>
                        <a:gd name="connsiteY3" fmla="*/ 271799 h 280946"/>
                        <a:gd name="connsiteX4" fmla="*/ 12687 w 355793"/>
                        <a:gd name="connsiteY4" fmla="*/ 223369 h 280946"/>
                        <a:gd name="connsiteX5" fmla="*/ 7799 w 355793"/>
                        <a:gd name="connsiteY5" fmla="*/ 145824 h 280946"/>
                        <a:gd name="connsiteX6" fmla="*/ 53075 w 355793"/>
                        <a:gd name="connsiteY6" fmla="*/ 71271 h 280946"/>
                        <a:gd name="connsiteX7" fmla="*/ 130296 w 355793"/>
                        <a:gd name="connsiteY7" fmla="*/ 23802 h 280946"/>
                        <a:gd name="connsiteX8" fmla="*/ 202280 w 355793"/>
                        <a:gd name="connsiteY8" fmla="*/ 671 h 280946"/>
                        <a:gd name="connsiteX9" fmla="*/ 265062 w 355793"/>
                        <a:gd name="connsiteY9" fmla="*/ 15061 h 28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793" h="280946">
                          <a:moveTo>
                            <a:pt x="265074" y="15048"/>
                          </a:moveTo>
                          <a:cubicBezTo>
                            <a:pt x="265074" y="15048"/>
                            <a:pt x="284351" y="29812"/>
                            <a:pt x="301783" y="44662"/>
                          </a:cubicBezTo>
                          <a:cubicBezTo>
                            <a:pt x="319215" y="59513"/>
                            <a:pt x="371074" y="95761"/>
                            <a:pt x="351410" y="145861"/>
                          </a:cubicBezTo>
                          <a:cubicBezTo>
                            <a:pt x="331746" y="195950"/>
                            <a:pt x="262144" y="247672"/>
                            <a:pt x="206881" y="271799"/>
                          </a:cubicBezTo>
                          <a:cubicBezTo>
                            <a:pt x="151618" y="295927"/>
                            <a:pt x="47476" y="269755"/>
                            <a:pt x="12687" y="223369"/>
                          </a:cubicBezTo>
                          <a:cubicBezTo>
                            <a:pt x="12687" y="223369"/>
                            <a:pt x="-12251" y="188519"/>
                            <a:pt x="7799" y="145824"/>
                          </a:cubicBezTo>
                          <a:cubicBezTo>
                            <a:pt x="27850" y="103117"/>
                            <a:pt x="42888" y="89389"/>
                            <a:pt x="53075" y="71271"/>
                          </a:cubicBezTo>
                          <a:cubicBezTo>
                            <a:pt x="63262" y="53154"/>
                            <a:pt x="90906" y="32293"/>
                            <a:pt x="130296" y="23802"/>
                          </a:cubicBezTo>
                          <a:cubicBezTo>
                            <a:pt x="169686" y="15310"/>
                            <a:pt x="183028" y="4437"/>
                            <a:pt x="202280" y="671"/>
                          </a:cubicBezTo>
                          <a:cubicBezTo>
                            <a:pt x="221532" y="-3094"/>
                            <a:pt x="255548" y="9986"/>
                            <a:pt x="265062" y="15061"/>
                          </a:cubicBezTo>
                          <a:close/>
                        </a:path>
                      </a:pathLst>
                    </a:custGeom>
                    <a:solidFill>
                      <a:srgbClr val="72B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5" name="Freeform: Shape 2684">
                      <a:extLst>
                        <a:ext uri="{FF2B5EF4-FFF2-40B4-BE49-F238E27FC236}">
                          <a16:creationId xmlns:a16="http://schemas.microsoft.com/office/drawing/2014/main" id="{579EC898-145D-990A-7CF4-12FB50CAB295}"/>
                        </a:ext>
                      </a:extLst>
                    </p:cNvPr>
                    <p:cNvSpPr/>
                    <p:nvPr/>
                  </p:nvSpPr>
                  <p:spPr>
                    <a:xfrm>
                      <a:off x="7931350" y="6208995"/>
                      <a:ext cx="147210" cy="161512"/>
                    </a:xfrm>
                    <a:custGeom>
                      <a:avLst/>
                      <a:gdLst>
                        <a:gd name="connsiteX0" fmla="*/ 12 w 147210"/>
                        <a:gd name="connsiteY0" fmla="*/ 83394 h 161512"/>
                        <a:gd name="connsiteX1" fmla="*/ 36547 w 147210"/>
                        <a:gd name="connsiteY1" fmla="*/ 161512 h 161512"/>
                        <a:gd name="connsiteX2" fmla="*/ 147210 w 147210"/>
                        <a:gd name="connsiteY2" fmla="*/ 77995 h 161512"/>
                        <a:gd name="connsiteX3" fmla="*/ 125352 w 147210"/>
                        <a:gd name="connsiteY3" fmla="*/ 0 h 161512"/>
                        <a:gd name="connsiteX4" fmla="*/ 73318 w 147210"/>
                        <a:gd name="connsiteY4" fmla="*/ 32108 h 161512"/>
                        <a:gd name="connsiteX5" fmla="*/ 0 w 147210"/>
                        <a:gd name="connsiteY5" fmla="*/ 83394 h 16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210" h="161512">
                          <a:moveTo>
                            <a:pt x="12" y="83394"/>
                          </a:moveTo>
                          <a:cubicBezTo>
                            <a:pt x="12" y="83394"/>
                            <a:pt x="21048" y="128233"/>
                            <a:pt x="36547" y="161512"/>
                          </a:cubicBezTo>
                          <a:cubicBezTo>
                            <a:pt x="75525" y="142634"/>
                            <a:pt x="119329" y="111648"/>
                            <a:pt x="147210" y="77995"/>
                          </a:cubicBezTo>
                          <a:lnTo>
                            <a:pt x="125352" y="0"/>
                          </a:lnTo>
                          <a:cubicBezTo>
                            <a:pt x="125352" y="0"/>
                            <a:pt x="102359" y="8404"/>
                            <a:pt x="73318" y="32108"/>
                          </a:cubicBezTo>
                          <a:cubicBezTo>
                            <a:pt x="53991" y="47882"/>
                            <a:pt x="0" y="83394"/>
                            <a:pt x="0" y="83394"/>
                          </a:cubicBezTo>
                          <a:close/>
                        </a:path>
                      </a:pathLst>
                    </a:custGeom>
                    <a:solidFill>
                      <a:srgbClr val="60AC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86" name="Graphic 525">
                  <a:extLst>
                    <a:ext uri="{FF2B5EF4-FFF2-40B4-BE49-F238E27FC236}">
                      <a16:creationId xmlns:a16="http://schemas.microsoft.com/office/drawing/2014/main" id="{71E6224C-6614-A83C-7A2D-E78B860E5ED0}"/>
                    </a:ext>
                  </a:extLst>
                </p:cNvPr>
                <p:cNvGrpSpPr/>
                <p:nvPr/>
              </p:nvGrpSpPr>
              <p:grpSpPr>
                <a:xfrm>
                  <a:off x="7188342" y="6144091"/>
                  <a:ext cx="848536" cy="482494"/>
                  <a:chOff x="7188342" y="6144091"/>
                  <a:chExt cx="848536" cy="482494"/>
                </a:xfrm>
              </p:grpSpPr>
              <p:sp>
                <p:nvSpPr>
                  <p:cNvPr id="2687" name="Freeform: Shape 2686">
                    <a:extLst>
                      <a:ext uri="{FF2B5EF4-FFF2-40B4-BE49-F238E27FC236}">
                        <a16:creationId xmlns:a16="http://schemas.microsoft.com/office/drawing/2014/main" id="{7F2F18B4-E4D0-FF7D-1AB9-FCA3BC8F861D}"/>
                      </a:ext>
                    </a:extLst>
                  </p:cNvPr>
                  <p:cNvSpPr/>
                  <p:nvPr/>
                </p:nvSpPr>
                <p:spPr>
                  <a:xfrm>
                    <a:off x="7188342" y="6144105"/>
                    <a:ext cx="848536" cy="480648"/>
                  </a:xfrm>
                  <a:custGeom>
                    <a:avLst/>
                    <a:gdLst>
                      <a:gd name="connsiteX0" fmla="*/ 813920 w 848536"/>
                      <a:gd name="connsiteY0" fmla="*/ 272464 h 480648"/>
                      <a:gd name="connsiteX1" fmla="*/ 776001 w 848536"/>
                      <a:gd name="connsiteY1" fmla="*/ 156689 h 480648"/>
                      <a:gd name="connsiteX2" fmla="*/ 652981 w 848536"/>
                      <a:gd name="connsiteY2" fmla="*/ 45689 h 480648"/>
                      <a:gd name="connsiteX3" fmla="*/ 583603 w 848536"/>
                      <a:gd name="connsiteY3" fmla="*/ 3145 h 480648"/>
                      <a:gd name="connsiteX4" fmla="*/ 540136 w 848536"/>
                      <a:gd name="connsiteY4" fmla="*/ 363 h 480648"/>
                      <a:gd name="connsiteX5" fmla="*/ 474461 w 848536"/>
                      <a:gd name="connsiteY5" fmla="*/ 29965 h 480648"/>
                      <a:gd name="connsiteX6" fmla="*/ 274669 w 848536"/>
                      <a:gd name="connsiteY6" fmla="*/ 110441 h 480648"/>
                      <a:gd name="connsiteX7" fmla="*/ 20300 w 848536"/>
                      <a:gd name="connsiteY7" fmla="*/ 221441 h 480648"/>
                      <a:gd name="connsiteX8" fmla="*/ 0 w 848536"/>
                      <a:gd name="connsiteY8" fmla="*/ 230755 h 480648"/>
                      <a:gd name="connsiteX9" fmla="*/ 90550 w 848536"/>
                      <a:gd name="connsiteY9" fmla="*/ 387591 h 480648"/>
                      <a:gd name="connsiteX10" fmla="*/ 251738 w 848536"/>
                      <a:gd name="connsiteY10" fmla="*/ 480648 h 480648"/>
                      <a:gd name="connsiteX11" fmla="*/ 613903 w 848536"/>
                      <a:gd name="connsiteY11" fmla="*/ 480648 h 480648"/>
                      <a:gd name="connsiteX12" fmla="*/ 653019 w 848536"/>
                      <a:gd name="connsiteY12" fmla="*/ 450859 h 480648"/>
                      <a:gd name="connsiteX13" fmla="*/ 778770 w 848536"/>
                      <a:gd name="connsiteY13" fmla="*/ 377766 h 480648"/>
                      <a:gd name="connsiteX14" fmla="*/ 846290 w 848536"/>
                      <a:gd name="connsiteY14" fmla="*/ 331667 h 480648"/>
                      <a:gd name="connsiteX15" fmla="*/ 813920 w 848536"/>
                      <a:gd name="connsiteY15" fmla="*/ 272464 h 48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8536" h="480648">
                        <a:moveTo>
                          <a:pt x="813920" y="272464"/>
                        </a:moveTo>
                        <a:cubicBezTo>
                          <a:pt x="788944" y="254895"/>
                          <a:pt x="805591" y="215892"/>
                          <a:pt x="776001" y="156689"/>
                        </a:cubicBezTo>
                        <a:cubicBezTo>
                          <a:pt x="746400" y="97485"/>
                          <a:pt x="680725" y="63270"/>
                          <a:pt x="652981" y="45689"/>
                        </a:cubicBezTo>
                        <a:cubicBezTo>
                          <a:pt x="625238" y="28120"/>
                          <a:pt x="595636" y="7771"/>
                          <a:pt x="583603" y="3145"/>
                        </a:cubicBezTo>
                        <a:cubicBezTo>
                          <a:pt x="571583" y="-1482"/>
                          <a:pt x="540136" y="363"/>
                          <a:pt x="540136" y="363"/>
                        </a:cubicBezTo>
                        <a:cubicBezTo>
                          <a:pt x="518864" y="4067"/>
                          <a:pt x="507766" y="19790"/>
                          <a:pt x="474461" y="29965"/>
                        </a:cubicBezTo>
                        <a:cubicBezTo>
                          <a:pt x="441156" y="40140"/>
                          <a:pt x="355145" y="73432"/>
                          <a:pt x="274669" y="110441"/>
                        </a:cubicBezTo>
                        <a:cubicBezTo>
                          <a:pt x="194194" y="147437"/>
                          <a:pt x="67483" y="197388"/>
                          <a:pt x="20300" y="221441"/>
                        </a:cubicBezTo>
                        <a:cubicBezTo>
                          <a:pt x="14913" y="224184"/>
                          <a:pt x="8030" y="227326"/>
                          <a:pt x="0" y="230755"/>
                        </a:cubicBezTo>
                        <a:lnTo>
                          <a:pt x="90550" y="387591"/>
                        </a:lnTo>
                        <a:cubicBezTo>
                          <a:pt x="123793" y="445174"/>
                          <a:pt x="185241" y="480648"/>
                          <a:pt x="251738" y="480648"/>
                        </a:cubicBezTo>
                        <a:lnTo>
                          <a:pt x="613903" y="480648"/>
                        </a:lnTo>
                        <a:cubicBezTo>
                          <a:pt x="621260" y="466172"/>
                          <a:pt x="626933" y="454663"/>
                          <a:pt x="653019" y="450859"/>
                        </a:cubicBezTo>
                        <a:cubicBezTo>
                          <a:pt x="697421" y="444388"/>
                          <a:pt x="751026" y="394412"/>
                          <a:pt x="778770" y="377766"/>
                        </a:cubicBezTo>
                        <a:cubicBezTo>
                          <a:pt x="806513" y="361120"/>
                          <a:pt x="840404" y="344773"/>
                          <a:pt x="846290" y="331667"/>
                        </a:cubicBezTo>
                        <a:cubicBezTo>
                          <a:pt x="854619" y="313163"/>
                          <a:pt x="838896" y="290046"/>
                          <a:pt x="813920" y="272464"/>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88" name="Graphic 525">
                    <a:extLst>
                      <a:ext uri="{FF2B5EF4-FFF2-40B4-BE49-F238E27FC236}">
                        <a16:creationId xmlns:a16="http://schemas.microsoft.com/office/drawing/2014/main" id="{5C620AC8-2E16-53B5-965C-8F9BACC0FBA6}"/>
                      </a:ext>
                    </a:extLst>
                  </p:cNvPr>
                  <p:cNvGrpSpPr/>
                  <p:nvPr/>
                </p:nvGrpSpPr>
                <p:grpSpPr>
                  <a:xfrm>
                    <a:off x="7188342" y="6153047"/>
                    <a:ext cx="836426" cy="473538"/>
                    <a:chOff x="7188342" y="6153047"/>
                    <a:chExt cx="836426" cy="473538"/>
                  </a:xfrm>
                  <a:solidFill>
                    <a:srgbClr val="EAEAEA"/>
                  </a:solidFill>
                </p:grpSpPr>
                <p:sp>
                  <p:nvSpPr>
                    <p:cNvPr id="2689" name="Freeform: Shape 2688">
                      <a:extLst>
                        <a:ext uri="{FF2B5EF4-FFF2-40B4-BE49-F238E27FC236}">
                          <a16:creationId xmlns:a16="http://schemas.microsoft.com/office/drawing/2014/main" id="{ED462314-A231-774C-E189-EF285ACFF967}"/>
                        </a:ext>
                      </a:extLst>
                    </p:cNvPr>
                    <p:cNvSpPr/>
                    <p:nvPr/>
                  </p:nvSpPr>
                  <p:spPr>
                    <a:xfrm>
                      <a:off x="7699325" y="6153047"/>
                      <a:ext cx="325443" cy="338024"/>
                    </a:xfrm>
                    <a:custGeom>
                      <a:avLst/>
                      <a:gdLst>
                        <a:gd name="connsiteX0" fmla="*/ 271103 w 325443"/>
                        <a:gd name="connsiteY0" fmla="*/ 259956 h 338024"/>
                        <a:gd name="connsiteX1" fmla="*/ 263671 w 325443"/>
                        <a:gd name="connsiteY1" fmla="*/ 254108 h 338024"/>
                        <a:gd name="connsiteX2" fmla="*/ 253447 w 325443"/>
                        <a:gd name="connsiteY2" fmla="*/ 216563 h 338024"/>
                        <a:gd name="connsiteX3" fmla="*/ 248659 w 325443"/>
                        <a:gd name="connsiteY3" fmla="*/ 166774 h 338024"/>
                        <a:gd name="connsiteX4" fmla="*/ 197573 w 325443"/>
                        <a:gd name="connsiteY4" fmla="*/ 107296 h 338024"/>
                        <a:gd name="connsiteX5" fmla="*/ 123481 w 325443"/>
                        <a:gd name="connsiteY5" fmla="*/ 55786 h 338024"/>
                        <a:gd name="connsiteX6" fmla="*/ 110501 w 325443"/>
                        <a:gd name="connsiteY6" fmla="*/ 47383 h 338024"/>
                        <a:gd name="connsiteX7" fmla="*/ 7369 w 325443"/>
                        <a:gd name="connsiteY7" fmla="*/ 0 h 338024"/>
                        <a:gd name="connsiteX8" fmla="*/ 0 w 325443"/>
                        <a:gd name="connsiteY8" fmla="*/ 4301 h 338024"/>
                        <a:gd name="connsiteX9" fmla="*/ 106972 w 325443"/>
                        <a:gd name="connsiteY9" fmla="*/ 52807 h 338024"/>
                        <a:gd name="connsiteX10" fmla="*/ 119990 w 325443"/>
                        <a:gd name="connsiteY10" fmla="*/ 61236 h 338024"/>
                        <a:gd name="connsiteX11" fmla="*/ 193545 w 325443"/>
                        <a:gd name="connsiteY11" fmla="*/ 112359 h 338024"/>
                        <a:gd name="connsiteX12" fmla="*/ 242573 w 325443"/>
                        <a:gd name="connsiteY12" fmla="*/ 168943 h 338024"/>
                        <a:gd name="connsiteX13" fmla="*/ 247000 w 325443"/>
                        <a:gd name="connsiteY13" fmla="*/ 216127 h 338024"/>
                        <a:gd name="connsiteX14" fmla="*/ 259631 w 325443"/>
                        <a:gd name="connsiteY14" fmla="*/ 259182 h 338024"/>
                        <a:gd name="connsiteX15" fmla="*/ 267125 w 325443"/>
                        <a:gd name="connsiteY15" fmla="*/ 265080 h 338024"/>
                        <a:gd name="connsiteX16" fmla="*/ 319657 w 325443"/>
                        <a:gd name="connsiteY16" fmla="*/ 338024 h 338024"/>
                        <a:gd name="connsiteX17" fmla="*/ 325443 w 325443"/>
                        <a:gd name="connsiteY17" fmla="*/ 333735 h 338024"/>
                        <a:gd name="connsiteX18" fmla="*/ 271103 w 325443"/>
                        <a:gd name="connsiteY18" fmla="*/ 259981 h 33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5443" h="338024">
                          <a:moveTo>
                            <a:pt x="271103" y="259956"/>
                          </a:moveTo>
                          <a:cubicBezTo>
                            <a:pt x="268522" y="257948"/>
                            <a:pt x="266090" y="256040"/>
                            <a:pt x="263671" y="254108"/>
                          </a:cubicBezTo>
                          <a:cubicBezTo>
                            <a:pt x="251489" y="244356"/>
                            <a:pt x="252312" y="232698"/>
                            <a:pt x="253447" y="216563"/>
                          </a:cubicBezTo>
                          <a:cubicBezTo>
                            <a:pt x="254394" y="203109"/>
                            <a:pt x="255579" y="186363"/>
                            <a:pt x="248659" y="166774"/>
                          </a:cubicBezTo>
                          <a:cubicBezTo>
                            <a:pt x="242511" y="149355"/>
                            <a:pt x="225803" y="129890"/>
                            <a:pt x="197573" y="107296"/>
                          </a:cubicBezTo>
                          <a:cubicBezTo>
                            <a:pt x="173794" y="88256"/>
                            <a:pt x="145901" y="70251"/>
                            <a:pt x="123481" y="55786"/>
                          </a:cubicBezTo>
                          <a:cubicBezTo>
                            <a:pt x="118893" y="52831"/>
                            <a:pt x="114566" y="50038"/>
                            <a:pt x="110501" y="47383"/>
                          </a:cubicBezTo>
                          <a:cubicBezTo>
                            <a:pt x="77420" y="25786"/>
                            <a:pt x="29664" y="7793"/>
                            <a:pt x="7369" y="0"/>
                          </a:cubicBezTo>
                          <a:cubicBezTo>
                            <a:pt x="4975" y="1359"/>
                            <a:pt x="2543" y="2806"/>
                            <a:pt x="0" y="4301"/>
                          </a:cubicBezTo>
                          <a:cubicBezTo>
                            <a:pt x="18766" y="10686"/>
                            <a:pt x="71547" y="29689"/>
                            <a:pt x="106972" y="52807"/>
                          </a:cubicBezTo>
                          <a:cubicBezTo>
                            <a:pt x="111062" y="55475"/>
                            <a:pt x="115389" y="58268"/>
                            <a:pt x="119990" y="61236"/>
                          </a:cubicBezTo>
                          <a:cubicBezTo>
                            <a:pt x="142285" y="75625"/>
                            <a:pt x="170028" y="93530"/>
                            <a:pt x="193545" y="112359"/>
                          </a:cubicBezTo>
                          <a:cubicBezTo>
                            <a:pt x="220802" y="134180"/>
                            <a:pt x="236838" y="152696"/>
                            <a:pt x="242573" y="168943"/>
                          </a:cubicBezTo>
                          <a:cubicBezTo>
                            <a:pt x="249045" y="187273"/>
                            <a:pt x="247960" y="202598"/>
                            <a:pt x="247000" y="216127"/>
                          </a:cubicBezTo>
                          <a:cubicBezTo>
                            <a:pt x="245816" y="232860"/>
                            <a:pt x="244793" y="247312"/>
                            <a:pt x="259631" y="259182"/>
                          </a:cubicBezTo>
                          <a:cubicBezTo>
                            <a:pt x="262088" y="261140"/>
                            <a:pt x="264644" y="263148"/>
                            <a:pt x="267125" y="265080"/>
                          </a:cubicBezTo>
                          <a:cubicBezTo>
                            <a:pt x="289931" y="282886"/>
                            <a:pt x="313485" y="301278"/>
                            <a:pt x="319657" y="338024"/>
                          </a:cubicBezTo>
                          <a:cubicBezTo>
                            <a:pt x="321740" y="336566"/>
                            <a:pt x="323685" y="335144"/>
                            <a:pt x="325443" y="333735"/>
                          </a:cubicBezTo>
                          <a:cubicBezTo>
                            <a:pt x="318011" y="296615"/>
                            <a:pt x="293161" y="277213"/>
                            <a:pt x="271103" y="259981"/>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0" name="Freeform: Shape 2689">
                      <a:extLst>
                        <a:ext uri="{FF2B5EF4-FFF2-40B4-BE49-F238E27FC236}">
                          <a16:creationId xmlns:a16="http://schemas.microsoft.com/office/drawing/2014/main" id="{BBECFD14-0AB8-1082-765E-C3929DA04400}"/>
                        </a:ext>
                      </a:extLst>
                    </p:cNvPr>
                    <p:cNvSpPr/>
                    <p:nvPr/>
                  </p:nvSpPr>
                  <p:spPr>
                    <a:xfrm>
                      <a:off x="7656057" y="6173309"/>
                      <a:ext cx="329034" cy="341466"/>
                    </a:xfrm>
                    <a:custGeom>
                      <a:avLst/>
                      <a:gdLst>
                        <a:gd name="connsiteX0" fmla="*/ 305879 w 329034"/>
                        <a:gd name="connsiteY0" fmla="*/ 298111 h 341466"/>
                        <a:gd name="connsiteX1" fmla="*/ 291453 w 329034"/>
                        <a:gd name="connsiteY1" fmla="*/ 287438 h 341466"/>
                        <a:gd name="connsiteX2" fmla="*/ 267450 w 329034"/>
                        <a:gd name="connsiteY2" fmla="*/ 252150 h 341466"/>
                        <a:gd name="connsiteX3" fmla="*/ 267238 w 329034"/>
                        <a:gd name="connsiteY3" fmla="*/ 249432 h 341466"/>
                        <a:gd name="connsiteX4" fmla="*/ 255903 w 329034"/>
                        <a:gd name="connsiteY4" fmla="*/ 189767 h 341466"/>
                        <a:gd name="connsiteX5" fmla="*/ 237212 w 329034"/>
                        <a:gd name="connsiteY5" fmla="*/ 153083 h 341466"/>
                        <a:gd name="connsiteX6" fmla="*/ 203508 w 329034"/>
                        <a:gd name="connsiteY6" fmla="*/ 114366 h 341466"/>
                        <a:gd name="connsiteX7" fmla="*/ 79366 w 329034"/>
                        <a:gd name="connsiteY7" fmla="*/ 34814 h 341466"/>
                        <a:gd name="connsiteX8" fmla="*/ 9152 w 329034"/>
                        <a:gd name="connsiteY8" fmla="*/ 0 h 341466"/>
                        <a:gd name="connsiteX9" fmla="*/ 6733 w 329034"/>
                        <a:gd name="connsiteY9" fmla="*/ 760 h 341466"/>
                        <a:gd name="connsiteX10" fmla="*/ 0 w 329034"/>
                        <a:gd name="connsiteY10" fmla="*/ 2893 h 341466"/>
                        <a:gd name="connsiteX11" fmla="*/ 76386 w 329034"/>
                        <a:gd name="connsiteY11" fmla="*/ 40550 h 341466"/>
                        <a:gd name="connsiteX12" fmla="*/ 199144 w 329034"/>
                        <a:gd name="connsiteY12" fmla="*/ 119130 h 341466"/>
                        <a:gd name="connsiteX13" fmla="*/ 260779 w 329034"/>
                        <a:gd name="connsiteY13" fmla="*/ 249918 h 341466"/>
                        <a:gd name="connsiteX14" fmla="*/ 260991 w 329034"/>
                        <a:gd name="connsiteY14" fmla="*/ 252636 h 341466"/>
                        <a:gd name="connsiteX15" fmla="*/ 287911 w 329034"/>
                        <a:gd name="connsiteY15" fmla="*/ 292837 h 341466"/>
                        <a:gd name="connsiteX16" fmla="*/ 301478 w 329034"/>
                        <a:gd name="connsiteY16" fmla="*/ 302849 h 341466"/>
                        <a:gd name="connsiteX17" fmla="*/ 323137 w 329034"/>
                        <a:gd name="connsiteY17" fmla="*/ 341466 h 341466"/>
                        <a:gd name="connsiteX18" fmla="*/ 329035 w 329034"/>
                        <a:gd name="connsiteY18" fmla="*/ 338099 h 341466"/>
                        <a:gd name="connsiteX19" fmla="*/ 305879 w 329034"/>
                        <a:gd name="connsiteY19" fmla="*/ 298086 h 34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034" h="341466">
                          <a:moveTo>
                            <a:pt x="305879" y="298111"/>
                          </a:moveTo>
                          <a:cubicBezTo>
                            <a:pt x="301228" y="293821"/>
                            <a:pt x="296266" y="290567"/>
                            <a:pt x="291453" y="287438"/>
                          </a:cubicBezTo>
                          <a:cubicBezTo>
                            <a:pt x="279457" y="279594"/>
                            <a:pt x="269096" y="272823"/>
                            <a:pt x="267450" y="252150"/>
                          </a:cubicBezTo>
                          <a:cubicBezTo>
                            <a:pt x="267375" y="251264"/>
                            <a:pt x="267313" y="250354"/>
                            <a:pt x="267238" y="249432"/>
                          </a:cubicBezTo>
                          <a:cubicBezTo>
                            <a:pt x="266028" y="234094"/>
                            <a:pt x="264382" y="213084"/>
                            <a:pt x="255903" y="189767"/>
                          </a:cubicBezTo>
                          <a:cubicBezTo>
                            <a:pt x="251277" y="177048"/>
                            <a:pt x="244993" y="164717"/>
                            <a:pt x="237212" y="153083"/>
                          </a:cubicBezTo>
                          <a:cubicBezTo>
                            <a:pt x="228209" y="139616"/>
                            <a:pt x="216863" y="126598"/>
                            <a:pt x="203508" y="114366"/>
                          </a:cubicBezTo>
                          <a:cubicBezTo>
                            <a:pt x="179268" y="92184"/>
                            <a:pt x="137497" y="65425"/>
                            <a:pt x="79366" y="34814"/>
                          </a:cubicBezTo>
                          <a:cubicBezTo>
                            <a:pt x="49590" y="19140"/>
                            <a:pt x="22956" y="6446"/>
                            <a:pt x="9152" y="0"/>
                          </a:cubicBezTo>
                          <a:cubicBezTo>
                            <a:pt x="8355" y="262"/>
                            <a:pt x="7556" y="511"/>
                            <a:pt x="6733" y="760"/>
                          </a:cubicBezTo>
                          <a:cubicBezTo>
                            <a:pt x="4688" y="1384"/>
                            <a:pt x="2432" y="2107"/>
                            <a:pt x="0" y="2893"/>
                          </a:cubicBezTo>
                          <a:cubicBezTo>
                            <a:pt x="10100" y="7531"/>
                            <a:pt x="41011" y="21921"/>
                            <a:pt x="76386" y="40550"/>
                          </a:cubicBezTo>
                          <a:cubicBezTo>
                            <a:pt x="133207" y="70463"/>
                            <a:pt x="175652" y="97633"/>
                            <a:pt x="199144" y="119130"/>
                          </a:cubicBezTo>
                          <a:cubicBezTo>
                            <a:pt x="254494" y="169767"/>
                            <a:pt x="258422" y="219942"/>
                            <a:pt x="260779" y="249918"/>
                          </a:cubicBezTo>
                          <a:cubicBezTo>
                            <a:pt x="260854" y="250841"/>
                            <a:pt x="260928" y="251751"/>
                            <a:pt x="260991" y="252636"/>
                          </a:cubicBezTo>
                          <a:cubicBezTo>
                            <a:pt x="262898" y="276489"/>
                            <a:pt x="275617" y="284794"/>
                            <a:pt x="287911" y="292837"/>
                          </a:cubicBezTo>
                          <a:cubicBezTo>
                            <a:pt x="292488" y="295829"/>
                            <a:pt x="297226" y="298922"/>
                            <a:pt x="301478" y="302849"/>
                          </a:cubicBezTo>
                          <a:cubicBezTo>
                            <a:pt x="312189" y="312737"/>
                            <a:pt x="320281" y="327712"/>
                            <a:pt x="323137" y="341466"/>
                          </a:cubicBezTo>
                          <a:cubicBezTo>
                            <a:pt x="325094" y="340343"/>
                            <a:pt x="327064" y="339221"/>
                            <a:pt x="329035" y="338099"/>
                          </a:cubicBezTo>
                          <a:cubicBezTo>
                            <a:pt x="325593" y="323623"/>
                            <a:pt x="317139" y="308485"/>
                            <a:pt x="305879" y="298086"/>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1" name="Freeform: Shape 2690">
                      <a:extLst>
                        <a:ext uri="{FF2B5EF4-FFF2-40B4-BE49-F238E27FC236}">
                          <a16:creationId xmlns:a16="http://schemas.microsoft.com/office/drawing/2014/main" id="{D3EDF7CE-CEC6-998B-F932-3E567E8526A4}"/>
                        </a:ext>
                      </a:extLst>
                    </p:cNvPr>
                    <p:cNvSpPr/>
                    <p:nvPr/>
                  </p:nvSpPr>
                  <p:spPr>
                    <a:xfrm>
                      <a:off x="7593774" y="6195966"/>
                      <a:ext cx="359346" cy="339159"/>
                    </a:xfrm>
                    <a:custGeom>
                      <a:avLst/>
                      <a:gdLst>
                        <a:gd name="connsiteX0" fmla="*/ 329533 w 359346"/>
                        <a:gd name="connsiteY0" fmla="*/ 308423 h 339159"/>
                        <a:gd name="connsiteX1" fmla="*/ 325842 w 359346"/>
                        <a:gd name="connsiteY1" fmla="*/ 305979 h 339159"/>
                        <a:gd name="connsiteX2" fmla="*/ 316416 w 359346"/>
                        <a:gd name="connsiteY2" fmla="*/ 300343 h 339159"/>
                        <a:gd name="connsiteX3" fmla="*/ 292749 w 359346"/>
                        <a:gd name="connsiteY3" fmla="*/ 252911 h 339159"/>
                        <a:gd name="connsiteX4" fmla="*/ 265816 w 359346"/>
                        <a:gd name="connsiteY4" fmla="*/ 181787 h 339159"/>
                        <a:gd name="connsiteX5" fmla="*/ 184119 w 359346"/>
                        <a:gd name="connsiteY5" fmla="*/ 105014 h 339159"/>
                        <a:gd name="connsiteX6" fmla="*/ 7943 w 359346"/>
                        <a:gd name="connsiteY6" fmla="*/ 0 h 339159"/>
                        <a:gd name="connsiteX7" fmla="*/ 0 w 359346"/>
                        <a:gd name="connsiteY7" fmla="*/ 3092 h 339159"/>
                        <a:gd name="connsiteX8" fmla="*/ 180378 w 359346"/>
                        <a:gd name="connsiteY8" fmla="*/ 110302 h 339159"/>
                        <a:gd name="connsiteX9" fmla="*/ 286315 w 359346"/>
                        <a:gd name="connsiteY9" fmla="*/ 253434 h 339159"/>
                        <a:gd name="connsiteX10" fmla="*/ 313273 w 359346"/>
                        <a:gd name="connsiteY10" fmla="*/ 305991 h 339159"/>
                        <a:gd name="connsiteX11" fmla="*/ 322276 w 359346"/>
                        <a:gd name="connsiteY11" fmla="*/ 311353 h 339159"/>
                        <a:gd name="connsiteX12" fmla="*/ 325992 w 359346"/>
                        <a:gd name="connsiteY12" fmla="*/ 313822 h 339159"/>
                        <a:gd name="connsiteX13" fmla="*/ 354035 w 359346"/>
                        <a:gd name="connsiteY13" fmla="*/ 339159 h 339159"/>
                        <a:gd name="connsiteX14" fmla="*/ 359347 w 359346"/>
                        <a:gd name="connsiteY14" fmla="*/ 335307 h 339159"/>
                        <a:gd name="connsiteX15" fmla="*/ 329558 w 359346"/>
                        <a:gd name="connsiteY15" fmla="*/ 308423 h 33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9346" h="339159">
                          <a:moveTo>
                            <a:pt x="329533" y="308423"/>
                          </a:moveTo>
                          <a:cubicBezTo>
                            <a:pt x="328311" y="307612"/>
                            <a:pt x="327077" y="306802"/>
                            <a:pt x="325842" y="305979"/>
                          </a:cubicBezTo>
                          <a:cubicBezTo>
                            <a:pt x="322463" y="303734"/>
                            <a:pt x="319246" y="301927"/>
                            <a:pt x="316416" y="300343"/>
                          </a:cubicBezTo>
                          <a:cubicBezTo>
                            <a:pt x="303473" y="293111"/>
                            <a:pt x="295655" y="288759"/>
                            <a:pt x="292749" y="252911"/>
                          </a:cubicBezTo>
                          <a:cubicBezTo>
                            <a:pt x="290730" y="227948"/>
                            <a:pt x="281914" y="204693"/>
                            <a:pt x="265816" y="181787"/>
                          </a:cubicBezTo>
                          <a:cubicBezTo>
                            <a:pt x="248060" y="156549"/>
                            <a:pt x="221339" y="131437"/>
                            <a:pt x="184119" y="105014"/>
                          </a:cubicBezTo>
                          <a:cubicBezTo>
                            <a:pt x="128906" y="65824"/>
                            <a:pt x="39664" y="17020"/>
                            <a:pt x="7943" y="0"/>
                          </a:cubicBezTo>
                          <a:cubicBezTo>
                            <a:pt x="5337" y="1010"/>
                            <a:pt x="2694" y="2032"/>
                            <a:pt x="0" y="3092"/>
                          </a:cubicBezTo>
                          <a:cubicBezTo>
                            <a:pt x="26086" y="17008"/>
                            <a:pt x="122259" y="69054"/>
                            <a:pt x="180378" y="110302"/>
                          </a:cubicBezTo>
                          <a:cubicBezTo>
                            <a:pt x="249594" y="159430"/>
                            <a:pt x="282263" y="203570"/>
                            <a:pt x="286315" y="253434"/>
                          </a:cubicBezTo>
                          <a:cubicBezTo>
                            <a:pt x="289495" y="292724"/>
                            <a:pt x="299470" y="298285"/>
                            <a:pt x="313273" y="305991"/>
                          </a:cubicBezTo>
                          <a:cubicBezTo>
                            <a:pt x="316141" y="307588"/>
                            <a:pt x="319109" y="309246"/>
                            <a:pt x="322276" y="311353"/>
                          </a:cubicBezTo>
                          <a:cubicBezTo>
                            <a:pt x="323523" y="312189"/>
                            <a:pt x="324770" y="312999"/>
                            <a:pt x="325992" y="313822"/>
                          </a:cubicBezTo>
                          <a:cubicBezTo>
                            <a:pt x="337850" y="321665"/>
                            <a:pt x="348561" y="328735"/>
                            <a:pt x="354035" y="339159"/>
                          </a:cubicBezTo>
                          <a:cubicBezTo>
                            <a:pt x="355856" y="337825"/>
                            <a:pt x="357626" y="336541"/>
                            <a:pt x="359347" y="335307"/>
                          </a:cubicBezTo>
                          <a:cubicBezTo>
                            <a:pt x="353025" y="323922"/>
                            <a:pt x="341516" y="316328"/>
                            <a:pt x="329558" y="308423"/>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2" name="Freeform: Shape 2691">
                      <a:extLst>
                        <a:ext uri="{FF2B5EF4-FFF2-40B4-BE49-F238E27FC236}">
                          <a16:creationId xmlns:a16="http://schemas.microsoft.com/office/drawing/2014/main" id="{706B7D16-95F2-C598-40D6-A72D23C19BCF}"/>
                        </a:ext>
                      </a:extLst>
                    </p:cNvPr>
                    <p:cNvSpPr/>
                    <p:nvPr/>
                  </p:nvSpPr>
                  <p:spPr>
                    <a:xfrm>
                      <a:off x="7530518" y="6221577"/>
                      <a:ext cx="374858" cy="347899"/>
                    </a:xfrm>
                    <a:custGeom>
                      <a:avLst/>
                      <a:gdLst>
                        <a:gd name="connsiteX0" fmla="*/ 333187 w 374858"/>
                        <a:gd name="connsiteY0" fmla="*/ 298298 h 347899"/>
                        <a:gd name="connsiteX1" fmla="*/ 320306 w 374858"/>
                        <a:gd name="connsiteY1" fmla="*/ 287973 h 347899"/>
                        <a:gd name="connsiteX2" fmla="*/ 307338 w 374858"/>
                        <a:gd name="connsiteY2" fmla="*/ 254993 h 347899"/>
                        <a:gd name="connsiteX3" fmla="*/ 302812 w 374858"/>
                        <a:gd name="connsiteY3" fmla="*/ 224082 h 347899"/>
                        <a:gd name="connsiteX4" fmla="*/ 219556 w 374858"/>
                        <a:gd name="connsiteY4" fmla="*/ 132322 h 347899"/>
                        <a:gd name="connsiteX5" fmla="*/ 204456 w 374858"/>
                        <a:gd name="connsiteY5" fmla="*/ 119092 h 347899"/>
                        <a:gd name="connsiteX6" fmla="*/ 84603 w 374858"/>
                        <a:gd name="connsiteY6" fmla="*/ 42557 h 347899"/>
                        <a:gd name="connsiteX7" fmla="*/ 7669 w 374858"/>
                        <a:gd name="connsiteY7" fmla="*/ 0 h 347899"/>
                        <a:gd name="connsiteX8" fmla="*/ 0 w 374858"/>
                        <a:gd name="connsiteY8" fmla="*/ 3229 h 347899"/>
                        <a:gd name="connsiteX9" fmla="*/ 200166 w 374858"/>
                        <a:gd name="connsiteY9" fmla="*/ 123943 h 347899"/>
                        <a:gd name="connsiteX10" fmla="*/ 215292 w 374858"/>
                        <a:gd name="connsiteY10" fmla="*/ 137197 h 347899"/>
                        <a:gd name="connsiteX11" fmla="*/ 296665 w 374858"/>
                        <a:gd name="connsiteY11" fmla="*/ 226127 h 347899"/>
                        <a:gd name="connsiteX12" fmla="*/ 300867 w 374858"/>
                        <a:gd name="connsiteY12" fmla="*/ 255168 h 347899"/>
                        <a:gd name="connsiteX13" fmla="*/ 316166 w 374858"/>
                        <a:gd name="connsiteY13" fmla="*/ 292949 h 347899"/>
                        <a:gd name="connsiteX14" fmla="*/ 329184 w 374858"/>
                        <a:gd name="connsiteY14" fmla="*/ 303386 h 347899"/>
                        <a:gd name="connsiteX15" fmla="*/ 369048 w 374858"/>
                        <a:gd name="connsiteY15" fmla="*/ 347900 h 347899"/>
                        <a:gd name="connsiteX16" fmla="*/ 374858 w 374858"/>
                        <a:gd name="connsiteY16" fmla="*/ 344097 h 347899"/>
                        <a:gd name="connsiteX17" fmla="*/ 333187 w 374858"/>
                        <a:gd name="connsiteY17" fmla="*/ 298285 h 347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58" h="347899">
                          <a:moveTo>
                            <a:pt x="333187" y="298298"/>
                          </a:moveTo>
                          <a:cubicBezTo>
                            <a:pt x="328660" y="294732"/>
                            <a:pt x="324371" y="291365"/>
                            <a:pt x="320306" y="287973"/>
                          </a:cubicBezTo>
                          <a:cubicBezTo>
                            <a:pt x="307949" y="277674"/>
                            <a:pt x="307687" y="268160"/>
                            <a:pt x="307338" y="254993"/>
                          </a:cubicBezTo>
                          <a:cubicBezTo>
                            <a:pt x="307101" y="246165"/>
                            <a:pt x="306827" y="236152"/>
                            <a:pt x="302812" y="224082"/>
                          </a:cubicBezTo>
                          <a:cubicBezTo>
                            <a:pt x="293847" y="197186"/>
                            <a:pt x="257761" y="165677"/>
                            <a:pt x="219556" y="132322"/>
                          </a:cubicBezTo>
                          <a:cubicBezTo>
                            <a:pt x="214593" y="127983"/>
                            <a:pt x="209456" y="123506"/>
                            <a:pt x="204456" y="119092"/>
                          </a:cubicBezTo>
                          <a:cubicBezTo>
                            <a:pt x="186899" y="103605"/>
                            <a:pt x="146574" y="77857"/>
                            <a:pt x="84603" y="42557"/>
                          </a:cubicBezTo>
                          <a:cubicBezTo>
                            <a:pt x="52732" y="24415"/>
                            <a:pt x="23068" y="8292"/>
                            <a:pt x="7669" y="0"/>
                          </a:cubicBezTo>
                          <a:cubicBezTo>
                            <a:pt x="5125" y="1072"/>
                            <a:pt x="2569" y="2144"/>
                            <a:pt x="0" y="3229"/>
                          </a:cubicBezTo>
                          <a:cubicBezTo>
                            <a:pt x="30761" y="19726"/>
                            <a:pt x="163657" y="91723"/>
                            <a:pt x="200166" y="123943"/>
                          </a:cubicBezTo>
                          <a:cubicBezTo>
                            <a:pt x="205179" y="128369"/>
                            <a:pt x="210316" y="132858"/>
                            <a:pt x="215292" y="137197"/>
                          </a:cubicBezTo>
                          <a:cubicBezTo>
                            <a:pt x="251165" y="168520"/>
                            <a:pt x="288248" y="200902"/>
                            <a:pt x="296665" y="226127"/>
                          </a:cubicBezTo>
                          <a:cubicBezTo>
                            <a:pt x="300381" y="237287"/>
                            <a:pt x="300642" y="246788"/>
                            <a:pt x="300867" y="255168"/>
                          </a:cubicBezTo>
                          <a:cubicBezTo>
                            <a:pt x="301241" y="268908"/>
                            <a:pt x="301553" y="280779"/>
                            <a:pt x="316166" y="292949"/>
                          </a:cubicBezTo>
                          <a:cubicBezTo>
                            <a:pt x="320306" y="296390"/>
                            <a:pt x="324820" y="299957"/>
                            <a:pt x="329184" y="303386"/>
                          </a:cubicBezTo>
                          <a:cubicBezTo>
                            <a:pt x="347638" y="317912"/>
                            <a:pt x="366691" y="332912"/>
                            <a:pt x="369048" y="347900"/>
                          </a:cubicBezTo>
                          <a:cubicBezTo>
                            <a:pt x="370993" y="346653"/>
                            <a:pt x="372926" y="345381"/>
                            <a:pt x="374858" y="344097"/>
                          </a:cubicBezTo>
                          <a:cubicBezTo>
                            <a:pt x="370544" y="327687"/>
                            <a:pt x="351578" y="312774"/>
                            <a:pt x="333187" y="298285"/>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3" name="Freeform: Shape 2692">
                      <a:extLst>
                        <a:ext uri="{FF2B5EF4-FFF2-40B4-BE49-F238E27FC236}">
                          <a16:creationId xmlns:a16="http://schemas.microsoft.com/office/drawing/2014/main" id="{419F9FA4-64EB-50E1-A866-9A1C7A73FF73}"/>
                        </a:ext>
                      </a:extLst>
                    </p:cNvPr>
                    <p:cNvSpPr/>
                    <p:nvPr/>
                  </p:nvSpPr>
                  <p:spPr>
                    <a:xfrm>
                      <a:off x="7467400" y="6249208"/>
                      <a:ext cx="389796" cy="343710"/>
                    </a:xfrm>
                    <a:custGeom>
                      <a:avLst/>
                      <a:gdLst>
                        <a:gd name="connsiteX0" fmla="*/ 389796 w 389796"/>
                        <a:gd name="connsiteY0" fmla="*/ 341828 h 343710"/>
                        <a:gd name="connsiteX1" fmla="*/ 360818 w 389796"/>
                        <a:gd name="connsiteY1" fmla="*/ 304433 h 343710"/>
                        <a:gd name="connsiteX2" fmla="*/ 333972 w 389796"/>
                        <a:gd name="connsiteY2" fmla="*/ 259769 h 343710"/>
                        <a:gd name="connsiteX3" fmla="*/ 297462 w 389796"/>
                        <a:gd name="connsiteY3" fmla="*/ 201177 h 343710"/>
                        <a:gd name="connsiteX4" fmla="*/ 220516 w 389796"/>
                        <a:gd name="connsiteY4" fmla="*/ 130739 h 343710"/>
                        <a:gd name="connsiteX5" fmla="*/ 7294 w 389796"/>
                        <a:gd name="connsiteY5" fmla="*/ 0 h 343710"/>
                        <a:gd name="connsiteX6" fmla="*/ 0 w 389796"/>
                        <a:gd name="connsiteY6" fmla="*/ 3317 h 343710"/>
                        <a:gd name="connsiteX7" fmla="*/ 216625 w 389796"/>
                        <a:gd name="connsiteY7" fmla="*/ 135926 h 343710"/>
                        <a:gd name="connsiteX8" fmla="*/ 292587 w 389796"/>
                        <a:gd name="connsiteY8" fmla="*/ 205453 h 343710"/>
                        <a:gd name="connsiteX9" fmla="*/ 327600 w 389796"/>
                        <a:gd name="connsiteY9" fmla="*/ 260929 h 343710"/>
                        <a:gd name="connsiteX10" fmla="*/ 357476 w 389796"/>
                        <a:gd name="connsiteY10" fmla="*/ 309982 h 343710"/>
                        <a:gd name="connsiteX11" fmla="*/ 383586 w 389796"/>
                        <a:gd name="connsiteY11" fmla="*/ 343711 h 343710"/>
                        <a:gd name="connsiteX12" fmla="*/ 389784 w 389796"/>
                        <a:gd name="connsiteY12" fmla="*/ 341828 h 34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796" h="343710">
                          <a:moveTo>
                            <a:pt x="389796" y="341828"/>
                          </a:moveTo>
                          <a:cubicBezTo>
                            <a:pt x="385943" y="329608"/>
                            <a:pt x="378362" y="314957"/>
                            <a:pt x="360818" y="304433"/>
                          </a:cubicBezTo>
                          <a:cubicBezTo>
                            <a:pt x="343336" y="293947"/>
                            <a:pt x="338823" y="286428"/>
                            <a:pt x="333972" y="259769"/>
                          </a:cubicBezTo>
                          <a:cubicBezTo>
                            <a:pt x="331453" y="245928"/>
                            <a:pt x="318485" y="225117"/>
                            <a:pt x="297462" y="201177"/>
                          </a:cubicBezTo>
                          <a:cubicBezTo>
                            <a:pt x="276340" y="177124"/>
                            <a:pt x="249008" y="152111"/>
                            <a:pt x="220516" y="130739"/>
                          </a:cubicBezTo>
                          <a:cubicBezTo>
                            <a:pt x="169904" y="92783"/>
                            <a:pt x="42457" y="19913"/>
                            <a:pt x="7294" y="0"/>
                          </a:cubicBezTo>
                          <a:cubicBezTo>
                            <a:pt x="4863" y="1098"/>
                            <a:pt x="2431" y="2207"/>
                            <a:pt x="0" y="3317"/>
                          </a:cubicBezTo>
                          <a:cubicBezTo>
                            <a:pt x="27781" y="19015"/>
                            <a:pt x="164093" y="96523"/>
                            <a:pt x="216625" y="135926"/>
                          </a:cubicBezTo>
                          <a:cubicBezTo>
                            <a:pt x="244768" y="157036"/>
                            <a:pt x="271751" y="181725"/>
                            <a:pt x="292587" y="205453"/>
                          </a:cubicBezTo>
                          <a:cubicBezTo>
                            <a:pt x="312563" y="228197"/>
                            <a:pt x="325318" y="248410"/>
                            <a:pt x="327600" y="260929"/>
                          </a:cubicBezTo>
                          <a:cubicBezTo>
                            <a:pt x="332762" y="289333"/>
                            <a:pt x="338349" y="298511"/>
                            <a:pt x="357476" y="309982"/>
                          </a:cubicBezTo>
                          <a:cubicBezTo>
                            <a:pt x="373175" y="319396"/>
                            <a:pt x="380045" y="332613"/>
                            <a:pt x="383586" y="343711"/>
                          </a:cubicBezTo>
                          <a:cubicBezTo>
                            <a:pt x="385644" y="343150"/>
                            <a:pt x="387714" y="342526"/>
                            <a:pt x="389784" y="341828"/>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4" name="Freeform: Shape 2693">
                      <a:extLst>
                        <a:ext uri="{FF2B5EF4-FFF2-40B4-BE49-F238E27FC236}">
                          <a16:creationId xmlns:a16="http://schemas.microsoft.com/office/drawing/2014/main" id="{45E65340-D9DF-F323-6DEE-B3641F21B0A1}"/>
                        </a:ext>
                      </a:extLst>
                    </p:cNvPr>
                    <p:cNvSpPr/>
                    <p:nvPr/>
                  </p:nvSpPr>
                  <p:spPr>
                    <a:xfrm>
                      <a:off x="7411551" y="6274097"/>
                      <a:ext cx="393299" cy="352488"/>
                    </a:xfrm>
                    <a:custGeom>
                      <a:avLst/>
                      <a:gdLst>
                        <a:gd name="connsiteX0" fmla="*/ 373162 w 393299"/>
                        <a:gd name="connsiteY0" fmla="*/ 328698 h 352488"/>
                        <a:gd name="connsiteX1" fmla="*/ 342526 w 393299"/>
                        <a:gd name="connsiteY1" fmla="*/ 276901 h 352488"/>
                        <a:gd name="connsiteX2" fmla="*/ 339197 w 393299"/>
                        <a:gd name="connsiteY2" fmla="*/ 265379 h 352488"/>
                        <a:gd name="connsiteX3" fmla="*/ 225553 w 393299"/>
                        <a:gd name="connsiteY3" fmla="*/ 150228 h 352488"/>
                        <a:gd name="connsiteX4" fmla="*/ 180365 w 393299"/>
                        <a:gd name="connsiteY4" fmla="*/ 112172 h 352488"/>
                        <a:gd name="connsiteX5" fmla="*/ 62283 w 393299"/>
                        <a:gd name="connsiteY5" fmla="*/ 30599 h 352488"/>
                        <a:gd name="connsiteX6" fmla="*/ 7618 w 393299"/>
                        <a:gd name="connsiteY6" fmla="*/ 0 h 352488"/>
                        <a:gd name="connsiteX7" fmla="*/ 0 w 393299"/>
                        <a:gd name="connsiteY7" fmla="*/ 3304 h 352488"/>
                        <a:gd name="connsiteX8" fmla="*/ 59041 w 393299"/>
                        <a:gd name="connsiteY8" fmla="*/ 36198 h 352488"/>
                        <a:gd name="connsiteX9" fmla="*/ 176151 w 393299"/>
                        <a:gd name="connsiteY9" fmla="*/ 117072 h 352488"/>
                        <a:gd name="connsiteX10" fmla="*/ 221414 w 393299"/>
                        <a:gd name="connsiteY10" fmla="*/ 155190 h 352488"/>
                        <a:gd name="connsiteX11" fmla="*/ 333000 w 393299"/>
                        <a:gd name="connsiteY11" fmla="*/ 267212 h 352488"/>
                        <a:gd name="connsiteX12" fmla="*/ 336316 w 393299"/>
                        <a:gd name="connsiteY12" fmla="*/ 278671 h 352488"/>
                        <a:gd name="connsiteX13" fmla="*/ 370556 w 393299"/>
                        <a:gd name="connsiteY13" fmla="*/ 334608 h 352488"/>
                        <a:gd name="connsiteX14" fmla="*/ 389534 w 393299"/>
                        <a:gd name="connsiteY14" fmla="*/ 352027 h 352488"/>
                        <a:gd name="connsiteX15" fmla="*/ 389771 w 393299"/>
                        <a:gd name="connsiteY15" fmla="*/ 352489 h 352488"/>
                        <a:gd name="connsiteX16" fmla="*/ 393300 w 393299"/>
                        <a:gd name="connsiteY16" fmla="*/ 345618 h 352488"/>
                        <a:gd name="connsiteX17" fmla="*/ 373175 w 393299"/>
                        <a:gd name="connsiteY17" fmla="*/ 328685 h 35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299" h="352488">
                          <a:moveTo>
                            <a:pt x="373162" y="328698"/>
                          </a:moveTo>
                          <a:cubicBezTo>
                            <a:pt x="355007" y="320630"/>
                            <a:pt x="350045" y="303236"/>
                            <a:pt x="342526" y="276901"/>
                          </a:cubicBezTo>
                          <a:cubicBezTo>
                            <a:pt x="341466" y="273210"/>
                            <a:pt x="340381" y="269382"/>
                            <a:pt x="339197" y="265379"/>
                          </a:cubicBezTo>
                          <a:cubicBezTo>
                            <a:pt x="331154" y="238247"/>
                            <a:pt x="282213" y="197460"/>
                            <a:pt x="225553" y="150228"/>
                          </a:cubicBezTo>
                          <a:cubicBezTo>
                            <a:pt x="210690" y="137846"/>
                            <a:pt x="195328" y="125028"/>
                            <a:pt x="180365" y="112172"/>
                          </a:cubicBezTo>
                          <a:cubicBezTo>
                            <a:pt x="143881" y="80799"/>
                            <a:pt x="96012" y="50500"/>
                            <a:pt x="62283" y="30599"/>
                          </a:cubicBezTo>
                          <a:cubicBezTo>
                            <a:pt x="39016" y="16870"/>
                            <a:pt x="19078" y="6072"/>
                            <a:pt x="7618" y="0"/>
                          </a:cubicBezTo>
                          <a:cubicBezTo>
                            <a:pt x="5100" y="1097"/>
                            <a:pt x="2556" y="2207"/>
                            <a:pt x="0" y="3304"/>
                          </a:cubicBezTo>
                          <a:cubicBezTo>
                            <a:pt x="10038" y="8541"/>
                            <a:pt x="32320" y="20424"/>
                            <a:pt x="59041" y="36198"/>
                          </a:cubicBezTo>
                          <a:cubicBezTo>
                            <a:pt x="92533" y="55961"/>
                            <a:pt x="140028" y="86024"/>
                            <a:pt x="176151" y="117072"/>
                          </a:cubicBezTo>
                          <a:cubicBezTo>
                            <a:pt x="191151" y="129965"/>
                            <a:pt x="206538" y="142796"/>
                            <a:pt x="221414" y="155190"/>
                          </a:cubicBezTo>
                          <a:cubicBezTo>
                            <a:pt x="274943" y="199804"/>
                            <a:pt x="325506" y="241950"/>
                            <a:pt x="333000" y="267212"/>
                          </a:cubicBezTo>
                          <a:cubicBezTo>
                            <a:pt x="334172" y="271190"/>
                            <a:pt x="335269" y="274993"/>
                            <a:pt x="336316" y="278671"/>
                          </a:cubicBezTo>
                          <a:cubicBezTo>
                            <a:pt x="344047" y="305755"/>
                            <a:pt x="349633" y="325318"/>
                            <a:pt x="370556" y="334608"/>
                          </a:cubicBezTo>
                          <a:cubicBezTo>
                            <a:pt x="378985" y="338361"/>
                            <a:pt x="385370" y="344221"/>
                            <a:pt x="389534" y="352027"/>
                          </a:cubicBezTo>
                          <a:cubicBezTo>
                            <a:pt x="389622" y="352177"/>
                            <a:pt x="389697" y="352339"/>
                            <a:pt x="389771" y="352489"/>
                          </a:cubicBezTo>
                          <a:cubicBezTo>
                            <a:pt x="390981" y="350119"/>
                            <a:pt x="392128" y="347825"/>
                            <a:pt x="393300" y="345618"/>
                          </a:cubicBezTo>
                          <a:cubicBezTo>
                            <a:pt x="389372" y="339558"/>
                            <a:pt x="383113" y="333099"/>
                            <a:pt x="373175" y="328685"/>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5" name="Freeform: Shape 2694">
                      <a:extLst>
                        <a:ext uri="{FF2B5EF4-FFF2-40B4-BE49-F238E27FC236}">
                          <a16:creationId xmlns:a16="http://schemas.microsoft.com/office/drawing/2014/main" id="{601BA1AB-0130-41B0-7F22-14FBE9689444}"/>
                        </a:ext>
                      </a:extLst>
                    </p:cNvPr>
                    <p:cNvSpPr/>
                    <p:nvPr/>
                  </p:nvSpPr>
                  <p:spPr>
                    <a:xfrm>
                      <a:off x="7341038" y="6304285"/>
                      <a:ext cx="366080" cy="320455"/>
                    </a:xfrm>
                    <a:custGeom>
                      <a:avLst/>
                      <a:gdLst>
                        <a:gd name="connsiteX0" fmla="*/ 361604 w 366080"/>
                        <a:gd name="connsiteY0" fmla="*/ 310405 h 320455"/>
                        <a:gd name="connsiteX1" fmla="*/ 327077 w 366080"/>
                        <a:gd name="connsiteY1" fmla="*/ 253758 h 320455"/>
                        <a:gd name="connsiteX2" fmla="*/ 323997 w 366080"/>
                        <a:gd name="connsiteY2" fmla="*/ 250067 h 320455"/>
                        <a:gd name="connsiteX3" fmla="*/ 273883 w 366080"/>
                        <a:gd name="connsiteY3" fmla="*/ 194530 h 320455"/>
                        <a:gd name="connsiteX4" fmla="*/ 182897 w 366080"/>
                        <a:gd name="connsiteY4" fmla="*/ 113917 h 320455"/>
                        <a:gd name="connsiteX5" fmla="*/ 7456 w 366080"/>
                        <a:gd name="connsiteY5" fmla="*/ 0 h 320455"/>
                        <a:gd name="connsiteX6" fmla="*/ 0 w 366080"/>
                        <a:gd name="connsiteY6" fmla="*/ 3142 h 320455"/>
                        <a:gd name="connsiteX7" fmla="*/ 178969 w 366080"/>
                        <a:gd name="connsiteY7" fmla="*/ 119067 h 320455"/>
                        <a:gd name="connsiteX8" fmla="*/ 319022 w 366080"/>
                        <a:gd name="connsiteY8" fmla="*/ 254207 h 320455"/>
                        <a:gd name="connsiteX9" fmla="*/ 322102 w 366080"/>
                        <a:gd name="connsiteY9" fmla="*/ 257898 h 320455"/>
                        <a:gd name="connsiteX10" fmla="*/ 355394 w 366080"/>
                        <a:gd name="connsiteY10" fmla="*/ 312251 h 320455"/>
                        <a:gd name="connsiteX11" fmla="*/ 358723 w 366080"/>
                        <a:gd name="connsiteY11" fmla="*/ 320456 h 320455"/>
                        <a:gd name="connsiteX12" fmla="*/ 366080 w 366080"/>
                        <a:gd name="connsiteY12" fmla="*/ 320456 h 320455"/>
                        <a:gd name="connsiteX13" fmla="*/ 361604 w 366080"/>
                        <a:gd name="connsiteY13" fmla="*/ 310381 h 32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6080" h="320455">
                          <a:moveTo>
                            <a:pt x="361604" y="310405"/>
                          </a:moveTo>
                          <a:cubicBezTo>
                            <a:pt x="354434" y="286502"/>
                            <a:pt x="343548" y="273484"/>
                            <a:pt x="327077" y="253758"/>
                          </a:cubicBezTo>
                          <a:cubicBezTo>
                            <a:pt x="326079" y="252561"/>
                            <a:pt x="325044" y="251327"/>
                            <a:pt x="323997" y="250067"/>
                          </a:cubicBezTo>
                          <a:cubicBezTo>
                            <a:pt x="313448" y="237399"/>
                            <a:pt x="296764" y="217872"/>
                            <a:pt x="273883" y="194530"/>
                          </a:cubicBezTo>
                          <a:cubicBezTo>
                            <a:pt x="244880" y="164966"/>
                            <a:pt x="214269" y="137846"/>
                            <a:pt x="182897" y="113917"/>
                          </a:cubicBezTo>
                          <a:cubicBezTo>
                            <a:pt x="124803" y="69614"/>
                            <a:pt x="39140" y="18516"/>
                            <a:pt x="7456" y="0"/>
                          </a:cubicBezTo>
                          <a:cubicBezTo>
                            <a:pt x="4963" y="1047"/>
                            <a:pt x="2481" y="2094"/>
                            <a:pt x="0" y="3142"/>
                          </a:cubicBezTo>
                          <a:cubicBezTo>
                            <a:pt x="27432" y="19090"/>
                            <a:pt x="118344" y="72832"/>
                            <a:pt x="178969" y="119067"/>
                          </a:cubicBezTo>
                          <a:cubicBezTo>
                            <a:pt x="228920" y="157173"/>
                            <a:pt x="276041" y="202635"/>
                            <a:pt x="319022" y="254207"/>
                          </a:cubicBezTo>
                          <a:cubicBezTo>
                            <a:pt x="320069" y="255467"/>
                            <a:pt x="321104" y="256701"/>
                            <a:pt x="322102" y="257898"/>
                          </a:cubicBezTo>
                          <a:cubicBezTo>
                            <a:pt x="338636" y="277686"/>
                            <a:pt x="348611" y="289632"/>
                            <a:pt x="355394" y="312251"/>
                          </a:cubicBezTo>
                          <a:cubicBezTo>
                            <a:pt x="356217" y="314982"/>
                            <a:pt x="357327" y="317712"/>
                            <a:pt x="358723" y="320456"/>
                          </a:cubicBezTo>
                          <a:lnTo>
                            <a:pt x="366080" y="320456"/>
                          </a:lnTo>
                          <a:cubicBezTo>
                            <a:pt x="364172" y="317189"/>
                            <a:pt x="362639" y="313834"/>
                            <a:pt x="361604" y="310381"/>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6" name="Freeform: Shape 2695">
                      <a:extLst>
                        <a:ext uri="{FF2B5EF4-FFF2-40B4-BE49-F238E27FC236}">
                          <a16:creationId xmlns:a16="http://schemas.microsoft.com/office/drawing/2014/main" id="{DFFD8585-3C94-6520-9C33-3FC964B2D330}"/>
                        </a:ext>
                      </a:extLst>
                    </p:cNvPr>
                    <p:cNvSpPr/>
                    <p:nvPr/>
                  </p:nvSpPr>
                  <p:spPr>
                    <a:xfrm>
                      <a:off x="7258854" y="6339185"/>
                      <a:ext cx="362688" cy="285579"/>
                    </a:xfrm>
                    <a:custGeom>
                      <a:avLst/>
                      <a:gdLst>
                        <a:gd name="connsiteX0" fmla="*/ 359820 w 362688"/>
                        <a:gd name="connsiteY0" fmla="*/ 278896 h 285579"/>
                        <a:gd name="connsiteX1" fmla="*/ 228995 w 362688"/>
                        <a:gd name="connsiteY1" fmla="*/ 146774 h 285579"/>
                        <a:gd name="connsiteX2" fmla="*/ 206027 w 362688"/>
                        <a:gd name="connsiteY2" fmla="*/ 127235 h 285579"/>
                        <a:gd name="connsiteX3" fmla="*/ 75326 w 362688"/>
                        <a:gd name="connsiteY3" fmla="*/ 38592 h 285579"/>
                        <a:gd name="connsiteX4" fmla="*/ 7531 w 362688"/>
                        <a:gd name="connsiteY4" fmla="*/ 0 h 285579"/>
                        <a:gd name="connsiteX5" fmla="*/ 0 w 362688"/>
                        <a:gd name="connsiteY5" fmla="*/ 3267 h 285579"/>
                        <a:gd name="connsiteX6" fmla="*/ 72046 w 362688"/>
                        <a:gd name="connsiteY6" fmla="*/ 44178 h 285579"/>
                        <a:gd name="connsiteX7" fmla="*/ 201825 w 362688"/>
                        <a:gd name="connsiteY7" fmla="*/ 132160 h 285579"/>
                        <a:gd name="connsiteX8" fmla="*/ 224805 w 362688"/>
                        <a:gd name="connsiteY8" fmla="*/ 151711 h 285579"/>
                        <a:gd name="connsiteX9" fmla="*/ 353848 w 362688"/>
                        <a:gd name="connsiteY9" fmla="*/ 281378 h 285579"/>
                        <a:gd name="connsiteX10" fmla="*/ 355643 w 362688"/>
                        <a:gd name="connsiteY10" fmla="*/ 285580 h 285579"/>
                        <a:gd name="connsiteX11" fmla="*/ 362688 w 362688"/>
                        <a:gd name="connsiteY11" fmla="*/ 285580 h 285579"/>
                        <a:gd name="connsiteX12" fmla="*/ 359833 w 362688"/>
                        <a:gd name="connsiteY12" fmla="*/ 278909 h 28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688" h="285579">
                          <a:moveTo>
                            <a:pt x="359820" y="278896"/>
                          </a:moveTo>
                          <a:cubicBezTo>
                            <a:pt x="346391" y="246451"/>
                            <a:pt x="289370" y="198034"/>
                            <a:pt x="228995" y="146774"/>
                          </a:cubicBezTo>
                          <a:cubicBezTo>
                            <a:pt x="221463" y="140377"/>
                            <a:pt x="213683" y="133769"/>
                            <a:pt x="206027" y="127235"/>
                          </a:cubicBezTo>
                          <a:cubicBezTo>
                            <a:pt x="170814" y="97147"/>
                            <a:pt x="115514" y="62420"/>
                            <a:pt x="75326" y="38592"/>
                          </a:cubicBezTo>
                          <a:cubicBezTo>
                            <a:pt x="46747" y="21646"/>
                            <a:pt x="21559" y="7656"/>
                            <a:pt x="7531" y="0"/>
                          </a:cubicBezTo>
                          <a:cubicBezTo>
                            <a:pt x="4975" y="1110"/>
                            <a:pt x="2469" y="2195"/>
                            <a:pt x="0" y="3267"/>
                          </a:cubicBezTo>
                          <a:cubicBezTo>
                            <a:pt x="12581" y="10087"/>
                            <a:pt x="40213" y="25288"/>
                            <a:pt x="72046" y="44178"/>
                          </a:cubicBezTo>
                          <a:cubicBezTo>
                            <a:pt x="112010" y="67882"/>
                            <a:pt x="166961" y="102384"/>
                            <a:pt x="201825" y="132160"/>
                          </a:cubicBezTo>
                          <a:cubicBezTo>
                            <a:pt x="209481" y="138706"/>
                            <a:pt x="217274" y="145315"/>
                            <a:pt x="224805" y="151711"/>
                          </a:cubicBezTo>
                          <a:cubicBezTo>
                            <a:pt x="284570" y="202448"/>
                            <a:pt x="341017" y="250380"/>
                            <a:pt x="353848" y="281378"/>
                          </a:cubicBezTo>
                          <a:cubicBezTo>
                            <a:pt x="354434" y="282799"/>
                            <a:pt x="355045" y="284183"/>
                            <a:pt x="355643" y="285580"/>
                          </a:cubicBezTo>
                          <a:lnTo>
                            <a:pt x="362688" y="285580"/>
                          </a:lnTo>
                          <a:cubicBezTo>
                            <a:pt x="361728" y="283385"/>
                            <a:pt x="360768" y="281166"/>
                            <a:pt x="359833" y="278909"/>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7" name="Freeform: Shape 2696">
                      <a:extLst>
                        <a:ext uri="{FF2B5EF4-FFF2-40B4-BE49-F238E27FC236}">
                          <a16:creationId xmlns:a16="http://schemas.microsoft.com/office/drawing/2014/main" id="{4907F38B-7659-0CC0-CA96-57C2923C1E53}"/>
                        </a:ext>
                      </a:extLst>
                    </p:cNvPr>
                    <p:cNvSpPr/>
                    <p:nvPr/>
                  </p:nvSpPr>
                  <p:spPr>
                    <a:xfrm>
                      <a:off x="7188342" y="6372104"/>
                      <a:ext cx="316465" cy="252648"/>
                    </a:xfrm>
                    <a:custGeom>
                      <a:avLst/>
                      <a:gdLst>
                        <a:gd name="connsiteX0" fmla="*/ 310356 w 316465"/>
                        <a:gd name="connsiteY0" fmla="*/ 243522 h 252648"/>
                        <a:gd name="connsiteX1" fmla="*/ 260716 w 316465"/>
                        <a:gd name="connsiteY1" fmla="*/ 175104 h 252648"/>
                        <a:gd name="connsiteX2" fmla="*/ 193445 w 316465"/>
                        <a:gd name="connsiteY2" fmla="*/ 116162 h 252648"/>
                        <a:gd name="connsiteX3" fmla="*/ 6309 w 316465"/>
                        <a:gd name="connsiteY3" fmla="*/ 0 h 252648"/>
                        <a:gd name="connsiteX4" fmla="*/ 0 w 316465"/>
                        <a:gd name="connsiteY4" fmla="*/ 2743 h 252648"/>
                        <a:gd name="connsiteX5" fmla="*/ 785 w 316465"/>
                        <a:gd name="connsiteY5" fmla="*/ 4115 h 252648"/>
                        <a:gd name="connsiteX6" fmla="*/ 190166 w 316465"/>
                        <a:gd name="connsiteY6" fmla="*/ 121748 h 252648"/>
                        <a:gd name="connsiteX7" fmla="*/ 304969 w 316465"/>
                        <a:gd name="connsiteY7" fmla="*/ 247113 h 252648"/>
                        <a:gd name="connsiteX8" fmla="*/ 308672 w 316465"/>
                        <a:gd name="connsiteY8" fmla="*/ 252649 h 252648"/>
                        <a:gd name="connsiteX9" fmla="*/ 316466 w 316465"/>
                        <a:gd name="connsiteY9" fmla="*/ 252649 h 252648"/>
                        <a:gd name="connsiteX10" fmla="*/ 310356 w 316465"/>
                        <a:gd name="connsiteY10" fmla="*/ 243522 h 25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465" h="252648">
                          <a:moveTo>
                            <a:pt x="310356" y="243522"/>
                          </a:moveTo>
                          <a:cubicBezTo>
                            <a:pt x="295979" y="221988"/>
                            <a:pt x="279694" y="197585"/>
                            <a:pt x="260716" y="175104"/>
                          </a:cubicBezTo>
                          <a:cubicBezTo>
                            <a:pt x="238833" y="149168"/>
                            <a:pt x="216825" y="129891"/>
                            <a:pt x="193445" y="116162"/>
                          </a:cubicBezTo>
                          <a:cubicBezTo>
                            <a:pt x="102384" y="62707"/>
                            <a:pt x="30487" y="15948"/>
                            <a:pt x="6309" y="0"/>
                          </a:cubicBezTo>
                          <a:cubicBezTo>
                            <a:pt x="4302" y="885"/>
                            <a:pt x="2182" y="1808"/>
                            <a:pt x="0" y="2743"/>
                          </a:cubicBezTo>
                          <a:lnTo>
                            <a:pt x="785" y="4115"/>
                          </a:lnTo>
                          <a:cubicBezTo>
                            <a:pt x="22893" y="18716"/>
                            <a:pt x="96374" y="66697"/>
                            <a:pt x="190166" y="121748"/>
                          </a:cubicBezTo>
                          <a:cubicBezTo>
                            <a:pt x="241314" y="151774"/>
                            <a:pt x="276602" y="204631"/>
                            <a:pt x="304969" y="247113"/>
                          </a:cubicBezTo>
                          <a:cubicBezTo>
                            <a:pt x="306204" y="248971"/>
                            <a:pt x="307438" y="250816"/>
                            <a:pt x="308672" y="252649"/>
                          </a:cubicBezTo>
                          <a:lnTo>
                            <a:pt x="316466" y="252649"/>
                          </a:lnTo>
                          <a:cubicBezTo>
                            <a:pt x="314445" y="249644"/>
                            <a:pt x="312413" y="246601"/>
                            <a:pt x="310356" y="243522"/>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8" name="Freeform: Shape 2697">
                      <a:extLst>
                        <a:ext uri="{FF2B5EF4-FFF2-40B4-BE49-F238E27FC236}">
                          <a16:creationId xmlns:a16="http://schemas.microsoft.com/office/drawing/2014/main" id="{B7791293-586F-38B2-C1E5-22BC4CDDF2A3}"/>
                        </a:ext>
                      </a:extLst>
                    </p:cNvPr>
                    <p:cNvSpPr/>
                    <p:nvPr/>
                  </p:nvSpPr>
                  <p:spPr>
                    <a:xfrm>
                      <a:off x="7264104" y="6506084"/>
                      <a:ext cx="106735" cy="105288"/>
                    </a:xfrm>
                    <a:custGeom>
                      <a:avLst/>
                      <a:gdLst>
                        <a:gd name="connsiteX0" fmla="*/ 0 w 106735"/>
                        <a:gd name="connsiteY0" fmla="*/ 0 h 105288"/>
                        <a:gd name="connsiteX1" fmla="*/ 6808 w 106735"/>
                        <a:gd name="connsiteY1" fmla="*/ 11796 h 105288"/>
                        <a:gd name="connsiteX2" fmla="*/ 93905 w 106735"/>
                        <a:gd name="connsiteY2" fmla="*/ 99591 h 105288"/>
                        <a:gd name="connsiteX3" fmla="*/ 106735 w 106735"/>
                        <a:gd name="connsiteY3" fmla="*/ 105289 h 105288"/>
                        <a:gd name="connsiteX4" fmla="*/ 0 w 106735"/>
                        <a:gd name="connsiteY4" fmla="*/ 0 h 10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35" h="105288">
                          <a:moveTo>
                            <a:pt x="0" y="0"/>
                          </a:moveTo>
                          <a:lnTo>
                            <a:pt x="6808" y="11796"/>
                          </a:lnTo>
                          <a:cubicBezTo>
                            <a:pt x="38679" y="32818"/>
                            <a:pt x="65263" y="63854"/>
                            <a:pt x="93905" y="99591"/>
                          </a:cubicBezTo>
                          <a:cubicBezTo>
                            <a:pt x="98107" y="101648"/>
                            <a:pt x="102384" y="103543"/>
                            <a:pt x="106735" y="105289"/>
                          </a:cubicBezTo>
                          <a:cubicBezTo>
                            <a:pt x="71635" y="61173"/>
                            <a:pt x="40462" y="23143"/>
                            <a:pt x="0" y="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99" name="Freeform: Shape 2698">
                    <a:extLst>
                      <a:ext uri="{FF2B5EF4-FFF2-40B4-BE49-F238E27FC236}">
                        <a16:creationId xmlns:a16="http://schemas.microsoft.com/office/drawing/2014/main" id="{F6DC00C0-AE7F-A0B1-1103-AA3452CC0A42}"/>
                      </a:ext>
                    </a:extLst>
                  </p:cNvPr>
                  <p:cNvSpPr/>
                  <p:nvPr/>
                </p:nvSpPr>
                <p:spPr>
                  <a:xfrm>
                    <a:off x="7748870" y="6419541"/>
                    <a:ext cx="141825" cy="94960"/>
                  </a:xfrm>
                  <a:custGeom>
                    <a:avLst/>
                    <a:gdLst>
                      <a:gd name="connsiteX0" fmla="*/ 2463 w 141825"/>
                      <a:gd name="connsiteY0" fmla="*/ 94960 h 94960"/>
                      <a:gd name="connsiteX1" fmla="*/ 580 w 141825"/>
                      <a:gd name="connsiteY1" fmla="*/ 94087 h 94960"/>
                      <a:gd name="connsiteX2" fmla="*/ 418 w 141825"/>
                      <a:gd name="connsiteY2" fmla="*/ 91133 h 94960"/>
                      <a:gd name="connsiteX3" fmla="*/ 23399 w 141825"/>
                      <a:gd name="connsiteY3" fmla="*/ 68189 h 94960"/>
                      <a:gd name="connsiteX4" fmla="*/ 42427 w 141825"/>
                      <a:gd name="connsiteY4" fmla="*/ 51555 h 94960"/>
                      <a:gd name="connsiteX5" fmla="*/ 45881 w 141825"/>
                      <a:gd name="connsiteY5" fmla="*/ 51057 h 94960"/>
                      <a:gd name="connsiteX6" fmla="*/ 46379 w 141825"/>
                      <a:gd name="connsiteY6" fmla="*/ 54511 h 94960"/>
                      <a:gd name="connsiteX7" fmla="*/ 25942 w 141825"/>
                      <a:gd name="connsiteY7" fmla="*/ 72404 h 94960"/>
                      <a:gd name="connsiteX8" fmla="*/ 10132 w 141825"/>
                      <a:gd name="connsiteY8" fmla="*/ 86581 h 94960"/>
                      <a:gd name="connsiteX9" fmla="*/ 11341 w 141825"/>
                      <a:gd name="connsiteY9" fmla="*/ 86082 h 94960"/>
                      <a:gd name="connsiteX10" fmla="*/ 82577 w 141825"/>
                      <a:gd name="connsiteY10" fmla="*/ 52154 h 94960"/>
                      <a:gd name="connsiteX11" fmla="*/ 137416 w 141825"/>
                      <a:gd name="connsiteY11" fmla="*/ 944 h 94960"/>
                      <a:gd name="connsiteX12" fmla="*/ 140883 w 141825"/>
                      <a:gd name="connsiteY12" fmla="*/ 532 h 94960"/>
                      <a:gd name="connsiteX13" fmla="*/ 141294 w 141825"/>
                      <a:gd name="connsiteY13" fmla="*/ 3998 h 94960"/>
                      <a:gd name="connsiteX14" fmla="*/ 85146 w 141825"/>
                      <a:gd name="connsiteY14" fmla="*/ 56368 h 94960"/>
                      <a:gd name="connsiteX15" fmla="*/ 13224 w 141825"/>
                      <a:gd name="connsiteY15" fmla="*/ 90633 h 94960"/>
                      <a:gd name="connsiteX16" fmla="*/ 3473 w 141825"/>
                      <a:gd name="connsiteY16" fmla="*/ 94736 h 94960"/>
                      <a:gd name="connsiteX17" fmla="*/ 2476 w 141825"/>
                      <a:gd name="connsiteY17" fmla="*/ 94948 h 9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25" h="94960">
                        <a:moveTo>
                          <a:pt x="2463" y="94960"/>
                        </a:moveTo>
                        <a:cubicBezTo>
                          <a:pt x="1752" y="94960"/>
                          <a:pt x="1054" y="94649"/>
                          <a:pt x="580" y="94087"/>
                        </a:cubicBezTo>
                        <a:cubicBezTo>
                          <a:pt x="-130" y="93252"/>
                          <a:pt x="-193" y="92043"/>
                          <a:pt x="418" y="91133"/>
                        </a:cubicBezTo>
                        <a:cubicBezTo>
                          <a:pt x="830" y="90509"/>
                          <a:pt x="10743" y="75783"/>
                          <a:pt x="23399" y="68189"/>
                        </a:cubicBezTo>
                        <a:cubicBezTo>
                          <a:pt x="35182" y="61119"/>
                          <a:pt x="42352" y="51655"/>
                          <a:pt x="42427" y="51555"/>
                        </a:cubicBezTo>
                        <a:cubicBezTo>
                          <a:pt x="43250" y="50470"/>
                          <a:pt x="44796" y="50246"/>
                          <a:pt x="45881" y="51057"/>
                        </a:cubicBezTo>
                        <a:cubicBezTo>
                          <a:pt x="46965" y="51880"/>
                          <a:pt x="47190" y="53426"/>
                          <a:pt x="46379" y="54511"/>
                        </a:cubicBezTo>
                        <a:cubicBezTo>
                          <a:pt x="46068" y="54934"/>
                          <a:pt x="38549" y="64848"/>
                          <a:pt x="25942" y="72404"/>
                        </a:cubicBezTo>
                        <a:cubicBezTo>
                          <a:pt x="19696" y="76145"/>
                          <a:pt x="14060" y="81955"/>
                          <a:pt x="10132" y="86581"/>
                        </a:cubicBezTo>
                        <a:cubicBezTo>
                          <a:pt x="10531" y="86419"/>
                          <a:pt x="10930" y="86257"/>
                          <a:pt x="11341" y="86082"/>
                        </a:cubicBezTo>
                        <a:cubicBezTo>
                          <a:pt x="28337" y="79037"/>
                          <a:pt x="59971" y="65920"/>
                          <a:pt x="82577" y="52154"/>
                        </a:cubicBezTo>
                        <a:cubicBezTo>
                          <a:pt x="110233" y="35321"/>
                          <a:pt x="137142" y="1280"/>
                          <a:pt x="137416" y="944"/>
                        </a:cubicBezTo>
                        <a:cubicBezTo>
                          <a:pt x="138252" y="-129"/>
                          <a:pt x="139810" y="-316"/>
                          <a:pt x="140883" y="532"/>
                        </a:cubicBezTo>
                        <a:cubicBezTo>
                          <a:pt x="141955" y="1367"/>
                          <a:pt x="142142" y="2926"/>
                          <a:pt x="141294" y="3998"/>
                        </a:cubicBezTo>
                        <a:cubicBezTo>
                          <a:pt x="140172" y="5420"/>
                          <a:pt x="113563" y="39074"/>
                          <a:pt x="85146" y="56368"/>
                        </a:cubicBezTo>
                        <a:cubicBezTo>
                          <a:pt x="62203" y="70334"/>
                          <a:pt x="30344" y="83538"/>
                          <a:pt x="13224" y="90633"/>
                        </a:cubicBezTo>
                        <a:cubicBezTo>
                          <a:pt x="8985" y="92392"/>
                          <a:pt x="5630" y="93776"/>
                          <a:pt x="3473" y="94736"/>
                        </a:cubicBezTo>
                        <a:cubicBezTo>
                          <a:pt x="3149" y="94873"/>
                          <a:pt x="2812" y="94948"/>
                          <a:pt x="2476" y="94948"/>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0" name="Freeform: Shape 2699">
                    <a:extLst>
                      <a:ext uri="{FF2B5EF4-FFF2-40B4-BE49-F238E27FC236}">
                        <a16:creationId xmlns:a16="http://schemas.microsoft.com/office/drawing/2014/main" id="{F95134CE-8087-A869-D871-CFFD3B5CFBFC}"/>
                      </a:ext>
                    </a:extLst>
                  </p:cNvPr>
                  <p:cNvSpPr/>
                  <p:nvPr/>
                </p:nvSpPr>
                <p:spPr>
                  <a:xfrm>
                    <a:off x="7274017" y="6468871"/>
                    <a:ext cx="97501" cy="58647"/>
                  </a:xfrm>
                  <a:custGeom>
                    <a:avLst/>
                    <a:gdLst>
                      <a:gd name="connsiteX0" fmla="*/ 93743 w 97501"/>
                      <a:gd name="connsiteY0" fmla="*/ 368 h 58647"/>
                      <a:gd name="connsiteX1" fmla="*/ 16185 w 97501"/>
                      <a:gd name="connsiteY1" fmla="*/ 45917 h 58647"/>
                      <a:gd name="connsiteX2" fmla="*/ 0 w 97501"/>
                      <a:gd name="connsiteY2" fmla="*/ 54371 h 58647"/>
                      <a:gd name="connsiteX3" fmla="*/ 2469 w 97501"/>
                      <a:gd name="connsiteY3" fmla="*/ 58648 h 58647"/>
                      <a:gd name="connsiteX4" fmla="*/ 18517 w 97501"/>
                      <a:gd name="connsiteY4" fmla="*/ 50256 h 58647"/>
                      <a:gd name="connsiteX5" fmla="*/ 96336 w 97501"/>
                      <a:gd name="connsiteY5" fmla="*/ 4557 h 58647"/>
                      <a:gd name="connsiteX6" fmla="*/ 97134 w 97501"/>
                      <a:gd name="connsiteY6" fmla="*/ 1165 h 58647"/>
                      <a:gd name="connsiteX7" fmla="*/ 93743 w 97501"/>
                      <a:gd name="connsiteY7" fmla="*/ 368 h 5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01" h="58647">
                        <a:moveTo>
                          <a:pt x="93743" y="368"/>
                        </a:moveTo>
                        <a:cubicBezTo>
                          <a:pt x="93281" y="654"/>
                          <a:pt x="47807" y="28884"/>
                          <a:pt x="16185" y="45917"/>
                        </a:cubicBezTo>
                        <a:cubicBezTo>
                          <a:pt x="11297" y="48548"/>
                          <a:pt x="5823" y="51416"/>
                          <a:pt x="0" y="54371"/>
                        </a:cubicBezTo>
                        <a:lnTo>
                          <a:pt x="2469" y="58648"/>
                        </a:lnTo>
                        <a:cubicBezTo>
                          <a:pt x="8479" y="55581"/>
                          <a:pt x="13953" y="52725"/>
                          <a:pt x="18517" y="50256"/>
                        </a:cubicBezTo>
                        <a:cubicBezTo>
                          <a:pt x="50275" y="33148"/>
                          <a:pt x="95887" y="4831"/>
                          <a:pt x="96336" y="4557"/>
                        </a:cubicBezTo>
                        <a:cubicBezTo>
                          <a:pt x="97496" y="3834"/>
                          <a:pt x="97845" y="2312"/>
                          <a:pt x="97134" y="1165"/>
                        </a:cubicBezTo>
                        <a:cubicBezTo>
                          <a:pt x="96411" y="6"/>
                          <a:pt x="94890" y="-343"/>
                          <a:pt x="93743" y="368"/>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1" name="Freeform: Shape 2700">
                    <a:extLst>
                      <a:ext uri="{FF2B5EF4-FFF2-40B4-BE49-F238E27FC236}">
                        <a16:creationId xmlns:a16="http://schemas.microsoft.com/office/drawing/2014/main" id="{7C3981BA-B9FB-E1A6-D743-F1A932A3F671}"/>
                      </a:ext>
                    </a:extLst>
                  </p:cNvPr>
                  <p:cNvSpPr/>
                  <p:nvPr/>
                </p:nvSpPr>
                <p:spPr>
                  <a:xfrm>
                    <a:off x="7669948" y="6144091"/>
                    <a:ext cx="319557" cy="282793"/>
                  </a:xfrm>
                  <a:custGeom>
                    <a:avLst/>
                    <a:gdLst>
                      <a:gd name="connsiteX0" fmla="*/ 294383 w 319557"/>
                      <a:gd name="connsiteY0" fmla="*/ 156702 h 282793"/>
                      <a:gd name="connsiteX1" fmla="*/ 282512 w 319557"/>
                      <a:gd name="connsiteY1" fmla="*/ 136764 h 282793"/>
                      <a:gd name="connsiteX2" fmla="*/ 234294 w 319557"/>
                      <a:gd name="connsiteY2" fmla="*/ 164458 h 282793"/>
                      <a:gd name="connsiteX3" fmla="*/ 186201 w 319557"/>
                      <a:gd name="connsiteY3" fmla="*/ 136091 h 282793"/>
                      <a:gd name="connsiteX4" fmla="*/ 161462 w 319557"/>
                      <a:gd name="connsiteY4" fmla="*/ 39368 h 282793"/>
                      <a:gd name="connsiteX5" fmla="*/ 101997 w 319557"/>
                      <a:gd name="connsiteY5" fmla="*/ 3145 h 282793"/>
                      <a:gd name="connsiteX6" fmla="*/ 62071 w 319557"/>
                      <a:gd name="connsiteY6" fmla="*/ 203 h 282793"/>
                      <a:gd name="connsiteX7" fmla="*/ 60425 w 319557"/>
                      <a:gd name="connsiteY7" fmla="*/ 63334 h 282793"/>
                      <a:gd name="connsiteX8" fmla="*/ 0 w 319557"/>
                      <a:gd name="connsiteY8" fmla="*/ 65803 h 282793"/>
                      <a:gd name="connsiteX9" fmla="*/ 9863 w 319557"/>
                      <a:gd name="connsiteY9" fmla="*/ 81838 h 282793"/>
                      <a:gd name="connsiteX10" fmla="*/ 75226 w 319557"/>
                      <a:gd name="connsiteY10" fmla="*/ 120068 h 282793"/>
                      <a:gd name="connsiteX11" fmla="*/ 70288 w 319557"/>
                      <a:gd name="connsiteY11" fmla="*/ 128697 h 282793"/>
                      <a:gd name="connsiteX12" fmla="*/ 183744 w 319557"/>
                      <a:gd name="connsiteY12" fmla="*/ 245844 h 282793"/>
                      <a:gd name="connsiteX13" fmla="*/ 319558 w 319557"/>
                      <a:gd name="connsiteY13" fmla="*/ 253886 h 282793"/>
                      <a:gd name="connsiteX14" fmla="*/ 294395 w 319557"/>
                      <a:gd name="connsiteY14" fmla="*/ 156690 h 28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557" h="282793">
                        <a:moveTo>
                          <a:pt x="294383" y="156702"/>
                        </a:moveTo>
                        <a:cubicBezTo>
                          <a:pt x="290891" y="149707"/>
                          <a:pt x="286889" y="143074"/>
                          <a:pt x="282512" y="136764"/>
                        </a:cubicBezTo>
                        <a:lnTo>
                          <a:pt x="234294" y="164458"/>
                        </a:lnTo>
                        <a:lnTo>
                          <a:pt x="186201" y="136091"/>
                        </a:lnTo>
                        <a:lnTo>
                          <a:pt x="161462" y="39368"/>
                        </a:lnTo>
                        <a:cubicBezTo>
                          <a:pt x="136848" y="23520"/>
                          <a:pt x="112596" y="7223"/>
                          <a:pt x="101997" y="3145"/>
                        </a:cubicBezTo>
                        <a:cubicBezTo>
                          <a:pt x="92446" y="-533"/>
                          <a:pt x="70637" y="-122"/>
                          <a:pt x="62071" y="203"/>
                        </a:cubicBezTo>
                        <a:cubicBezTo>
                          <a:pt x="53929" y="12534"/>
                          <a:pt x="48729" y="32560"/>
                          <a:pt x="60425" y="63334"/>
                        </a:cubicBezTo>
                        <a:lnTo>
                          <a:pt x="0" y="65803"/>
                        </a:lnTo>
                        <a:cubicBezTo>
                          <a:pt x="0" y="65803"/>
                          <a:pt x="0" y="75666"/>
                          <a:pt x="9863" y="81838"/>
                        </a:cubicBezTo>
                        <a:cubicBezTo>
                          <a:pt x="19726" y="87997"/>
                          <a:pt x="41921" y="110205"/>
                          <a:pt x="75226" y="120068"/>
                        </a:cubicBezTo>
                        <a:lnTo>
                          <a:pt x="70288" y="128697"/>
                        </a:lnTo>
                        <a:cubicBezTo>
                          <a:pt x="70288" y="128697"/>
                          <a:pt x="155377" y="213786"/>
                          <a:pt x="183744" y="245844"/>
                        </a:cubicBezTo>
                        <a:cubicBezTo>
                          <a:pt x="211575" y="277303"/>
                          <a:pt x="258397" y="306381"/>
                          <a:pt x="319558" y="253886"/>
                        </a:cubicBezTo>
                        <a:cubicBezTo>
                          <a:pt x="312924" y="232689"/>
                          <a:pt x="316104" y="200120"/>
                          <a:pt x="294395" y="156690"/>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2" name="Freeform: Shape 2701">
                    <a:extLst>
                      <a:ext uri="{FF2B5EF4-FFF2-40B4-BE49-F238E27FC236}">
                        <a16:creationId xmlns:a16="http://schemas.microsoft.com/office/drawing/2014/main" id="{3C1D763D-CD42-9452-7542-38472749F2F6}"/>
                      </a:ext>
                    </a:extLst>
                  </p:cNvPr>
                  <p:cNvSpPr/>
                  <p:nvPr/>
                </p:nvSpPr>
                <p:spPr>
                  <a:xfrm>
                    <a:off x="7568761" y="6487193"/>
                    <a:ext cx="280718" cy="137559"/>
                  </a:xfrm>
                  <a:custGeom>
                    <a:avLst/>
                    <a:gdLst>
                      <a:gd name="connsiteX0" fmla="*/ 265193 w 280718"/>
                      <a:gd name="connsiteY0" fmla="*/ 3878 h 137559"/>
                      <a:gd name="connsiteX1" fmla="*/ 9926 w 280718"/>
                      <a:gd name="connsiteY1" fmla="*/ 133357 h 137559"/>
                      <a:gd name="connsiteX2" fmla="*/ 0 w 280718"/>
                      <a:gd name="connsiteY2" fmla="*/ 137559 h 137559"/>
                      <a:gd name="connsiteX3" fmla="*/ 126898 w 280718"/>
                      <a:gd name="connsiteY3" fmla="*/ 137559 h 137559"/>
                      <a:gd name="connsiteX4" fmla="*/ 151737 w 280718"/>
                      <a:gd name="connsiteY4" fmla="*/ 107459 h 137559"/>
                      <a:gd name="connsiteX5" fmla="*/ 260255 w 280718"/>
                      <a:gd name="connsiteY5" fmla="*/ 26073 h 137559"/>
                      <a:gd name="connsiteX6" fmla="*/ 265193 w 280718"/>
                      <a:gd name="connsiteY6" fmla="*/ 3878 h 137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718" h="137559">
                        <a:moveTo>
                          <a:pt x="265193" y="3878"/>
                        </a:moveTo>
                        <a:cubicBezTo>
                          <a:pt x="239295" y="16210"/>
                          <a:pt x="113519" y="93892"/>
                          <a:pt x="9926" y="133357"/>
                        </a:cubicBezTo>
                        <a:cubicBezTo>
                          <a:pt x="6546" y="134642"/>
                          <a:pt x="3242" y="136063"/>
                          <a:pt x="0" y="137559"/>
                        </a:cubicBezTo>
                        <a:lnTo>
                          <a:pt x="126898" y="137559"/>
                        </a:lnTo>
                        <a:cubicBezTo>
                          <a:pt x="132883" y="126935"/>
                          <a:pt x="140864" y="117122"/>
                          <a:pt x="151737" y="107459"/>
                        </a:cubicBezTo>
                        <a:cubicBezTo>
                          <a:pt x="185029" y="77857"/>
                          <a:pt x="239295" y="40874"/>
                          <a:pt x="260255" y="26073"/>
                        </a:cubicBezTo>
                        <a:cubicBezTo>
                          <a:pt x="281215" y="11272"/>
                          <a:pt x="291079" y="-8454"/>
                          <a:pt x="265193" y="3878"/>
                        </a:cubicBezTo>
                        <a:close/>
                      </a:path>
                    </a:pathLst>
                  </a:custGeom>
                  <a:solidFill>
                    <a:srgbClr val="EAEA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03" name="Graphic 525">
                  <a:extLst>
                    <a:ext uri="{FF2B5EF4-FFF2-40B4-BE49-F238E27FC236}">
                      <a16:creationId xmlns:a16="http://schemas.microsoft.com/office/drawing/2014/main" id="{A2047C1F-F9EE-923C-7E2F-E10C2479E7FD}"/>
                    </a:ext>
                  </a:extLst>
                </p:cNvPr>
                <p:cNvGrpSpPr/>
                <p:nvPr/>
              </p:nvGrpSpPr>
              <p:grpSpPr>
                <a:xfrm>
                  <a:off x="7667685" y="6138803"/>
                  <a:ext cx="443597" cy="267561"/>
                  <a:chOff x="7667685" y="6138803"/>
                  <a:chExt cx="443597" cy="267561"/>
                </a:xfrm>
              </p:grpSpPr>
              <p:grpSp>
                <p:nvGrpSpPr>
                  <p:cNvPr id="2704" name="Graphic 525">
                    <a:extLst>
                      <a:ext uri="{FF2B5EF4-FFF2-40B4-BE49-F238E27FC236}">
                        <a16:creationId xmlns:a16="http://schemas.microsoft.com/office/drawing/2014/main" id="{B4373001-32AE-C786-AF09-4D3E3CDE9941}"/>
                      </a:ext>
                    </a:extLst>
                  </p:cNvPr>
                  <p:cNvGrpSpPr/>
                  <p:nvPr/>
                </p:nvGrpSpPr>
                <p:grpSpPr>
                  <a:xfrm>
                    <a:off x="7731483" y="6138803"/>
                    <a:ext cx="118499" cy="164086"/>
                    <a:chOff x="7731483" y="6138803"/>
                    <a:chExt cx="118499" cy="164086"/>
                  </a:xfrm>
                </p:grpSpPr>
                <p:sp>
                  <p:nvSpPr>
                    <p:cNvPr id="2705" name="Freeform: Shape 2704">
                      <a:extLst>
                        <a:ext uri="{FF2B5EF4-FFF2-40B4-BE49-F238E27FC236}">
                          <a16:creationId xmlns:a16="http://schemas.microsoft.com/office/drawing/2014/main" id="{7A159C30-9524-FD17-37D9-00924791709D}"/>
                        </a:ext>
                      </a:extLst>
                    </p:cNvPr>
                    <p:cNvSpPr/>
                    <p:nvPr/>
                  </p:nvSpPr>
                  <p:spPr>
                    <a:xfrm>
                      <a:off x="7732391" y="6139888"/>
                      <a:ext cx="117591" cy="163001"/>
                    </a:xfrm>
                    <a:custGeom>
                      <a:avLst/>
                      <a:gdLst>
                        <a:gd name="connsiteX0" fmla="*/ 2907 w 117591"/>
                        <a:gd name="connsiteY0" fmla="*/ 18846 h 163001"/>
                        <a:gd name="connsiteX1" fmla="*/ 72585 w 117591"/>
                        <a:gd name="connsiteY1" fmla="*/ 141541 h 163001"/>
                        <a:gd name="connsiteX2" fmla="*/ 111426 w 117591"/>
                        <a:gd name="connsiteY2" fmla="*/ 162502 h 163001"/>
                        <a:gd name="connsiteX3" fmla="*/ 105877 w 117591"/>
                        <a:gd name="connsiteY3" fmla="*/ 108249 h 163001"/>
                        <a:gd name="connsiteX4" fmla="*/ 65802 w 117591"/>
                        <a:gd name="connsiteY4" fmla="*/ 17000 h 163001"/>
                        <a:gd name="connsiteX5" fmla="*/ 2907 w 117591"/>
                        <a:gd name="connsiteY5" fmla="*/ 18846 h 16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91" h="163001">
                          <a:moveTo>
                            <a:pt x="2907" y="18846"/>
                          </a:moveTo>
                          <a:cubicBezTo>
                            <a:pt x="2907" y="18846"/>
                            <a:pt x="-21756" y="57687"/>
                            <a:pt x="72585" y="141541"/>
                          </a:cubicBezTo>
                          <a:cubicBezTo>
                            <a:pt x="79979" y="148324"/>
                            <a:pt x="102187" y="166205"/>
                            <a:pt x="111426" y="162502"/>
                          </a:cubicBezTo>
                          <a:cubicBezTo>
                            <a:pt x="120678" y="158798"/>
                            <a:pt x="120055" y="137227"/>
                            <a:pt x="105877" y="108249"/>
                          </a:cubicBezTo>
                          <a:cubicBezTo>
                            <a:pt x="91700" y="79271"/>
                            <a:pt x="81450" y="36302"/>
                            <a:pt x="65802" y="17000"/>
                          </a:cubicBezTo>
                          <a:cubicBezTo>
                            <a:pt x="47310" y="-5819"/>
                            <a:pt x="13706" y="-6118"/>
                            <a:pt x="2907" y="18846"/>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06" name="Graphic 525">
                      <a:extLst>
                        <a:ext uri="{FF2B5EF4-FFF2-40B4-BE49-F238E27FC236}">
                          <a16:creationId xmlns:a16="http://schemas.microsoft.com/office/drawing/2014/main" id="{DFE80AB9-9E30-BC7C-5978-07D6D0A5CBAB}"/>
                        </a:ext>
                      </a:extLst>
                    </p:cNvPr>
                    <p:cNvGrpSpPr/>
                    <p:nvPr/>
                  </p:nvGrpSpPr>
                  <p:grpSpPr>
                    <a:xfrm>
                      <a:off x="7731483" y="6138803"/>
                      <a:ext cx="118294" cy="154347"/>
                      <a:chOff x="7731483" y="6138803"/>
                      <a:chExt cx="118294" cy="154347"/>
                    </a:xfrm>
                  </p:grpSpPr>
                  <p:sp>
                    <p:nvSpPr>
                      <p:cNvPr id="2707" name="Freeform: Shape 2706">
                        <a:extLst>
                          <a:ext uri="{FF2B5EF4-FFF2-40B4-BE49-F238E27FC236}">
                            <a16:creationId xmlns:a16="http://schemas.microsoft.com/office/drawing/2014/main" id="{B18A9E8C-184E-DE46-C01C-F8370F2A2E20}"/>
                          </a:ext>
                        </a:extLst>
                      </p:cNvPr>
                      <p:cNvSpPr/>
                      <p:nvPr/>
                    </p:nvSpPr>
                    <p:spPr>
                      <a:xfrm>
                        <a:off x="7731483" y="6138803"/>
                        <a:ext cx="118294" cy="154347"/>
                      </a:xfrm>
                      <a:custGeom>
                        <a:avLst/>
                        <a:gdLst>
                          <a:gd name="connsiteX0" fmla="*/ 21547 w 118294"/>
                          <a:gd name="connsiteY0" fmla="*/ 2361 h 154347"/>
                          <a:gd name="connsiteX1" fmla="*/ 2581 w 118294"/>
                          <a:gd name="connsiteY1" fmla="*/ 20940 h 154347"/>
                          <a:gd name="connsiteX2" fmla="*/ 23542 w 118294"/>
                          <a:gd name="connsiteY2" fmla="*/ 90842 h 154347"/>
                          <a:gd name="connsiteX3" fmla="*/ 86436 w 118294"/>
                          <a:gd name="connsiteY3" fmla="*/ 154347 h 154347"/>
                          <a:gd name="connsiteX4" fmla="*/ 118294 w 118294"/>
                          <a:gd name="connsiteY4" fmla="*/ 137701 h 154347"/>
                          <a:gd name="connsiteX5" fmla="*/ 109666 w 118294"/>
                          <a:gd name="connsiteY5" fmla="*/ 110980 h 154347"/>
                          <a:gd name="connsiteX6" fmla="*/ 80064 w 118294"/>
                          <a:gd name="connsiteY6" fmla="*/ 37611 h 154347"/>
                          <a:gd name="connsiteX7" fmla="*/ 21547 w 118294"/>
                          <a:gd name="connsiteY7" fmla="*/ 2361 h 154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94" h="154347">
                            <a:moveTo>
                              <a:pt x="21547" y="2361"/>
                            </a:moveTo>
                            <a:cubicBezTo>
                              <a:pt x="21547" y="2361"/>
                              <a:pt x="8217" y="5753"/>
                              <a:pt x="2581" y="20940"/>
                            </a:cubicBezTo>
                            <a:cubicBezTo>
                              <a:pt x="-3042" y="36128"/>
                              <a:pt x="-910" y="58372"/>
                              <a:pt x="23542" y="90842"/>
                            </a:cubicBezTo>
                            <a:cubicBezTo>
                              <a:pt x="47994" y="123311"/>
                              <a:pt x="86436" y="154347"/>
                              <a:pt x="86436" y="154347"/>
                            </a:cubicBezTo>
                            <a:cubicBezTo>
                              <a:pt x="86436" y="154347"/>
                              <a:pt x="108431" y="150644"/>
                              <a:pt x="118294" y="137701"/>
                            </a:cubicBezTo>
                            <a:cubicBezTo>
                              <a:pt x="118294" y="137701"/>
                              <a:pt x="115003" y="123112"/>
                              <a:pt x="109666" y="110980"/>
                            </a:cubicBezTo>
                            <a:cubicBezTo>
                              <a:pt x="104317" y="98860"/>
                              <a:pt x="86025" y="52612"/>
                              <a:pt x="80064" y="37611"/>
                            </a:cubicBezTo>
                            <a:cubicBezTo>
                              <a:pt x="74104" y="22611"/>
                              <a:pt x="54677" y="-8836"/>
                              <a:pt x="21547" y="2361"/>
                            </a:cubicBezTo>
                            <a:close/>
                          </a:path>
                        </a:pathLst>
                      </a:custGeom>
                      <a:solidFill>
                        <a:srgbClr val="72B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8" name="Freeform: Shape 2707">
                        <a:extLst>
                          <a:ext uri="{FF2B5EF4-FFF2-40B4-BE49-F238E27FC236}">
                            <a16:creationId xmlns:a16="http://schemas.microsoft.com/office/drawing/2014/main" id="{DE42E880-8933-41CB-DFEE-AD9E2B963B70}"/>
                          </a:ext>
                        </a:extLst>
                      </p:cNvPr>
                      <p:cNvSpPr/>
                      <p:nvPr/>
                    </p:nvSpPr>
                    <p:spPr>
                      <a:xfrm>
                        <a:off x="7732543" y="6180782"/>
                        <a:ext cx="117234" cy="112367"/>
                      </a:xfrm>
                      <a:custGeom>
                        <a:avLst/>
                        <a:gdLst>
                          <a:gd name="connsiteX0" fmla="*/ 117234 w 117234"/>
                          <a:gd name="connsiteY0" fmla="*/ 95721 h 112367"/>
                          <a:gd name="connsiteX1" fmla="*/ 108606 w 117234"/>
                          <a:gd name="connsiteY1" fmla="*/ 69012 h 112367"/>
                          <a:gd name="connsiteX2" fmla="*/ 67495 w 117234"/>
                          <a:gd name="connsiteY2" fmla="*/ 38999 h 112367"/>
                          <a:gd name="connsiteX3" fmla="*/ 60712 w 117234"/>
                          <a:gd name="connsiteY3" fmla="*/ 42391 h 112367"/>
                          <a:gd name="connsiteX4" fmla="*/ 50849 w 117234"/>
                          <a:gd name="connsiteY4" fmla="*/ 33450 h 112367"/>
                          <a:gd name="connsiteX5" fmla="*/ 29265 w 117234"/>
                          <a:gd name="connsiteY5" fmla="*/ 13413 h 112367"/>
                          <a:gd name="connsiteX6" fmla="*/ 9539 w 117234"/>
                          <a:gd name="connsiteY6" fmla="*/ 769 h 112367"/>
                          <a:gd name="connsiteX7" fmla="*/ 0 w 117234"/>
                          <a:gd name="connsiteY7" fmla="*/ 4223 h 112367"/>
                          <a:gd name="connsiteX8" fmla="*/ 22482 w 117234"/>
                          <a:gd name="connsiteY8" fmla="*/ 48862 h 112367"/>
                          <a:gd name="connsiteX9" fmla="*/ 85376 w 117234"/>
                          <a:gd name="connsiteY9" fmla="*/ 112367 h 112367"/>
                          <a:gd name="connsiteX10" fmla="*/ 117234 w 117234"/>
                          <a:gd name="connsiteY10" fmla="*/ 95721 h 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234" h="112367">
                            <a:moveTo>
                              <a:pt x="117234" y="95721"/>
                            </a:moveTo>
                            <a:cubicBezTo>
                              <a:pt x="117234" y="95721"/>
                              <a:pt x="113943" y="81133"/>
                              <a:pt x="108606" y="69012"/>
                            </a:cubicBezTo>
                            <a:lnTo>
                              <a:pt x="67495" y="38999"/>
                            </a:lnTo>
                            <a:lnTo>
                              <a:pt x="60712" y="42391"/>
                            </a:lnTo>
                            <a:cubicBezTo>
                              <a:pt x="60712" y="42391"/>
                              <a:pt x="57320" y="43314"/>
                              <a:pt x="50849" y="33450"/>
                            </a:cubicBezTo>
                            <a:cubicBezTo>
                              <a:pt x="44378" y="23587"/>
                              <a:pt x="37906" y="16181"/>
                              <a:pt x="29265" y="13413"/>
                            </a:cubicBezTo>
                            <a:cubicBezTo>
                              <a:pt x="20624" y="10644"/>
                              <a:pt x="15088" y="4161"/>
                              <a:pt x="9539" y="769"/>
                            </a:cubicBezTo>
                            <a:cubicBezTo>
                              <a:pt x="5786" y="-1525"/>
                              <a:pt x="2045" y="1816"/>
                              <a:pt x="0" y="4223"/>
                            </a:cubicBezTo>
                            <a:cubicBezTo>
                              <a:pt x="2394" y="16392"/>
                              <a:pt x="9102" y="31094"/>
                              <a:pt x="22482" y="48862"/>
                            </a:cubicBezTo>
                            <a:cubicBezTo>
                              <a:pt x="46934" y="81332"/>
                              <a:pt x="85376" y="112367"/>
                              <a:pt x="85376" y="112367"/>
                            </a:cubicBezTo>
                            <a:cubicBezTo>
                              <a:pt x="85376" y="112367"/>
                              <a:pt x="107371" y="108664"/>
                              <a:pt x="117234" y="95721"/>
                            </a:cubicBezTo>
                            <a:close/>
                          </a:path>
                        </a:pathLst>
                      </a:custGeom>
                      <a:solidFill>
                        <a:srgbClr val="60AC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709" name="Graphic 525">
                    <a:extLst>
                      <a:ext uri="{FF2B5EF4-FFF2-40B4-BE49-F238E27FC236}">
                        <a16:creationId xmlns:a16="http://schemas.microsoft.com/office/drawing/2014/main" id="{1CD6EF67-F950-0378-2F28-23914420793A}"/>
                      </a:ext>
                    </a:extLst>
                  </p:cNvPr>
                  <p:cNvGrpSpPr/>
                  <p:nvPr/>
                </p:nvGrpSpPr>
                <p:grpSpPr>
                  <a:xfrm>
                    <a:off x="7667685" y="6185169"/>
                    <a:ext cx="443597" cy="221195"/>
                    <a:chOff x="7667685" y="6185169"/>
                    <a:chExt cx="443597" cy="221195"/>
                  </a:xfrm>
                </p:grpSpPr>
                <p:grpSp>
                  <p:nvGrpSpPr>
                    <p:cNvPr id="2710" name="Graphic 525">
                      <a:extLst>
                        <a:ext uri="{FF2B5EF4-FFF2-40B4-BE49-F238E27FC236}">
                          <a16:creationId xmlns:a16="http://schemas.microsoft.com/office/drawing/2014/main" id="{965B16A8-04CB-C13F-8C08-59EF8E857A65}"/>
                        </a:ext>
                      </a:extLst>
                    </p:cNvPr>
                    <p:cNvGrpSpPr/>
                    <p:nvPr/>
                  </p:nvGrpSpPr>
                  <p:grpSpPr>
                    <a:xfrm>
                      <a:off x="7667685" y="6185169"/>
                      <a:ext cx="277894" cy="219826"/>
                      <a:chOff x="7667685" y="6185169"/>
                      <a:chExt cx="277894" cy="219826"/>
                    </a:xfrm>
                  </p:grpSpPr>
                  <p:sp>
                    <p:nvSpPr>
                      <p:cNvPr id="2711" name="Freeform: Shape 2710">
                        <a:extLst>
                          <a:ext uri="{FF2B5EF4-FFF2-40B4-BE49-F238E27FC236}">
                            <a16:creationId xmlns:a16="http://schemas.microsoft.com/office/drawing/2014/main" id="{35169E64-2738-228C-9ACB-DBE44511942B}"/>
                          </a:ext>
                        </a:extLst>
                      </p:cNvPr>
                      <p:cNvSpPr/>
                      <p:nvPr/>
                    </p:nvSpPr>
                    <p:spPr>
                      <a:xfrm>
                        <a:off x="7763945" y="6232242"/>
                        <a:ext cx="178103" cy="165656"/>
                      </a:xfrm>
                      <a:custGeom>
                        <a:avLst/>
                        <a:gdLst>
                          <a:gd name="connsiteX0" fmla="*/ 121768 w 178103"/>
                          <a:gd name="connsiteY0" fmla="*/ 162132 h 165656"/>
                          <a:gd name="connsiteX1" fmla="*/ 67191 w 178103"/>
                          <a:gd name="connsiteY1" fmla="*/ 105709 h 165656"/>
                          <a:gd name="connsiteX2" fmla="*/ 593 w 178103"/>
                          <a:gd name="connsiteY2" fmla="*/ 8587 h 165656"/>
                          <a:gd name="connsiteX3" fmla="*/ 59796 w 178103"/>
                          <a:gd name="connsiteY3" fmla="*/ 16917 h 165656"/>
                          <a:gd name="connsiteX4" fmla="*/ 176345 w 178103"/>
                          <a:gd name="connsiteY4" fmla="*/ 122368 h 165656"/>
                          <a:gd name="connsiteX5" fmla="*/ 121768 w 178103"/>
                          <a:gd name="connsiteY5" fmla="*/ 162144 h 16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103" h="165656">
                            <a:moveTo>
                              <a:pt x="121768" y="162132"/>
                            </a:moveTo>
                            <a:cubicBezTo>
                              <a:pt x="121768" y="162132"/>
                              <a:pt x="92166" y="144562"/>
                              <a:pt x="67191" y="105709"/>
                            </a:cubicBezTo>
                            <a:cubicBezTo>
                              <a:pt x="42215" y="66855"/>
                              <a:pt x="-5878" y="25234"/>
                              <a:pt x="593" y="8587"/>
                            </a:cubicBezTo>
                            <a:cubicBezTo>
                              <a:pt x="7065" y="-8059"/>
                              <a:pt x="39447" y="2116"/>
                              <a:pt x="59796" y="16917"/>
                            </a:cubicBezTo>
                            <a:cubicBezTo>
                              <a:pt x="80146" y="31717"/>
                              <a:pt x="166170" y="94611"/>
                              <a:pt x="176345" y="122368"/>
                            </a:cubicBezTo>
                            <a:cubicBezTo>
                              <a:pt x="186520" y="150111"/>
                              <a:pt x="150447" y="175087"/>
                              <a:pt x="121768" y="162144"/>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12" name="Graphic 525">
                        <a:extLst>
                          <a:ext uri="{FF2B5EF4-FFF2-40B4-BE49-F238E27FC236}">
                            <a16:creationId xmlns:a16="http://schemas.microsoft.com/office/drawing/2014/main" id="{B20A0C45-8E24-B771-2497-4CBAD98A36F9}"/>
                          </a:ext>
                        </a:extLst>
                      </p:cNvPr>
                      <p:cNvGrpSpPr/>
                      <p:nvPr/>
                    </p:nvGrpSpPr>
                    <p:grpSpPr>
                      <a:xfrm>
                        <a:off x="7667685" y="6185169"/>
                        <a:ext cx="148557" cy="87792"/>
                        <a:chOff x="7667685" y="6185169"/>
                        <a:chExt cx="148557" cy="87792"/>
                      </a:xfrm>
                    </p:grpSpPr>
                    <p:sp>
                      <p:nvSpPr>
                        <p:cNvPr id="2713" name="Freeform: Shape 2712">
                          <a:extLst>
                            <a:ext uri="{FF2B5EF4-FFF2-40B4-BE49-F238E27FC236}">
                              <a16:creationId xmlns:a16="http://schemas.microsoft.com/office/drawing/2014/main" id="{2546AA10-6121-A4D4-88B6-60D94A134AF4}"/>
                            </a:ext>
                          </a:extLst>
                        </p:cNvPr>
                        <p:cNvSpPr/>
                        <p:nvPr/>
                      </p:nvSpPr>
                      <p:spPr>
                        <a:xfrm>
                          <a:off x="7735425" y="6185169"/>
                          <a:ext cx="42144" cy="32392"/>
                        </a:xfrm>
                        <a:custGeom>
                          <a:avLst/>
                          <a:gdLst>
                            <a:gd name="connsiteX0" fmla="*/ 1420 w 42144"/>
                            <a:gd name="connsiteY0" fmla="*/ 9425 h 32392"/>
                            <a:gd name="connsiteX1" fmla="*/ 984 w 42144"/>
                            <a:gd name="connsiteY1" fmla="*/ 958 h 32392"/>
                            <a:gd name="connsiteX2" fmla="*/ 15784 w 42144"/>
                            <a:gd name="connsiteY2" fmla="*/ 8814 h 32392"/>
                            <a:gd name="connsiteX3" fmla="*/ 42144 w 42144"/>
                            <a:gd name="connsiteY3" fmla="*/ 32393 h 32392"/>
                            <a:gd name="connsiteX4" fmla="*/ 1420 w 42144"/>
                            <a:gd name="connsiteY4" fmla="*/ 9413 h 32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44" h="32392">
                              <a:moveTo>
                                <a:pt x="1420" y="9425"/>
                              </a:moveTo>
                              <a:cubicBezTo>
                                <a:pt x="1420" y="9425"/>
                                <a:pt x="-1460" y="3777"/>
                                <a:pt x="984" y="958"/>
                              </a:cubicBezTo>
                              <a:cubicBezTo>
                                <a:pt x="3889" y="-2396"/>
                                <a:pt x="6532" y="3739"/>
                                <a:pt x="15784" y="8814"/>
                              </a:cubicBezTo>
                              <a:cubicBezTo>
                                <a:pt x="25036" y="13901"/>
                                <a:pt x="38902" y="22218"/>
                                <a:pt x="42144" y="32393"/>
                              </a:cubicBezTo>
                              <a:cubicBezTo>
                                <a:pt x="42144" y="32393"/>
                                <a:pt x="11133" y="21445"/>
                                <a:pt x="1420" y="9413"/>
                              </a:cubicBezTo>
                              <a:close/>
                            </a:path>
                          </a:pathLst>
                        </a:custGeom>
                        <a:solidFill>
                          <a:srgbClr val="EA9D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4" name="Freeform: Shape 2713">
                          <a:extLst>
                            <a:ext uri="{FF2B5EF4-FFF2-40B4-BE49-F238E27FC236}">
                              <a16:creationId xmlns:a16="http://schemas.microsoft.com/office/drawing/2014/main" id="{F1978F23-FF28-3E14-8868-08D5218C136D}"/>
                            </a:ext>
                          </a:extLst>
                        </p:cNvPr>
                        <p:cNvSpPr/>
                        <p:nvPr/>
                      </p:nvSpPr>
                      <p:spPr>
                        <a:xfrm>
                          <a:off x="7667685" y="6185339"/>
                          <a:ext cx="148557" cy="87622"/>
                        </a:xfrm>
                        <a:custGeom>
                          <a:avLst/>
                          <a:gdLst>
                            <a:gd name="connsiteX0" fmla="*/ 139448 w 148557"/>
                            <a:gd name="connsiteY0" fmla="*/ 54081 h 87622"/>
                            <a:gd name="connsiteX1" fmla="*/ 111729 w 148557"/>
                            <a:gd name="connsiteY1" fmla="*/ 33146 h 87622"/>
                            <a:gd name="connsiteX2" fmla="*/ 67339 w 148557"/>
                            <a:gd name="connsiteY2" fmla="*/ 7247 h 87622"/>
                            <a:gd name="connsiteX3" fmla="*/ 17675 w 148557"/>
                            <a:gd name="connsiteY3" fmla="*/ 514 h 87622"/>
                            <a:gd name="connsiteX4" fmla="*/ 15056 w 148557"/>
                            <a:gd name="connsiteY4" fmla="*/ 6374 h 87622"/>
                            <a:gd name="connsiteX5" fmla="*/ 7961 w 148557"/>
                            <a:gd name="connsiteY5" fmla="*/ 11462 h 87622"/>
                            <a:gd name="connsiteX6" fmla="*/ 2138 w 148557"/>
                            <a:gd name="connsiteY6" fmla="*/ 18818 h 87622"/>
                            <a:gd name="connsiteX7" fmla="*/ 10929 w 148557"/>
                            <a:gd name="connsiteY7" fmla="*/ 30377 h 87622"/>
                            <a:gd name="connsiteX8" fmla="*/ 34508 w 148557"/>
                            <a:gd name="connsiteY8" fmla="*/ 46562 h 87622"/>
                            <a:gd name="connsiteX9" fmla="*/ 101554 w 148557"/>
                            <a:gd name="connsiteY9" fmla="*/ 72922 h 87622"/>
                            <a:gd name="connsiteX10" fmla="*/ 140857 w 148557"/>
                            <a:gd name="connsiteY10" fmla="*/ 85403 h 87622"/>
                            <a:gd name="connsiteX11" fmla="*/ 139448 w 148557"/>
                            <a:gd name="connsiteY11" fmla="*/ 54081 h 8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557" h="87622">
                              <a:moveTo>
                                <a:pt x="139448" y="54081"/>
                              </a:moveTo>
                              <a:cubicBezTo>
                                <a:pt x="139448" y="54081"/>
                                <a:pt x="124672" y="45178"/>
                                <a:pt x="111729" y="33146"/>
                              </a:cubicBezTo>
                              <a:cubicBezTo>
                                <a:pt x="98786" y="21125"/>
                                <a:pt x="78437" y="14192"/>
                                <a:pt x="67339" y="7247"/>
                              </a:cubicBezTo>
                              <a:cubicBezTo>
                                <a:pt x="56242" y="314"/>
                                <a:pt x="24620" y="-883"/>
                                <a:pt x="17675" y="514"/>
                              </a:cubicBezTo>
                              <a:cubicBezTo>
                                <a:pt x="10742" y="1898"/>
                                <a:pt x="15056" y="6374"/>
                                <a:pt x="15056" y="6374"/>
                              </a:cubicBezTo>
                              <a:cubicBezTo>
                                <a:pt x="15056" y="6374"/>
                                <a:pt x="6265" y="4679"/>
                                <a:pt x="7961" y="11462"/>
                              </a:cubicBezTo>
                              <a:cubicBezTo>
                                <a:pt x="7961" y="11462"/>
                                <a:pt x="-4982" y="11923"/>
                                <a:pt x="2138" y="18818"/>
                              </a:cubicBezTo>
                              <a:cubicBezTo>
                                <a:pt x="2138" y="18818"/>
                                <a:pt x="-3411" y="22984"/>
                                <a:pt x="10929" y="30377"/>
                              </a:cubicBezTo>
                              <a:cubicBezTo>
                                <a:pt x="25268" y="37772"/>
                                <a:pt x="24807" y="38233"/>
                                <a:pt x="34508" y="46562"/>
                              </a:cubicBezTo>
                              <a:cubicBezTo>
                                <a:pt x="44221" y="54892"/>
                                <a:pt x="66416" y="64592"/>
                                <a:pt x="101554" y="72922"/>
                              </a:cubicBezTo>
                              <a:cubicBezTo>
                                <a:pt x="108487" y="76164"/>
                                <a:pt x="128837" y="93733"/>
                                <a:pt x="140857" y="85403"/>
                              </a:cubicBezTo>
                              <a:cubicBezTo>
                                <a:pt x="152877" y="77074"/>
                                <a:pt x="149598" y="60752"/>
                                <a:pt x="139448" y="54081"/>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15" name="Graphic 525">
                          <a:extLst>
                            <a:ext uri="{FF2B5EF4-FFF2-40B4-BE49-F238E27FC236}">
                              <a16:creationId xmlns:a16="http://schemas.microsoft.com/office/drawing/2014/main" id="{6BE6218C-FCC9-C372-08DE-E2B9EE022526}"/>
                            </a:ext>
                          </a:extLst>
                        </p:cNvPr>
                        <p:cNvGrpSpPr/>
                        <p:nvPr/>
                      </p:nvGrpSpPr>
                      <p:grpSpPr>
                        <a:xfrm>
                          <a:off x="7669684" y="6191446"/>
                          <a:ext cx="56351" cy="29836"/>
                          <a:chOff x="7669684" y="6191446"/>
                          <a:chExt cx="56351" cy="29836"/>
                        </a:xfrm>
                        <a:solidFill>
                          <a:srgbClr val="E57E73"/>
                        </a:solidFill>
                      </p:grpSpPr>
                      <p:sp>
                        <p:nvSpPr>
                          <p:cNvPr id="2716" name="Freeform: Shape 2715">
                            <a:extLst>
                              <a:ext uri="{FF2B5EF4-FFF2-40B4-BE49-F238E27FC236}">
                                <a16:creationId xmlns:a16="http://schemas.microsoft.com/office/drawing/2014/main" id="{F654A39C-BBB8-A84A-DD3B-4504909D83B9}"/>
                              </a:ext>
                            </a:extLst>
                          </p:cNvPr>
                          <p:cNvSpPr/>
                          <p:nvPr/>
                        </p:nvSpPr>
                        <p:spPr>
                          <a:xfrm>
                            <a:off x="7682671" y="6191446"/>
                            <a:ext cx="43364" cy="8996"/>
                          </a:xfrm>
                          <a:custGeom>
                            <a:avLst/>
                            <a:gdLst>
                              <a:gd name="connsiteX0" fmla="*/ 43163 w 43364"/>
                              <a:gd name="connsiteY0" fmla="*/ 8983 h 8996"/>
                              <a:gd name="connsiteX1" fmla="*/ 40744 w 43364"/>
                              <a:gd name="connsiteY1" fmla="*/ 7699 h 8996"/>
                              <a:gd name="connsiteX2" fmla="*/ 38188 w 43364"/>
                              <a:gd name="connsiteY2" fmla="*/ 6701 h 8996"/>
                              <a:gd name="connsiteX3" fmla="*/ 32889 w 43364"/>
                              <a:gd name="connsiteY3" fmla="*/ 5280 h 8996"/>
                              <a:gd name="connsiteX4" fmla="*/ 27465 w 43364"/>
                              <a:gd name="connsiteY4" fmla="*/ 4357 h 8996"/>
                              <a:gd name="connsiteX5" fmla="*/ 24734 w 43364"/>
                              <a:gd name="connsiteY5" fmla="*/ 3971 h 8996"/>
                              <a:gd name="connsiteX6" fmla="*/ 21991 w 43364"/>
                              <a:gd name="connsiteY6" fmla="*/ 3621 h 8996"/>
                              <a:gd name="connsiteX7" fmla="*/ 16492 w 43364"/>
                              <a:gd name="connsiteY7" fmla="*/ 3085 h 8996"/>
                              <a:gd name="connsiteX8" fmla="*/ 11006 w 43364"/>
                              <a:gd name="connsiteY8" fmla="*/ 2437 h 8996"/>
                              <a:gd name="connsiteX9" fmla="*/ 5532 w 43364"/>
                              <a:gd name="connsiteY9" fmla="*/ 1539 h 8996"/>
                              <a:gd name="connsiteX10" fmla="*/ 83 w 43364"/>
                              <a:gd name="connsiteY10" fmla="*/ 367 h 8996"/>
                              <a:gd name="connsiteX11" fmla="*/ 8 w 43364"/>
                              <a:gd name="connsiteY11" fmla="*/ 230 h 8996"/>
                              <a:gd name="connsiteX12" fmla="*/ 108 w 43364"/>
                              <a:gd name="connsiteY12" fmla="*/ 142 h 8996"/>
                              <a:gd name="connsiteX13" fmla="*/ 5694 w 43364"/>
                              <a:gd name="connsiteY13" fmla="*/ 18 h 8996"/>
                              <a:gd name="connsiteX14" fmla="*/ 11255 w 43364"/>
                              <a:gd name="connsiteY14" fmla="*/ 292 h 8996"/>
                              <a:gd name="connsiteX15" fmla="*/ 16779 w 43364"/>
                              <a:gd name="connsiteY15" fmla="*/ 965 h 8996"/>
                              <a:gd name="connsiteX16" fmla="*/ 22265 w 43364"/>
                              <a:gd name="connsiteY16" fmla="*/ 1913 h 8996"/>
                              <a:gd name="connsiteX17" fmla="*/ 33176 w 43364"/>
                              <a:gd name="connsiteY17" fmla="*/ 4220 h 8996"/>
                              <a:gd name="connsiteX18" fmla="*/ 38463 w 43364"/>
                              <a:gd name="connsiteY18" fmla="*/ 6065 h 8996"/>
                              <a:gd name="connsiteX19" fmla="*/ 40981 w 43364"/>
                              <a:gd name="connsiteY19" fmla="*/ 7275 h 8996"/>
                              <a:gd name="connsiteX20" fmla="*/ 43325 w 43364"/>
                              <a:gd name="connsiteY20" fmla="*/ 8808 h 8996"/>
                              <a:gd name="connsiteX21" fmla="*/ 43338 w 43364"/>
                              <a:gd name="connsiteY21" fmla="*/ 8958 h 8996"/>
                              <a:gd name="connsiteX22" fmla="*/ 43188 w 43364"/>
                              <a:gd name="connsiteY22" fmla="*/ 8983 h 8996"/>
                              <a:gd name="connsiteX23" fmla="*/ 43188 w 43364"/>
                              <a:gd name="connsiteY23" fmla="*/ 8983 h 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364" h="8996">
                                <a:moveTo>
                                  <a:pt x="43163" y="8983"/>
                                </a:moveTo>
                                <a:cubicBezTo>
                                  <a:pt x="42415" y="8472"/>
                                  <a:pt x="41580" y="8073"/>
                                  <a:pt x="40744" y="7699"/>
                                </a:cubicBezTo>
                                <a:cubicBezTo>
                                  <a:pt x="39909" y="7325"/>
                                  <a:pt x="39049" y="7000"/>
                                  <a:pt x="38188" y="6701"/>
                                </a:cubicBezTo>
                                <a:cubicBezTo>
                                  <a:pt x="36455" y="6115"/>
                                  <a:pt x="34672" y="5654"/>
                                  <a:pt x="32889" y="5280"/>
                                </a:cubicBezTo>
                                <a:cubicBezTo>
                                  <a:pt x="31093" y="4906"/>
                                  <a:pt x="29285" y="4606"/>
                                  <a:pt x="27465" y="4357"/>
                                </a:cubicBezTo>
                                <a:cubicBezTo>
                                  <a:pt x="26555" y="4220"/>
                                  <a:pt x="25644" y="4095"/>
                                  <a:pt x="24734" y="3971"/>
                                </a:cubicBezTo>
                                <a:cubicBezTo>
                                  <a:pt x="23824" y="3846"/>
                                  <a:pt x="22901" y="3734"/>
                                  <a:pt x="21991" y="3621"/>
                                </a:cubicBezTo>
                                <a:cubicBezTo>
                                  <a:pt x="20158" y="3397"/>
                                  <a:pt x="18325" y="3247"/>
                                  <a:pt x="16492" y="3085"/>
                                </a:cubicBezTo>
                                <a:cubicBezTo>
                                  <a:pt x="14659" y="2923"/>
                                  <a:pt x="12826" y="2711"/>
                                  <a:pt x="11006" y="2437"/>
                                </a:cubicBezTo>
                                <a:cubicBezTo>
                                  <a:pt x="9185" y="2175"/>
                                  <a:pt x="7352" y="1876"/>
                                  <a:pt x="5532" y="1539"/>
                                </a:cubicBezTo>
                                <a:cubicBezTo>
                                  <a:pt x="3711" y="1202"/>
                                  <a:pt x="1891" y="841"/>
                                  <a:pt x="83" y="367"/>
                                </a:cubicBezTo>
                                <a:cubicBezTo>
                                  <a:pt x="20" y="355"/>
                                  <a:pt x="-17" y="292"/>
                                  <a:pt x="8" y="230"/>
                                </a:cubicBezTo>
                                <a:cubicBezTo>
                                  <a:pt x="8" y="180"/>
                                  <a:pt x="58" y="155"/>
                                  <a:pt x="108" y="142"/>
                                </a:cubicBezTo>
                                <a:cubicBezTo>
                                  <a:pt x="1978" y="-7"/>
                                  <a:pt x="3836" y="-20"/>
                                  <a:pt x="5694" y="18"/>
                                </a:cubicBezTo>
                                <a:cubicBezTo>
                                  <a:pt x="7552" y="55"/>
                                  <a:pt x="9397" y="155"/>
                                  <a:pt x="11255" y="292"/>
                                </a:cubicBezTo>
                                <a:cubicBezTo>
                                  <a:pt x="13100" y="442"/>
                                  <a:pt x="14946" y="666"/>
                                  <a:pt x="16779" y="965"/>
                                </a:cubicBezTo>
                                <a:lnTo>
                                  <a:pt x="22265" y="1913"/>
                                </a:lnTo>
                                <a:cubicBezTo>
                                  <a:pt x="25919" y="2549"/>
                                  <a:pt x="29572" y="3235"/>
                                  <a:pt x="33176" y="4220"/>
                                </a:cubicBezTo>
                                <a:cubicBezTo>
                                  <a:pt x="34971" y="4731"/>
                                  <a:pt x="36742" y="5330"/>
                                  <a:pt x="38463" y="6065"/>
                                </a:cubicBezTo>
                                <a:cubicBezTo>
                                  <a:pt x="39323" y="6427"/>
                                  <a:pt x="40171" y="6826"/>
                                  <a:pt x="40981" y="7275"/>
                                </a:cubicBezTo>
                                <a:cubicBezTo>
                                  <a:pt x="41804" y="7724"/>
                                  <a:pt x="42602" y="8210"/>
                                  <a:pt x="43325" y="8808"/>
                                </a:cubicBezTo>
                                <a:cubicBezTo>
                                  <a:pt x="43375" y="8846"/>
                                  <a:pt x="43375" y="8908"/>
                                  <a:pt x="43338" y="8958"/>
                                </a:cubicBezTo>
                                <a:cubicBezTo>
                                  <a:pt x="43300" y="8995"/>
                                  <a:pt x="43238" y="9008"/>
                                  <a:pt x="43188" y="8983"/>
                                </a:cubicBezTo>
                                <a:lnTo>
                                  <a:pt x="43188" y="8983"/>
                                </a:ln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7" name="Freeform: Shape 2716">
                            <a:extLst>
                              <a:ext uri="{FF2B5EF4-FFF2-40B4-BE49-F238E27FC236}">
                                <a16:creationId xmlns:a16="http://schemas.microsoft.com/office/drawing/2014/main" id="{D327B722-D734-3EEE-9BC6-BA5BDB071930}"/>
                              </a:ext>
                            </a:extLst>
                          </p:cNvPr>
                          <p:cNvSpPr/>
                          <p:nvPr/>
                        </p:nvSpPr>
                        <p:spPr>
                          <a:xfrm>
                            <a:off x="7675532" y="6196699"/>
                            <a:ext cx="40567" cy="12079"/>
                          </a:xfrm>
                          <a:custGeom>
                            <a:avLst/>
                            <a:gdLst>
                              <a:gd name="connsiteX0" fmla="*/ 127 w 40567"/>
                              <a:gd name="connsiteY0" fmla="*/ 2 h 12079"/>
                              <a:gd name="connsiteX1" fmla="*/ 5427 w 40567"/>
                              <a:gd name="connsiteY1" fmla="*/ 438 h 12079"/>
                              <a:gd name="connsiteX2" fmla="*/ 10713 w 40567"/>
                              <a:gd name="connsiteY2" fmla="*/ 1087 h 12079"/>
                              <a:gd name="connsiteX3" fmla="*/ 15975 w 40567"/>
                              <a:gd name="connsiteY3" fmla="*/ 1947 h 12079"/>
                              <a:gd name="connsiteX4" fmla="*/ 21200 w 40567"/>
                              <a:gd name="connsiteY4" fmla="*/ 3044 h 12079"/>
                              <a:gd name="connsiteX5" fmla="*/ 31474 w 40567"/>
                              <a:gd name="connsiteY5" fmla="*/ 6124 h 12079"/>
                              <a:gd name="connsiteX6" fmla="*/ 36263 w 40567"/>
                              <a:gd name="connsiteY6" fmla="*/ 8605 h 12079"/>
                              <a:gd name="connsiteX7" fmla="*/ 40539 w 40567"/>
                              <a:gd name="connsiteY7" fmla="*/ 11897 h 12079"/>
                              <a:gd name="connsiteX8" fmla="*/ 40539 w 40567"/>
                              <a:gd name="connsiteY8" fmla="*/ 12047 h 12079"/>
                              <a:gd name="connsiteX9" fmla="*/ 40415 w 40567"/>
                              <a:gd name="connsiteY9" fmla="*/ 12072 h 12079"/>
                              <a:gd name="connsiteX10" fmla="*/ 30676 w 40567"/>
                              <a:gd name="connsiteY10" fmla="*/ 8120 h 12079"/>
                              <a:gd name="connsiteX11" fmla="*/ 25751 w 40567"/>
                              <a:gd name="connsiteY11" fmla="*/ 6361 h 12079"/>
                              <a:gd name="connsiteX12" fmla="*/ 20763 w 40567"/>
                              <a:gd name="connsiteY12" fmla="*/ 4703 h 12079"/>
                              <a:gd name="connsiteX13" fmla="*/ 15664 w 40567"/>
                              <a:gd name="connsiteY13" fmla="*/ 3331 h 12079"/>
                              <a:gd name="connsiteX14" fmla="*/ 10514 w 40567"/>
                              <a:gd name="connsiteY14" fmla="*/ 2134 h 12079"/>
                              <a:gd name="connsiteX15" fmla="*/ 90 w 40567"/>
                              <a:gd name="connsiteY15" fmla="*/ 214 h 12079"/>
                              <a:gd name="connsiteX16" fmla="*/ 2 w 40567"/>
                              <a:gd name="connsiteY16" fmla="*/ 90 h 12079"/>
                              <a:gd name="connsiteX17" fmla="*/ 115 w 40567"/>
                              <a:gd name="connsiteY17" fmla="*/ 2 h 1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567" h="12079">
                                <a:moveTo>
                                  <a:pt x="127" y="2"/>
                                </a:moveTo>
                                <a:cubicBezTo>
                                  <a:pt x="1898" y="90"/>
                                  <a:pt x="3668" y="251"/>
                                  <a:pt x="5427" y="438"/>
                                </a:cubicBezTo>
                                <a:cubicBezTo>
                                  <a:pt x="7197" y="625"/>
                                  <a:pt x="8955" y="837"/>
                                  <a:pt x="10713" y="1087"/>
                                </a:cubicBezTo>
                                <a:cubicBezTo>
                                  <a:pt x="12471" y="1336"/>
                                  <a:pt x="14230" y="1623"/>
                                  <a:pt x="15975" y="1947"/>
                                </a:cubicBezTo>
                                <a:cubicBezTo>
                                  <a:pt x="17721" y="2272"/>
                                  <a:pt x="19467" y="2645"/>
                                  <a:pt x="21200" y="3044"/>
                                </a:cubicBezTo>
                                <a:cubicBezTo>
                                  <a:pt x="24666" y="3855"/>
                                  <a:pt x="28183" y="4653"/>
                                  <a:pt x="31474" y="6124"/>
                                </a:cubicBezTo>
                                <a:cubicBezTo>
                                  <a:pt x="33120" y="6848"/>
                                  <a:pt x="34741" y="7658"/>
                                  <a:pt x="36263" y="8605"/>
                                </a:cubicBezTo>
                                <a:cubicBezTo>
                                  <a:pt x="37796" y="9566"/>
                                  <a:pt x="39268" y="10626"/>
                                  <a:pt x="40539" y="11897"/>
                                </a:cubicBezTo>
                                <a:cubicBezTo>
                                  <a:pt x="40577" y="11935"/>
                                  <a:pt x="40577" y="12009"/>
                                  <a:pt x="40539" y="12047"/>
                                </a:cubicBezTo>
                                <a:cubicBezTo>
                                  <a:pt x="40502" y="12084"/>
                                  <a:pt x="40452" y="12084"/>
                                  <a:pt x="40415" y="12072"/>
                                </a:cubicBezTo>
                                <a:cubicBezTo>
                                  <a:pt x="37173" y="10563"/>
                                  <a:pt x="33968" y="9267"/>
                                  <a:pt x="30676" y="8120"/>
                                </a:cubicBezTo>
                                <a:lnTo>
                                  <a:pt x="25751" y="6361"/>
                                </a:lnTo>
                                <a:cubicBezTo>
                                  <a:pt x="24105" y="5763"/>
                                  <a:pt x="22447" y="5189"/>
                                  <a:pt x="20763" y="4703"/>
                                </a:cubicBezTo>
                                <a:cubicBezTo>
                                  <a:pt x="19080" y="4204"/>
                                  <a:pt x="17372" y="3755"/>
                                  <a:pt x="15664" y="3331"/>
                                </a:cubicBezTo>
                                <a:cubicBezTo>
                                  <a:pt x="13955" y="2895"/>
                                  <a:pt x="12235" y="2496"/>
                                  <a:pt x="10514" y="2134"/>
                                </a:cubicBezTo>
                                <a:cubicBezTo>
                                  <a:pt x="7072" y="1374"/>
                                  <a:pt x="3593" y="738"/>
                                  <a:pt x="90" y="214"/>
                                </a:cubicBezTo>
                                <a:cubicBezTo>
                                  <a:pt x="27" y="214"/>
                                  <a:pt x="-10" y="152"/>
                                  <a:pt x="2" y="90"/>
                                </a:cubicBezTo>
                                <a:cubicBezTo>
                                  <a:pt x="2" y="40"/>
                                  <a:pt x="65" y="-10"/>
                                  <a:pt x="115" y="2"/>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8" name="Freeform: Shape 2717">
                            <a:extLst>
                              <a:ext uri="{FF2B5EF4-FFF2-40B4-BE49-F238E27FC236}">
                                <a16:creationId xmlns:a16="http://schemas.microsoft.com/office/drawing/2014/main" id="{B7952C38-33FC-16BA-F781-22D19B74CB18}"/>
                              </a:ext>
                            </a:extLst>
                          </p:cNvPr>
                          <p:cNvSpPr/>
                          <p:nvPr/>
                        </p:nvSpPr>
                        <p:spPr>
                          <a:xfrm>
                            <a:off x="7669684" y="6204050"/>
                            <a:ext cx="40889" cy="17232"/>
                          </a:xfrm>
                          <a:custGeom>
                            <a:avLst/>
                            <a:gdLst>
                              <a:gd name="connsiteX0" fmla="*/ 139 w 40889"/>
                              <a:gd name="connsiteY0" fmla="*/ 8 h 17232"/>
                              <a:gd name="connsiteX1" fmla="*/ 5738 w 40889"/>
                              <a:gd name="connsiteY1" fmla="*/ 282 h 17232"/>
                              <a:gd name="connsiteX2" fmla="*/ 11299 w 40889"/>
                              <a:gd name="connsiteY2" fmla="*/ 1217 h 17232"/>
                              <a:gd name="connsiteX3" fmla="*/ 16698 w 40889"/>
                              <a:gd name="connsiteY3" fmla="*/ 2951 h 17232"/>
                              <a:gd name="connsiteX4" fmla="*/ 21823 w 40889"/>
                              <a:gd name="connsiteY4" fmla="*/ 5282 h 17232"/>
                              <a:gd name="connsiteX5" fmla="*/ 26848 w 40889"/>
                              <a:gd name="connsiteY5" fmla="*/ 7776 h 17232"/>
                              <a:gd name="connsiteX6" fmla="*/ 31711 w 40889"/>
                              <a:gd name="connsiteY6" fmla="*/ 10544 h 17232"/>
                              <a:gd name="connsiteX7" fmla="*/ 40851 w 40889"/>
                              <a:gd name="connsiteY7" fmla="*/ 17041 h 17232"/>
                              <a:gd name="connsiteX8" fmla="*/ 40863 w 40889"/>
                              <a:gd name="connsiteY8" fmla="*/ 17190 h 17232"/>
                              <a:gd name="connsiteX9" fmla="*/ 40738 w 40889"/>
                              <a:gd name="connsiteY9" fmla="*/ 17228 h 17232"/>
                              <a:gd name="connsiteX10" fmla="*/ 35589 w 40889"/>
                              <a:gd name="connsiteY10" fmla="*/ 14958 h 17232"/>
                              <a:gd name="connsiteX11" fmla="*/ 30626 w 40889"/>
                              <a:gd name="connsiteY11" fmla="*/ 12415 h 17232"/>
                              <a:gd name="connsiteX12" fmla="*/ 25800 w 40889"/>
                              <a:gd name="connsiteY12" fmla="*/ 9646 h 17232"/>
                              <a:gd name="connsiteX13" fmla="*/ 21012 w 40889"/>
                              <a:gd name="connsiteY13" fmla="*/ 6816 h 17232"/>
                              <a:gd name="connsiteX14" fmla="*/ 16099 w 40889"/>
                              <a:gd name="connsiteY14" fmla="*/ 4273 h 17232"/>
                              <a:gd name="connsiteX15" fmla="*/ 10987 w 40889"/>
                              <a:gd name="connsiteY15" fmla="*/ 2277 h 17232"/>
                              <a:gd name="connsiteX16" fmla="*/ 5613 w 40889"/>
                              <a:gd name="connsiteY16" fmla="*/ 956 h 17232"/>
                              <a:gd name="connsiteX17" fmla="*/ 101 w 40889"/>
                              <a:gd name="connsiteY17" fmla="*/ 245 h 17232"/>
                              <a:gd name="connsiteX18" fmla="*/ 2 w 40889"/>
                              <a:gd name="connsiteY18" fmla="*/ 132 h 17232"/>
                              <a:gd name="connsiteX19" fmla="*/ 101 w 40889"/>
                              <a:gd name="connsiteY19" fmla="*/ 33 h 1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889" h="17232">
                                <a:moveTo>
                                  <a:pt x="139" y="8"/>
                                </a:moveTo>
                                <a:cubicBezTo>
                                  <a:pt x="2009" y="-30"/>
                                  <a:pt x="3880" y="70"/>
                                  <a:pt x="5738" y="282"/>
                                </a:cubicBezTo>
                                <a:cubicBezTo>
                                  <a:pt x="7595" y="482"/>
                                  <a:pt x="9453" y="781"/>
                                  <a:pt x="11299" y="1217"/>
                                </a:cubicBezTo>
                                <a:cubicBezTo>
                                  <a:pt x="13132" y="1654"/>
                                  <a:pt x="14952" y="2227"/>
                                  <a:pt x="16698" y="2951"/>
                                </a:cubicBezTo>
                                <a:cubicBezTo>
                                  <a:pt x="18444" y="3674"/>
                                  <a:pt x="20139" y="4459"/>
                                  <a:pt x="21823" y="5282"/>
                                </a:cubicBezTo>
                                <a:cubicBezTo>
                                  <a:pt x="23493" y="6118"/>
                                  <a:pt x="25189" y="6928"/>
                                  <a:pt x="26848" y="7776"/>
                                </a:cubicBezTo>
                                <a:cubicBezTo>
                                  <a:pt x="28519" y="8624"/>
                                  <a:pt x="30140" y="9547"/>
                                  <a:pt x="31711" y="10544"/>
                                </a:cubicBezTo>
                                <a:cubicBezTo>
                                  <a:pt x="34865" y="12539"/>
                                  <a:pt x="37933" y="14659"/>
                                  <a:pt x="40851" y="17041"/>
                                </a:cubicBezTo>
                                <a:cubicBezTo>
                                  <a:pt x="40901" y="17078"/>
                                  <a:pt x="40901" y="17153"/>
                                  <a:pt x="40863" y="17190"/>
                                </a:cubicBezTo>
                                <a:cubicBezTo>
                                  <a:pt x="40838" y="17228"/>
                                  <a:pt x="40788" y="17240"/>
                                  <a:pt x="40738" y="17228"/>
                                </a:cubicBezTo>
                                <a:cubicBezTo>
                                  <a:pt x="38968" y="16567"/>
                                  <a:pt x="37272" y="15769"/>
                                  <a:pt x="35589" y="14958"/>
                                </a:cubicBezTo>
                                <a:cubicBezTo>
                                  <a:pt x="33905" y="14148"/>
                                  <a:pt x="32259" y="13288"/>
                                  <a:pt x="30626" y="12415"/>
                                </a:cubicBezTo>
                                <a:cubicBezTo>
                                  <a:pt x="28993" y="11542"/>
                                  <a:pt x="27384" y="10606"/>
                                  <a:pt x="25800" y="9646"/>
                                </a:cubicBezTo>
                                <a:cubicBezTo>
                                  <a:pt x="24217" y="8674"/>
                                  <a:pt x="22633" y="7727"/>
                                  <a:pt x="21012" y="6816"/>
                                </a:cubicBezTo>
                                <a:cubicBezTo>
                                  <a:pt x="19391" y="5918"/>
                                  <a:pt x="17758" y="5058"/>
                                  <a:pt x="16099" y="4273"/>
                                </a:cubicBezTo>
                                <a:cubicBezTo>
                                  <a:pt x="14453" y="3474"/>
                                  <a:pt x="12758" y="2813"/>
                                  <a:pt x="10987" y="2277"/>
                                </a:cubicBezTo>
                                <a:cubicBezTo>
                                  <a:pt x="9229" y="1729"/>
                                  <a:pt x="7433" y="1292"/>
                                  <a:pt x="5613" y="956"/>
                                </a:cubicBezTo>
                                <a:cubicBezTo>
                                  <a:pt x="3793" y="631"/>
                                  <a:pt x="1947" y="369"/>
                                  <a:pt x="101" y="245"/>
                                </a:cubicBezTo>
                                <a:cubicBezTo>
                                  <a:pt x="39" y="245"/>
                                  <a:pt x="-11" y="195"/>
                                  <a:pt x="2" y="132"/>
                                </a:cubicBezTo>
                                <a:cubicBezTo>
                                  <a:pt x="2" y="83"/>
                                  <a:pt x="52" y="33"/>
                                  <a:pt x="101" y="33"/>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719" name="Freeform: Shape 2718">
                        <a:extLst>
                          <a:ext uri="{FF2B5EF4-FFF2-40B4-BE49-F238E27FC236}">
                            <a16:creationId xmlns:a16="http://schemas.microsoft.com/office/drawing/2014/main" id="{3CD561A8-C048-4AAD-3DF9-DAD23AEDD74A}"/>
                          </a:ext>
                        </a:extLst>
                      </p:cNvPr>
                      <p:cNvSpPr/>
                      <p:nvPr/>
                    </p:nvSpPr>
                    <p:spPr>
                      <a:xfrm>
                        <a:off x="7763678" y="6228659"/>
                        <a:ext cx="181901" cy="176336"/>
                      </a:xfrm>
                      <a:custGeom>
                        <a:avLst/>
                        <a:gdLst>
                          <a:gd name="connsiteX0" fmla="*/ 141798 w 181901"/>
                          <a:gd name="connsiteY0" fmla="*/ 175777 h 176336"/>
                          <a:gd name="connsiteX1" fmla="*/ 90925 w 181901"/>
                          <a:gd name="connsiteY1" fmla="*/ 143096 h 176336"/>
                          <a:gd name="connsiteX2" fmla="*/ 0 w 181901"/>
                          <a:gd name="connsiteY2" fmla="*/ 37919 h 176336"/>
                          <a:gd name="connsiteX3" fmla="*/ 34677 w 181901"/>
                          <a:gd name="connsiteY3" fmla="*/ 0 h 176336"/>
                          <a:gd name="connsiteX4" fmla="*/ 170764 w 181901"/>
                          <a:gd name="connsiteY4" fmla="*/ 107634 h 176336"/>
                          <a:gd name="connsiteX5" fmla="*/ 141786 w 181901"/>
                          <a:gd name="connsiteY5" fmla="*/ 175765 h 17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01" h="176336">
                            <a:moveTo>
                              <a:pt x="141798" y="175777"/>
                            </a:moveTo>
                            <a:cubicBezTo>
                              <a:pt x="141798" y="175777"/>
                              <a:pt x="117758" y="172996"/>
                              <a:pt x="90925" y="143096"/>
                            </a:cubicBezTo>
                            <a:cubicBezTo>
                              <a:pt x="64104" y="113195"/>
                              <a:pt x="0" y="37919"/>
                              <a:pt x="0" y="37919"/>
                            </a:cubicBezTo>
                            <a:cubicBezTo>
                              <a:pt x="0" y="37919"/>
                              <a:pt x="3853" y="8018"/>
                              <a:pt x="34677" y="0"/>
                            </a:cubicBezTo>
                            <a:cubicBezTo>
                              <a:pt x="34677" y="0"/>
                              <a:pt x="141474" y="69715"/>
                              <a:pt x="170764" y="107634"/>
                            </a:cubicBezTo>
                            <a:cubicBezTo>
                              <a:pt x="200054" y="145552"/>
                              <a:pt x="164904" y="181313"/>
                              <a:pt x="141786" y="175765"/>
                            </a:cubicBezTo>
                            <a:close/>
                          </a:path>
                        </a:pathLst>
                      </a:custGeom>
                      <a:solidFill>
                        <a:srgbClr val="72B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20" name="Graphic 525">
                      <a:extLst>
                        <a:ext uri="{FF2B5EF4-FFF2-40B4-BE49-F238E27FC236}">
                          <a16:creationId xmlns:a16="http://schemas.microsoft.com/office/drawing/2014/main" id="{832634A8-B993-9386-15B3-5C3E406D2289}"/>
                        </a:ext>
                      </a:extLst>
                    </p:cNvPr>
                    <p:cNvGrpSpPr/>
                    <p:nvPr/>
                  </p:nvGrpSpPr>
                  <p:grpSpPr>
                    <a:xfrm>
                      <a:off x="7866181" y="6196877"/>
                      <a:ext cx="245101" cy="209487"/>
                      <a:chOff x="7866181" y="6196877"/>
                      <a:chExt cx="245101" cy="209487"/>
                    </a:xfrm>
                  </p:grpSpPr>
                  <p:sp>
                    <p:nvSpPr>
                      <p:cNvPr id="2721" name="Freeform: Shape 2720">
                        <a:extLst>
                          <a:ext uri="{FF2B5EF4-FFF2-40B4-BE49-F238E27FC236}">
                            <a16:creationId xmlns:a16="http://schemas.microsoft.com/office/drawing/2014/main" id="{CF812213-1C4B-F8CD-DADD-82870654FF5E}"/>
                          </a:ext>
                        </a:extLst>
                      </p:cNvPr>
                      <p:cNvSpPr/>
                      <p:nvPr/>
                    </p:nvSpPr>
                    <p:spPr>
                      <a:xfrm>
                        <a:off x="7871226" y="6211228"/>
                        <a:ext cx="237253" cy="189295"/>
                      </a:xfrm>
                      <a:custGeom>
                        <a:avLst/>
                        <a:gdLst>
                          <a:gd name="connsiteX0" fmla="*/ 227222 w 237253"/>
                          <a:gd name="connsiteY0" fmla="*/ 0 h 189295"/>
                          <a:gd name="connsiteX1" fmla="*/ 172645 w 237253"/>
                          <a:gd name="connsiteY1" fmla="*/ 22195 h 189295"/>
                          <a:gd name="connsiteX2" fmla="*/ 59799 w 237253"/>
                          <a:gd name="connsiteY2" fmla="*/ 103593 h 189295"/>
                          <a:gd name="connsiteX3" fmla="*/ 596 w 237253"/>
                          <a:gd name="connsiteY3" fmla="*/ 169268 h 189295"/>
                          <a:gd name="connsiteX4" fmla="*/ 87543 w 237253"/>
                          <a:gd name="connsiteY4" fmla="*/ 178520 h 189295"/>
                          <a:gd name="connsiteX5" fmla="*/ 221673 w 237253"/>
                          <a:gd name="connsiteY5" fmla="*/ 75750 h 189295"/>
                          <a:gd name="connsiteX6" fmla="*/ 227209 w 237253"/>
                          <a:gd name="connsiteY6" fmla="*/ 0 h 1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53" h="189295">
                            <a:moveTo>
                              <a:pt x="227222" y="0"/>
                            </a:moveTo>
                            <a:cubicBezTo>
                              <a:pt x="227222" y="0"/>
                              <a:pt x="202246" y="923"/>
                              <a:pt x="172645" y="22195"/>
                            </a:cubicBezTo>
                            <a:cubicBezTo>
                              <a:pt x="143043" y="43468"/>
                              <a:pt x="90324" y="84166"/>
                              <a:pt x="59799" y="103593"/>
                            </a:cubicBezTo>
                            <a:cubicBezTo>
                              <a:pt x="29275" y="123020"/>
                              <a:pt x="-4952" y="154468"/>
                              <a:pt x="596" y="169268"/>
                            </a:cubicBezTo>
                            <a:cubicBezTo>
                              <a:pt x="6145" y="184069"/>
                              <a:pt x="38515" y="200715"/>
                              <a:pt x="87543" y="178520"/>
                            </a:cubicBezTo>
                            <a:cubicBezTo>
                              <a:pt x="136572" y="156325"/>
                              <a:pt x="207808" y="97035"/>
                              <a:pt x="221673" y="75750"/>
                            </a:cubicBezTo>
                            <a:cubicBezTo>
                              <a:pt x="235551" y="54478"/>
                              <a:pt x="245701" y="16646"/>
                              <a:pt x="227209" y="0"/>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22" name="Freeform: Shape 2721">
                        <a:extLst>
                          <a:ext uri="{FF2B5EF4-FFF2-40B4-BE49-F238E27FC236}">
                            <a16:creationId xmlns:a16="http://schemas.microsoft.com/office/drawing/2014/main" id="{FEDCC4C7-39DA-D4C8-709C-8AFC65B616D0}"/>
                          </a:ext>
                        </a:extLst>
                      </p:cNvPr>
                      <p:cNvSpPr/>
                      <p:nvPr/>
                    </p:nvSpPr>
                    <p:spPr>
                      <a:xfrm>
                        <a:off x="7866181" y="6196877"/>
                        <a:ext cx="245101" cy="209487"/>
                      </a:xfrm>
                      <a:custGeom>
                        <a:avLst/>
                        <a:gdLst>
                          <a:gd name="connsiteX0" fmla="*/ 227354 w 245101"/>
                          <a:gd name="connsiteY0" fmla="*/ 2543 h 209487"/>
                          <a:gd name="connsiteX1" fmla="*/ 229823 w 245101"/>
                          <a:gd name="connsiteY1" fmla="*/ 91946 h 209487"/>
                          <a:gd name="connsiteX2" fmla="*/ 68273 w 245101"/>
                          <a:gd name="connsiteY2" fmla="*/ 207859 h 209487"/>
                          <a:gd name="connsiteX3" fmla="*/ 1277 w 245101"/>
                          <a:gd name="connsiteY3" fmla="*/ 159167 h 209487"/>
                          <a:gd name="connsiteX4" fmla="*/ 86154 w 245101"/>
                          <a:gd name="connsiteY4" fmla="*/ 100575 h 209487"/>
                          <a:gd name="connsiteX5" fmla="*/ 227354 w 245101"/>
                          <a:gd name="connsiteY5" fmla="*/ 2543 h 2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01" h="209487">
                            <a:moveTo>
                              <a:pt x="227354" y="2543"/>
                            </a:moveTo>
                            <a:cubicBezTo>
                              <a:pt x="227354" y="2543"/>
                              <a:pt x="265584" y="38915"/>
                              <a:pt x="229823" y="91946"/>
                            </a:cubicBezTo>
                            <a:cubicBezTo>
                              <a:pt x="194062" y="144977"/>
                              <a:pt x="112676" y="198620"/>
                              <a:pt x="68273" y="207859"/>
                            </a:cubicBezTo>
                            <a:cubicBezTo>
                              <a:pt x="23884" y="217111"/>
                              <a:pt x="-6741" y="185065"/>
                              <a:pt x="1277" y="159167"/>
                            </a:cubicBezTo>
                            <a:cubicBezTo>
                              <a:pt x="9295" y="133269"/>
                              <a:pt x="63959" y="117221"/>
                              <a:pt x="86154" y="100575"/>
                            </a:cubicBezTo>
                            <a:cubicBezTo>
                              <a:pt x="108349" y="83929"/>
                              <a:pt x="202067" y="-17196"/>
                              <a:pt x="227354" y="2543"/>
                            </a:cubicBezTo>
                            <a:close/>
                          </a:path>
                        </a:pathLst>
                      </a:custGeom>
                      <a:solidFill>
                        <a:srgbClr val="72BD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723" name="Graphic 525">
                  <a:extLst>
                    <a:ext uri="{FF2B5EF4-FFF2-40B4-BE49-F238E27FC236}">
                      <a16:creationId xmlns:a16="http://schemas.microsoft.com/office/drawing/2014/main" id="{AA9F11B2-0F43-E904-8448-76A50D1EC39E}"/>
                    </a:ext>
                  </a:extLst>
                </p:cNvPr>
                <p:cNvGrpSpPr/>
                <p:nvPr/>
              </p:nvGrpSpPr>
              <p:grpSpPr>
                <a:xfrm>
                  <a:off x="7603438" y="5954104"/>
                  <a:ext cx="569053" cy="241200"/>
                  <a:chOff x="7603438" y="5954104"/>
                  <a:chExt cx="569053" cy="241200"/>
                </a:xfrm>
              </p:grpSpPr>
              <p:grpSp>
                <p:nvGrpSpPr>
                  <p:cNvPr id="2724" name="Graphic 525">
                    <a:extLst>
                      <a:ext uri="{FF2B5EF4-FFF2-40B4-BE49-F238E27FC236}">
                        <a16:creationId xmlns:a16="http://schemas.microsoft.com/office/drawing/2014/main" id="{C0E4D0B2-DA23-4C34-D209-6B07A36B321E}"/>
                      </a:ext>
                    </a:extLst>
                  </p:cNvPr>
                  <p:cNvGrpSpPr/>
                  <p:nvPr/>
                </p:nvGrpSpPr>
                <p:grpSpPr>
                  <a:xfrm>
                    <a:off x="7957875" y="6072621"/>
                    <a:ext cx="119975" cy="86589"/>
                    <a:chOff x="7957875" y="6072621"/>
                    <a:chExt cx="119975" cy="86589"/>
                  </a:xfrm>
                </p:grpSpPr>
                <p:sp>
                  <p:nvSpPr>
                    <p:cNvPr id="2725" name="Freeform: Shape 2724">
                      <a:extLst>
                        <a:ext uri="{FF2B5EF4-FFF2-40B4-BE49-F238E27FC236}">
                          <a16:creationId xmlns:a16="http://schemas.microsoft.com/office/drawing/2014/main" id="{9D559783-26B0-11DF-C637-F2F0B9E4120C}"/>
                        </a:ext>
                      </a:extLst>
                    </p:cNvPr>
                    <p:cNvSpPr/>
                    <p:nvPr/>
                  </p:nvSpPr>
                  <p:spPr>
                    <a:xfrm>
                      <a:off x="7957875" y="6072621"/>
                      <a:ext cx="119975" cy="86589"/>
                    </a:xfrm>
                    <a:custGeom>
                      <a:avLst/>
                      <a:gdLst>
                        <a:gd name="connsiteX0" fmla="*/ 114712 w 119975"/>
                        <a:gd name="connsiteY0" fmla="*/ 35374 h 86589"/>
                        <a:gd name="connsiteX1" fmla="*/ 89874 w 119975"/>
                        <a:gd name="connsiteY1" fmla="*/ 68742 h 86589"/>
                        <a:gd name="connsiteX2" fmla="*/ 18014 w 119975"/>
                        <a:gd name="connsiteY2" fmla="*/ 76111 h 86589"/>
                        <a:gd name="connsiteX3" fmla="*/ 10097 w 119975"/>
                        <a:gd name="connsiteY3" fmla="*/ 39240 h 86589"/>
                        <a:gd name="connsiteX4" fmla="*/ 24785 w 119975"/>
                        <a:gd name="connsiteY4" fmla="*/ 31833 h 86589"/>
                        <a:gd name="connsiteX5" fmla="*/ 46968 w 119975"/>
                        <a:gd name="connsiteY5" fmla="*/ 14128 h 86589"/>
                        <a:gd name="connsiteX6" fmla="*/ 105061 w 119975"/>
                        <a:gd name="connsiteY6" fmla="*/ 3130 h 86589"/>
                        <a:gd name="connsiteX7" fmla="*/ 114737 w 119975"/>
                        <a:gd name="connsiteY7" fmla="*/ 35362 h 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975" h="86589">
                          <a:moveTo>
                            <a:pt x="114712" y="35374"/>
                          </a:moveTo>
                          <a:cubicBezTo>
                            <a:pt x="114712" y="35374"/>
                            <a:pt x="93752" y="53218"/>
                            <a:pt x="89874" y="68742"/>
                          </a:cubicBezTo>
                          <a:cubicBezTo>
                            <a:pt x="84338" y="90887"/>
                            <a:pt x="46581" y="91323"/>
                            <a:pt x="18014" y="76111"/>
                          </a:cubicBezTo>
                          <a:cubicBezTo>
                            <a:pt x="-10540" y="60899"/>
                            <a:pt x="1269" y="44215"/>
                            <a:pt x="10097" y="39240"/>
                          </a:cubicBezTo>
                          <a:cubicBezTo>
                            <a:pt x="13813" y="37146"/>
                            <a:pt x="18825" y="35026"/>
                            <a:pt x="24785" y="31833"/>
                          </a:cubicBezTo>
                          <a:cubicBezTo>
                            <a:pt x="31344" y="28330"/>
                            <a:pt x="39337" y="23255"/>
                            <a:pt x="46968" y="14128"/>
                          </a:cubicBezTo>
                          <a:cubicBezTo>
                            <a:pt x="61507" y="-3280"/>
                            <a:pt x="92642" y="-1459"/>
                            <a:pt x="105061" y="3130"/>
                          </a:cubicBezTo>
                          <a:cubicBezTo>
                            <a:pt x="131496" y="12893"/>
                            <a:pt x="114737" y="35362"/>
                            <a:pt x="114737" y="35362"/>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26" name="Freeform: Shape 2725">
                      <a:extLst>
                        <a:ext uri="{FF2B5EF4-FFF2-40B4-BE49-F238E27FC236}">
                          <a16:creationId xmlns:a16="http://schemas.microsoft.com/office/drawing/2014/main" id="{50713EB6-C0E7-B94D-2A97-64C1A7FD0475}"/>
                        </a:ext>
                      </a:extLst>
                    </p:cNvPr>
                    <p:cNvSpPr/>
                    <p:nvPr/>
                  </p:nvSpPr>
                  <p:spPr>
                    <a:xfrm>
                      <a:off x="7986164" y="6072643"/>
                      <a:ext cx="91660" cy="45167"/>
                    </a:xfrm>
                    <a:custGeom>
                      <a:avLst/>
                      <a:gdLst>
                        <a:gd name="connsiteX0" fmla="*/ 71835 w 91660"/>
                        <a:gd name="connsiteY0" fmla="*/ 39805 h 45167"/>
                        <a:gd name="connsiteX1" fmla="*/ 87396 w 91660"/>
                        <a:gd name="connsiteY1" fmla="*/ 33894 h 45167"/>
                        <a:gd name="connsiteX2" fmla="*/ 76760 w 91660"/>
                        <a:gd name="connsiteY2" fmla="*/ 3133 h 45167"/>
                        <a:gd name="connsiteX3" fmla="*/ 18666 w 91660"/>
                        <a:gd name="connsiteY3" fmla="*/ 14131 h 45167"/>
                        <a:gd name="connsiteX4" fmla="*/ 0 w 91660"/>
                        <a:gd name="connsiteY4" fmla="*/ 29867 h 45167"/>
                        <a:gd name="connsiteX5" fmla="*/ 71835 w 91660"/>
                        <a:gd name="connsiteY5" fmla="*/ 39817 h 4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60" h="45167">
                          <a:moveTo>
                            <a:pt x="71835" y="39805"/>
                          </a:moveTo>
                          <a:cubicBezTo>
                            <a:pt x="78132" y="37461"/>
                            <a:pt x="83256" y="35503"/>
                            <a:pt x="87396" y="33894"/>
                          </a:cubicBezTo>
                          <a:cubicBezTo>
                            <a:pt x="90551" y="28757"/>
                            <a:pt x="99117" y="11400"/>
                            <a:pt x="76760" y="3133"/>
                          </a:cubicBezTo>
                          <a:cubicBezTo>
                            <a:pt x="64341" y="-1455"/>
                            <a:pt x="33218" y="-3289"/>
                            <a:pt x="18666" y="14131"/>
                          </a:cubicBezTo>
                          <a:cubicBezTo>
                            <a:pt x="12357" y="21675"/>
                            <a:pt x="5798" y="26450"/>
                            <a:pt x="0" y="29867"/>
                          </a:cubicBezTo>
                          <a:cubicBezTo>
                            <a:pt x="6559" y="35378"/>
                            <a:pt x="32944" y="54306"/>
                            <a:pt x="71835" y="39817"/>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27" name="Graphic 525">
                    <a:extLst>
                      <a:ext uri="{FF2B5EF4-FFF2-40B4-BE49-F238E27FC236}">
                        <a16:creationId xmlns:a16="http://schemas.microsoft.com/office/drawing/2014/main" id="{2C050C5A-1328-6F0B-B8EB-C418B540BE1E}"/>
                      </a:ext>
                    </a:extLst>
                  </p:cNvPr>
                  <p:cNvGrpSpPr/>
                  <p:nvPr/>
                </p:nvGrpSpPr>
                <p:grpSpPr>
                  <a:xfrm>
                    <a:off x="7603438" y="5954104"/>
                    <a:ext cx="569053" cy="241200"/>
                    <a:chOff x="7603438" y="5954104"/>
                    <a:chExt cx="569053" cy="241200"/>
                  </a:xfrm>
                </p:grpSpPr>
                <p:grpSp>
                  <p:nvGrpSpPr>
                    <p:cNvPr id="2728" name="Graphic 525">
                      <a:extLst>
                        <a:ext uri="{FF2B5EF4-FFF2-40B4-BE49-F238E27FC236}">
                          <a16:creationId xmlns:a16="http://schemas.microsoft.com/office/drawing/2014/main" id="{6D2F2C86-B8F4-62C7-2CCD-86A06E74B90A}"/>
                        </a:ext>
                      </a:extLst>
                    </p:cNvPr>
                    <p:cNvGrpSpPr/>
                    <p:nvPr/>
                  </p:nvGrpSpPr>
                  <p:grpSpPr>
                    <a:xfrm>
                      <a:off x="7983417" y="5971853"/>
                      <a:ext cx="172559" cy="143011"/>
                      <a:chOff x="7983417" y="5971853"/>
                      <a:chExt cx="172559" cy="143011"/>
                    </a:xfrm>
                  </p:grpSpPr>
                  <p:sp>
                    <p:nvSpPr>
                      <p:cNvPr id="2729" name="Freeform: Shape 2728">
                        <a:extLst>
                          <a:ext uri="{FF2B5EF4-FFF2-40B4-BE49-F238E27FC236}">
                            <a16:creationId xmlns:a16="http://schemas.microsoft.com/office/drawing/2014/main" id="{1A9F9B27-3896-46BC-7EEE-B258E4BAB022}"/>
                          </a:ext>
                        </a:extLst>
                      </p:cNvPr>
                      <p:cNvSpPr/>
                      <p:nvPr/>
                    </p:nvSpPr>
                    <p:spPr>
                      <a:xfrm>
                        <a:off x="7983417" y="5971853"/>
                        <a:ext cx="172559" cy="143011"/>
                      </a:xfrm>
                      <a:custGeom>
                        <a:avLst/>
                        <a:gdLst>
                          <a:gd name="connsiteX0" fmla="*/ 170232 w 172559"/>
                          <a:gd name="connsiteY0" fmla="*/ 43037 h 143011"/>
                          <a:gd name="connsiteX1" fmla="*/ 147675 w 172559"/>
                          <a:gd name="connsiteY1" fmla="*/ 12899 h 143011"/>
                          <a:gd name="connsiteX2" fmla="*/ 65479 w 172559"/>
                          <a:gd name="connsiteY2" fmla="*/ 10780 h 143011"/>
                          <a:gd name="connsiteX3" fmla="*/ 802 w 172559"/>
                          <a:gd name="connsiteY3" fmla="*/ 110395 h 143011"/>
                          <a:gd name="connsiteX4" fmla="*/ 78372 w 172559"/>
                          <a:gd name="connsiteY4" fmla="*/ 142241 h 143011"/>
                          <a:gd name="connsiteX5" fmla="*/ 170057 w 172559"/>
                          <a:gd name="connsiteY5" fmla="*/ 75818 h 143011"/>
                          <a:gd name="connsiteX6" fmla="*/ 170232 w 172559"/>
                          <a:gd name="connsiteY6" fmla="*/ 43037 h 14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59" h="143011">
                            <a:moveTo>
                              <a:pt x="170232" y="43037"/>
                            </a:moveTo>
                            <a:cubicBezTo>
                              <a:pt x="166865" y="30481"/>
                              <a:pt x="158735" y="19745"/>
                              <a:pt x="147675" y="12899"/>
                            </a:cubicBezTo>
                            <a:cubicBezTo>
                              <a:pt x="130692" y="2375"/>
                              <a:pt x="100617" y="-8884"/>
                              <a:pt x="65479" y="10780"/>
                            </a:cubicBezTo>
                            <a:cubicBezTo>
                              <a:pt x="10864" y="41354"/>
                              <a:pt x="-3837" y="92115"/>
                              <a:pt x="802" y="110395"/>
                            </a:cubicBezTo>
                            <a:cubicBezTo>
                              <a:pt x="5440" y="128675"/>
                              <a:pt x="32922" y="147029"/>
                              <a:pt x="78372" y="142241"/>
                            </a:cubicBezTo>
                            <a:cubicBezTo>
                              <a:pt x="123822" y="137453"/>
                              <a:pt x="161491" y="101567"/>
                              <a:pt x="170057" y="75818"/>
                            </a:cubicBezTo>
                            <a:cubicBezTo>
                              <a:pt x="173960" y="64072"/>
                              <a:pt x="172726" y="52326"/>
                              <a:pt x="170232" y="43037"/>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30" name="Graphic 525">
                        <a:extLst>
                          <a:ext uri="{FF2B5EF4-FFF2-40B4-BE49-F238E27FC236}">
                            <a16:creationId xmlns:a16="http://schemas.microsoft.com/office/drawing/2014/main" id="{07ED3303-CE1B-D999-13B6-13BFEF589D55}"/>
                          </a:ext>
                        </a:extLst>
                      </p:cNvPr>
                      <p:cNvGrpSpPr/>
                      <p:nvPr/>
                    </p:nvGrpSpPr>
                    <p:grpSpPr>
                      <a:xfrm>
                        <a:off x="8015132" y="5991921"/>
                        <a:ext cx="67879" cy="56959"/>
                        <a:chOff x="8015132" y="5991921"/>
                        <a:chExt cx="67879" cy="56959"/>
                      </a:xfrm>
                    </p:grpSpPr>
                    <p:grpSp>
                      <p:nvGrpSpPr>
                        <p:cNvPr id="2731" name="Graphic 525">
                          <a:extLst>
                            <a:ext uri="{FF2B5EF4-FFF2-40B4-BE49-F238E27FC236}">
                              <a16:creationId xmlns:a16="http://schemas.microsoft.com/office/drawing/2014/main" id="{8C83AA1B-5065-0F45-76E4-2E3D026E951D}"/>
                            </a:ext>
                          </a:extLst>
                        </p:cNvPr>
                        <p:cNvGrpSpPr/>
                        <p:nvPr/>
                      </p:nvGrpSpPr>
                      <p:grpSpPr>
                        <a:xfrm>
                          <a:off x="8044893" y="5991921"/>
                          <a:ext cx="36297" cy="18915"/>
                          <a:chOff x="8044893" y="5991921"/>
                          <a:chExt cx="36297" cy="18915"/>
                        </a:xfrm>
                        <a:solidFill>
                          <a:srgbClr val="EA9D8B"/>
                        </a:solidFill>
                      </p:grpSpPr>
                      <p:sp>
                        <p:nvSpPr>
                          <p:cNvPr id="2732" name="Freeform: Shape 2731">
                            <a:extLst>
                              <a:ext uri="{FF2B5EF4-FFF2-40B4-BE49-F238E27FC236}">
                                <a16:creationId xmlns:a16="http://schemas.microsoft.com/office/drawing/2014/main" id="{B56C0A4D-14DE-1C74-F83C-23B1F8EB003E}"/>
                              </a:ext>
                            </a:extLst>
                          </p:cNvPr>
                          <p:cNvSpPr/>
                          <p:nvPr/>
                        </p:nvSpPr>
                        <p:spPr>
                          <a:xfrm>
                            <a:off x="8044893" y="5993131"/>
                            <a:ext cx="36297" cy="17705"/>
                          </a:xfrm>
                          <a:custGeom>
                            <a:avLst/>
                            <a:gdLst>
                              <a:gd name="connsiteX0" fmla="*/ 12 w 36297"/>
                              <a:gd name="connsiteY0" fmla="*/ 0 h 17705"/>
                              <a:gd name="connsiteX1" fmla="*/ 2544 w 36297"/>
                              <a:gd name="connsiteY1" fmla="*/ 399 h 17705"/>
                              <a:gd name="connsiteX2" fmla="*/ 5050 w 36297"/>
                              <a:gd name="connsiteY2" fmla="*/ 935 h 17705"/>
                              <a:gd name="connsiteX3" fmla="*/ 7531 w 36297"/>
                              <a:gd name="connsiteY3" fmla="*/ 1571 h 17705"/>
                              <a:gd name="connsiteX4" fmla="*/ 9988 w 36297"/>
                              <a:gd name="connsiteY4" fmla="*/ 2294 h 17705"/>
                              <a:gd name="connsiteX5" fmla="*/ 19526 w 36297"/>
                              <a:gd name="connsiteY5" fmla="*/ 6035 h 17705"/>
                              <a:gd name="connsiteX6" fmla="*/ 21833 w 36297"/>
                              <a:gd name="connsiteY6" fmla="*/ 7157 h 17705"/>
                              <a:gd name="connsiteX7" fmla="*/ 24090 w 36297"/>
                              <a:gd name="connsiteY7" fmla="*/ 8392 h 17705"/>
                              <a:gd name="connsiteX8" fmla="*/ 26297 w 36297"/>
                              <a:gd name="connsiteY8" fmla="*/ 9701 h 17705"/>
                              <a:gd name="connsiteX9" fmla="*/ 28455 w 36297"/>
                              <a:gd name="connsiteY9" fmla="*/ 11097 h 17705"/>
                              <a:gd name="connsiteX10" fmla="*/ 30549 w 36297"/>
                              <a:gd name="connsiteY10" fmla="*/ 12581 h 17705"/>
                              <a:gd name="connsiteX11" fmla="*/ 32557 w 36297"/>
                              <a:gd name="connsiteY11" fmla="*/ 14190 h 17705"/>
                              <a:gd name="connsiteX12" fmla="*/ 33542 w 36297"/>
                              <a:gd name="connsiteY12" fmla="*/ 15013 h 17705"/>
                              <a:gd name="connsiteX13" fmla="*/ 34477 w 36297"/>
                              <a:gd name="connsiteY13" fmla="*/ 15898 h 17705"/>
                              <a:gd name="connsiteX14" fmla="*/ 36298 w 36297"/>
                              <a:gd name="connsiteY14" fmla="*/ 17706 h 17705"/>
                              <a:gd name="connsiteX15" fmla="*/ 34116 w 36297"/>
                              <a:gd name="connsiteY15" fmla="*/ 16372 h 17705"/>
                              <a:gd name="connsiteX16" fmla="*/ 33043 w 36297"/>
                              <a:gd name="connsiteY16" fmla="*/ 15698 h 17705"/>
                              <a:gd name="connsiteX17" fmla="*/ 31946 w 36297"/>
                              <a:gd name="connsiteY17" fmla="*/ 15063 h 17705"/>
                              <a:gd name="connsiteX18" fmla="*/ 30861 w 36297"/>
                              <a:gd name="connsiteY18" fmla="*/ 14414 h 17705"/>
                              <a:gd name="connsiteX19" fmla="*/ 29776 w 36297"/>
                              <a:gd name="connsiteY19" fmla="*/ 13778 h 17705"/>
                              <a:gd name="connsiteX20" fmla="*/ 27569 w 36297"/>
                              <a:gd name="connsiteY20" fmla="*/ 12556 h 17705"/>
                              <a:gd name="connsiteX21" fmla="*/ 18591 w 36297"/>
                              <a:gd name="connsiteY21" fmla="*/ 8005 h 17705"/>
                              <a:gd name="connsiteX22" fmla="*/ 9389 w 36297"/>
                              <a:gd name="connsiteY22" fmla="*/ 3903 h 17705"/>
                              <a:gd name="connsiteX23" fmla="*/ 0 w 36297"/>
                              <a:gd name="connsiteY23" fmla="*/ 25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297" h="17705">
                                <a:moveTo>
                                  <a:pt x="12" y="0"/>
                                </a:moveTo>
                                <a:cubicBezTo>
                                  <a:pt x="860" y="100"/>
                                  <a:pt x="1708" y="237"/>
                                  <a:pt x="2544" y="399"/>
                                </a:cubicBezTo>
                                <a:cubicBezTo>
                                  <a:pt x="3379" y="549"/>
                                  <a:pt x="4215" y="735"/>
                                  <a:pt x="5050" y="935"/>
                                </a:cubicBezTo>
                                <a:cubicBezTo>
                                  <a:pt x="5885" y="1122"/>
                                  <a:pt x="6709" y="1347"/>
                                  <a:pt x="7531" y="1571"/>
                                </a:cubicBezTo>
                                <a:cubicBezTo>
                                  <a:pt x="8354" y="1795"/>
                                  <a:pt x="9165" y="2057"/>
                                  <a:pt x="9988" y="2294"/>
                                </a:cubicBezTo>
                                <a:cubicBezTo>
                                  <a:pt x="13242" y="3329"/>
                                  <a:pt x="16434" y="4588"/>
                                  <a:pt x="19526" y="6035"/>
                                </a:cubicBezTo>
                                <a:lnTo>
                                  <a:pt x="21833" y="7157"/>
                                </a:lnTo>
                                <a:lnTo>
                                  <a:pt x="24090" y="8392"/>
                                </a:lnTo>
                                <a:cubicBezTo>
                                  <a:pt x="24838" y="8790"/>
                                  <a:pt x="25574" y="9252"/>
                                  <a:pt x="26297" y="9701"/>
                                </a:cubicBezTo>
                                <a:cubicBezTo>
                                  <a:pt x="27020" y="10162"/>
                                  <a:pt x="27769" y="10586"/>
                                  <a:pt x="28455" y="11097"/>
                                </a:cubicBezTo>
                                <a:cubicBezTo>
                                  <a:pt x="29153" y="11584"/>
                                  <a:pt x="29851" y="12082"/>
                                  <a:pt x="30549" y="12581"/>
                                </a:cubicBezTo>
                                <a:cubicBezTo>
                                  <a:pt x="31235" y="13080"/>
                                  <a:pt x="31896" y="13653"/>
                                  <a:pt x="32557" y="14190"/>
                                </a:cubicBezTo>
                                <a:lnTo>
                                  <a:pt x="33542" y="15013"/>
                                </a:lnTo>
                                <a:cubicBezTo>
                                  <a:pt x="33866" y="15287"/>
                                  <a:pt x="34165" y="15599"/>
                                  <a:pt x="34477" y="15898"/>
                                </a:cubicBezTo>
                                <a:cubicBezTo>
                                  <a:pt x="35088" y="16497"/>
                                  <a:pt x="35699" y="17095"/>
                                  <a:pt x="36298" y="17706"/>
                                </a:cubicBezTo>
                                <a:cubicBezTo>
                                  <a:pt x="35549" y="17270"/>
                                  <a:pt x="34839" y="16820"/>
                                  <a:pt x="34116" y="16372"/>
                                </a:cubicBezTo>
                                <a:cubicBezTo>
                                  <a:pt x="33754" y="16147"/>
                                  <a:pt x="33405" y="15910"/>
                                  <a:pt x="33043" y="15698"/>
                                </a:cubicBezTo>
                                <a:lnTo>
                                  <a:pt x="31946" y="15063"/>
                                </a:lnTo>
                                <a:lnTo>
                                  <a:pt x="30861" y="14414"/>
                                </a:lnTo>
                                <a:cubicBezTo>
                                  <a:pt x="30499" y="14202"/>
                                  <a:pt x="30150" y="13965"/>
                                  <a:pt x="29776" y="13778"/>
                                </a:cubicBezTo>
                                <a:cubicBezTo>
                                  <a:pt x="29041" y="13379"/>
                                  <a:pt x="28305" y="12968"/>
                                  <a:pt x="27569" y="12556"/>
                                </a:cubicBezTo>
                                <a:cubicBezTo>
                                  <a:pt x="24614" y="10960"/>
                                  <a:pt x="21646" y="9414"/>
                                  <a:pt x="18591" y="8005"/>
                                </a:cubicBezTo>
                                <a:cubicBezTo>
                                  <a:pt x="15549" y="6583"/>
                                  <a:pt x="12482" y="5212"/>
                                  <a:pt x="9389" y="3903"/>
                                </a:cubicBezTo>
                                <a:cubicBezTo>
                                  <a:pt x="6284" y="2594"/>
                                  <a:pt x="3155" y="1322"/>
                                  <a:pt x="0" y="25"/>
                                </a:cubicBezTo>
                                <a:close/>
                              </a:path>
                            </a:pathLst>
                          </a:custGeom>
                          <a:solidFill>
                            <a:srgbClr val="EA9D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33" name="Freeform: Shape 2732">
                            <a:extLst>
                              <a:ext uri="{FF2B5EF4-FFF2-40B4-BE49-F238E27FC236}">
                                <a16:creationId xmlns:a16="http://schemas.microsoft.com/office/drawing/2014/main" id="{97B22535-DA66-F7BC-667B-51624477DFFE}"/>
                              </a:ext>
                            </a:extLst>
                          </p:cNvPr>
                          <p:cNvSpPr/>
                          <p:nvPr/>
                        </p:nvSpPr>
                        <p:spPr>
                          <a:xfrm>
                            <a:off x="8056552" y="5991921"/>
                            <a:ext cx="23429" cy="11546"/>
                          </a:xfrm>
                          <a:custGeom>
                            <a:avLst/>
                            <a:gdLst>
                              <a:gd name="connsiteX0" fmla="*/ 12 w 23429"/>
                              <a:gd name="connsiteY0" fmla="*/ 0 h 11546"/>
                              <a:gd name="connsiteX1" fmla="*/ 6546 w 23429"/>
                              <a:gd name="connsiteY1" fmla="*/ 1285 h 11546"/>
                              <a:gd name="connsiteX2" fmla="*/ 12718 w 23429"/>
                              <a:gd name="connsiteY2" fmla="*/ 3754 h 11546"/>
                              <a:gd name="connsiteX3" fmla="*/ 18429 w 23429"/>
                              <a:gd name="connsiteY3" fmla="*/ 7158 h 11546"/>
                              <a:gd name="connsiteX4" fmla="*/ 23429 w 23429"/>
                              <a:gd name="connsiteY4" fmla="*/ 11547 h 11546"/>
                              <a:gd name="connsiteX5" fmla="*/ 17544 w 23429"/>
                              <a:gd name="connsiteY5" fmla="*/ 8604 h 11546"/>
                              <a:gd name="connsiteX6" fmla="*/ 11758 w 23429"/>
                              <a:gd name="connsiteY6" fmla="*/ 5686 h 11546"/>
                              <a:gd name="connsiteX7" fmla="*/ 5923 w 23429"/>
                              <a:gd name="connsiteY7" fmla="*/ 2855 h 11546"/>
                              <a:gd name="connsiteX8" fmla="*/ 0 w 23429"/>
                              <a:gd name="connsiteY8" fmla="*/ 0 h 1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29" h="11546">
                                <a:moveTo>
                                  <a:pt x="12" y="0"/>
                                </a:moveTo>
                                <a:cubicBezTo>
                                  <a:pt x="2244" y="125"/>
                                  <a:pt x="4426" y="636"/>
                                  <a:pt x="6546" y="1285"/>
                                </a:cubicBezTo>
                                <a:cubicBezTo>
                                  <a:pt x="8666" y="1945"/>
                                  <a:pt x="10736" y="2768"/>
                                  <a:pt x="12718" y="3754"/>
                                </a:cubicBezTo>
                                <a:cubicBezTo>
                                  <a:pt x="14713" y="4739"/>
                                  <a:pt x="16634" y="5861"/>
                                  <a:pt x="18429" y="7158"/>
                                </a:cubicBezTo>
                                <a:cubicBezTo>
                                  <a:pt x="20250" y="8429"/>
                                  <a:pt x="21933" y="9900"/>
                                  <a:pt x="23429" y="11547"/>
                                </a:cubicBezTo>
                                <a:cubicBezTo>
                                  <a:pt x="21384" y="10624"/>
                                  <a:pt x="19489" y="9564"/>
                                  <a:pt x="17544" y="8604"/>
                                </a:cubicBezTo>
                                <a:cubicBezTo>
                                  <a:pt x="15624" y="7606"/>
                                  <a:pt x="13691" y="6646"/>
                                  <a:pt x="11758" y="5686"/>
                                </a:cubicBezTo>
                                <a:cubicBezTo>
                                  <a:pt x="9825" y="4726"/>
                                  <a:pt x="7880" y="3791"/>
                                  <a:pt x="5923" y="2855"/>
                                </a:cubicBezTo>
                                <a:cubicBezTo>
                                  <a:pt x="3965" y="1920"/>
                                  <a:pt x="1995" y="985"/>
                                  <a:pt x="0" y="0"/>
                                </a:cubicBezTo>
                                <a:close/>
                              </a:path>
                            </a:pathLst>
                          </a:custGeom>
                          <a:solidFill>
                            <a:srgbClr val="EA9D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34" name="Graphic 525">
                          <a:extLst>
                            <a:ext uri="{FF2B5EF4-FFF2-40B4-BE49-F238E27FC236}">
                              <a16:creationId xmlns:a16="http://schemas.microsoft.com/office/drawing/2014/main" id="{54CE5949-1B4C-0DFC-7BB3-CE9E259DFB42}"/>
                            </a:ext>
                          </a:extLst>
                        </p:cNvPr>
                        <p:cNvGrpSpPr/>
                        <p:nvPr/>
                      </p:nvGrpSpPr>
                      <p:grpSpPr>
                        <a:xfrm>
                          <a:off x="8048359" y="6011621"/>
                          <a:ext cx="34653" cy="37259"/>
                          <a:chOff x="8048359" y="6011621"/>
                          <a:chExt cx="34653" cy="37259"/>
                        </a:xfrm>
                      </p:grpSpPr>
                      <p:sp>
                        <p:nvSpPr>
                          <p:cNvPr id="2735" name="Freeform: Shape 2734">
                            <a:extLst>
                              <a:ext uri="{FF2B5EF4-FFF2-40B4-BE49-F238E27FC236}">
                                <a16:creationId xmlns:a16="http://schemas.microsoft.com/office/drawing/2014/main" id="{957E7CFF-C376-DA51-6A7F-335FB387A8A9}"/>
                              </a:ext>
                            </a:extLst>
                          </p:cNvPr>
                          <p:cNvSpPr/>
                          <p:nvPr/>
                        </p:nvSpPr>
                        <p:spPr>
                          <a:xfrm>
                            <a:off x="8058169" y="6011621"/>
                            <a:ext cx="24843" cy="18019"/>
                          </a:xfrm>
                          <a:custGeom>
                            <a:avLst/>
                            <a:gdLst>
                              <a:gd name="connsiteX0" fmla="*/ 23297 w 24843"/>
                              <a:gd name="connsiteY0" fmla="*/ 18019 h 18019"/>
                              <a:gd name="connsiteX1" fmla="*/ 21900 w 24843"/>
                              <a:gd name="connsiteY1" fmla="*/ 17122 h 18019"/>
                              <a:gd name="connsiteX2" fmla="*/ 1326 w 24843"/>
                              <a:gd name="connsiteY2" fmla="*/ 3069 h 18019"/>
                              <a:gd name="connsiteX3" fmla="*/ 17 w 24843"/>
                              <a:gd name="connsiteY3" fmla="*/ 1323 h 18019"/>
                              <a:gd name="connsiteX4" fmla="*/ 1763 w 24843"/>
                              <a:gd name="connsiteY4" fmla="*/ 14 h 18019"/>
                              <a:gd name="connsiteX5" fmla="*/ 24706 w 24843"/>
                              <a:gd name="connsiteY5" fmla="*/ 15837 h 18019"/>
                              <a:gd name="connsiteX6" fmla="*/ 23945 w 24843"/>
                              <a:gd name="connsiteY6" fmla="*/ 17882 h 18019"/>
                              <a:gd name="connsiteX7" fmla="*/ 23309 w 24843"/>
                              <a:gd name="connsiteY7" fmla="*/ 18019 h 1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43" h="18019">
                                <a:moveTo>
                                  <a:pt x="23297" y="18019"/>
                                </a:moveTo>
                                <a:cubicBezTo>
                                  <a:pt x="22711" y="18019"/>
                                  <a:pt x="22149" y="17683"/>
                                  <a:pt x="21900" y="17122"/>
                                </a:cubicBezTo>
                                <a:cubicBezTo>
                                  <a:pt x="16526" y="5350"/>
                                  <a:pt x="1476" y="3094"/>
                                  <a:pt x="1326" y="3069"/>
                                </a:cubicBezTo>
                                <a:cubicBezTo>
                                  <a:pt x="478" y="2944"/>
                                  <a:pt x="-108" y="2171"/>
                                  <a:pt x="17" y="1323"/>
                                </a:cubicBezTo>
                                <a:cubicBezTo>
                                  <a:pt x="141" y="475"/>
                                  <a:pt x="915" y="-98"/>
                                  <a:pt x="1763" y="14"/>
                                </a:cubicBezTo>
                                <a:cubicBezTo>
                                  <a:pt x="2448" y="114"/>
                                  <a:pt x="18633" y="2558"/>
                                  <a:pt x="24706" y="15837"/>
                                </a:cubicBezTo>
                                <a:cubicBezTo>
                                  <a:pt x="25055" y="16610"/>
                                  <a:pt x="24718" y="17521"/>
                                  <a:pt x="23945" y="17882"/>
                                </a:cubicBezTo>
                                <a:cubicBezTo>
                                  <a:pt x="23733" y="17982"/>
                                  <a:pt x="23521" y="18019"/>
                                  <a:pt x="23309" y="18019"/>
                                </a:cubicBezTo>
                                <a:close/>
                              </a:path>
                            </a:pathLst>
                          </a:custGeom>
                          <a:solidFill>
                            <a:srgbClr val="DDDD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36" name="Graphic 525">
                            <a:extLst>
                              <a:ext uri="{FF2B5EF4-FFF2-40B4-BE49-F238E27FC236}">
                                <a16:creationId xmlns:a16="http://schemas.microsoft.com/office/drawing/2014/main" id="{CB06CC27-2178-1283-E40A-A2834947C3DB}"/>
                              </a:ext>
                            </a:extLst>
                          </p:cNvPr>
                          <p:cNvGrpSpPr/>
                          <p:nvPr/>
                        </p:nvGrpSpPr>
                        <p:grpSpPr>
                          <a:xfrm>
                            <a:off x="8048359" y="6028467"/>
                            <a:ext cx="17798" cy="20412"/>
                            <a:chOff x="8048359" y="6028467"/>
                            <a:chExt cx="17798" cy="20412"/>
                          </a:xfrm>
                        </p:grpSpPr>
                        <p:sp>
                          <p:nvSpPr>
                            <p:cNvPr id="2737" name="Freeform: Shape 2736">
                              <a:extLst>
                                <a:ext uri="{FF2B5EF4-FFF2-40B4-BE49-F238E27FC236}">
                                  <a16:creationId xmlns:a16="http://schemas.microsoft.com/office/drawing/2014/main" id="{FFA70BBA-2173-B30B-A6EC-BB9D247CC202}"/>
                                </a:ext>
                              </a:extLst>
                            </p:cNvPr>
                            <p:cNvSpPr/>
                            <p:nvPr/>
                          </p:nvSpPr>
                          <p:spPr>
                            <a:xfrm>
                              <a:off x="8048694" y="6031650"/>
                              <a:ext cx="9703" cy="17229"/>
                            </a:xfrm>
                            <a:custGeom>
                              <a:avLst/>
                              <a:gdLst>
                                <a:gd name="connsiteX0" fmla="*/ 8618 w 9703"/>
                                <a:gd name="connsiteY0" fmla="*/ 17230 h 17229"/>
                                <a:gd name="connsiteX1" fmla="*/ 8045 w 9703"/>
                                <a:gd name="connsiteY1" fmla="*/ 17055 h 17229"/>
                                <a:gd name="connsiteX2" fmla="*/ 339 w 9703"/>
                                <a:gd name="connsiteY2" fmla="*/ 770 h 17229"/>
                                <a:gd name="connsiteX3" fmla="*/ 1686 w 9703"/>
                                <a:gd name="connsiteY3" fmla="*/ 47 h 17229"/>
                                <a:gd name="connsiteX4" fmla="*/ 2409 w 9703"/>
                                <a:gd name="connsiteY4" fmla="*/ 1394 h 17229"/>
                                <a:gd name="connsiteX5" fmla="*/ 9205 w 9703"/>
                                <a:gd name="connsiteY5" fmla="*/ 15235 h 17229"/>
                                <a:gd name="connsiteX6" fmla="*/ 9541 w 9703"/>
                                <a:gd name="connsiteY6" fmla="*/ 16718 h 17229"/>
                                <a:gd name="connsiteX7" fmla="*/ 8631 w 9703"/>
                                <a:gd name="connsiteY7" fmla="*/ 17217 h 1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03" h="17229">
                                  <a:moveTo>
                                    <a:pt x="8618" y="17230"/>
                                  </a:moveTo>
                                  <a:cubicBezTo>
                                    <a:pt x="8419" y="17230"/>
                                    <a:pt x="8220" y="17180"/>
                                    <a:pt x="8045" y="17055"/>
                                  </a:cubicBezTo>
                                  <a:cubicBezTo>
                                    <a:pt x="-2416" y="10409"/>
                                    <a:pt x="314" y="870"/>
                                    <a:pt x="339" y="770"/>
                                  </a:cubicBezTo>
                                  <a:cubicBezTo>
                                    <a:pt x="514" y="197"/>
                                    <a:pt x="1112" y="-127"/>
                                    <a:pt x="1686" y="47"/>
                                  </a:cubicBezTo>
                                  <a:cubicBezTo>
                                    <a:pt x="2259" y="222"/>
                                    <a:pt x="2584" y="820"/>
                                    <a:pt x="2409" y="1394"/>
                                  </a:cubicBezTo>
                                  <a:cubicBezTo>
                                    <a:pt x="2309" y="1731"/>
                                    <a:pt x="177" y="9499"/>
                                    <a:pt x="9205" y="15235"/>
                                  </a:cubicBezTo>
                                  <a:cubicBezTo>
                                    <a:pt x="9703" y="15559"/>
                                    <a:pt x="9853" y="16220"/>
                                    <a:pt x="9541" y="16718"/>
                                  </a:cubicBezTo>
                                  <a:cubicBezTo>
                                    <a:pt x="9342" y="17043"/>
                                    <a:pt x="8993" y="17217"/>
                                    <a:pt x="8631" y="17217"/>
                                  </a:cubicBezTo>
                                  <a:close/>
                                </a:path>
                              </a:pathLst>
                            </a:custGeom>
                            <a:solidFill>
                              <a:srgbClr val="EA9D8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38" name="Freeform: Shape 2737">
                              <a:extLst>
                                <a:ext uri="{FF2B5EF4-FFF2-40B4-BE49-F238E27FC236}">
                                  <a16:creationId xmlns:a16="http://schemas.microsoft.com/office/drawing/2014/main" id="{82546C93-7674-22D4-D0F0-81A888595A93}"/>
                                </a:ext>
                              </a:extLst>
                            </p:cNvPr>
                            <p:cNvSpPr/>
                            <p:nvPr/>
                          </p:nvSpPr>
                          <p:spPr>
                            <a:xfrm>
                              <a:off x="8048359" y="6028467"/>
                              <a:ext cx="17798" cy="14315"/>
                            </a:xfrm>
                            <a:custGeom>
                              <a:avLst/>
                              <a:gdLst>
                                <a:gd name="connsiteX0" fmla="*/ 16722 w 17798"/>
                                <a:gd name="connsiteY0" fmla="*/ 14315 h 14315"/>
                                <a:gd name="connsiteX1" fmla="*/ 16635 w 17798"/>
                                <a:gd name="connsiteY1" fmla="*/ 14315 h 14315"/>
                                <a:gd name="connsiteX2" fmla="*/ 2283 w 17798"/>
                                <a:gd name="connsiteY2" fmla="*/ 7295 h 14315"/>
                                <a:gd name="connsiteX3" fmla="*/ 1 w 17798"/>
                                <a:gd name="connsiteY3" fmla="*/ 1111 h 14315"/>
                                <a:gd name="connsiteX4" fmla="*/ 1048 w 17798"/>
                                <a:gd name="connsiteY4" fmla="*/ 1 h 14315"/>
                                <a:gd name="connsiteX5" fmla="*/ 2158 w 17798"/>
                                <a:gd name="connsiteY5" fmla="*/ 1036 h 14315"/>
                                <a:gd name="connsiteX6" fmla="*/ 16809 w 17798"/>
                                <a:gd name="connsiteY6" fmla="*/ 12171 h 14315"/>
                                <a:gd name="connsiteX7" fmla="*/ 17794 w 17798"/>
                                <a:gd name="connsiteY7" fmla="*/ 13330 h 14315"/>
                                <a:gd name="connsiteX8" fmla="*/ 16722 w 17798"/>
                                <a:gd name="connsiteY8" fmla="*/ 14315 h 1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8" h="14315">
                                  <a:moveTo>
                                    <a:pt x="16722" y="14315"/>
                                  </a:moveTo>
                                  <a:cubicBezTo>
                                    <a:pt x="16722" y="14315"/>
                                    <a:pt x="16660" y="14315"/>
                                    <a:pt x="16635" y="14315"/>
                                  </a:cubicBezTo>
                                  <a:cubicBezTo>
                                    <a:pt x="8318" y="13617"/>
                                    <a:pt x="4240" y="10113"/>
                                    <a:pt x="2283" y="7295"/>
                                  </a:cubicBezTo>
                                  <a:cubicBezTo>
                                    <a:pt x="126" y="4190"/>
                                    <a:pt x="13" y="1236"/>
                                    <a:pt x="1" y="1111"/>
                                  </a:cubicBezTo>
                                  <a:cubicBezTo>
                                    <a:pt x="-24" y="512"/>
                                    <a:pt x="450" y="14"/>
                                    <a:pt x="1048" y="1"/>
                                  </a:cubicBezTo>
                                  <a:cubicBezTo>
                                    <a:pt x="1647" y="-24"/>
                                    <a:pt x="2146" y="450"/>
                                    <a:pt x="2158" y="1036"/>
                                  </a:cubicBezTo>
                                  <a:cubicBezTo>
                                    <a:pt x="2171" y="1448"/>
                                    <a:pt x="2732" y="10986"/>
                                    <a:pt x="16809" y="12171"/>
                                  </a:cubicBezTo>
                                  <a:cubicBezTo>
                                    <a:pt x="17408" y="12220"/>
                                    <a:pt x="17844" y="12745"/>
                                    <a:pt x="17794" y="13330"/>
                                  </a:cubicBezTo>
                                  <a:cubicBezTo>
                                    <a:pt x="17744" y="13892"/>
                                    <a:pt x="17271" y="14315"/>
                                    <a:pt x="16722" y="14315"/>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739" name="Graphic 525">
                          <a:extLst>
                            <a:ext uri="{FF2B5EF4-FFF2-40B4-BE49-F238E27FC236}">
                              <a16:creationId xmlns:a16="http://schemas.microsoft.com/office/drawing/2014/main" id="{FECCD66D-874B-4B8B-F4A8-4572F186CDCB}"/>
                            </a:ext>
                          </a:extLst>
                        </p:cNvPr>
                        <p:cNvGrpSpPr/>
                        <p:nvPr/>
                      </p:nvGrpSpPr>
                      <p:grpSpPr>
                        <a:xfrm>
                          <a:off x="8015132" y="5997257"/>
                          <a:ext cx="23204" cy="20175"/>
                          <a:chOff x="8015132" y="5997257"/>
                          <a:chExt cx="23204" cy="20175"/>
                        </a:xfrm>
                      </p:grpSpPr>
                      <p:sp>
                        <p:nvSpPr>
                          <p:cNvPr id="2740" name="Freeform: Shape 2739">
                            <a:extLst>
                              <a:ext uri="{FF2B5EF4-FFF2-40B4-BE49-F238E27FC236}">
                                <a16:creationId xmlns:a16="http://schemas.microsoft.com/office/drawing/2014/main" id="{76C1C139-BE54-033E-C9CD-185D94678D23}"/>
                              </a:ext>
                            </a:extLst>
                          </p:cNvPr>
                          <p:cNvSpPr/>
                          <p:nvPr/>
                        </p:nvSpPr>
                        <p:spPr>
                          <a:xfrm>
                            <a:off x="8015132" y="6010391"/>
                            <a:ext cx="11256" cy="7042"/>
                          </a:xfrm>
                          <a:custGeom>
                            <a:avLst/>
                            <a:gdLst>
                              <a:gd name="connsiteX0" fmla="*/ 10122 w 11256"/>
                              <a:gd name="connsiteY0" fmla="*/ 7042 h 7042"/>
                              <a:gd name="connsiteX1" fmla="*/ 272 w 11256"/>
                              <a:gd name="connsiteY1" fmla="*/ 1793 h 7042"/>
                              <a:gd name="connsiteX2" fmla="*/ 359 w 11256"/>
                              <a:gd name="connsiteY2" fmla="*/ 272 h 7042"/>
                              <a:gd name="connsiteX3" fmla="*/ 1880 w 11256"/>
                              <a:gd name="connsiteY3" fmla="*/ 359 h 7042"/>
                              <a:gd name="connsiteX4" fmla="*/ 10122 w 11256"/>
                              <a:gd name="connsiteY4" fmla="*/ 4885 h 7042"/>
                              <a:gd name="connsiteX5" fmla="*/ 11257 w 11256"/>
                              <a:gd name="connsiteY5" fmla="*/ 5957 h 7042"/>
                              <a:gd name="connsiteX6" fmla="*/ 10185 w 11256"/>
                              <a:gd name="connsiteY6" fmla="*/ 7042 h 7042"/>
                              <a:gd name="connsiteX7" fmla="*/ 10122 w 11256"/>
                              <a:gd name="connsiteY7" fmla="*/ 7042 h 7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6" h="7042">
                                <a:moveTo>
                                  <a:pt x="10122" y="7042"/>
                                </a:moveTo>
                                <a:cubicBezTo>
                                  <a:pt x="4985" y="7042"/>
                                  <a:pt x="459" y="2005"/>
                                  <a:pt x="272" y="1793"/>
                                </a:cubicBezTo>
                                <a:cubicBezTo>
                                  <a:pt x="-127" y="1344"/>
                                  <a:pt x="-77" y="671"/>
                                  <a:pt x="359" y="272"/>
                                </a:cubicBezTo>
                                <a:cubicBezTo>
                                  <a:pt x="808" y="-127"/>
                                  <a:pt x="1481" y="-77"/>
                                  <a:pt x="1880" y="359"/>
                                </a:cubicBezTo>
                                <a:cubicBezTo>
                                  <a:pt x="1918" y="409"/>
                                  <a:pt x="5957" y="4885"/>
                                  <a:pt x="10122" y="4885"/>
                                </a:cubicBezTo>
                                <a:cubicBezTo>
                                  <a:pt x="10771" y="4885"/>
                                  <a:pt x="11244" y="5359"/>
                                  <a:pt x="11257" y="5957"/>
                                </a:cubicBezTo>
                                <a:cubicBezTo>
                                  <a:pt x="11257" y="6557"/>
                                  <a:pt x="10783" y="7042"/>
                                  <a:pt x="10185" y="7042"/>
                                </a:cubicBezTo>
                                <a:cubicBezTo>
                                  <a:pt x="10160" y="7042"/>
                                  <a:pt x="10147" y="7042"/>
                                  <a:pt x="10122" y="7042"/>
                                </a:cubicBezTo>
                                <a:close/>
                              </a:path>
                            </a:pathLst>
                          </a:custGeom>
                          <a:solidFill>
                            <a:srgbClr val="2128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1" name="Freeform: Shape 2740">
                            <a:extLst>
                              <a:ext uri="{FF2B5EF4-FFF2-40B4-BE49-F238E27FC236}">
                                <a16:creationId xmlns:a16="http://schemas.microsoft.com/office/drawing/2014/main" id="{B42284D3-1C60-2C70-FE05-2558539D0D36}"/>
                              </a:ext>
                            </a:extLst>
                          </p:cNvPr>
                          <p:cNvSpPr/>
                          <p:nvPr/>
                        </p:nvSpPr>
                        <p:spPr>
                          <a:xfrm>
                            <a:off x="8024917" y="5997257"/>
                            <a:ext cx="13419" cy="8118"/>
                          </a:xfrm>
                          <a:custGeom>
                            <a:avLst/>
                            <a:gdLst>
                              <a:gd name="connsiteX0" fmla="*/ 11884 w 13419"/>
                              <a:gd name="connsiteY0" fmla="*/ 8118 h 8118"/>
                              <a:gd name="connsiteX1" fmla="*/ 10750 w 13419"/>
                              <a:gd name="connsiteY1" fmla="*/ 7620 h 8118"/>
                              <a:gd name="connsiteX2" fmla="*/ 1198 w 13419"/>
                              <a:gd name="connsiteY2" fmla="*/ 3044 h 8118"/>
                              <a:gd name="connsiteX3" fmla="*/ 38 w 13419"/>
                              <a:gd name="connsiteY3" fmla="*/ 1198 h 8118"/>
                              <a:gd name="connsiteX4" fmla="*/ 1884 w 13419"/>
                              <a:gd name="connsiteY4" fmla="*/ 38 h 8118"/>
                              <a:gd name="connsiteX5" fmla="*/ 13019 w 13419"/>
                              <a:gd name="connsiteY5" fmla="*/ 5525 h 8118"/>
                              <a:gd name="connsiteX6" fmla="*/ 12919 w 13419"/>
                              <a:gd name="connsiteY6" fmla="*/ 7707 h 8118"/>
                              <a:gd name="connsiteX7" fmla="*/ 11884 w 13419"/>
                              <a:gd name="connsiteY7" fmla="*/ 8106 h 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9" h="8118">
                                <a:moveTo>
                                  <a:pt x="11884" y="8118"/>
                                </a:moveTo>
                                <a:cubicBezTo>
                                  <a:pt x="11473" y="8118"/>
                                  <a:pt x="11061" y="7956"/>
                                  <a:pt x="10750" y="7620"/>
                                </a:cubicBezTo>
                                <a:cubicBezTo>
                                  <a:pt x="10700" y="7557"/>
                                  <a:pt x="7819" y="4577"/>
                                  <a:pt x="1198" y="3044"/>
                                </a:cubicBezTo>
                                <a:cubicBezTo>
                                  <a:pt x="363" y="2857"/>
                                  <a:pt x="-148" y="2021"/>
                                  <a:pt x="38" y="1198"/>
                                </a:cubicBezTo>
                                <a:cubicBezTo>
                                  <a:pt x="225" y="363"/>
                                  <a:pt x="1061" y="-148"/>
                                  <a:pt x="1884" y="38"/>
                                </a:cubicBezTo>
                                <a:cubicBezTo>
                                  <a:pt x="9553" y="1809"/>
                                  <a:pt x="12882" y="5375"/>
                                  <a:pt x="13019" y="5525"/>
                                </a:cubicBezTo>
                                <a:cubicBezTo>
                                  <a:pt x="13593" y="6148"/>
                                  <a:pt x="13543" y="7133"/>
                                  <a:pt x="12919" y="7707"/>
                                </a:cubicBezTo>
                                <a:cubicBezTo>
                                  <a:pt x="12620" y="7981"/>
                                  <a:pt x="12246" y="8106"/>
                                  <a:pt x="11884" y="8106"/>
                                </a:cubicBezTo>
                                <a:close/>
                              </a:path>
                            </a:pathLst>
                          </a:custGeom>
                          <a:solidFill>
                            <a:srgbClr val="DDDD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nvGrpSpPr>
                    <p:cNvPr id="2742" name="Graphic 525">
                      <a:extLst>
                        <a:ext uri="{FF2B5EF4-FFF2-40B4-BE49-F238E27FC236}">
                          <a16:creationId xmlns:a16="http://schemas.microsoft.com/office/drawing/2014/main" id="{6F92902E-8EC9-1BA8-BE61-C60424D8FF6B}"/>
                        </a:ext>
                      </a:extLst>
                    </p:cNvPr>
                    <p:cNvGrpSpPr/>
                    <p:nvPr/>
                  </p:nvGrpSpPr>
                  <p:grpSpPr>
                    <a:xfrm>
                      <a:off x="7603438" y="5954104"/>
                      <a:ext cx="569053" cy="241200"/>
                      <a:chOff x="7603438" y="5954104"/>
                      <a:chExt cx="569053" cy="241200"/>
                    </a:xfrm>
                  </p:grpSpPr>
                  <p:grpSp>
                    <p:nvGrpSpPr>
                      <p:cNvPr id="2743" name="Graphic 525">
                        <a:extLst>
                          <a:ext uri="{FF2B5EF4-FFF2-40B4-BE49-F238E27FC236}">
                            <a16:creationId xmlns:a16="http://schemas.microsoft.com/office/drawing/2014/main" id="{5F74EFB9-C265-7002-27DC-4A3CCF88A34D}"/>
                          </a:ext>
                        </a:extLst>
                      </p:cNvPr>
                      <p:cNvGrpSpPr/>
                      <p:nvPr/>
                    </p:nvGrpSpPr>
                    <p:grpSpPr>
                      <a:xfrm>
                        <a:off x="7603438" y="6016095"/>
                        <a:ext cx="481007" cy="179209"/>
                        <a:chOff x="7603438" y="6016095"/>
                        <a:chExt cx="481007" cy="179209"/>
                      </a:xfrm>
                    </p:grpSpPr>
                    <p:grpSp>
                      <p:nvGrpSpPr>
                        <p:cNvPr id="2744" name="Graphic 525">
                          <a:extLst>
                            <a:ext uri="{FF2B5EF4-FFF2-40B4-BE49-F238E27FC236}">
                              <a16:creationId xmlns:a16="http://schemas.microsoft.com/office/drawing/2014/main" id="{73722C1A-578B-BDC5-47DF-FFB5209DE069}"/>
                            </a:ext>
                          </a:extLst>
                        </p:cNvPr>
                        <p:cNvGrpSpPr/>
                        <p:nvPr/>
                      </p:nvGrpSpPr>
                      <p:grpSpPr>
                        <a:xfrm>
                          <a:off x="7603438" y="6016095"/>
                          <a:ext cx="431385" cy="179209"/>
                          <a:chOff x="7603438" y="6016095"/>
                          <a:chExt cx="431385" cy="179209"/>
                        </a:xfrm>
                      </p:grpSpPr>
                      <p:sp>
                        <p:nvSpPr>
                          <p:cNvPr id="2745" name="Freeform: Shape 2744">
                            <a:extLst>
                              <a:ext uri="{FF2B5EF4-FFF2-40B4-BE49-F238E27FC236}">
                                <a16:creationId xmlns:a16="http://schemas.microsoft.com/office/drawing/2014/main" id="{E04A23F1-1EF9-20D8-2753-4F37C457835B}"/>
                              </a:ext>
                            </a:extLst>
                          </p:cNvPr>
                          <p:cNvSpPr/>
                          <p:nvPr/>
                        </p:nvSpPr>
                        <p:spPr>
                          <a:xfrm>
                            <a:off x="7977576" y="6016095"/>
                            <a:ext cx="57246" cy="81788"/>
                          </a:xfrm>
                          <a:custGeom>
                            <a:avLst/>
                            <a:gdLst>
                              <a:gd name="connsiteX0" fmla="*/ 55534 w 57246"/>
                              <a:gd name="connsiteY0" fmla="*/ 3134 h 81788"/>
                              <a:gd name="connsiteX1" fmla="*/ 51120 w 57246"/>
                              <a:gd name="connsiteY1" fmla="*/ 54 h 81788"/>
                              <a:gd name="connsiteX2" fmla="*/ 32778 w 57246"/>
                              <a:gd name="connsiteY2" fmla="*/ 3707 h 81788"/>
                              <a:gd name="connsiteX3" fmla="*/ 3962 w 57246"/>
                              <a:gd name="connsiteY3" fmla="*/ 25865 h 81788"/>
                              <a:gd name="connsiteX4" fmla="*/ 10870 w 57246"/>
                              <a:gd name="connsiteY4" fmla="*/ 76453 h 81788"/>
                              <a:gd name="connsiteX5" fmla="*/ 51357 w 57246"/>
                              <a:gd name="connsiteY5" fmla="*/ 68023 h 81788"/>
                              <a:gd name="connsiteX6" fmla="*/ 55534 w 57246"/>
                              <a:gd name="connsiteY6" fmla="*/ 3147 h 8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46" h="81788">
                                <a:moveTo>
                                  <a:pt x="55534" y="3134"/>
                                </a:moveTo>
                                <a:cubicBezTo>
                                  <a:pt x="55147" y="1077"/>
                                  <a:pt x="53190" y="-295"/>
                                  <a:pt x="51120" y="54"/>
                                </a:cubicBezTo>
                                <a:cubicBezTo>
                                  <a:pt x="47304" y="703"/>
                                  <a:pt x="40596" y="1925"/>
                                  <a:pt x="32778" y="3707"/>
                                </a:cubicBezTo>
                                <a:cubicBezTo>
                                  <a:pt x="20571" y="6488"/>
                                  <a:pt x="9885" y="14755"/>
                                  <a:pt x="3962" y="25865"/>
                                </a:cubicBezTo>
                                <a:cubicBezTo>
                                  <a:pt x="-1949" y="36975"/>
                                  <a:pt x="-2447" y="69507"/>
                                  <a:pt x="10870" y="76453"/>
                                </a:cubicBezTo>
                                <a:cubicBezTo>
                                  <a:pt x="25857" y="84258"/>
                                  <a:pt x="41930" y="85093"/>
                                  <a:pt x="51357" y="68023"/>
                                </a:cubicBezTo>
                                <a:cubicBezTo>
                                  <a:pt x="58988" y="54207"/>
                                  <a:pt x="57803" y="15142"/>
                                  <a:pt x="55534" y="3147"/>
                                </a:cubicBezTo>
                                <a:close/>
                              </a:path>
                            </a:pathLst>
                          </a:custGeom>
                          <a:solidFill>
                            <a:srgbClr val="ABE1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6" name="Freeform: Shape 2745">
                            <a:extLst>
                              <a:ext uri="{FF2B5EF4-FFF2-40B4-BE49-F238E27FC236}">
                                <a16:creationId xmlns:a16="http://schemas.microsoft.com/office/drawing/2014/main" id="{74B9CFE3-4576-0C71-7420-C25EDDF19909}"/>
                              </a:ext>
                            </a:extLst>
                          </p:cNvPr>
                          <p:cNvSpPr/>
                          <p:nvPr/>
                        </p:nvSpPr>
                        <p:spPr>
                          <a:xfrm>
                            <a:off x="8004494" y="6016095"/>
                            <a:ext cx="30329" cy="81785"/>
                          </a:xfrm>
                          <a:custGeom>
                            <a:avLst/>
                            <a:gdLst>
                              <a:gd name="connsiteX0" fmla="*/ 24439 w 30329"/>
                              <a:gd name="connsiteY0" fmla="*/ 68011 h 81785"/>
                              <a:gd name="connsiteX1" fmla="*/ 28617 w 30329"/>
                              <a:gd name="connsiteY1" fmla="*/ 3134 h 81785"/>
                              <a:gd name="connsiteX2" fmla="*/ 24202 w 30329"/>
                              <a:gd name="connsiteY2" fmla="*/ 54 h 81785"/>
                              <a:gd name="connsiteX3" fmla="*/ 10100 w 30329"/>
                              <a:gd name="connsiteY3" fmla="*/ 2772 h 81785"/>
                              <a:gd name="connsiteX4" fmla="*/ 20312 w 30329"/>
                              <a:gd name="connsiteY4" fmla="*/ 5254 h 81785"/>
                              <a:gd name="connsiteX5" fmla="*/ 21734 w 30329"/>
                              <a:gd name="connsiteY5" fmla="*/ 42225 h 81785"/>
                              <a:gd name="connsiteX6" fmla="*/ 0 w 30329"/>
                              <a:gd name="connsiteY6" fmla="*/ 81639 h 81785"/>
                              <a:gd name="connsiteX7" fmla="*/ 24439 w 30329"/>
                              <a:gd name="connsiteY7" fmla="*/ 68023 h 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29" h="81785">
                                <a:moveTo>
                                  <a:pt x="24439" y="68011"/>
                                </a:moveTo>
                                <a:cubicBezTo>
                                  <a:pt x="32070" y="54195"/>
                                  <a:pt x="30886" y="15129"/>
                                  <a:pt x="28617" y="3134"/>
                                </a:cubicBezTo>
                                <a:cubicBezTo>
                                  <a:pt x="28230" y="1077"/>
                                  <a:pt x="26272" y="-295"/>
                                  <a:pt x="24202" y="54"/>
                                </a:cubicBezTo>
                                <a:cubicBezTo>
                                  <a:pt x="21098" y="578"/>
                                  <a:pt x="16073" y="1488"/>
                                  <a:pt x="10100" y="2772"/>
                                </a:cubicBezTo>
                                <a:cubicBezTo>
                                  <a:pt x="13841" y="3608"/>
                                  <a:pt x="18878" y="4767"/>
                                  <a:pt x="20312" y="5254"/>
                                </a:cubicBezTo>
                                <a:cubicBezTo>
                                  <a:pt x="22669" y="6064"/>
                                  <a:pt x="24140" y="25890"/>
                                  <a:pt x="21734" y="42225"/>
                                </a:cubicBezTo>
                                <a:cubicBezTo>
                                  <a:pt x="19340" y="58459"/>
                                  <a:pt x="18704" y="73235"/>
                                  <a:pt x="0" y="81639"/>
                                </a:cubicBezTo>
                                <a:cubicBezTo>
                                  <a:pt x="9526" y="82587"/>
                                  <a:pt x="18367" y="79021"/>
                                  <a:pt x="24439" y="68023"/>
                                </a:cubicBezTo>
                                <a:close/>
                              </a:path>
                            </a:pathLst>
                          </a:custGeom>
                          <a:solidFill>
                            <a:srgbClr val="99D3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7" name="Freeform: Shape 2746">
                            <a:extLst>
                              <a:ext uri="{FF2B5EF4-FFF2-40B4-BE49-F238E27FC236}">
                                <a16:creationId xmlns:a16="http://schemas.microsoft.com/office/drawing/2014/main" id="{BCC61A89-D625-1765-4C41-1520E5EA417D}"/>
                              </a:ext>
                            </a:extLst>
                          </p:cNvPr>
                          <p:cNvSpPr/>
                          <p:nvPr/>
                        </p:nvSpPr>
                        <p:spPr>
                          <a:xfrm>
                            <a:off x="7603438" y="6059109"/>
                            <a:ext cx="324566" cy="136195"/>
                          </a:xfrm>
                          <a:custGeom>
                            <a:avLst/>
                            <a:gdLst>
                              <a:gd name="connsiteX0" fmla="*/ 10312 w 324566"/>
                              <a:gd name="connsiteY0" fmla="*/ 132255 h 136195"/>
                              <a:gd name="connsiteX1" fmla="*/ 124816 w 324566"/>
                              <a:gd name="connsiteY1" fmla="*/ 81656 h 136195"/>
                              <a:gd name="connsiteX2" fmla="*/ 166762 w 324566"/>
                              <a:gd name="connsiteY2" fmla="*/ 77678 h 136195"/>
                              <a:gd name="connsiteX3" fmla="*/ 269208 w 324566"/>
                              <a:gd name="connsiteY3" fmla="*/ 39074 h 136195"/>
                              <a:gd name="connsiteX4" fmla="*/ 283447 w 324566"/>
                              <a:gd name="connsiteY4" fmla="*/ 30831 h 136195"/>
                              <a:gd name="connsiteX5" fmla="*/ 322700 w 324566"/>
                              <a:gd name="connsiteY5" fmla="*/ 7876 h 136195"/>
                              <a:gd name="connsiteX6" fmla="*/ 323810 w 324566"/>
                              <a:gd name="connsiteY6" fmla="*/ 1878 h 136195"/>
                              <a:gd name="connsiteX7" fmla="*/ 317812 w 324566"/>
                              <a:gd name="connsiteY7" fmla="*/ 756 h 136195"/>
                              <a:gd name="connsiteX8" fmla="*/ 279245 w 324566"/>
                              <a:gd name="connsiteY8" fmla="*/ 23288 h 136195"/>
                              <a:gd name="connsiteX9" fmla="*/ 264819 w 324566"/>
                              <a:gd name="connsiteY9" fmla="*/ 31642 h 136195"/>
                              <a:gd name="connsiteX10" fmla="*/ 165428 w 324566"/>
                              <a:gd name="connsiteY10" fmla="*/ 69149 h 136195"/>
                              <a:gd name="connsiteX11" fmla="*/ 124242 w 324566"/>
                              <a:gd name="connsiteY11" fmla="*/ 73039 h 136195"/>
                              <a:gd name="connsiteX12" fmla="*/ 48742 w 324566"/>
                              <a:gd name="connsiteY12" fmla="*/ 84848 h 136195"/>
                              <a:gd name="connsiteX13" fmla="*/ 0 w 324566"/>
                              <a:gd name="connsiteY13" fmla="*/ 136195 h 136195"/>
                              <a:gd name="connsiteX14" fmla="*/ 10312 w 324566"/>
                              <a:gd name="connsiteY14" fmla="*/ 132255 h 13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566" h="136195">
                                <a:moveTo>
                                  <a:pt x="10312" y="132255"/>
                                </a:moveTo>
                                <a:cubicBezTo>
                                  <a:pt x="26584" y="88214"/>
                                  <a:pt x="76473" y="84885"/>
                                  <a:pt x="124816" y="81656"/>
                                </a:cubicBezTo>
                                <a:cubicBezTo>
                                  <a:pt x="139629" y="80671"/>
                                  <a:pt x="153619" y="79735"/>
                                  <a:pt x="166762" y="77678"/>
                                </a:cubicBezTo>
                                <a:cubicBezTo>
                                  <a:pt x="217112" y="69810"/>
                                  <a:pt x="244793" y="53488"/>
                                  <a:pt x="269208" y="39074"/>
                                </a:cubicBezTo>
                                <a:cubicBezTo>
                                  <a:pt x="274083" y="36193"/>
                                  <a:pt x="278697" y="33475"/>
                                  <a:pt x="283447" y="30831"/>
                                </a:cubicBezTo>
                                <a:cubicBezTo>
                                  <a:pt x="313934" y="13861"/>
                                  <a:pt x="322351" y="8113"/>
                                  <a:pt x="322700" y="7876"/>
                                </a:cubicBezTo>
                                <a:cubicBezTo>
                                  <a:pt x="324658" y="6529"/>
                                  <a:pt x="325156" y="3836"/>
                                  <a:pt x="323810" y="1878"/>
                                </a:cubicBezTo>
                                <a:cubicBezTo>
                                  <a:pt x="322463" y="-92"/>
                                  <a:pt x="319770" y="-590"/>
                                  <a:pt x="317812" y="756"/>
                                </a:cubicBezTo>
                                <a:cubicBezTo>
                                  <a:pt x="317725" y="818"/>
                                  <a:pt x="309208" y="6604"/>
                                  <a:pt x="279245" y="23288"/>
                                </a:cubicBezTo>
                                <a:cubicBezTo>
                                  <a:pt x="274395" y="25981"/>
                                  <a:pt x="269744" y="28737"/>
                                  <a:pt x="264819" y="31642"/>
                                </a:cubicBezTo>
                                <a:cubicBezTo>
                                  <a:pt x="239905" y="46343"/>
                                  <a:pt x="214144" y="61530"/>
                                  <a:pt x="165428" y="69149"/>
                                </a:cubicBezTo>
                                <a:cubicBezTo>
                                  <a:pt x="152659" y="71144"/>
                                  <a:pt x="138856" y="72067"/>
                                  <a:pt x="124242" y="73039"/>
                                </a:cubicBezTo>
                                <a:cubicBezTo>
                                  <a:pt x="98194" y="74773"/>
                                  <a:pt x="71261" y="76581"/>
                                  <a:pt x="48742" y="84848"/>
                                </a:cubicBezTo>
                                <a:cubicBezTo>
                                  <a:pt x="22818" y="94374"/>
                                  <a:pt x="6870" y="111170"/>
                                  <a:pt x="0" y="136195"/>
                                </a:cubicBezTo>
                                <a:cubicBezTo>
                                  <a:pt x="3529" y="134836"/>
                                  <a:pt x="6970" y="133527"/>
                                  <a:pt x="10312" y="132255"/>
                                </a:cubicBezTo>
                                <a:close/>
                              </a:path>
                            </a:pathLst>
                          </a:custGeom>
                          <a:solidFill>
                            <a:srgbClr val="ABE1F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8" name="Freeform: Shape 2747">
                            <a:extLst>
                              <a:ext uri="{FF2B5EF4-FFF2-40B4-BE49-F238E27FC236}">
                                <a16:creationId xmlns:a16="http://schemas.microsoft.com/office/drawing/2014/main" id="{AC8898AF-50C1-6C52-A908-0288761DC803}"/>
                              </a:ext>
                            </a:extLst>
                          </p:cNvPr>
                          <p:cNvSpPr/>
                          <p:nvPr/>
                        </p:nvSpPr>
                        <p:spPr>
                          <a:xfrm>
                            <a:off x="7914248" y="6032310"/>
                            <a:ext cx="81360" cy="41262"/>
                          </a:xfrm>
                          <a:custGeom>
                            <a:avLst/>
                            <a:gdLst>
                              <a:gd name="connsiteX0" fmla="*/ 75333 w 81360"/>
                              <a:gd name="connsiteY0" fmla="*/ 6097 h 41262"/>
                              <a:gd name="connsiteX1" fmla="*/ 47203 w 81360"/>
                              <a:gd name="connsiteY1" fmla="*/ 161 h 41262"/>
                              <a:gd name="connsiteX2" fmla="*/ 41766 w 81360"/>
                              <a:gd name="connsiteY2" fmla="*/ 1121 h 41262"/>
                              <a:gd name="connsiteX3" fmla="*/ 1154 w 81360"/>
                              <a:gd name="connsiteY3" fmla="*/ 26533 h 41262"/>
                              <a:gd name="connsiteX4" fmla="*/ 356 w 81360"/>
                              <a:gd name="connsiteY4" fmla="*/ 29887 h 41262"/>
                              <a:gd name="connsiteX5" fmla="*/ 6528 w 81360"/>
                              <a:gd name="connsiteY5" fmla="*/ 40075 h 41262"/>
                              <a:gd name="connsiteX6" fmla="*/ 9895 w 81360"/>
                              <a:gd name="connsiteY6" fmla="*/ 40910 h 41262"/>
                              <a:gd name="connsiteX7" fmla="*/ 45581 w 81360"/>
                              <a:gd name="connsiteY7" fmla="*/ 19551 h 41262"/>
                              <a:gd name="connsiteX8" fmla="*/ 51143 w 81360"/>
                              <a:gd name="connsiteY8" fmla="*/ 18715 h 41262"/>
                              <a:gd name="connsiteX9" fmla="*/ 72477 w 81360"/>
                              <a:gd name="connsiteY9" fmla="*/ 23989 h 41262"/>
                              <a:gd name="connsiteX10" fmla="*/ 79809 w 81360"/>
                              <a:gd name="connsiteY10" fmla="*/ 19800 h 41262"/>
                              <a:gd name="connsiteX11" fmla="*/ 81044 w 81360"/>
                              <a:gd name="connsiteY11" fmla="*/ 15673 h 41262"/>
                              <a:gd name="connsiteX12" fmla="*/ 75345 w 81360"/>
                              <a:gd name="connsiteY12" fmla="*/ 6097 h 4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60" h="41262">
                                <a:moveTo>
                                  <a:pt x="75333" y="6097"/>
                                </a:moveTo>
                                <a:lnTo>
                                  <a:pt x="47203" y="161"/>
                                </a:lnTo>
                                <a:cubicBezTo>
                                  <a:pt x="45332" y="-238"/>
                                  <a:pt x="43387" y="111"/>
                                  <a:pt x="41766" y="1121"/>
                                </a:cubicBezTo>
                                <a:lnTo>
                                  <a:pt x="1154" y="26533"/>
                                </a:lnTo>
                                <a:cubicBezTo>
                                  <a:pt x="19" y="27244"/>
                                  <a:pt x="-342" y="28740"/>
                                  <a:pt x="356" y="29887"/>
                                </a:cubicBezTo>
                                <a:lnTo>
                                  <a:pt x="6528" y="40075"/>
                                </a:lnTo>
                                <a:cubicBezTo>
                                  <a:pt x="7227" y="41234"/>
                                  <a:pt x="8735" y="41609"/>
                                  <a:pt x="9895" y="40910"/>
                                </a:cubicBezTo>
                                <a:lnTo>
                                  <a:pt x="45581" y="19551"/>
                                </a:lnTo>
                                <a:cubicBezTo>
                                  <a:pt x="47252" y="18553"/>
                                  <a:pt x="49260" y="18254"/>
                                  <a:pt x="51143" y="18715"/>
                                </a:cubicBezTo>
                                <a:lnTo>
                                  <a:pt x="72477" y="23989"/>
                                </a:lnTo>
                                <a:cubicBezTo>
                                  <a:pt x="75645" y="24775"/>
                                  <a:pt x="78874" y="22930"/>
                                  <a:pt x="79809" y="19800"/>
                                </a:cubicBezTo>
                                <a:lnTo>
                                  <a:pt x="81044" y="15673"/>
                                </a:lnTo>
                                <a:cubicBezTo>
                                  <a:pt x="82303" y="11433"/>
                                  <a:pt x="79685" y="7007"/>
                                  <a:pt x="75345" y="6097"/>
                                </a:cubicBezTo>
                                <a:close/>
                              </a:path>
                            </a:pathLst>
                          </a:custGeom>
                          <a:solidFill>
                            <a:srgbClr val="6CB1E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49" name="Graphic 525">
                          <a:extLst>
                            <a:ext uri="{FF2B5EF4-FFF2-40B4-BE49-F238E27FC236}">
                              <a16:creationId xmlns:a16="http://schemas.microsoft.com/office/drawing/2014/main" id="{684C236B-1F5F-D37A-5947-0DB0EBFC1AFB}"/>
                            </a:ext>
                          </a:extLst>
                        </p:cNvPr>
                        <p:cNvGrpSpPr/>
                        <p:nvPr/>
                      </p:nvGrpSpPr>
                      <p:grpSpPr>
                        <a:xfrm>
                          <a:off x="8004364" y="6063344"/>
                          <a:ext cx="80080" cy="55413"/>
                          <a:chOff x="8004364" y="6063344"/>
                          <a:chExt cx="80080" cy="55413"/>
                        </a:xfrm>
                      </p:grpSpPr>
                      <p:sp>
                        <p:nvSpPr>
                          <p:cNvPr id="2750" name="Freeform: Shape 2749">
                            <a:extLst>
                              <a:ext uri="{FF2B5EF4-FFF2-40B4-BE49-F238E27FC236}">
                                <a16:creationId xmlns:a16="http://schemas.microsoft.com/office/drawing/2014/main" id="{59E1EF6B-D18A-4E37-842E-D87D68D413D7}"/>
                              </a:ext>
                            </a:extLst>
                          </p:cNvPr>
                          <p:cNvSpPr/>
                          <p:nvPr/>
                        </p:nvSpPr>
                        <p:spPr>
                          <a:xfrm>
                            <a:off x="8010641" y="6065577"/>
                            <a:ext cx="73804" cy="53180"/>
                          </a:xfrm>
                          <a:custGeom>
                            <a:avLst/>
                            <a:gdLst>
                              <a:gd name="connsiteX0" fmla="*/ 3691 w 73804"/>
                              <a:gd name="connsiteY0" fmla="*/ 0 h 53180"/>
                              <a:gd name="connsiteX1" fmla="*/ 73804 w 73804"/>
                              <a:gd name="connsiteY1" fmla="*/ 44901 h 53180"/>
                              <a:gd name="connsiteX2" fmla="*/ 64864 w 73804"/>
                              <a:gd name="connsiteY2" fmla="*/ 53181 h 53180"/>
                              <a:gd name="connsiteX3" fmla="*/ 0 w 73804"/>
                              <a:gd name="connsiteY3" fmla="*/ 13765 h 53180"/>
                              <a:gd name="connsiteX4" fmla="*/ 3703 w 73804"/>
                              <a:gd name="connsiteY4" fmla="*/ 0 h 5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04" h="53180">
                                <a:moveTo>
                                  <a:pt x="3691" y="0"/>
                                </a:moveTo>
                                <a:cubicBezTo>
                                  <a:pt x="3691" y="0"/>
                                  <a:pt x="42345" y="9252"/>
                                  <a:pt x="73804" y="44901"/>
                                </a:cubicBezTo>
                                <a:lnTo>
                                  <a:pt x="64864" y="53181"/>
                                </a:lnTo>
                                <a:cubicBezTo>
                                  <a:pt x="64864" y="53181"/>
                                  <a:pt x="37008" y="25586"/>
                                  <a:pt x="0" y="13765"/>
                                </a:cubicBezTo>
                                <a:lnTo>
                                  <a:pt x="3703" y="0"/>
                                </a:lnTo>
                                <a:close/>
                              </a:path>
                            </a:pathLst>
                          </a:custGeom>
                          <a:solidFill>
                            <a:srgbClr val="3D4E8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1" name="Freeform: Shape 2750">
                            <a:extLst>
                              <a:ext uri="{FF2B5EF4-FFF2-40B4-BE49-F238E27FC236}">
                                <a16:creationId xmlns:a16="http://schemas.microsoft.com/office/drawing/2014/main" id="{285248CC-3AAC-5C14-D4BB-9933950607FD}"/>
                              </a:ext>
                            </a:extLst>
                          </p:cNvPr>
                          <p:cNvSpPr/>
                          <p:nvPr/>
                        </p:nvSpPr>
                        <p:spPr>
                          <a:xfrm>
                            <a:off x="8004364" y="6063344"/>
                            <a:ext cx="10039" cy="17391"/>
                          </a:xfrm>
                          <a:custGeom>
                            <a:avLst/>
                            <a:gdLst>
                              <a:gd name="connsiteX0" fmla="*/ 17 w 10039"/>
                              <a:gd name="connsiteY0" fmla="*/ 14751 h 17391"/>
                              <a:gd name="connsiteX1" fmla="*/ 4456 w 10039"/>
                              <a:gd name="connsiteY1" fmla="*/ 923 h 17391"/>
                              <a:gd name="connsiteX2" fmla="*/ 5890 w 10039"/>
                              <a:gd name="connsiteY2" fmla="*/ 88 h 17391"/>
                              <a:gd name="connsiteX3" fmla="*/ 8234 w 10039"/>
                              <a:gd name="connsiteY3" fmla="*/ 1 h 17391"/>
                              <a:gd name="connsiteX4" fmla="*/ 9967 w 10039"/>
                              <a:gd name="connsiteY4" fmla="*/ 2233 h 17391"/>
                              <a:gd name="connsiteX5" fmla="*/ 6264 w 10039"/>
                              <a:gd name="connsiteY5" fmla="*/ 15998 h 17391"/>
                              <a:gd name="connsiteX6" fmla="*/ 4182 w 10039"/>
                              <a:gd name="connsiteY6" fmla="*/ 17358 h 17391"/>
                              <a:gd name="connsiteX7" fmla="*/ 1438 w 10039"/>
                              <a:gd name="connsiteY7" fmla="*/ 16821 h 17391"/>
                              <a:gd name="connsiteX8" fmla="*/ 29 w 10039"/>
                              <a:gd name="connsiteY8" fmla="*/ 14751 h 1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39" h="17391">
                                <a:moveTo>
                                  <a:pt x="17" y="14751"/>
                                </a:moveTo>
                                <a:cubicBezTo>
                                  <a:pt x="578" y="11609"/>
                                  <a:pt x="2012" y="4914"/>
                                  <a:pt x="4456" y="923"/>
                                </a:cubicBezTo>
                                <a:cubicBezTo>
                                  <a:pt x="4768" y="425"/>
                                  <a:pt x="5304" y="113"/>
                                  <a:pt x="5890" y="88"/>
                                </a:cubicBezTo>
                                <a:lnTo>
                                  <a:pt x="8234" y="1"/>
                                </a:lnTo>
                                <a:cubicBezTo>
                                  <a:pt x="9418" y="-37"/>
                                  <a:pt x="10304" y="1085"/>
                                  <a:pt x="9967" y="2233"/>
                                </a:cubicBezTo>
                                <a:cubicBezTo>
                                  <a:pt x="8982" y="5649"/>
                                  <a:pt x="7174" y="12046"/>
                                  <a:pt x="6264" y="15998"/>
                                </a:cubicBezTo>
                                <a:cubicBezTo>
                                  <a:pt x="6052" y="16933"/>
                                  <a:pt x="5129" y="17545"/>
                                  <a:pt x="4182" y="17358"/>
                                </a:cubicBezTo>
                                <a:lnTo>
                                  <a:pt x="1438" y="16821"/>
                                </a:lnTo>
                                <a:cubicBezTo>
                                  <a:pt x="478" y="16634"/>
                                  <a:pt x="-145" y="15711"/>
                                  <a:pt x="29" y="14751"/>
                                </a:cubicBezTo>
                                <a:close/>
                              </a:path>
                            </a:pathLst>
                          </a:custGeom>
                          <a:solidFill>
                            <a:srgbClr val="2B396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752" name="Graphic 525">
                        <a:extLst>
                          <a:ext uri="{FF2B5EF4-FFF2-40B4-BE49-F238E27FC236}">
                            <a16:creationId xmlns:a16="http://schemas.microsoft.com/office/drawing/2014/main" id="{9FC8912F-0FD9-AE01-3E1E-746B1AFBAE27}"/>
                          </a:ext>
                        </a:extLst>
                      </p:cNvPr>
                      <p:cNvGrpSpPr/>
                      <p:nvPr/>
                    </p:nvGrpSpPr>
                    <p:grpSpPr>
                      <a:xfrm>
                        <a:off x="8022387" y="5954104"/>
                        <a:ext cx="150104" cy="177181"/>
                        <a:chOff x="8022387" y="5954104"/>
                        <a:chExt cx="150104" cy="177181"/>
                      </a:xfrm>
                    </p:grpSpPr>
                    <p:grpSp>
                      <p:nvGrpSpPr>
                        <p:cNvPr id="2753" name="Graphic 525">
                          <a:extLst>
                            <a:ext uri="{FF2B5EF4-FFF2-40B4-BE49-F238E27FC236}">
                              <a16:creationId xmlns:a16="http://schemas.microsoft.com/office/drawing/2014/main" id="{718ED7E5-64F5-8F9C-FC88-1D6C6417DC23}"/>
                            </a:ext>
                          </a:extLst>
                        </p:cNvPr>
                        <p:cNvGrpSpPr/>
                        <p:nvPr/>
                      </p:nvGrpSpPr>
                      <p:grpSpPr>
                        <a:xfrm>
                          <a:off x="8022387" y="5954104"/>
                          <a:ext cx="150104" cy="177181"/>
                          <a:chOff x="8022387" y="5954104"/>
                          <a:chExt cx="150104" cy="177181"/>
                        </a:xfrm>
                      </p:grpSpPr>
                      <p:sp>
                        <p:nvSpPr>
                          <p:cNvPr id="2754" name="Freeform: Shape 2753">
                            <a:extLst>
                              <a:ext uri="{FF2B5EF4-FFF2-40B4-BE49-F238E27FC236}">
                                <a16:creationId xmlns:a16="http://schemas.microsoft.com/office/drawing/2014/main" id="{578959BA-8EE9-7790-B835-E234E3073033}"/>
                              </a:ext>
                            </a:extLst>
                          </p:cNvPr>
                          <p:cNvSpPr/>
                          <p:nvPr/>
                        </p:nvSpPr>
                        <p:spPr>
                          <a:xfrm>
                            <a:off x="8022387" y="5954104"/>
                            <a:ext cx="150104" cy="177181"/>
                          </a:xfrm>
                          <a:custGeom>
                            <a:avLst/>
                            <a:gdLst>
                              <a:gd name="connsiteX0" fmla="*/ 67308 w 150104"/>
                              <a:gd name="connsiteY0" fmla="*/ 32443 h 177181"/>
                              <a:gd name="connsiteX1" fmla="*/ 70962 w 150104"/>
                              <a:gd name="connsiteY1" fmla="*/ 52818 h 177181"/>
                              <a:gd name="connsiteX2" fmla="*/ 77184 w 150104"/>
                              <a:gd name="connsiteY2" fmla="*/ 65773 h 177181"/>
                              <a:gd name="connsiteX3" fmla="*/ 74777 w 150104"/>
                              <a:gd name="connsiteY3" fmla="*/ 85038 h 177181"/>
                              <a:gd name="connsiteX4" fmla="*/ 71972 w 150104"/>
                              <a:gd name="connsiteY4" fmla="*/ 114814 h 177181"/>
                              <a:gd name="connsiteX5" fmla="*/ 49029 w 150104"/>
                              <a:gd name="connsiteY5" fmla="*/ 150713 h 177181"/>
                              <a:gd name="connsiteX6" fmla="*/ 47345 w 150104"/>
                              <a:gd name="connsiteY6" fmla="*/ 170713 h 177181"/>
                              <a:gd name="connsiteX7" fmla="*/ 82358 w 150104"/>
                              <a:gd name="connsiteY7" fmla="*/ 173244 h 177181"/>
                              <a:gd name="connsiteX8" fmla="*/ 97583 w 150104"/>
                              <a:gd name="connsiteY8" fmla="*/ 163207 h 177181"/>
                              <a:gd name="connsiteX9" fmla="*/ 113544 w 150104"/>
                              <a:gd name="connsiteY9" fmla="*/ 155289 h 177181"/>
                              <a:gd name="connsiteX10" fmla="*/ 116736 w 150104"/>
                              <a:gd name="connsiteY10" fmla="*/ 127034 h 177181"/>
                              <a:gd name="connsiteX11" fmla="*/ 131561 w 150104"/>
                              <a:gd name="connsiteY11" fmla="*/ 115164 h 177181"/>
                              <a:gd name="connsiteX12" fmla="*/ 147248 w 150104"/>
                              <a:gd name="connsiteY12" fmla="*/ 89976 h 177181"/>
                              <a:gd name="connsiteX13" fmla="*/ 149442 w 150104"/>
                              <a:gd name="connsiteY13" fmla="*/ 72581 h 177181"/>
                              <a:gd name="connsiteX14" fmla="*/ 146312 w 150104"/>
                              <a:gd name="connsiteY14" fmla="*/ 53604 h 177181"/>
                              <a:gd name="connsiteX15" fmla="*/ 129878 w 150104"/>
                              <a:gd name="connsiteY15" fmla="*/ 27892 h 177181"/>
                              <a:gd name="connsiteX16" fmla="*/ 103805 w 150104"/>
                              <a:gd name="connsiteY16" fmla="*/ 6994 h 177181"/>
                              <a:gd name="connsiteX17" fmla="*/ 65326 w 150104"/>
                              <a:gd name="connsiteY17" fmla="*/ 3091 h 177181"/>
                              <a:gd name="connsiteX18" fmla="*/ 34552 w 150104"/>
                              <a:gd name="connsiteY18" fmla="*/ 4974 h 177181"/>
                              <a:gd name="connsiteX19" fmla="*/ 22145 w 150104"/>
                              <a:gd name="connsiteY19" fmla="*/ 19912 h 177181"/>
                              <a:gd name="connsiteX20" fmla="*/ 12058 w 150104"/>
                              <a:gd name="connsiteY20" fmla="*/ 27830 h 177181"/>
                              <a:gd name="connsiteX21" fmla="*/ 0 w 150104"/>
                              <a:gd name="connsiteY21" fmla="*/ 47381 h 177181"/>
                              <a:gd name="connsiteX22" fmla="*/ 22632 w 150104"/>
                              <a:gd name="connsiteY22" fmla="*/ 31508 h 177181"/>
                              <a:gd name="connsiteX23" fmla="*/ 45462 w 150104"/>
                              <a:gd name="connsiteY23" fmla="*/ 31271 h 177181"/>
                              <a:gd name="connsiteX24" fmla="*/ 67296 w 150104"/>
                              <a:gd name="connsiteY24" fmla="*/ 32443 h 17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0104" h="177181">
                                <a:moveTo>
                                  <a:pt x="67308" y="32443"/>
                                </a:moveTo>
                                <a:cubicBezTo>
                                  <a:pt x="67308" y="32443"/>
                                  <a:pt x="60475" y="46871"/>
                                  <a:pt x="70962" y="52818"/>
                                </a:cubicBezTo>
                                <a:cubicBezTo>
                                  <a:pt x="70962" y="52818"/>
                                  <a:pt x="77620" y="56185"/>
                                  <a:pt x="77184" y="65773"/>
                                </a:cubicBezTo>
                                <a:cubicBezTo>
                                  <a:pt x="76747" y="75362"/>
                                  <a:pt x="76161" y="76010"/>
                                  <a:pt x="74777" y="85038"/>
                                </a:cubicBezTo>
                                <a:cubicBezTo>
                                  <a:pt x="73381" y="94066"/>
                                  <a:pt x="67508" y="105787"/>
                                  <a:pt x="71972" y="114814"/>
                                </a:cubicBezTo>
                                <a:cubicBezTo>
                                  <a:pt x="76448" y="123842"/>
                                  <a:pt x="53592" y="143381"/>
                                  <a:pt x="49029" y="150713"/>
                                </a:cubicBezTo>
                                <a:cubicBezTo>
                                  <a:pt x="44465" y="158045"/>
                                  <a:pt x="40475" y="163032"/>
                                  <a:pt x="47345" y="170713"/>
                                </a:cubicBezTo>
                                <a:cubicBezTo>
                                  <a:pt x="54216" y="178395"/>
                                  <a:pt x="74017" y="179230"/>
                                  <a:pt x="82358" y="173244"/>
                                </a:cubicBezTo>
                                <a:cubicBezTo>
                                  <a:pt x="90700" y="167259"/>
                                  <a:pt x="89940" y="164529"/>
                                  <a:pt x="97583" y="163207"/>
                                </a:cubicBezTo>
                                <a:cubicBezTo>
                                  <a:pt x="105239" y="161885"/>
                                  <a:pt x="111237" y="158494"/>
                                  <a:pt x="113544" y="155289"/>
                                </a:cubicBezTo>
                                <a:cubicBezTo>
                                  <a:pt x="115851" y="152085"/>
                                  <a:pt x="113057" y="145750"/>
                                  <a:pt x="116736" y="127034"/>
                                </a:cubicBezTo>
                                <a:cubicBezTo>
                                  <a:pt x="117920" y="121024"/>
                                  <a:pt x="127384" y="117158"/>
                                  <a:pt x="131561" y="115164"/>
                                </a:cubicBezTo>
                                <a:cubicBezTo>
                                  <a:pt x="140402" y="110949"/>
                                  <a:pt x="149629" y="106211"/>
                                  <a:pt x="147248" y="89976"/>
                                </a:cubicBezTo>
                                <a:cubicBezTo>
                                  <a:pt x="147248" y="89976"/>
                                  <a:pt x="151761" y="81721"/>
                                  <a:pt x="149442" y="72581"/>
                                </a:cubicBezTo>
                                <a:cubicBezTo>
                                  <a:pt x="147123" y="63442"/>
                                  <a:pt x="145514" y="62282"/>
                                  <a:pt x="146312" y="53604"/>
                                </a:cubicBezTo>
                                <a:cubicBezTo>
                                  <a:pt x="147098" y="44925"/>
                                  <a:pt x="143108" y="33080"/>
                                  <a:pt x="129878" y="27892"/>
                                </a:cubicBezTo>
                                <a:cubicBezTo>
                                  <a:pt x="116648" y="22705"/>
                                  <a:pt x="109990" y="13166"/>
                                  <a:pt x="103805" y="6994"/>
                                </a:cubicBezTo>
                                <a:cubicBezTo>
                                  <a:pt x="97621" y="822"/>
                                  <a:pt x="76436" y="-3031"/>
                                  <a:pt x="65326" y="3091"/>
                                </a:cubicBezTo>
                                <a:cubicBezTo>
                                  <a:pt x="65326" y="3091"/>
                                  <a:pt x="43517" y="-737"/>
                                  <a:pt x="34552" y="4974"/>
                                </a:cubicBezTo>
                                <a:cubicBezTo>
                                  <a:pt x="29128" y="8428"/>
                                  <a:pt x="25325" y="13778"/>
                                  <a:pt x="22145" y="19912"/>
                                </a:cubicBezTo>
                                <a:cubicBezTo>
                                  <a:pt x="20138" y="23790"/>
                                  <a:pt x="15437" y="26184"/>
                                  <a:pt x="12058" y="27830"/>
                                </a:cubicBezTo>
                                <a:cubicBezTo>
                                  <a:pt x="511" y="33466"/>
                                  <a:pt x="0" y="47381"/>
                                  <a:pt x="0" y="47381"/>
                                </a:cubicBezTo>
                                <a:cubicBezTo>
                                  <a:pt x="0" y="47381"/>
                                  <a:pt x="16871" y="33354"/>
                                  <a:pt x="22632" y="31508"/>
                                </a:cubicBezTo>
                                <a:cubicBezTo>
                                  <a:pt x="28405" y="29676"/>
                                  <a:pt x="36285" y="32967"/>
                                  <a:pt x="45462" y="31271"/>
                                </a:cubicBezTo>
                                <a:cubicBezTo>
                                  <a:pt x="54640" y="29563"/>
                                  <a:pt x="67296" y="32443"/>
                                  <a:pt x="67296" y="32443"/>
                                </a:cubicBezTo>
                                <a:close/>
                              </a:path>
                            </a:pathLst>
                          </a:custGeom>
                          <a:solidFill>
                            <a:srgbClr val="DDDDD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55" name="Graphic 525">
                            <a:extLst>
                              <a:ext uri="{FF2B5EF4-FFF2-40B4-BE49-F238E27FC236}">
                                <a16:creationId xmlns:a16="http://schemas.microsoft.com/office/drawing/2014/main" id="{C5236931-3C01-1EFF-4BC6-30A8D4EBD3F9}"/>
                              </a:ext>
                            </a:extLst>
                          </p:cNvPr>
                          <p:cNvGrpSpPr/>
                          <p:nvPr/>
                        </p:nvGrpSpPr>
                        <p:grpSpPr>
                          <a:xfrm>
                            <a:off x="8046988" y="5959749"/>
                            <a:ext cx="114277" cy="166302"/>
                            <a:chOff x="8046988" y="5959749"/>
                            <a:chExt cx="114277" cy="166302"/>
                          </a:xfrm>
                          <a:solidFill>
                            <a:srgbClr val="E8E8E8"/>
                          </a:solidFill>
                        </p:grpSpPr>
                        <p:sp>
                          <p:nvSpPr>
                            <p:cNvPr id="2756" name="Freeform: Shape 2755">
                              <a:extLst>
                                <a:ext uri="{FF2B5EF4-FFF2-40B4-BE49-F238E27FC236}">
                                  <a16:creationId xmlns:a16="http://schemas.microsoft.com/office/drawing/2014/main" id="{20C9EBF7-F6D6-25CF-3D77-DC9DBFDC1999}"/>
                                </a:ext>
                              </a:extLst>
                            </p:cNvPr>
                            <p:cNvSpPr/>
                            <p:nvPr/>
                          </p:nvSpPr>
                          <p:spPr>
                            <a:xfrm>
                              <a:off x="8094989" y="5983316"/>
                              <a:ext cx="5327" cy="18493"/>
                            </a:xfrm>
                            <a:custGeom>
                              <a:avLst/>
                              <a:gdLst>
                                <a:gd name="connsiteX0" fmla="*/ 4407 w 5327"/>
                                <a:gd name="connsiteY0" fmla="*/ 18493 h 18493"/>
                                <a:gd name="connsiteX1" fmla="*/ 3833 w 5327"/>
                                <a:gd name="connsiteY1" fmla="*/ 18294 h 18493"/>
                                <a:gd name="connsiteX2" fmla="*/ 3347 w 5327"/>
                                <a:gd name="connsiteY2" fmla="*/ 388 h 18493"/>
                                <a:gd name="connsiteX3" fmla="*/ 4632 w 5327"/>
                                <a:gd name="connsiteY3" fmla="*/ 164 h 18493"/>
                                <a:gd name="connsiteX4" fmla="*/ 4856 w 5327"/>
                                <a:gd name="connsiteY4" fmla="*/ 1448 h 18493"/>
                                <a:gd name="connsiteX5" fmla="*/ 4980 w 5327"/>
                                <a:gd name="connsiteY5" fmla="*/ 16835 h 18493"/>
                                <a:gd name="connsiteX6" fmla="*/ 5130 w 5327"/>
                                <a:gd name="connsiteY6" fmla="*/ 18132 h 18493"/>
                                <a:gd name="connsiteX7" fmla="*/ 4407 w 5327"/>
                                <a:gd name="connsiteY7" fmla="*/ 18481 h 1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7" h="18493">
                                  <a:moveTo>
                                    <a:pt x="4407" y="18493"/>
                                  </a:moveTo>
                                  <a:cubicBezTo>
                                    <a:pt x="4208" y="18493"/>
                                    <a:pt x="3996" y="18431"/>
                                    <a:pt x="3833" y="18294"/>
                                  </a:cubicBezTo>
                                  <a:cubicBezTo>
                                    <a:pt x="-4458" y="11660"/>
                                    <a:pt x="3272" y="500"/>
                                    <a:pt x="3347" y="388"/>
                                  </a:cubicBezTo>
                                  <a:cubicBezTo>
                                    <a:pt x="3646" y="-23"/>
                                    <a:pt x="4220" y="-123"/>
                                    <a:pt x="4632" y="164"/>
                                  </a:cubicBezTo>
                                  <a:cubicBezTo>
                                    <a:pt x="5043" y="463"/>
                                    <a:pt x="5143" y="1037"/>
                                    <a:pt x="4856" y="1448"/>
                                  </a:cubicBezTo>
                                  <a:cubicBezTo>
                                    <a:pt x="4569" y="1847"/>
                                    <a:pt x="-1940" y="11299"/>
                                    <a:pt x="4980" y="16835"/>
                                  </a:cubicBezTo>
                                  <a:cubicBezTo>
                                    <a:pt x="5380" y="17159"/>
                                    <a:pt x="5442" y="17733"/>
                                    <a:pt x="5130" y="18132"/>
                                  </a:cubicBezTo>
                                  <a:cubicBezTo>
                                    <a:pt x="4943" y="18356"/>
                                    <a:pt x="4681" y="18481"/>
                                    <a:pt x="4407" y="18481"/>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7" name="Freeform: Shape 2756">
                              <a:extLst>
                                <a:ext uri="{FF2B5EF4-FFF2-40B4-BE49-F238E27FC236}">
                                  <a16:creationId xmlns:a16="http://schemas.microsoft.com/office/drawing/2014/main" id="{BF681913-1A0C-91F7-D90D-64DE6398A942}"/>
                                </a:ext>
                              </a:extLst>
                            </p:cNvPr>
                            <p:cNvSpPr/>
                            <p:nvPr/>
                          </p:nvSpPr>
                          <p:spPr>
                            <a:xfrm>
                              <a:off x="8136699" y="5980246"/>
                              <a:ext cx="24566" cy="30204"/>
                            </a:xfrm>
                            <a:custGeom>
                              <a:avLst/>
                              <a:gdLst>
                                <a:gd name="connsiteX0" fmla="*/ 23122 w 24566"/>
                                <a:gd name="connsiteY0" fmla="*/ 30204 h 30204"/>
                                <a:gd name="connsiteX1" fmla="*/ 22960 w 24566"/>
                                <a:gd name="connsiteY1" fmla="*/ 30192 h 30204"/>
                                <a:gd name="connsiteX2" fmla="*/ 22212 w 24566"/>
                                <a:gd name="connsiteY2" fmla="*/ 29120 h 30204"/>
                                <a:gd name="connsiteX3" fmla="*/ 14494 w 24566"/>
                                <a:gd name="connsiteY3" fmla="*/ 8271 h 30204"/>
                                <a:gd name="connsiteX4" fmla="*/ 453 w 24566"/>
                                <a:gd name="connsiteY4" fmla="*/ 1725 h 30204"/>
                                <a:gd name="connsiteX5" fmla="*/ 129 w 24566"/>
                                <a:gd name="connsiteY5" fmla="*/ 453 h 30204"/>
                                <a:gd name="connsiteX6" fmla="*/ 1401 w 24566"/>
                                <a:gd name="connsiteY6" fmla="*/ 129 h 30204"/>
                                <a:gd name="connsiteX7" fmla="*/ 15105 w 24566"/>
                                <a:gd name="connsiteY7" fmla="*/ 6526 h 30204"/>
                                <a:gd name="connsiteX8" fmla="*/ 24032 w 24566"/>
                                <a:gd name="connsiteY8" fmla="*/ 29444 h 30204"/>
                                <a:gd name="connsiteX9" fmla="*/ 23122 w 24566"/>
                                <a:gd name="connsiteY9" fmla="*/ 30204 h 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6" h="30204">
                                  <a:moveTo>
                                    <a:pt x="23122" y="30204"/>
                                  </a:moveTo>
                                  <a:cubicBezTo>
                                    <a:pt x="23122" y="30204"/>
                                    <a:pt x="23010" y="30204"/>
                                    <a:pt x="22960" y="30192"/>
                                  </a:cubicBezTo>
                                  <a:cubicBezTo>
                                    <a:pt x="22462" y="30105"/>
                                    <a:pt x="22125" y="29619"/>
                                    <a:pt x="22212" y="29120"/>
                                  </a:cubicBezTo>
                                  <a:cubicBezTo>
                                    <a:pt x="24020" y="18883"/>
                                    <a:pt x="20915" y="10503"/>
                                    <a:pt x="14494" y="8271"/>
                                  </a:cubicBezTo>
                                  <a:cubicBezTo>
                                    <a:pt x="7399" y="5803"/>
                                    <a:pt x="740" y="1887"/>
                                    <a:pt x="453" y="1725"/>
                                  </a:cubicBezTo>
                                  <a:cubicBezTo>
                                    <a:pt x="17" y="1463"/>
                                    <a:pt x="-133" y="902"/>
                                    <a:pt x="129" y="453"/>
                                  </a:cubicBezTo>
                                  <a:cubicBezTo>
                                    <a:pt x="391" y="17"/>
                                    <a:pt x="952" y="-132"/>
                                    <a:pt x="1401" y="129"/>
                                  </a:cubicBezTo>
                                  <a:cubicBezTo>
                                    <a:pt x="1464" y="167"/>
                                    <a:pt x="8184" y="4119"/>
                                    <a:pt x="15105" y="6526"/>
                                  </a:cubicBezTo>
                                  <a:cubicBezTo>
                                    <a:pt x="22412" y="9070"/>
                                    <a:pt x="26003" y="18284"/>
                                    <a:pt x="24032" y="29444"/>
                                  </a:cubicBezTo>
                                  <a:cubicBezTo>
                                    <a:pt x="23958" y="29893"/>
                                    <a:pt x="23559" y="30204"/>
                                    <a:pt x="23122" y="30204"/>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8" name="Freeform: Shape 2757">
                              <a:extLst>
                                <a:ext uri="{FF2B5EF4-FFF2-40B4-BE49-F238E27FC236}">
                                  <a16:creationId xmlns:a16="http://schemas.microsoft.com/office/drawing/2014/main" id="{69C26C4A-DCF5-5638-609C-CF9C429A6C97}"/>
                                </a:ext>
                              </a:extLst>
                            </p:cNvPr>
                            <p:cNvSpPr/>
                            <p:nvPr/>
                          </p:nvSpPr>
                          <p:spPr>
                            <a:xfrm>
                              <a:off x="8099170" y="6014465"/>
                              <a:ext cx="9475" cy="44090"/>
                            </a:xfrm>
                            <a:custGeom>
                              <a:avLst/>
                              <a:gdLst>
                                <a:gd name="connsiteX0" fmla="*/ 1460 w 9475"/>
                                <a:gd name="connsiteY0" fmla="*/ 44078 h 44090"/>
                                <a:gd name="connsiteX1" fmla="*/ 612 w 9475"/>
                                <a:gd name="connsiteY1" fmla="*/ 43530 h 44090"/>
                                <a:gd name="connsiteX2" fmla="*/ 3867 w 9475"/>
                                <a:gd name="connsiteY2" fmla="*/ 26060 h 44090"/>
                                <a:gd name="connsiteX3" fmla="*/ 6435 w 9475"/>
                                <a:gd name="connsiteY3" fmla="*/ 18829 h 44090"/>
                                <a:gd name="connsiteX4" fmla="*/ 5849 w 9475"/>
                                <a:gd name="connsiteY4" fmla="*/ 1284 h 44090"/>
                                <a:gd name="connsiteX5" fmla="*/ 6336 w 9475"/>
                                <a:gd name="connsiteY5" fmla="*/ 75 h 44090"/>
                                <a:gd name="connsiteX6" fmla="*/ 7545 w 9475"/>
                                <a:gd name="connsiteY6" fmla="*/ 561 h 44090"/>
                                <a:gd name="connsiteX7" fmla="*/ 8194 w 9475"/>
                                <a:gd name="connsiteY7" fmla="*/ 19402 h 44090"/>
                                <a:gd name="connsiteX8" fmla="*/ 5600 w 9475"/>
                                <a:gd name="connsiteY8" fmla="*/ 26709 h 44090"/>
                                <a:gd name="connsiteX9" fmla="*/ 2308 w 9475"/>
                                <a:gd name="connsiteY9" fmla="*/ 42794 h 44090"/>
                                <a:gd name="connsiteX10" fmla="*/ 1834 w 9475"/>
                                <a:gd name="connsiteY10" fmla="*/ 44016 h 44090"/>
                                <a:gd name="connsiteX11" fmla="*/ 1460 w 9475"/>
                                <a:gd name="connsiteY11" fmla="*/ 44091 h 4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75" h="44090">
                                  <a:moveTo>
                                    <a:pt x="1460" y="44078"/>
                                  </a:moveTo>
                                  <a:cubicBezTo>
                                    <a:pt x="1099" y="44078"/>
                                    <a:pt x="762" y="43867"/>
                                    <a:pt x="612" y="43530"/>
                                  </a:cubicBezTo>
                                  <a:cubicBezTo>
                                    <a:pt x="-1146" y="39515"/>
                                    <a:pt x="1174" y="33280"/>
                                    <a:pt x="3867" y="26060"/>
                                  </a:cubicBezTo>
                                  <a:cubicBezTo>
                                    <a:pt x="4740" y="23704"/>
                                    <a:pt x="5650" y="21260"/>
                                    <a:pt x="6435" y="18829"/>
                                  </a:cubicBezTo>
                                  <a:cubicBezTo>
                                    <a:pt x="9378" y="9701"/>
                                    <a:pt x="5887" y="1372"/>
                                    <a:pt x="5849" y="1284"/>
                                  </a:cubicBezTo>
                                  <a:cubicBezTo>
                                    <a:pt x="5650" y="810"/>
                                    <a:pt x="5862" y="275"/>
                                    <a:pt x="6336" y="75"/>
                                  </a:cubicBezTo>
                                  <a:cubicBezTo>
                                    <a:pt x="6810" y="-125"/>
                                    <a:pt x="7346" y="87"/>
                                    <a:pt x="7545" y="561"/>
                                  </a:cubicBezTo>
                                  <a:cubicBezTo>
                                    <a:pt x="7707" y="923"/>
                                    <a:pt x="11349" y="9626"/>
                                    <a:pt x="8194" y="19402"/>
                                  </a:cubicBezTo>
                                  <a:cubicBezTo>
                                    <a:pt x="7396" y="21871"/>
                                    <a:pt x="6485" y="24327"/>
                                    <a:pt x="5600" y="26709"/>
                                  </a:cubicBezTo>
                                  <a:cubicBezTo>
                                    <a:pt x="3156" y="33268"/>
                                    <a:pt x="849" y="39465"/>
                                    <a:pt x="2308" y="42794"/>
                                  </a:cubicBezTo>
                                  <a:cubicBezTo>
                                    <a:pt x="2508" y="43268"/>
                                    <a:pt x="2308" y="43804"/>
                                    <a:pt x="1834" y="44016"/>
                                  </a:cubicBezTo>
                                  <a:cubicBezTo>
                                    <a:pt x="1710" y="44066"/>
                                    <a:pt x="1585" y="44091"/>
                                    <a:pt x="1460" y="44091"/>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9" name="Freeform: Shape 2758">
                              <a:extLst>
                                <a:ext uri="{FF2B5EF4-FFF2-40B4-BE49-F238E27FC236}">
                                  <a16:creationId xmlns:a16="http://schemas.microsoft.com/office/drawing/2014/main" id="{59D92625-E0FA-4598-FC3B-F86CE8D70D26}"/>
                                </a:ext>
                              </a:extLst>
                            </p:cNvPr>
                            <p:cNvSpPr/>
                            <p:nvPr/>
                          </p:nvSpPr>
                          <p:spPr>
                            <a:xfrm>
                              <a:off x="8046988" y="5960163"/>
                              <a:ext cx="36988" cy="16981"/>
                            </a:xfrm>
                            <a:custGeom>
                              <a:avLst/>
                              <a:gdLst>
                                <a:gd name="connsiteX0" fmla="*/ 923 w 36988"/>
                                <a:gd name="connsiteY0" fmla="*/ 16982 h 16981"/>
                                <a:gd name="connsiteX1" fmla="*/ 187 w 36988"/>
                                <a:gd name="connsiteY1" fmla="*/ 16608 h 16981"/>
                                <a:gd name="connsiteX2" fmla="*/ 374 w 36988"/>
                                <a:gd name="connsiteY2" fmla="*/ 15311 h 16981"/>
                                <a:gd name="connsiteX3" fmla="*/ 3666 w 36988"/>
                                <a:gd name="connsiteY3" fmla="*/ 11957 h 16981"/>
                                <a:gd name="connsiteX4" fmla="*/ 14028 w 36988"/>
                                <a:gd name="connsiteY4" fmla="*/ 3216 h 16981"/>
                                <a:gd name="connsiteX5" fmla="*/ 36235 w 36988"/>
                                <a:gd name="connsiteY5" fmla="*/ 648 h 16981"/>
                                <a:gd name="connsiteX6" fmla="*/ 36971 w 36988"/>
                                <a:gd name="connsiteY6" fmla="*/ 1732 h 16981"/>
                                <a:gd name="connsiteX7" fmla="*/ 35886 w 36988"/>
                                <a:gd name="connsiteY7" fmla="*/ 2468 h 16981"/>
                                <a:gd name="connsiteX8" fmla="*/ 14938 w 36988"/>
                                <a:gd name="connsiteY8" fmla="*/ 4825 h 16981"/>
                                <a:gd name="connsiteX9" fmla="*/ 5063 w 36988"/>
                                <a:gd name="connsiteY9" fmla="*/ 13154 h 16981"/>
                                <a:gd name="connsiteX10" fmla="*/ 1472 w 36988"/>
                                <a:gd name="connsiteY10" fmla="*/ 16783 h 16981"/>
                                <a:gd name="connsiteX11" fmla="*/ 923 w 36988"/>
                                <a:gd name="connsiteY11" fmla="*/ 16970 h 1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988" h="16981">
                                  <a:moveTo>
                                    <a:pt x="923" y="16982"/>
                                  </a:moveTo>
                                  <a:cubicBezTo>
                                    <a:pt x="636" y="16982"/>
                                    <a:pt x="362" y="16858"/>
                                    <a:pt x="187" y="16608"/>
                                  </a:cubicBezTo>
                                  <a:cubicBezTo>
                                    <a:pt x="-124" y="16196"/>
                                    <a:pt x="-37" y="15623"/>
                                    <a:pt x="374" y="15311"/>
                                  </a:cubicBezTo>
                                  <a:cubicBezTo>
                                    <a:pt x="1609" y="14389"/>
                                    <a:pt x="2556" y="13266"/>
                                    <a:pt x="3666" y="11957"/>
                                  </a:cubicBezTo>
                                  <a:cubicBezTo>
                                    <a:pt x="5736" y="9525"/>
                                    <a:pt x="8317" y="6483"/>
                                    <a:pt x="14028" y="3216"/>
                                  </a:cubicBezTo>
                                  <a:cubicBezTo>
                                    <a:pt x="22856" y="-1821"/>
                                    <a:pt x="35699" y="535"/>
                                    <a:pt x="36235" y="648"/>
                                  </a:cubicBezTo>
                                  <a:cubicBezTo>
                                    <a:pt x="36734" y="747"/>
                                    <a:pt x="37071" y="1221"/>
                                    <a:pt x="36971" y="1732"/>
                                  </a:cubicBezTo>
                                  <a:cubicBezTo>
                                    <a:pt x="36871" y="2231"/>
                                    <a:pt x="36398" y="2568"/>
                                    <a:pt x="35886" y="2468"/>
                                  </a:cubicBezTo>
                                  <a:cubicBezTo>
                                    <a:pt x="35762" y="2443"/>
                                    <a:pt x="23168" y="124"/>
                                    <a:pt x="14938" y="4825"/>
                                  </a:cubicBezTo>
                                  <a:cubicBezTo>
                                    <a:pt x="9502" y="7930"/>
                                    <a:pt x="7145" y="10697"/>
                                    <a:pt x="5063" y="13154"/>
                                  </a:cubicBezTo>
                                  <a:cubicBezTo>
                                    <a:pt x="3928" y="14488"/>
                                    <a:pt x="2868" y="15735"/>
                                    <a:pt x="1472" y="16783"/>
                                  </a:cubicBezTo>
                                  <a:cubicBezTo>
                                    <a:pt x="1310" y="16907"/>
                                    <a:pt x="1110" y="16970"/>
                                    <a:pt x="923" y="1697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0" name="Freeform: Shape 2759">
                              <a:extLst>
                                <a:ext uri="{FF2B5EF4-FFF2-40B4-BE49-F238E27FC236}">
                                  <a16:creationId xmlns:a16="http://schemas.microsoft.com/office/drawing/2014/main" id="{CA56DBFD-6FE3-3A25-72E9-B760D9B25013}"/>
                                </a:ext>
                              </a:extLst>
                            </p:cNvPr>
                            <p:cNvSpPr/>
                            <p:nvPr/>
                          </p:nvSpPr>
                          <p:spPr>
                            <a:xfrm>
                              <a:off x="8051301" y="5975942"/>
                              <a:ext cx="35135" cy="6502"/>
                            </a:xfrm>
                            <a:custGeom>
                              <a:avLst/>
                              <a:gdLst>
                                <a:gd name="connsiteX0" fmla="*/ 1447 w 35135"/>
                                <a:gd name="connsiteY0" fmla="*/ 6490 h 6502"/>
                                <a:gd name="connsiteX1" fmla="*/ 774 w 35135"/>
                                <a:gd name="connsiteY1" fmla="*/ 6440 h 6502"/>
                                <a:gd name="connsiteX2" fmla="*/ 13 w 35135"/>
                                <a:gd name="connsiteY2" fmla="*/ 5380 h 6502"/>
                                <a:gd name="connsiteX3" fmla="*/ 1073 w 35135"/>
                                <a:gd name="connsiteY3" fmla="*/ 4620 h 6502"/>
                                <a:gd name="connsiteX4" fmla="*/ 14802 w 35135"/>
                                <a:gd name="connsiteY4" fmla="*/ 954 h 6502"/>
                                <a:gd name="connsiteX5" fmla="*/ 34466 w 35135"/>
                                <a:gd name="connsiteY5" fmla="*/ 1864 h 6502"/>
                                <a:gd name="connsiteX6" fmla="*/ 35102 w 35135"/>
                                <a:gd name="connsiteY6" fmla="*/ 3011 h 6502"/>
                                <a:gd name="connsiteX7" fmla="*/ 33967 w 35135"/>
                                <a:gd name="connsiteY7" fmla="*/ 3647 h 6502"/>
                                <a:gd name="connsiteX8" fmla="*/ 15413 w 35135"/>
                                <a:gd name="connsiteY8" fmla="*/ 2712 h 6502"/>
                                <a:gd name="connsiteX9" fmla="*/ 1447 w 35135"/>
                                <a:gd name="connsiteY9" fmla="*/ 6502 h 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35" h="6502">
                                  <a:moveTo>
                                    <a:pt x="1447" y="6490"/>
                                  </a:moveTo>
                                  <a:cubicBezTo>
                                    <a:pt x="1198" y="6490"/>
                                    <a:pt x="973" y="6477"/>
                                    <a:pt x="774" y="6440"/>
                                  </a:cubicBezTo>
                                  <a:cubicBezTo>
                                    <a:pt x="275" y="6353"/>
                                    <a:pt x="-74" y="5879"/>
                                    <a:pt x="13" y="5380"/>
                                  </a:cubicBezTo>
                                  <a:cubicBezTo>
                                    <a:pt x="101" y="4881"/>
                                    <a:pt x="575" y="4533"/>
                                    <a:pt x="1073" y="4620"/>
                                  </a:cubicBezTo>
                                  <a:cubicBezTo>
                                    <a:pt x="3230" y="4981"/>
                                    <a:pt x="11934" y="1951"/>
                                    <a:pt x="14802" y="954"/>
                                  </a:cubicBezTo>
                                  <a:cubicBezTo>
                                    <a:pt x="22084" y="-1578"/>
                                    <a:pt x="33967" y="1714"/>
                                    <a:pt x="34466" y="1864"/>
                                  </a:cubicBezTo>
                                  <a:cubicBezTo>
                                    <a:pt x="34952" y="2001"/>
                                    <a:pt x="35239" y="2512"/>
                                    <a:pt x="35102" y="3011"/>
                                  </a:cubicBezTo>
                                  <a:cubicBezTo>
                                    <a:pt x="34964" y="3498"/>
                                    <a:pt x="34453" y="3784"/>
                                    <a:pt x="33967" y="3647"/>
                                  </a:cubicBezTo>
                                  <a:cubicBezTo>
                                    <a:pt x="33855" y="3610"/>
                                    <a:pt x="22134" y="367"/>
                                    <a:pt x="15413" y="2712"/>
                                  </a:cubicBezTo>
                                  <a:cubicBezTo>
                                    <a:pt x="7894" y="5330"/>
                                    <a:pt x="3592" y="6502"/>
                                    <a:pt x="1447" y="6502"/>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1" name="Freeform: Shape 2760">
                              <a:extLst>
                                <a:ext uri="{FF2B5EF4-FFF2-40B4-BE49-F238E27FC236}">
                                  <a16:creationId xmlns:a16="http://schemas.microsoft.com/office/drawing/2014/main" id="{E1031380-9DD5-315E-F2CB-6367B1AC5044}"/>
                                </a:ext>
                              </a:extLst>
                            </p:cNvPr>
                            <p:cNvSpPr/>
                            <p:nvPr/>
                          </p:nvSpPr>
                          <p:spPr>
                            <a:xfrm>
                              <a:off x="8096923" y="5959749"/>
                              <a:ext cx="23120" cy="5688"/>
                            </a:xfrm>
                            <a:custGeom>
                              <a:avLst/>
                              <a:gdLst>
                                <a:gd name="connsiteX0" fmla="*/ 22198 w 23120"/>
                                <a:gd name="connsiteY0" fmla="*/ 5688 h 5688"/>
                                <a:gd name="connsiteX1" fmla="*/ 21575 w 23120"/>
                                <a:gd name="connsiteY1" fmla="*/ 5451 h 5688"/>
                                <a:gd name="connsiteX2" fmla="*/ 1200 w 23120"/>
                                <a:gd name="connsiteY2" fmla="*/ 3181 h 5688"/>
                                <a:gd name="connsiteX3" fmla="*/ 41 w 23120"/>
                                <a:gd name="connsiteY3" fmla="*/ 2571 h 5688"/>
                                <a:gd name="connsiteX4" fmla="*/ 652 w 23120"/>
                                <a:gd name="connsiteY4" fmla="*/ 1411 h 5688"/>
                                <a:gd name="connsiteX5" fmla="*/ 22822 w 23120"/>
                                <a:gd name="connsiteY5" fmla="*/ 4079 h 5688"/>
                                <a:gd name="connsiteX6" fmla="*/ 22884 w 23120"/>
                                <a:gd name="connsiteY6" fmla="*/ 5389 h 5688"/>
                                <a:gd name="connsiteX7" fmla="*/ 22198 w 23120"/>
                                <a:gd name="connsiteY7" fmla="*/ 5688 h 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0" h="5688">
                                  <a:moveTo>
                                    <a:pt x="22198" y="5688"/>
                                  </a:moveTo>
                                  <a:cubicBezTo>
                                    <a:pt x="21974" y="5688"/>
                                    <a:pt x="21749" y="5613"/>
                                    <a:pt x="21575" y="5451"/>
                                  </a:cubicBezTo>
                                  <a:cubicBezTo>
                                    <a:pt x="14655" y="-896"/>
                                    <a:pt x="1338" y="3144"/>
                                    <a:pt x="1200" y="3181"/>
                                  </a:cubicBezTo>
                                  <a:cubicBezTo>
                                    <a:pt x="714" y="3331"/>
                                    <a:pt x="191" y="3057"/>
                                    <a:pt x="41" y="2571"/>
                                  </a:cubicBezTo>
                                  <a:cubicBezTo>
                                    <a:pt x="-109" y="2084"/>
                                    <a:pt x="166" y="1561"/>
                                    <a:pt x="652" y="1411"/>
                                  </a:cubicBezTo>
                                  <a:cubicBezTo>
                                    <a:pt x="1238" y="1224"/>
                                    <a:pt x="15116" y="-2978"/>
                                    <a:pt x="22822" y="4079"/>
                                  </a:cubicBezTo>
                                  <a:cubicBezTo>
                                    <a:pt x="23196" y="4428"/>
                                    <a:pt x="23221" y="5015"/>
                                    <a:pt x="22884" y="5389"/>
                                  </a:cubicBezTo>
                                  <a:cubicBezTo>
                                    <a:pt x="22697" y="5588"/>
                                    <a:pt x="22448" y="5688"/>
                                    <a:pt x="22198" y="5688"/>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2" name="Freeform: Shape 2761">
                              <a:extLst>
                                <a:ext uri="{FF2B5EF4-FFF2-40B4-BE49-F238E27FC236}">
                                  <a16:creationId xmlns:a16="http://schemas.microsoft.com/office/drawing/2014/main" id="{F33D7FF5-CBF5-198B-D0A7-5C83745EE5FF}"/>
                                </a:ext>
                              </a:extLst>
                            </p:cNvPr>
                            <p:cNvSpPr/>
                            <p:nvPr/>
                          </p:nvSpPr>
                          <p:spPr>
                            <a:xfrm>
                              <a:off x="8116385" y="5983624"/>
                              <a:ext cx="19739" cy="42550"/>
                            </a:xfrm>
                            <a:custGeom>
                              <a:avLst/>
                              <a:gdLst>
                                <a:gd name="connsiteX0" fmla="*/ 17226 w 19739"/>
                                <a:gd name="connsiteY0" fmla="*/ 42538 h 42550"/>
                                <a:gd name="connsiteX1" fmla="*/ 16765 w 19739"/>
                                <a:gd name="connsiteY1" fmla="*/ 42413 h 42550"/>
                                <a:gd name="connsiteX2" fmla="*/ 16428 w 19739"/>
                                <a:gd name="connsiteY2" fmla="*/ 41154 h 42550"/>
                                <a:gd name="connsiteX3" fmla="*/ 6889 w 19739"/>
                                <a:gd name="connsiteY3" fmla="*/ 16826 h 42550"/>
                                <a:gd name="connsiteX4" fmla="*/ 630 w 19739"/>
                                <a:gd name="connsiteY4" fmla="*/ 616 h 42550"/>
                                <a:gd name="connsiteX5" fmla="*/ 1814 w 19739"/>
                                <a:gd name="connsiteY5" fmla="*/ 56 h 42550"/>
                                <a:gd name="connsiteX6" fmla="*/ 2376 w 19739"/>
                                <a:gd name="connsiteY6" fmla="*/ 1240 h 42550"/>
                                <a:gd name="connsiteX7" fmla="*/ 7837 w 19739"/>
                                <a:gd name="connsiteY7" fmla="*/ 15243 h 42550"/>
                                <a:gd name="connsiteX8" fmla="*/ 18249 w 19739"/>
                                <a:gd name="connsiteY8" fmla="*/ 27799 h 42550"/>
                                <a:gd name="connsiteX9" fmla="*/ 18037 w 19739"/>
                                <a:gd name="connsiteY9" fmla="*/ 42089 h 42550"/>
                                <a:gd name="connsiteX10" fmla="*/ 17239 w 19739"/>
                                <a:gd name="connsiteY10" fmla="*/ 42550 h 4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39" h="42550">
                                  <a:moveTo>
                                    <a:pt x="17226" y="42538"/>
                                  </a:moveTo>
                                  <a:cubicBezTo>
                                    <a:pt x="17064" y="42538"/>
                                    <a:pt x="16902" y="42501"/>
                                    <a:pt x="16765" y="42413"/>
                                  </a:cubicBezTo>
                                  <a:cubicBezTo>
                                    <a:pt x="16328" y="42151"/>
                                    <a:pt x="16179" y="41590"/>
                                    <a:pt x="16428" y="41154"/>
                                  </a:cubicBezTo>
                                  <a:cubicBezTo>
                                    <a:pt x="20481" y="34196"/>
                                    <a:pt x="15755" y="22151"/>
                                    <a:pt x="6889" y="16826"/>
                                  </a:cubicBezTo>
                                  <a:cubicBezTo>
                                    <a:pt x="-2899" y="10953"/>
                                    <a:pt x="605" y="716"/>
                                    <a:pt x="630" y="616"/>
                                  </a:cubicBezTo>
                                  <a:cubicBezTo>
                                    <a:pt x="804" y="131"/>
                                    <a:pt x="1328" y="-119"/>
                                    <a:pt x="1814" y="56"/>
                                  </a:cubicBezTo>
                                  <a:cubicBezTo>
                                    <a:pt x="2301" y="230"/>
                                    <a:pt x="2550" y="754"/>
                                    <a:pt x="2376" y="1240"/>
                                  </a:cubicBezTo>
                                  <a:cubicBezTo>
                                    <a:pt x="2251" y="1614"/>
                                    <a:pt x="-629" y="10168"/>
                                    <a:pt x="7837" y="15243"/>
                                  </a:cubicBezTo>
                                  <a:cubicBezTo>
                                    <a:pt x="12426" y="17999"/>
                                    <a:pt x="16216" y="22575"/>
                                    <a:pt x="18249" y="27799"/>
                                  </a:cubicBezTo>
                                  <a:cubicBezTo>
                                    <a:pt x="20306" y="33111"/>
                                    <a:pt x="20231" y="38323"/>
                                    <a:pt x="18037" y="42089"/>
                                  </a:cubicBezTo>
                                  <a:cubicBezTo>
                                    <a:pt x="17862" y="42388"/>
                                    <a:pt x="17550" y="42550"/>
                                    <a:pt x="17239" y="4255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3" name="Freeform: Shape 2762">
                              <a:extLst>
                                <a:ext uri="{FF2B5EF4-FFF2-40B4-BE49-F238E27FC236}">
                                  <a16:creationId xmlns:a16="http://schemas.microsoft.com/office/drawing/2014/main" id="{70021E36-E256-5A68-2D8D-1FB928BEB1E9}"/>
                                </a:ext>
                              </a:extLst>
                            </p:cNvPr>
                            <p:cNvSpPr/>
                            <p:nvPr/>
                          </p:nvSpPr>
                          <p:spPr>
                            <a:xfrm>
                              <a:off x="8115531" y="6044368"/>
                              <a:ext cx="5746" cy="15097"/>
                            </a:xfrm>
                            <a:custGeom>
                              <a:avLst/>
                              <a:gdLst>
                                <a:gd name="connsiteX0" fmla="*/ 1122 w 5746"/>
                                <a:gd name="connsiteY0" fmla="*/ 15098 h 15097"/>
                                <a:gd name="connsiteX1" fmla="*/ 212 w 5746"/>
                                <a:gd name="connsiteY1" fmla="*/ 14337 h 15097"/>
                                <a:gd name="connsiteX2" fmla="*/ 4102 w 5746"/>
                                <a:gd name="connsiteY2" fmla="*/ 347 h 15097"/>
                                <a:gd name="connsiteX3" fmla="*/ 5399 w 5746"/>
                                <a:gd name="connsiteY3" fmla="*/ 198 h 15097"/>
                                <a:gd name="connsiteX4" fmla="*/ 5549 w 5746"/>
                                <a:gd name="connsiteY4" fmla="*/ 1495 h 15097"/>
                                <a:gd name="connsiteX5" fmla="*/ 2032 w 5746"/>
                                <a:gd name="connsiteY5" fmla="*/ 14014 h 15097"/>
                                <a:gd name="connsiteX6" fmla="*/ 1284 w 5746"/>
                                <a:gd name="connsiteY6" fmla="*/ 15086 h 15097"/>
                                <a:gd name="connsiteX7" fmla="*/ 1122 w 5746"/>
                                <a:gd name="connsiteY7" fmla="*/ 15098 h 1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6" h="15097">
                                  <a:moveTo>
                                    <a:pt x="1122" y="15098"/>
                                  </a:moveTo>
                                  <a:cubicBezTo>
                                    <a:pt x="686" y="15098"/>
                                    <a:pt x="287" y="14786"/>
                                    <a:pt x="212" y="14337"/>
                                  </a:cubicBezTo>
                                  <a:cubicBezTo>
                                    <a:pt x="-1072" y="6918"/>
                                    <a:pt x="3890" y="609"/>
                                    <a:pt x="4102" y="347"/>
                                  </a:cubicBezTo>
                                  <a:cubicBezTo>
                                    <a:pt x="4426" y="-52"/>
                                    <a:pt x="5000" y="-114"/>
                                    <a:pt x="5399" y="198"/>
                                  </a:cubicBezTo>
                                  <a:cubicBezTo>
                                    <a:pt x="5798" y="522"/>
                                    <a:pt x="5861" y="1095"/>
                                    <a:pt x="5549" y="1495"/>
                                  </a:cubicBezTo>
                                  <a:cubicBezTo>
                                    <a:pt x="5486" y="1569"/>
                                    <a:pt x="898" y="7442"/>
                                    <a:pt x="2032" y="14014"/>
                                  </a:cubicBezTo>
                                  <a:cubicBezTo>
                                    <a:pt x="2120" y="14512"/>
                                    <a:pt x="1783" y="14998"/>
                                    <a:pt x="1284" y="15086"/>
                                  </a:cubicBezTo>
                                  <a:cubicBezTo>
                                    <a:pt x="1235" y="15086"/>
                                    <a:pt x="1172" y="15098"/>
                                    <a:pt x="1122" y="15098"/>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4" name="Freeform: Shape 2763">
                              <a:extLst>
                                <a:ext uri="{FF2B5EF4-FFF2-40B4-BE49-F238E27FC236}">
                                  <a16:creationId xmlns:a16="http://schemas.microsoft.com/office/drawing/2014/main" id="{DA336075-E4A0-3B78-B0B2-CB51285354CE}"/>
                                </a:ext>
                              </a:extLst>
                            </p:cNvPr>
                            <p:cNvSpPr/>
                            <p:nvPr/>
                          </p:nvSpPr>
                          <p:spPr>
                            <a:xfrm>
                              <a:off x="8149641" y="6020915"/>
                              <a:ext cx="6786" cy="19735"/>
                            </a:xfrm>
                            <a:custGeom>
                              <a:avLst/>
                              <a:gdLst>
                                <a:gd name="connsiteX0" fmla="*/ 4319 w 6786"/>
                                <a:gd name="connsiteY0" fmla="*/ 19735 h 19735"/>
                                <a:gd name="connsiteX1" fmla="*/ 3883 w 6786"/>
                                <a:gd name="connsiteY1" fmla="*/ 19623 h 19735"/>
                                <a:gd name="connsiteX2" fmla="*/ 3496 w 6786"/>
                                <a:gd name="connsiteY2" fmla="*/ 18377 h 19735"/>
                                <a:gd name="connsiteX3" fmla="*/ 254 w 6786"/>
                                <a:gd name="connsiteY3" fmla="*/ 1568 h 19735"/>
                                <a:gd name="connsiteX4" fmla="*/ 279 w 6786"/>
                                <a:gd name="connsiteY4" fmla="*/ 259 h 19735"/>
                                <a:gd name="connsiteX5" fmla="*/ 1589 w 6786"/>
                                <a:gd name="connsiteY5" fmla="*/ 284 h 19735"/>
                                <a:gd name="connsiteX6" fmla="*/ 5130 w 6786"/>
                                <a:gd name="connsiteY6" fmla="*/ 19237 h 19735"/>
                                <a:gd name="connsiteX7" fmla="*/ 4307 w 6786"/>
                                <a:gd name="connsiteY7" fmla="*/ 19723 h 1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6" h="19735">
                                  <a:moveTo>
                                    <a:pt x="4319" y="19735"/>
                                  </a:moveTo>
                                  <a:cubicBezTo>
                                    <a:pt x="4170" y="19735"/>
                                    <a:pt x="4020" y="19698"/>
                                    <a:pt x="3883" y="19623"/>
                                  </a:cubicBezTo>
                                  <a:cubicBezTo>
                                    <a:pt x="3434" y="19387"/>
                                    <a:pt x="3260" y="18825"/>
                                    <a:pt x="3496" y="18377"/>
                                  </a:cubicBezTo>
                                  <a:cubicBezTo>
                                    <a:pt x="8047" y="9847"/>
                                    <a:pt x="578" y="1905"/>
                                    <a:pt x="254" y="1568"/>
                                  </a:cubicBezTo>
                                  <a:cubicBezTo>
                                    <a:pt x="-95" y="1194"/>
                                    <a:pt x="-82" y="620"/>
                                    <a:pt x="279" y="259"/>
                                  </a:cubicBezTo>
                                  <a:cubicBezTo>
                                    <a:pt x="641" y="-90"/>
                                    <a:pt x="1227" y="-90"/>
                                    <a:pt x="1589" y="284"/>
                                  </a:cubicBezTo>
                                  <a:cubicBezTo>
                                    <a:pt x="1676" y="371"/>
                                    <a:pt x="10317" y="9511"/>
                                    <a:pt x="5130" y="19237"/>
                                  </a:cubicBezTo>
                                  <a:cubicBezTo>
                                    <a:pt x="4968" y="19549"/>
                                    <a:pt x="4643" y="19723"/>
                                    <a:pt x="4307" y="19723"/>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5" name="Freeform: Shape 2764">
                              <a:extLst>
                                <a:ext uri="{FF2B5EF4-FFF2-40B4-BE49-F238E27FC236}">
                                  <a16:creationId xmlns:a16="http://schemas.microsoft.com/office/drawing/2014/main" id="{11E6AB1F-CE9F-6326-CB95-AAB131E7F818}"/>
                                </a:ext>
                              </a:extLst>
                            </p:cNvPr>
                            <p:cNvSpPr/>
                            <p:nvPr/>
                          </p:nvSpPr>
                          <p:spPr>
                            <a:xfrm>
                              <a:off x="8127444" y="6053296"/>
                              <a:ext cx="27125" cy="33602"/>
                            </a:xfrm>
                            <a:custGeom>
                              <a:avLst/>
                              <a:gdLst>
                                <a:gd name="connsiteX0" fmla="*/ 930 w 27125"/>
                                <a:gd name="connsiteY0" fmla="*/ 33603 h 33602"/>
                                <a:gd name="connsiteX1" fmla="*/ 818 w 27125"/>
                                <a:gd name="connsiteY1" fmla="*/ 33603 h 33602"/>
                                <a:gd name="connsiteX2" fmla="*/ 7 w 27125"/>
                                <a:gd name="connsiteY2" fmla="*/ 32568 h 33602"/>
                                <a:gd name="connsiteX3" fmla="*/ 15020 w 27125"/>
                                <a:gd name="connsiteY3" fmla="*/ 10871 h 33602"/>
                                <a:gd name="connsiteX4" fmla="*/ 25307 w 27125"/>
                                <a:gd name="connsiteY4" fmla="*/ 709 h 33602"/>
                                <a:gd name="connsiteX5" fmla="*/ 26417 w 27125"/>
                                <a:gd name="connsiteY5" fmla="*/ 24 h 33602"/>
                                <a:gd name="connsiteX6" fmla="*/ 27102 w 27125"/>
                                <a:gd name="connsiteY6" fmla="*/ 1133 h 33602"/>
                                <a:gd name="connsiteX7" fmla="*/ 15806 w 27125"/>
                                <a:gd name="connsiteY7" fmla="*/ 12543 h 33602"/>
                                <a:gd name="connsiteX8" fmla="*/ 1840 w 27125"/>
                                <a:gd name="connsiteY8" fmla="*/ 32780 h 33602"/>
                                <a:gd name="connsiteX9" fmla="*/ 917 w 27125"/>
                                <a:gd name="connsiteY9" fmla="*/ 33590 h 3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5" h="33602">
                                  <a:moveTo>
                                    <a:pt x="930" y="33603"/>
                                  </a:moveTo>
                                  <a:cubicBezTo>
                                    <a:pt x="930" y="33603"/>
                                    <a:pt x="855" y="33603"/>
                                    <a:pt x="818" y="33603"/>
                                  </a:cubicBezTo>
                                  <a:cubicBezTo>
                                    <a:pt x="306" y="33540"/>
                                    <a:pt x="-55" y="33079"/>
                                    <a:pt x="7" y="32568"/>
                                  </a:cubicBezTo>
                                  <a:cubicBezTo>
                                    <a:pt x="1329" y="21657"/>
                                    <a:pt x="5818" y="15173"/>
                                    <a:pt x="15020" y="10871"/>
                                  </a:cubicBezTo>
                                  <a:cubicBezTo>
                                    <a:pt x="23761" y="6794"/>
                                    <a:pt x="25282" y="771"/>
                                    <a:pt x="25307" y="709"/>
                                  </a:cubicBezTo>
                                  <a:cubicBezTo>
                                    <a:pt x="25419" y="211"/>
                                    <a:pt x="25918" y="-89"/>
                                    <a:pt x="26417" y="24"/>
                                  </a:cubicBezTo>
                                  <a:cubicBezTo>
                                    <a:pt x="26915" y="136"/>
                                    <a:pt x="27215" y="634"/>
                                    <a:pt x="27102" y="1133"/>
                                  </a:cubicBezTo>
                                  <a:cubicBezTo>
                                    <a:pt x="27040" y="1420"/>
                                    <a:pt x="25344" y="8091"/>
                                    <a:pt x="15806" y="12543"/>
                                  </a:cubicBezTo>
                                  <a:cubicBezTo>
                                    <a:pt x="7139" y="16582"/>
                                    <a:pt x="3099" y="22443"/>
                                    <a:pt x="1840" y="32780"/>
                                  </a:cubicBezTo>
                                  <a:cubicBezTo>
                                    <a:pt x="1778" y="33254"/>
                                    <a:pt x="1379" y="33590"/>
                                    <a:pt x="917" y="33590"/>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6" name="Freeform: Shape 2765">
                              <a:extLst>
                                <a:ext uri="{FF2B5EF4-FFF2-40B4-BE49-F238E27FC236}">
                                  <a16:creationId xmlns:a16="http://schemas.microsoft.com/office/drawing/2014/main" id="{2F62365D-695D-90F3-DE0D-3910FFAE046B}"/>
                                </a:ext>
                              </a:extLst>
                            </p:cNvPr>
                            <p:cNvSpPr/>
                            <p:nvPr/>
                          </p:nvSpPr>
                          <p:spPr>
                            <a:xfrm>
                              <a:off x="8073087" y="6102000"/>
                              <a:ext cx="21685" cy="24051"/>
                            </a:xfrm>
                            <a:custGeom>
                              <a:avLst/>
                              <a:gdLst>
                                <a:gd name="connsiteX0" fmla="*/ 11770 w 21685"/>
                                <a:gd name="connsiteY0" fmla="*/ 24052 h 24051"/>
                                <a:gd name="connsiteX1" fmla="*/ 3927 w 21685"/>
                                <a:gd name="connsiteY1" fmla="*/ 21745 h 24051"/>
                                <a:gd name="connsiteX2" fmla="*/ 4563 w 21685"/>
                                <a:gd name="connsiteY2" fmla="*/ 435 h 24051"/>
                                <a:gd name="connsiteX3" fmla="*/ 5835 w 21685"/>
                                <a:gd name="connsiteY3" fmla="*/ 136 h 24051"/>
                                <a:gd name="connsiteX4" fmla="*/ 6134 w 21685"/>
                                <a:gd name="connsiteY4" fmla="*/ 1408 h 24051"/>
                                <a:gd name="connsiteX5" fmla="*/ 4912 w 21685"/>
                                <a:gd name="connsiteY5" fmla="*/ 20174 h 24051"/>
                                <a:gd name="connsiteX6" fmla="*/ 20212 w 21685"/>
                                <a:gd name="connsiteY6" fmla="*/ 19588 h 24051"/>
                                <a:gd name="connsiteX7" fmla="*/ 21508 w 21685"/>
                                <a:gd name="connsiteY7" fmla="*/ 19787 h 24051"/>
                                <a:gd name="connsiteX8" fmla="*/ 21309 w 21685"/>
                                <a:gd name="connsiteY8" fmla="*/ 21084 h 24051"/>
                                <a:gd name="connsiteX9" fmla="*/ 11782 w 21685"/>
                                <a:gd name="connsiteY9" fmla="*/ 24039 h 2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5" h="24051">
                                  <a:moveTo>
                                    <a:pt x="11770" y="24052"/>
                                  </a:moveTo>
                                  <a:cubicBezTo>
                                    <a:pt x="9338" y="24052"/>
                                    <a:pt x="6645" y="23466"/>
                                    <a:pt x="3927" y="21745"/>
                                  </a:cubicBezTo>
                                  <a:cubicBezTo>
                                    <a:pt x="-5076" y="16084"/>
                                    <a:pt x="4164" y="1071"/>
                                    <a:pt x="4563" y="435"/>
                                  </a:cubicBezTo>
                                  <a:cubicBezTo>
                                    <a:pt x="4837" y="-1"/>
                                    <a:pt x="5398" y="-126"/>
                                    <a:pt x="5835" y="136"/>
                                  </a:cubicBezTo>
                                  <a:cubicBezTo>
                                    <a:pt x="6271" y="410"/>
                                    <a:pt x="6396" y="971"/>
                                    <a:pt x="6134" y="1408"/>
                                  </a:cubicBezTo>
                                  <a:cubicBezTo>
                                    <a:pt x="6046" y="1545"/>
                                    <a:pt x="-2532" y="15486"/>
                                    <a:pt x="4912" y="20174"/>
                                  </a:cubicBezTo>
                                  <a:cubicBezTo>
                                    <a:pt x="12618" y="25024"/>
                                    <a:pt x="20137" y="19650"/>
                                    <a:pt x="20212" y="19588"/>
                                  </a:cubicBezTo>
                                  <a:cubicBezTo>
                                    <a:pt x="20623" y="19288"/>
                                    <a:pt x="21197" y="19376"/>
                                    <a:pt x="21508" y="19787"/>
                                  </a:cubicBezTo>
                                  <a:cubicBezTo>
                                    <a:pt x="21808" y="20199"/>
                                    <a:pt x="21720" y="20772"/>
                                    <a:pt x="21309" y="21084"/>
                                  </a:cubicBezTo>
                                  <a:cubicBezTo>
                                    <a:pt x="21246" y="21122"/>
                                    <a:pt x="17169" y="24039"/>
                                    <a:pt x="11782" y="24039"/>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7" name="Freeform: Shape 2766">
                              <a:extLst>
                                <a:ext uri="{FF2B5EF4-FFF2-40B4-BE49-F238E27FC236}">
                                  <a16:creationId xmlns:a16="http://schemas.microsoft.com/office/drawing/2014/main" id="{E54FBCF7-2D5D-A5A5-02F3-68641A5C3265}"/>
                                </a:ext>
                              </a:extLst>
                            </p:cNvPr>
                            <p:cNvSpPr/>
                            <p:nvPr/>
                          </p:nvSpPr>
                          <p:spPr>
                            <a:xfrm>
                              <a:off x="8104942" y="6098617"/>
                              <a:ext cx="22515" cy="17583"/>
                            </a:xfrm>
                            <a:custGeom>
                              <a:avLst/>
                              <a:gdLst>
                                <a:gd name="connsiteX0" fmla="*/ 925 w 22515"/>
                                <a:gd name="connsiteY0" fmla="*/ 17571 h 17583"/>
                                <a:gd name="connsiteX1" fmla="*/ 2 w 22515"/>
                                <a:gd name="connsiteY1" fmla="*/ 16586 h 17583"/>
                                <a:gd name="connsiteX2" fmla="*/ 9417 w 22515"/>
                                <a:gd name="connsiteY2" fmla="*/ 9566 h 17583"/>
                                <a:gd name="connsiteX3" fmla="*/ 20651 w 22515"/>
                                <a:gd name="connsiteY3" fmla="*/ 987 h 17583"/>
                                <a:gd name="connsiteX4" fmla="*/ 21512 w 22515"/>
                                <a:gd name="connsiteY4" fmla="*/ 3 h 17583"/>
                                <a:gd name="connsiteX5" fmla="*/ 22497 w 22515"/>
                                <a:gd name="connsiteY5" fmla="*/ 863 h 17583"/>
                                <a:gd name="connsiteX6" fmla="*/ 9691 w 22515"/>
                                <a:gd name="connsiteY6" fmla="*/ 11399 h 17583"/>
                                <a:gd name="connsiteX7" fmla="*/ 1848 w 22515"/>
                                <a:gd name="connsiteY7" fmla="*/ 16711 h 17583"/>
                                <a:gd name="connsiteX8" fmla="*/ 925 w 22515"/>
                                <a:gd name="connsiteY8" fmla="*/ 17583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15" h="17583">
                                  <a:moveTo>
                                    <a:pt x="925" y="17571"/>
                                  </a:moveTo>
                                  <a:cubicBezTo>
                                    <a:pt x="352" y="17534"/>
                                    <a:pt x="-35" y="17098"/>
                                    <a:pt x="2" y="16586"/>
                                  </a:cubicBezTo>
                                  <a:cubicBezTo>
                                    <a:pt x="15" y="16349"/>
                                    <a:pt x="464" y="10888"/>
                                    <a:pt x="9417" y="9566"/>
                                  </a:cubicBezTo>
                                  <a:cubicBezTo>
                                    <a:pt x="16536" y="8506"/>
                                    <a:pt x="20951" y="5139"/>
                                    <a:pt x="20651" y="987"/>
                                  </a:cubicBezTo>
                                  <a:cubicBezTo>
                                    <a:pt x="20614" y="476"/>
                                    <a:pt x="21001" y="40"/>
                                    <a:pt x="21512" y="3"/>
                                  </a:cubicBezTo>
                                  <a:cubicBezTo>
                                    <a:pt x="22036" y="-35"/>
                                    <a:pt x="22459" y="351"/>
                                    <a:pt x="22497" y="863"/>
                                  </a:cubicBezTo>
                                  <a:cubicBezTo>
                                    <a:pt x="22796" y="4990"/>
                                    <a:pt x="19579" y="9940"/>
                                    <a:pt x="9691" y="11399"/>
                                  </a:cubicBezTo>
                                  <a:cubicBezTo>
                                    <a:pt x="2197" y="12509"/>
                                    <a:pt x="1848" y="16661"/>
                                    <a:pt x="1848" y="16711"/>
                                  </a:cubicBezTo>
                                  <a:cubicBezTo>
                                    <a:pt x="1823" y="17197"/>
                                    <a:pt x="1412" y="17583"/>
                                    <a:pt x="925" y="17583"/>
                                  </a:cubicBezTo>
                                  <a:close/>
                                </a:path>
                              </a:pathLst>
                            </a:custGeom>
                            <a:solidFill>
                              <a:srgbClr val="E8E8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768" name="Graphic 525">
                          <a:extLst>
                            <a:ext uri="{FF2B5EF4-FFF2-40B4-BE49-F238E27FC236}">
                              <a16:creationId xmlns:a16="http://schemas.microsoft.com/office/drawing/2014/main" id="{E6418639-06A2-AA59-5C1F-B83B9E631E7B}"/>
                            </a:ext>
                          </a:extLst>
                        </p:cNvPr>
                        <p:cNvGrpSpPr/>
                        <p:nvPr/>
                      </p:nvGrpSpPr>
                      <p:grpSpPr>
                        <a:xfrm>
                          <a:off x="8075607" y="6065166"/>
                          <a:ext cx="40291" cy="30192"/>
                          <a:chOff x="8075607" y="6065166"/>
                          <a:chExt cx="40291" cy="30192"/>
                        </a:xfrm>
                      </p:grpSpPr>
                      <p:sp>
                        <p:nvSpPr>
                          <p:cNvPr id="2769" name="Freeform: Shape 2768">
                            <a:extLst>
                              <a:ext uri="{FF2B5EF4-FFF2-40B4-BE49-F238E27FC236}">
                                <a16:creationId xmlns:a16="http://schemas.microsoft.com/office/drawing/2014/main" id="{8EE38029-39A9-5AD7-1830-1070A866B19D}"/>
                              </a:ext>
                            </a:extLst>
                          </p:cNvPr>
                          <p:cNvSpPr/>
                          <p:nvPr/>
                        </p:nvSpPr>
                        <p:spPr>
                          <a:xfrm>
                            <a:off x="8075607" y="6065166"/>
                            <a:ext cx="40291" cy="30192"/>
                          </a:xfrm>
                          <a:custGeom>
                            <a:avLst/>
                            <a:gdLst>
                              <a:gd name="connsiteX0" fmla="*/ 4612 w 40291"/>
                              <a:gd name="connsiteY0" fmla="*/ 12817 h 30192"/>
                              <a:gd name="connsiteX1" fmla="*/ 26295 w 40291"/>
                              <a:gd name="connsiteY1" fmla="*/ 174 h 30192"/>
                              <a:gd name="connsiteX2" fmla="*/ 37954 w 40291"/>
                              <a:gd name="connsiteY2" fmla="*/ 2867 h 30192"/>
                              <a:gd name="connsiteX3" fmla="*/ 18864 w 40291"/>
                              <a:gd name="connsiteY3" fmla="*/ 29975 h 30192"/>
                              <a:gd name="connsiteX4" fmla="*/ 4612 w 40291"/>
                              <a:gd name="connsiteY4" fmla="*/ 12805 h 3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91" h="30192">
                                <a:moveTo>
                                  <a:pt x="4612" y="12817"/>
                                </a:moveTo>
                                <a:cubicBezTo>
                                  <a:pt x="10397" y="6446"/>
                                  <a:pt x="17717" y="922"/>
                                  <a:pt x="26295" y="174"/>
                                </a:cubicBezTo>
                                <a:cubicBezTo>
                                  <a:pt x="31757" y="-312"/>
                                  <a:pt x="35048" y="112"/>
                                  <a:pt x="37954" y="2867"/>
                                </a:cubicBezTo>
                                <a:cubicBezTo>
                                  <a:pt x="44113" y="8728"/>
                                  <a:pt x="38216" y="28067"/>
                                  <a:pt x="18864" y="29975"/>
                                </a:cubicBezTo>
                                <a:cubicBezTo>
                                  <a:pt x="3140" y="31534"/>
                                  <a:pt x="-6087" y="24601"/>
                                  <a:pt x="4612" y="12805"/>
                                </a:cubicBezTo>
                                <a:close/>
                              </a:path>
                            </a:pathLst>
                          </a:custGeom>
                          <a:solidFill>
                            <a:srgbClr val="F6AF9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70" name="Graphic 525">
                            <a:extLst>
                              <a:ext uri="{FF2B5EF4-FFF2-40B4-BE49-F238E27FC236}">
                                <a16:creationId xmlns:a16="http://schemas.microsoft.com/office/drawing/2014/main" id="{3B0358B2-7D1A-1026-ADBF-7E7714C15B89}"/>
                              </a:ext>
                            </a:extLst>
                          </p:cNvPr>
                          <p:cNvGrpSpPr/>
                          <p:nvPr/>
                        </p:nvGrpSpPr>
                        <p:grpSpPr>
                          <a:xfrm>
                            <a:off x="8085988" y="6076589"/>
                            <a:ext cx="17937" cy="8638"/>
                            <a:chOff x="8085988" y="6076589"/>
                            <a:chExt cx="17937" cy="8638"/>
                          </a:xfrm>
                          <a:solidFill>
                            <a:srgbClr val="E57E73"/>
                          </a:solidFill>
                        </p:grpSpPr>
                        <p:sp>
                          <p:nvSpPr>
                            <p:cNvPr id="2771" name="Freeform: Shape 2770">
                              <a:extLst>
                                <a:ext uri="{FF2B5EF4-FFF2-40B4-BE49-F238E27FC236}">
                                  <a16:creationId xmlns:a16="http://schemas.microsoft.com/office/drawing/2014/main" id="{EC34C452-15D5-4B31-810F-0222F7733CD9}"/>
                                </a:ext>
                              </a:extLst>
                            </p:cNvPr>
                            <p:cNvSpPr/>
                            <p:nvPr/>
                          </p:nvSpPr>
                          <p:spPr>
                            <a:xfrm>
                              <a:off x="8085988" y="6076589"/>
                              <a:ext cx="17937" cy="7666"/>
                            </a:xfrm>
                            <a:custGeom>
                              <a:avLst/>
                              <a:gdLst>
                                <a:gd name="connsiteX0" fmla="*/ 1076 w 17937"/>
                                <a:gd name="connsiteY0" fmla="*/ 7666 h 7666"/>
                                <a:gd name="connsiteX1" fmla="*/ 265 w 17937"/>
                                <a:gd name="connsiteY1" fmla="*/ 7292 h 7666"/>
                                <a:gd name="connsiteX2" fmla="*/ 365 w 17937"/>
                                <a:gd name="connsiteY2" fmla="*/ 5771 h 7666"/>
                                <a:gd name="connsiteX3" fmla="*/ 17149 w 17937"/>
                                <a:gd name="connsiteY3" fmla="*/ 421 h 7666"/>
                                <a:gd name="connsiteX4" fmla="*/ 17897 w 17937"/>
                                <a:gd name="connsiteY4" fmla="*/ 1755 h 7666"/>
                                <a:gd name="connsiteX5" fmla="*/ 16575 w 17937"/>
                                <a:gd name="connsiteY5" fmla="*/ 2504 h 7666"/>
                                <a:gd name="connsiteX6" fmla="*/ 1787 w 17937"/>
                                <a:gd name="connsiteY6" fmla="*/ 7404 h 7666"/>
                                <a:gd name="connsiteX7" fmla="*/ 1076 w 17937"/>
                                <a:gd name="connsiteY7" fmla="*/ 7666 h 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7" h="7666">
                                  <a:moveTo>
                                    <a:pt x="1076" y="7666"/>
                                  </a:moveTo>
                                  <a:cubicBezTo>
                                    <a:pt x="777" y="7666"/>
                                    <a:pt x="478" y="7541"/>
                                    <a:pt x="265" y="7292"/>
                                  </a:cubicBezTo>
                                  <a:cubicBezTo>
                                    <a:pt x="-121" y="6843"/>
                                    <a:pt x="-84" y="6157"/>
                                    <a:pt x="365" y="5771"/>
                                  </a:cubicBezTo>
                                  <a:cubicBezTo>
                                    <a:pt x="727" y="5459"/>
                                    <a:pt x="9168" y="-1798"/>
                                    <a:pt x="17149" y="421"/>
                                  </a:cubicBezTo>
                                  <a:cubicBezTo>
                                    <a:pt x="17722" y="583"/>
                                    <a:pt x="18059" y="1169"/>
                                    <a:pt x="17897" y="1755"/>
                                  </a:cubicBezTo>
                                  <a:cubicBezTo>
                                    <a:pt x="17735" y="2329"/>
                                    <a:pt x="17149" y="2666"/>
                                    <a:pt x="16575" y="2504"/>
                                  </a:cubicBezTo>
                                  <a:cubicBezTo>
                                    <a:pt x="9717" y="596"/>
                                    <a:pt x="1861" y="7342"/>
                                    <a:pt x="1787" y="7404"/>
                                  </a:cubicBezTo>
                                  <a:cubicBezTo>
                                    <a:pt x="1587" y="7578"/>
                                    <a:pt x="1325" y="7666"/>
                                    <a:pt x="1076" y="7666"/>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72" name="Freeform: Shape 2771">
                              <a:extLst>
                                <a:ext uri="{FF2B5EF4-FFF2-40B4-BE49-F238E27FC236}">
                                  <a16:creationId xmlns:a16="http://schemas.microsoft.com/office/drawing/2014/main" id="{E27321A8-428E-DD34-E2DE-237AA9A9729D}"/>
                                </a:ext>
                              </a:extLst>
                            </p:cNvPr>
                            <p:cNvSpPr/>
                            <p:nvPr/>
                          </p:nvSpPr>
                          <p:spPr>
                            <a:xfrm>
                              <a:off x="8090501" y="6079712"/>
                              <a:ext cx="8809" cy="5515"/>
                            </a:xfrm>
                            <a:custGeom>
                              <a:avLst/>
                              <a:gdLst>
                                <a:gd name="connsiteX0" fmla="*/ 7722 w 8809"/>
                                <a:gd name="connsiteY0" fmla="*/ 5515 h 5515"/>
                                <a:gd name="connsiteX1" fmla="*/ 6874 w 8809"/>
                                <a:gd name="connsiteY1" fmla="*/ 5104 h 5515"/>
                                <a:gd name="connsiteX2" fmla="*/ 977 w 8809"/>
                                <a:gd name="connsiteY2" fmla="*/ 2148 h 5515"/>
                                <a:gd name="connsiteX3" fmla="*/ 4 w 8809"/>
                                <a:gd name="connsiteY3" fmla="*/ 976 h 5515"/>
                                <a:gd name="connsiteX4" fmla="*/ 1176 w 8809"/>
                                <a:gd name="connsiteY4" fmla="*/ 4 h 5515"/>
                                <a:gd name="connsiteX5" fmla="*/ 8582 w 8809"/>
                                <a:gd name="connsiteY5" fmla="*/ 3782 h 5515"/>
                                <a:gd name="connsiteX6" fmla="*/ 8396 w 8809"/>
                                <a:gd name="connsiteY6" fmla="*/ 5291 h 5515"/>
                                <a:gd name="connsiteX7" fmla="*/ 7735 w 8809"/>
                                <a:gd name="connsiteY7" fmla="*/ 5515 h 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9" h="5515">
                                  <a:moveTo>
                                    <a:pt x="7722" y="5515"/>
                                  </a:moveTo>
                                  <a:cubicBezTo>
                                    <a:pt x="7398" y="5515"/>
                                    <a:pt x="7086" y="5378"/>
                                    <a:pt x="6874" y="5104"/>
                                  </a:cubicBezTo>
                                  <a:cubicBezTo>
                                    <a:pt x="4892" y="2548"/>
                                    <a:pt x="1014" y="2148"/>
                                    <a:pt x="977" y="2148"/>
                                  </a:cubicBezTo>
                                  <a:cubicBezTo>
                                    <a:pt x="391" y="2086"/>
                                    <a:pt x="-46" y="1563"/>
                                    <a:pt x="4" y="976"/>
                                  </a:cubicBezTo>
                                  <a:cubicBezTo>
                                    <a:pt x="54" y="378"/>
                                    <a:pt x="590" y="-46"/>
                                    <a:pt x="1176" y="4"/>
                                  </a:cubicBezTo>
                                  <a:cubicBezTo>
                                    <a:pt x="1375" y="16"/>
                                    <a:pt x="6014" y="478"/>
                                    <a:pt x="8582" y="3782"/>
                                  </a:cubicBezTo>
                                  <a:cubicBezTo>
                                    <a:pt x="8944" y="4256"/>
                                    <a:pt x="8869" y="4929"/>
                                    <a:pt x="8396" y="5291"/>
                                  </a:cubicBezTo>
                                  <a:cubicBezTo>
                                    <a:pt x="8196" y="5440"/>
                                    <a:pt x="7959" y="5515"/>
                                    <a:pt x="7735" y="5515"/>
                                  </a:cubicBezTo>
                                  <a:close/>
                                </a:path>
                              </a:pathLst>
                            </a:custGeom>
                            <a:solidFill>
                              <a:srgbClr val="E57E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grpSp>
              </p:grpSp>
            </p:grpSp>
          </p:grpSp>
        </p:grpSp>
      </p:grpSp>
      <p:sp>
        <p:nvSpPr>
          <p:cNvPr id="3776" name="TextBox 3775">
            <a:extLst>
              <a:ext uri="{FF2B5EF4-FFF2-40B4-BE49-F238E27FC236}">
                <a16:creationId xmlns:a16="http://schemas.microsoft.com/office/drawing/2014/main" id="{20C4F19D-F5DE-9FBD-0DA6-2A783757E842}"/>
              </a:ext>
            </a:extLst>
          </p:cNvPr>
          <p:cNvSpPr txBox="1"/>
          <p:nvPr>
            <p:custDataLst>
              <p:tags r:id="rId21"/>
            </p:custDataLst>
          </p:nvPr>
        </p:nvSpPr>
        <p:spPr>
          <a:xfrm>
            <a:off x="4562758" y="5301154"/>
            <a:ext cx="1536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64"/>
                </a:solidFill>
                <a:effectLst/>
                <a:uLnTx/>
                <a:uFillTx/>
                <a:latin typeface="Calibri"/>
                <a:ea typeface="+mn-ea"/>
                <a:cs typeface="+mn-cs"/>
              </a:rPr>
              <a:t>Preparation</a:t>
            </a:r>
          </a:p>
        </p:txBody>
      </p:sp>
      <p:sp>
        <p:nvSpPr>
          <p:cNvPr id="3783" name="TextBox 3782">
            <a:extLst>
              <a:ext uri="{FF2B5EF4-FFF2-40B4-BE49-F238E27FC236}">
                <a16:creationId xmlns:a16="http://schemas.microsoft.com/office/drawing/2014/main" id="{057696D6-66A7-3A30-1020-D0E3137CF68E}"/>
              </a:ext>
            </a:extLst>
          </p:cNvPr>
          <p:cNvSpPr txBox="1"/>
          <p:nvPr>
            <p:custDataLst>
              <p:tags r:id="rId22"/>
            </p:custDataLst>
          </p:nvPr>
        </p:nvSpPr>
        <p:spPr>
          <a:xfrm>
            <a:off x="6211564" y="5031305"/>
            <a:ext cx="5713736" cy="878253"/>
          </a:xfrm>
          <a:prstGeom prst="rect">
            <a:avLst/>
          </a:prstGeom>
          <a:noFill/>
        </p:spPr>
        <p:txBody>
          <a:bodyPr wrap="square" anchor="ctr">
            <a:noAutofit/>
          </a:bodyPr>
          <a:lstStyle/>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scuss the prognosis and treatment plan with your attending and/or fellow prior to meeting so you feel confident delivering your message.</a:t>
            </a:r>
          </a:p>
          <a:p>
            <a:pPr marL="283464" marR="0" lvl="0" indent="-283464"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Follow the </a:t>
            </a:r>
            <a:r>
              <a:rPr lang="en-US" sz="1400" dirty="0"/>
              <a:t>REMAP roadmap to frame your conversation.</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88BD3698-77C4-A0EC-C82A-24395D055F3B}"/>
              </a:ext>
            </a:extLst>
          </p:cNvPr>
          <p:cNvSpPr>
            <a:spLocks noGrp="1"/>
          </p:cNvSpPr>
          <p:nvPr>
            <p:ph type="sldNum" sz="quarter" idx="4"/>
            <p:custDataLst>
              <p:tags r:id="rId2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spTree>
    <p:custDataLst>
      <p:tags r:id="rId1"/>
    </p:custDataLst>
    <p:extLst>
      <p:ext uri="{BB962C8B-B14F-4D97-AF65-F5344CB8AC3E}">
        <p14:creationId xmlns:p14="http://schemas.microsoft.com/office/powerpoint/2010/main" val="32171666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1" name="think-cell data - do not delete" hidden="1">
            <a:extLst>
              <a:ext uri="{FF2B5EF4-FFF2-40B4-BE49-F238E27FC236}">
                <a16:creationId xmlns:a16="http://schemas.microsoft.com/office/drawing/2014/main" id="{F5F0A726-7D21-6872-594A-AC88A32918B0}"/>
              </a:ext>
            </a:extLst>
          </p:cNvPr>
          <p:cNvGraphicFramePr>
            <a:graphicFrameLocks noChangeAspect="1"/>
          </p:cNvGraphicFramePr>
          <p:nvPr>
            <p:custDataLst>
              <p:tags r:id="rId1"/>
            </p:custDataLst>
            <p:extLst>
              <p:ext uri="{D42A27DB-BD31-4B8C-83A1-F6EECF244321}">
                <p14:modId xmlns:p14="http://schemas.microsoft.com/office/powerpoint/2010/main" val="139492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091" name="think-cell data - do not delete" hidden="1">
                        <a:extLst>
                          <a:ext uri="{FF2B5EF4-FFF2-40B4-BE49-F238E27FC236}">
                            <a16:creationId xmlns:a16="http://schemas.microsoft.com/office/drawing/2014/main" id="{F5F0A726-7D21-6872-594A-AC88A32918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A8B495-E710-46DB-AFE6-356FB6AD9407}"/>
              </a:ext>
            </a:extLst>
          </p:cNvPr>
          <p:cNvSpPr>
            <a:spLocks noGrp="1"/>
          </p:cNvSpPr>
          <p:nvPr>
            <p:ph type="title"/>
          </p:nvPr>
        </p:nvSpPr>
        <p:spPr/>
        <p:txBody>
          <a:bodyPr vert="horz"/>
          <a:lstStyle/>
          <a:p>
            <a:r>
              <a:rPr lang="en-US" dirty="0"/>
              <a:t>Determine Surrogate Decision-Maker if Needed</a:t>
            </a:r>
          </a:p>
        </p:txBody>
      </p:sp>
      <p:sp>
        <p:nvSpPr>
          <p:cNvPr id="4" name="Text Placeholder 3">
            <a:extLst>
              <a:ext uri="{FF2B5EF4-FFF2-40B4-BE49-F238E27FC236}">
                <a16:creationId xmlns:a16="http://schemas.microsoft.com/office/drawing/2014/main" id="{A9C65716-AAB6-01FD-A6E3-9632C160C980}"/>
              </a:ext>
            </a:extLst>
          </p:cNvPr>
          <p:cNvSpPr>
            <a:spLocks noGrp="1"/>
          </p:cNvSpPr>
          <p:nvPr>
            <p:ph type="body" sz="quarter" idx="11"/>
          </p:nvPr>
        </p:nvSpPr>
        <p:spPr/>
        <p:txBody>
          <a:bodyPr/>
          <a:lstStyle/>
          <a:p>
            <a:r>
              <a:rPr lang="en-US" dirty="0"/>
              <a:t>If the patient lacks the capacity or the ability to verbally designate, determine their surrogate decision-maker with the help of the questions below.  </a:t>
            </a:r>
          </a:p>
        </p:txBody>
      </p:sp>
      <p:sp>
        <p:nvSpPr>
          <p:cNvPr id="7" name="Freeform: Shape 6">
            <a:extLst>
              <a:ext uri="{FF2B5EF4-FFF2-40B4-BE49-F238E27FC236}">
                <a16:creationId xmlns:a16="http://schemas.microsoft.com/office/drawing/2014/main" id="{BBE42C00-B4B4-27BA-6DCA-35C2D1A4B0BB}"/>
              </a:ext>
            </a:extLst>
          </p:cNvPr>
          <p:cNvSpPr/>
          <p:nvPr/>
        </p:nvSpPr>
        <p:spPr>
          <a:xfrm>
            <a:off x="291912" y="1948960"/>
            <a:ext cx="11658600" cy="3840480"/>
          </a:xfrm>
          <a:custGeom>
            <a:avLst/>
            <a:gdLst>
              <a:gd name="connsiteX0" fmla="*/ 11072718 w 11072718"/>
              <a:gd name="connsiteY0" fmla="*/ 6858200 h 6858199"/>
              <a:gd name="connsiteX1" fmla="*/ 0 w 11072718"/>
              <a:gd name="connsiteY1" fmla="*/ 6858200 h 6858199"/>
              <a:gd name="connsiteX2" fmla="*/ 0 w 11072718"/>
              <a:gd name="connsiteY2" fmla="*/ 0 h 6858199"/>
              <a:gd name="connsiteX3" fmla="*/ 11072718 w 11072718"/>
              <a:gd name="connsiteY3" fmla="*/ 0 h 6858199"/>
              <a:gd name="connsiteX4" fmla="*/ 11072718 w 11072718"/>
              <a:gd name="connsiteY4" fmla="*/ 6858200 h 6858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72718" h="6858199">
                <a:moveTo>
                  <a:pt x="11072718" y="6858200"/>
                </a:moveTo>
                <a:lnTo>
                  <a:pt x="0" y="6858200"/>
                </a:lnTo>
                <a:lnTo>
                  <a:pt x="0" y="0"/>
                </a:lnTo>
                <a:lnTo>
                  <a:pt x="11072718" y="0"/>
                </a:lnTo>
                <a:lnTo>
                  <a:pt x="11072718" y="6858200"/>
                </a:lnTo>
              </a:path>
            </a:pathLst>
          </a:custGeom>
          <a:solidFill>
            <a:schemeClr val="bg1">
              <a:lumMod val="95000"/>
            </a:schemeClr>
          </a:solidFill>
          <a:ln w="0" cap="flat">
            <a:noFill/>
            <a:prstDash val="solid"/>
            <a:miter/>
          </a:ln>
        </p:spPr>
        <p:txBody>
          <a:bodyPr rtlCol="0" anchor="ctr"/>
          <a:lstStyle/>
          <a:p>
            <a:pPr algn="ctr"/>
            <a:endParaRPr lang="en-US">
              <a:solidFill>
                <a:schemeClr val="bg1"/>
              </a:solidFill>
            </a:endParaRPr>
          </a:p>
        </p:txBody>
      </p:sp>
      <p:sp>
        <p:nvSpPr>
          <p:cNvPr id="2761" name="Rectangle 2760">
            <a:extLst>
              <a:ext uri="{FF2B5EF4-FFF2-40B4-BE49-F238E27FC236}">
                <a16:creationId xmlns:a16="http://schemas.microsoft.com/office/drawing/2014/main" id="{FADE348A-E366-BB66-29FB-7B315C79EA29}"/>
              </a:ext>
            </a:extLst>
          </p:cNvPr>
          <p:cNvSpPr/>
          <p:nvPr/>
        </p:nvSpPr>
        <p:spPr>
          <a:xfrm>
            <a:off x="2957148" y="2795643"/>
            <a:ext cx="1737360" cy="2651760"/>
          </a:xfrm>
          <a:prstGeom prst="rect">
            <a:avLst/>
          </a:prstGeom>
          <a:solidFill>
            <a:srgbClr val="A8DEFB"/>
          </a:solidFill>
          <a:ln w="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ru-RU" sz="1600" b="1" dirty="0">
                <a:solidFill>
                  <a:srgbClr val="000064"/>
                </a:solidFill>
                <a:latin typeface="Calibri"/>
              </a:rPr>
              <a:t>Who is the right person to make decisions on the patient’s behalf?</a:t>
            </a:r>
            <a:endParaRPr lang="en-US" sz="1600" b="1" dirty="0">
              <a:solidFill>
                <a:srgbClr val="000064"/>
              </a:solidFill>
              <a:latin typeface="Calibri"/>
            </a:endParaRPr>
          </a:p>
        </p:txBody>
      </p:sp>
      <p:sp>
        <p:nvSpPr>
          <p:cNvPr id="7805" name="Rectangle 7804">
            <a:extLst>
              <a:ext uri="{FF2B5EF4-FFF2-40B4-BE49-F238E27FC236}">
                <a16:creationId xmlns:a16="http://schemas.microsoft.com/office/drawing/2014/main" id="{57C0733B-6793-3DBB-A2E0-C00C6C8BF203}"/>
              </a:ext>
            </a:extLst>
          </p:cNvPr>
          <p:cNvSpPr/>
          <p:nvPr/>
        </p:nvSpPr>
        <p:spPr>
          <a:xfrm>
            <a:off x="5225796" y="2795643"/>
            <a:ext cx="1737360" cy="2651760"/>
          </a:xfrm>
          <a:prstGeom prst="rect">
            <a:avLst/>
          </a:prstGeom>
          <a:solidFill>
            <a:srgbClr val="A8DEFB"/>
          </a:solidFill>
          <a:ln w="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ru-RU" sz="1600" b="1" dirty="0">
                <a:solidFill>
                  <a:srgbClr val="000064"/>
                </a:solidFill>
                <a:latin typeface="Calibri"/>
              </a:rPr>
              <a:t>Did the patient ever complete an Advance Directive or Durable Power of Attorney </a:t>
            </a:r>
            <a:r>
              <a:rPr lang="en-US" altLang="ru-RU" sz="1600" b="1">
                <a:solidFill>
                  <a:srgbClr val="000064"/>
                </a:solidFill>
                <a:latin typeface="Calibri"/>
              </a:rPr>
              <a:t>(DPOA) for </a:t>
            </a:r>
            <a:r>
              <a:rPr lang="en-US" altLang="ru-RU" sz="1600" b="1" dirty="0">
                <a:solidFill>
                  <a:srgbClr val="000064"/>
                </a:solidFill>
                <a:latin typeface="Calibri"/>
              </a:rPr>
              <a:t>Healthcare document?</a:t>
            </a:r>
            <a:endParaRPr lang="en-US" sz="1600" b="1" dirty="0">
              <a:solidFill>
                <a:srgbClr val="000064"/>
              </a:solidFill>
              <a:latin typeface="Calibri"/>
            </a:endParaRPr>
          </a:p>
        </p:txBody>
      </p:sp>
      <p:sp>
        <p:nvSpPr>
          <p:cNvPr id="9192" name="Rectangle 9191">
            <a:extLst>
              <a:ext uri="{FF2B5EF4-FFF2-40B4-BE49-F238E27FC236}">
                <a16:creationId xmlns:a16="http://schemas.microsoft.com/office/drawing/2014/main" id="{EF8331BE-D199-9FBF-42FC-9A4DAB706D2E}"/>
              </a:ext>
            </a:extLst>
          </p:cNvPr>
          <p:cNvSpPr/>
          <p:nvPr/>
        </p:nvSpPr>
        <p:spPr>
          <a:xfrm>
            <a:off x="7549045" y="2795643"/>
            <a:ext cx="1737360" cy="2651760"/>
          </a:xfrm>
          <a:prstGeom prst="rect">
            <a:avLst/>
          </a:prstGeom>
          <a:solidFill>
            <a:srgbClr val="A8DEFB"/>
          </a:solidFill>
          <a:ln w="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ru-RU" sz="1600" b="1" dirty="0">
                <a:solidFill>
                  <a:srgbClr val="000064"/>
                </a:solidFill>
                <a:latin typeface="Calibri"/>
              </a:rPr>
              <a:t>Married?</a:t>
            </a:r>
          </a:p>
          <a:p>
            <a:pPr algn="ctr"/>
            <a:r>
              <a:rPr lang="en-US" sz="1600" b="1" dirty="0">
                <a:solidFill>
                  <a:srgbClr val="000064"/>
                </a:solidFill>
                <a:latin typeface="Calibri"/>
              </a:rPr>
              <a:t>Children?</a:t>
            </a:r>
          </a:p>
          <a:p>
            <a:pPr algn="ctr"/>
            <a:r>
              <a:rPr lang="en-US" sz="1600" b="1" dirty="0">
                <a:solidFill>
                  <a:srgbClr val="000064"/>
                </a:solidFill>
                <a:latin typeface="Calibri"/>
              </a:rPr>
              <a:t>Parents?</a:t>
            </a:r>
          </a:p>
          <a:p>
            <a:pPr algn="ctr"/>
            <a:r>
              <a:rPr lang="en-US" sz="1600" b="1" dirty="0">
                <a:solidFill>
                  <a:srgbClr val="000064"/>
                </a:solidFill>
                <a:latin typeface="Calibri"/>
              </a:rPr>
              <a:t>Siblings?</a:t>
            </a:r>
          </a:p>
        </p:txBody>
      </p:sp>
      <p:sp>
        <p:nvSpPr>
          <p:cNvPr id="10579" name="Rectangle 10578">
            <a:extLst>
              <a:ext uri="{FF2B5EF4-FFF2-40B4-BE49-F238E27FC236}">
                <a16:creationId xmlns:a16="http://schemas.microsoft.com/office/drawing/2014/main" id="{091F8664-E7A2-788B-D777-B1B4FFF20D0F}"/>
              </a:ext>
            </a:extLst>
          </p:cNvPr>
          <p:cNvSpPr/>
          <p:nvPr/>
        </p:nvSpPr>
        <p:spPr>
          <a:xfrm>
            <a:off x="9800797" y="2802729"/>
            <a:ext cx="1737360" cy="2651760"/>
          </a:xfrm>
          <a:prstGeom prst="rect">
            <a:avLst/>
          </a:prstGeom>
          <a:solidFill>
            <a:srgbClr val="A8DEFB"/>
          </a:solidFill>
          <a:ln w="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ru-RU" sz="1600" b="1" dirty="0">
                <a:solidFill>
                  <a:srgbClr val="000064"/>
                </a:solidFill>
                <a:latin typeface="Calibri"/>
              </a:rPr>
              <a:t>Is there anyone else who would want to be included in discussions about their health?</a:t>
            </a:r>
            <a:endParaRPr lang="en-US" sz="1600" b="1" dirty="0">
              <a:solidFill>
                <a:srgbClr val="000064"/>
              </a:solidFill>
              <a:latin typeface="Calibri"/>
            </a:endParaRPr>
          </a:p>
        </p:txBody>
      </p:sp>
      <p:sp>
        <p:nvSpPr>
          <p:cNvPr id="11966" name="Rectangle 11965">
            <a:extLst>
              <a:ext uri="{FF2B5EF4-FFF2-40B4-BE49-F238E27FC236}">
                <a16:creationId xmlns:a16="http://schemas.microsoft.com/office/drawing/2014/main" id="{6790AC13-9DF5-1380-CDAC-03BD89125BC7}"/>
              </a:ext>
            </a:extLst>
          </p:cNvPr>
          <p:cNvSpPr/>
          <p:nvPr/>
        </p:nvSpPr>
        <p:spPr>
          <a:xfrm>
            <a:off x="653843" y="2795643"/>
            <a:ext cx="1737360" cy="2651760"/>
          </a:xfrm>
          <a:prstGeom prst="rect">
            <a:avLst/>
          </a:prstGeom>
          <a:solidFill>
            <a:srgbClr val="A8DEFB"/>
          </a:solidFill>
          <a:ln w="0" cap="flat">
            <a:noFill/>
            <a:prstDash val="solid"/>
            <a:miter/>
          </a:ln>
          <a:effectLst>
            <a:outerShdw blurRad="50800" dist="38100" dir="2700000" algn="tl" rotWithShape="0">
              <a:prstClr val="black">
                <a:alpha val="40000"/>
              </a:prstClr>
            </a:outerShdw>
          </a:effectLst>
        </p:spPr>
        <p:txBody>
          <a:bodyPr rtlCol="0" anchor="ctr"/>
          <a:lstStyle/>
          <a:p>
            <a:pPr algn="ctr"/>
            <a:r>
              <a:rPr lang="en-US" altLang="ru-RU" sz="1600" b="1" dirty="0">
                <a:solidFill>
                  <a:srgbClr val="000064"/>
                </a:solidFill>
                <a:latin typeface="Calibri"/>
              </a:rPr>
              <a:t>Can you share how you are related?</a:t>
            </a:r>
            <a:endParaRPr lang="en-US" sz="1600" b="1" dirty="0">
              <a:solidFill>
                <a:srgbClr val="000064"/>
              </a:solidFill>
              <a:latin typeface="Calibri"/>
            </a:endParaRPr>
          </a:p>
        </p:txBody>
      </p:sp>
      <p:grpSp>
        <p:nvGrpSpPr>
          <p:cNvPr id="20" name="Group 19">
            <a:extLst>
              <a:ext uri="{FF2B5EF4-FFF2-40B4-BE49-F238E27FC236}">
                <a16:creationId xmlns:a16="http://schemas.microsoft.com/office/drawing/2014/main" id="{8F07289F-67E9-8623-0983-4C59BB5AF5E5}"/>
              </a:ext>
            </a:extLst>
          </p:cNvPr>
          <p:cNvGrpSpPr/>
          <p:nvPr>
            <p:custDataLst>
              <p:tags r:id="rId2"/>
            </p:custDataLst>
          </p:nvPr>
        </p:nvGrpSpPr>
        <p:grpSpPr>
          <a:xfrm>
            <a:off x="264086" y="5953721"/>
            <a:ext cx="11604816" cy="338554"/>
            <a:chOff x="278574" y="5597728"/>
            <a:chExt cx="11604816" cy="338554"/>
          </a:xfrm>
        </p:grpSpPr>
        <p:sp>
          <p:nvSpPr>
            <p:cNvPr id="21" name="TextBox 20">
              <a:extLst>
                <a:ext uri="{FF2B5EF4-FFF2-40B4-BE49-F238E27FC236}">
                  <a16:creationId xmlns:a16="http://schemas.microsoft.com/office/drawing/2014/main" id="{AB008F62-1255-9B39-487C-CF3499B97EC0}"/>
                </a:ext>
              </a:extLst>
            </p:cNvPr>
            <p:cNvSpPr txBox="1"/>
            <p:nvPr/>
          </p:nvSpPr>
          <p:spPr>
            <a:xfrm>
              <a:off x="548640" y="5597728"/>
              <a:ext cx="11334750" cy="338554"/>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1E1"/>
                  </a:solidFill>
                  <a:effectLst/>
                  <a:uLnTx/>
                  <a:uFillTx/>
                  <a:latin typeface="Calibri"/>
                  <a:ea typeface="+mn-ea"/>
                  <a:cs typeface="+mn-cs"/>
                </a:rPr>
                <a:t>See Appendix A for more details and resources on determining surrogate decision-makers.</a:t>
              </a:r>
            </a:p>
          </p:txBody>
        </p:sp>
        <p:sp>
          <p:nvSpPr>
            <p:cNvPr id="22" name="Isosceles Triangle 21">
              <a:extLst>
                <a:ext uri="{FF2B5EF4-FFF2-40B4-BE49-F238E27FC236}">
                  <a16:creationId xmlns:a16="http://schemas.microsoft.com/office/drawing/2014/main" id="{E70ABD09-43F5-3028-9F56-22B552B991F9}"/>
                </a:ext>
              </a:extLst>
            </p:cNvPr>
            <p:cNvSpPr/>
            <p:nvPr/>
          </p:nvSpPr>
          <p:spPr>
            <a:xfrm rot="5400000">
              <a:off x="209772" y="5671280"/>
              <a:ext cx="329056" cy="19145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3" name="TextBox 22">
            <a:extLst>
              <a:ext uri="{FF2B5EF4-FFF2-40B4-BE49-F238E27FC236}">
                <a16:creationId xmlns:a16="http://schemas.microsoft.com/office/drawing/2014/main" id="{6AA46122-E0D2-EE9E-168A-2941B69C6D9A}"/>
              </a:ext>
            </a:extLst>
          </p:cNvPr>
          <p:cNvSpPr txBox="1"/>
          <p:nvPr/>
        </p:nvSpPr>
        <p:spPr>
          <a:xfrm>
            <a:off x="5022755" y="2279917"/>
            <a:ext cx="2103120" cy="646331"/>
          </a:xfrm>
          <a:prstGeom prst="rect">
            <a:avLst/>
          </a:prstGeom>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dirty="0"/>
              <a:t>ASK ABOUT </a:t>
            </a:r>
          </a:p>
          <a:p>
            <a:pPr algn="ctr"/>
            <a:r>
              <a:rPr lang="en-US" dirty="0"/>
              <a:t>DPOA</a:t>
            </a:r>
          </a:p>
        </p:txBody>
      </p:sp>
      <p:sp>
        <p:nvSpPr>
          <p:cNvPr id="25" name="TextBox 24">
            <a:extLst>
              <a:ext uri="{FF2B5EF4-FFF2-40B4-BE49-F238E27FC236}">
                <a16:creationId xmlns:a16="http://schemas.microsoft.com/office/drawing/2014/main" id="{8D5BDE09-3BAC-F10F-D2B5-42F24212B9F5}"/>
              </a:ext>
            </a:extLst>
          </p:cNvPr>
          <p:cNvSpPr txBox="1"/>
          <p:nvPr/>
        </p:nvSpPr>
        <p:spPr>
          <a:xfrm>
            <a:off x="2739809" y="2279915"/>
            <a:ext cx="2103120" cy="646331"/>
          </a:xfrm>
          <a:prstGeom prst="rect">
            <a:avLst/>
          </a:prstGeom>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SK ABOUT SURROGATE</a:t>
            </a:r>
            <a:endParaRPr lang="en-US" dirty="0"/>
          </a:p>
        </p:txBody>
      </p:sp>
      <p:sp>
        <p:nvSpPr>
          <p:cNvPr id="26" name="TextBox 25">
            <a:extLst>
              <a:ext uri="{FF2B5EF4-FFF2-40B4-BE49-F238E27FC236}">
                <a16:creationId xmlns:a16="http://schemas.microsoft.com/office/drawing/2014/main" id="{FEC3BCC9-C18A-1011-9A3C-D2A017218A7F}"/>
              </a:ext>
            </a:extLst>
          </p:cNvPr>
          <p:cNvSpPr txBox="1"/>
          <p:nvPr/>
        </p:nvSpPr>
        <p:spPr>
          <a:xfrm>
            <a:off x="470963" y="2279915"/>
            <a:ext cx="2103120" cy="646331"/>
          </a:xfrm>
          <a:prstGeom prst="rect">
            <a:avLst/>
          </a:prstGeom>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dirty="0"/>
              <a:t>CONFIRM RELATIONSHIP</a:t>
            </a:r>
          </a:p>
        </p:txBody>
      </p:sp>
      <p:sp>
        <p:nvSpPr>
          <p:cNvPr id="27" name="TextBox 26">
            <a:extLst>
              <a:ext uri="{FF2B5EF4-FFF2-40B4-BE49-F238E27FC236}">
                <a16:creationId xmlns:a16="http://schemas.microsoft.com/office/drawing/2014/main" id="{E380FA78-5D0B-0AA9-64ED-EBB3BF17A402}"/>
              </a:ext>
            </a:extLst>
          </p:cNvPr>
          <p:cNvSpPr txBox="1"/>
          <p:nvPr/>
        </p:nvSpPr>
        <p:spPr>
          <a:xfrm>
            <a:off x="9617917" y="2279916"/>
            <a:ext cx="2103120" cy="646331"/>
          </a:xfrm>
          <a:prstGeom prst="rect">
            <a:avLst/>
          </a:prstGeom>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dirty="0"/>
              <a:t>ASK ABOUT PARTICIPANTS</a:t>
            </a:r>
          </a:p>
        </p:txBody>
      </p:sp>
      <p:sp>
        <p:nvSpPr>
          <p:cNvPr id="28" name="TextBox 27">
            <a:extLst>
              <a:ext uri="{FF2B5EF4-FFF2-40B4-BE49-F238E27FC236}">
                <a16:creationId xmlns:a16="http://schemas.microsoft.com/office/drawing/2014/main" id="{6C74D684-D349-F2BE-E413-C92F08C4D144}"/>
              </a:ext>
            </a:extLst>
          </p:cNvPr>
          <p:cNvSpPr txBox="1"/>
          <p:nvPr/>
        </p:nvSpPr>
        <p:spPr>
          <a:xfrm>
            <a:off x="7349071" y="2279916"/>
            <a:ext cx="2103120" cy="646331"/>
          </a:xfrm>
          <a:prstGeom prst="rect">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US" dirty="0"/>
              <a:t>CONFIRM </a:t>
            </a:r>
          </a:p>
          <a:p>
            <a:pPr algn="ctr"/>
            <a:r>
              <a:rPr lang="en-US" dirty="0"/>
              <a:t>NEXT OF KIN</a:t>
            </a:r>
          </a:p>
        </p:txBody>
      </p:sp>
    </p:spTree>
    <p:extLst>
      <p:ext uri="{BB962C8B-B14F-4D97-AF65-F5344CB8AC3E}">
        <p14:creationId xmlns:p14="http://schemas.microsoft.com/office/powerpoint/2010/main" val="652897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19" name="think-cell data - do not delete" hidden="1">
            <a:extLst>
              <a:ext uri="{FF2B5EF4-FFF2-40B4-BE49-F238E27FC236}">
                <a16:creationId xmlns:a16="http://schemas.microsoft.com/office/drawing/2014/main" id="{C541BC36-8FA7-0849-BEB0-8877AC1FDDE1}"/>
              </a:ext>
            </a:extLst>
          </p:cNvPr>
          <p:cNvGraphicFramePr>
            <a:graphicFrameLocks noChangeAspect="1"/>
          </p:cNvGraphicFramePr>
          <p:nvPr>
            <p:custDataLst>
              <p:tags r:id="rId2"/>
            </p:custDataLst>
            <p:extLst>
              <p:ext uri="{D42A27DB-BD31-4B8C-83A1-F6EECF244321}">
                <p14:modId xmlns:p14="http://schemas.microsoft.com/office/powerpoint/2010/main" val="209112129"/>
              </p:ext>
            </p:ext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219" name="think-cell data - do not delete" hidden="1">
                        <a:extLst>
                          <a:ext uri="{FF2B5EF4-FFF2-40B4-BE49-F238E27FC236}">
                            <a16:creationId xmlns:a16="http://schemas.microsoft.com/office/drawing/2014/main" id="{C541BC36-8FA7-0849-BEB0-8877AC1FDDE1}"/>
                          </a:ext>
                        </a:extLst>
                      </p:cNvPr>
                      <p:cNvPicPr/>
                      <p:nvPr/>
                    </p:nvPicPr>
                    <p:blipFill>
                      <a:blip r:embed="rId10"/>
                      <a:stretch>
                        <a:fillRect/>
                      </a:stretch>
                    </p:blipFill>
                    <p:spPr>
                      <a:xfrm>
                        <a:off x="3447401" y="1083"/>
                        <a:ext cx="1083" cy="1083"/>
                      </a:xfrm>
                      <a:prstGeom prst="rect">
                        <a:avLst/>
                      </a:prstGeom>
                    </p:spPr>
                  </p:pic>
                </p:oleObj>
              </mc:Fallback>
            </mc:AlternateContent>
          </a:graphicData>
        </a:graphic>
      </p:graphicFrame>
      <p:sp>
        <p:nvSpPr>
          <p:cNvPr id="115" name="Freeform: Shape 114">
            <a:extLst>
              <a:ext uri="{FF2B5EF4-FFF2-40B4-BE49-F238E27FC236}">
                <a16:creationId xmlns:a16="http://schemas.microsoft.com/office/drawing/2014/main" id="{BA021AD6-7225-5739-583D-1F3989A55AA4}"/>
              </a:ext>
            </a:extLst>
          </p:cNvPr>
          <p:cNvSpPr/>
          <p:nvPr>
            <p:custDataLst>
              <p:tags r:id="rId3"/>
            </p:custDataLst>
          </p:nvPr>
        </p:nvSpPr>
        <p:spPr>
          <a:xfrm>
            <a:off x="0" y="2"/>
            <a:ext cx="12191999" cy="1700784"/>
          </a:xfrm>
          <a:custGeom>
            <a:avLst/>
            <a:gdLst>
              <a:gd name="connsiteX0" fmla="*/ 0 w 6794446"/>
              <a:gd name="connsiteY0" fmla="*/ 0 h 1248721"/>
              <a:gd name="connsiteX1" fmla="*/ 6794447 w 6794446"/>
              <a:gd name="connsiteY1" fmla="*/ 0 h 1248721"/>
              <a:gd name="connsiteX2" fmla="*/ 6794447 w 6794446"/>
              <a:gd name="connsiteY2" fmla="*/ 1248722 h 1248721"/>
              <a:gd name="connsiteX3" fmla="*/ 0 w 6794446"/>
              <a:gd name="connsiteY3" fmla="*/ 1248722 h 1248721"/>
            </a:gdLst>
            <a:ahLst/>
            <a:cxnLst>
              <a:cxn ang="0">
                <a:pos x="connsiteX0" y="connsiteY0"/>
              </a:cxn>
              <a:cxn ang="0">
                <a:pos x="connsiteX1" y="connsiteY1"/>
              </a:cxn>
              <a:cxn ang="0">
                <a:pos x="connsiteX2" y="connsiteY2"/>
              </a:cxn>
              <a:cxn ang="0">
                <a:pos x="connsiteX3" y="connsiteY3"/>
              </a:cxn>
            </a:cxnLst>
            <a:rect l="l" t="t" r="r" b="b"/>
            <a:pathLst>
              <a:path w="6794446" h="1248721">
                <a:moveTo>
                  <a:pt x="0" y="0"/>
                </a:moveTo>
                <a:lnTo>
                  <a:pt x="6794447" y="0"/>
                </a:lnTo>
                <a:lnTo>
                  <a:pt x="6794447" y="1248722"/>
                </a:lnTo>
                <a:lnTo>
                  <a:pt x="0" y="1248722"/>
                </a:lnTo>
                <a:close/>
              </a:path>
            </a:pathLst>
          </a:custGeom>
          <a:solidFill>
            <a:schemeClr val="accent1"/>
          </a:solidFill>
          <a:ln w="12903" cap="flat">
            <a:noFill/>
            <a:prstDash val="solid"/>
            <a:miter/>
          </a:ln>
        </p:spPr>
        <p:txBody>
          <a:bodyPr rtlCol="0" anchor="ctr"/>
          <a:lstStyle/>
          <a:p>
            <a:pPr defTabSz="311719"/>
            <a:endParaRPr lang="en-US" sz="1227" dirty="0">
              <a:solidFill>
                <a:prstClr val="black"/>
              </a:solidFill>
              <a:latin typeface="Calibri"/>
            </a:endParaRPr>
          </a:p>
        </p:txBody>
      </p:sp>
      <p:sp>
        <p:nvSpPr>
          <p:cNvPr id="132" name="Rectangle 131">
            <a:extLst>
              <a:ext uri="{FF2B5EF4-FFF2-40B4-BE49-F238E27FC236}">
                <a16:creationId xmlns:a16="http://schemas.microsoft.com/office/drawing/2014/main" id="{3F05E3B9-3806-1AC9-5665-D71349AD614C}"/>
              </a:ext>
            </a:extLst>
          </p:cNvPr>
          <p:cNvSpPr/>
          <p:nvPr>
            <p:custDataLst>
              <p:tags r:id="rId4"/>
            </p:custDataLst>
          </p:nvPr>
        </p:nvSpPr>
        <p:spPr>
          <a:xfrm>
            <a:off x="3556529" y="538338"/>
            <a:ext cx="8476327" cy="646331"/>
          </a:xfrm>
          <a:prstGeom prst="rect">
            <a:avLst/>
          </a:prstGeom>
          <a:noFill/>
        </p:spPr>
        <p:txBody>
          <a:bodyPr wrap="square" lIns="62345" rIns="62345" rtlCol="0">
            <a:spAutoFit/>
          </a:bodyPr>
          <a:lstStyle/>
          <a:p>
            <a:pPr defTabSz="311719"/>
            <a:r>
              <a:rPr lang="en-US" b="1" dirty="0">
                <a:solidFill>
                  <a:schemeClr val="bg1"/>
                </a:solidFill>
                <a:latin typeface="Calibri"/>
              </a:rPr>
              <a:t>Purpose: </a:t>
            </a:r>
            <a:r>
              <a:rPr lang="en-US" dirty="0">
                <a:solidFill>
                  <a:schemeClr val="bg1"/>
                </a:solidFill>
                <a:latin typeface="Calibri"/>
              </a:rPr>
              <a:t>To talk to patients about their goals and values, assess their illness understanding, share their prognosis, and discuss a care plan that aligns with their goals</a:t>
            </a:r>
            <a:r>
              <a:rPr lang="en-US" sz="1600" dirty="0">
                <a:solidFill>
                  <a:prstClr val="black"/>
                </a:solidFill>
                <a:latin typeface="Calibri"/>
              </a:rPr>
              <a:t>.</a:t>
            </a:r>
          </a:p>
        </p:txBody>
      </p:sp>
      <p:sp>
        <p:nvSpPr>
          <p:cNvPr id="222" name="TextBox 221">
            <a:extLst>
              <a:ext uri="{FF2B5EF4-FFF2-40B4-BE49-F238E27FC236}">
                <a16:creationId xmlns:a16="http://schemas.microsoft.com/office/drawing/2014/main" id="{88509352-2CAE-36B0-EE10-16E91441E95B}"/>
              </a:ext>
            </a:extLst>
          </p:cNvPr>
          <p:cNvSpPr txBox="1"/>
          <p:nvPr>
            <p:custDataLst>
              <p:tags r:id="rId5"/>
            </p:custDataLst>
          </p:nvPr>
        </p:nvSpPr>
        <p:spPr>
          <a:xfrm>
            <a:off x="254136" y="277624"/>
            <a:ext cx="3143250" cy="1160959"/>
          </a:xfrm>
          <a:prstGeom prst="rect">
            <a:avLst/>
          </a:prstGeom>
          <a:noFill/>
        </p:spPr>
        <p:txBody>
          <a:bodyPr wrap="square" rtlCol="0">
            <a:spAutoFit/>
          </a:bodyPr>
          <a:lstStyle/>
          <a:p>
            <a:pPr defTabSz="311719">
              <a:lnSpc>
                <a:spcPct val="80000"/>
              </a:lnSpc>
            </a:pPr>
            <a:r>
              <a:rPr lang="en-US" sz="5400" b="1" dirty="0">
                <a:solidFill>
                  <a:srgbClr val="0091E1"/>
                </a:solidFill>
                <a:latin typeface="Verdana"/>
              </a:rPr>
              <a:t>REMAP</a:t>
            </a:r>
            <a:br>
              <a:rPr lang="en-US" sz="6000" b="1" spc="34" dirty="0">
                <a:ln w="0"/>
                <a:solidFill>
                  <a:prstClr val="white"/>
                </a:solidFill>
                <a:effectLst>
                  <a:innerShdw blurRad="63500" dist="50800" dir="13500000">
                    <a:srgbClr val="000000">
                      <a:alpha val="50000"/>
                    </a:srgbClr>
                  </a:innerShdw>
                </a:effectLst>
                <a:latin typeface="Calibri"/>
              </a:rPr>
            </a:br>
            <a:r>
              <a:rPr lang="en-US" sz="3200" dirty="0">
                <a:solidFill>
                  <a:prstClr val="white"/>
                </a:solidFill>
                <a:latin typeface="Calibri"/>
              </a:rPr>
              <a:t>for Goals of Care</a:t>
            </a:r>
          </a:p>
        </p:txBody>
      </p:sp>
      <p:pic>
        <p:nvPicPr>
          <p:cNvPr id="288" name="Picture 287">
            <a:extLst>
              <a:ext uri="{FF2B5EF4-FFF2-40B4-BE49-F238E27FC236}">
                <a16:creationId xmlns:a16="http://schemas.microsoft.com/office/drawing/2014/main" id="{DCADCE34-33BF-18B4-F2DB-4244BABC1F95}"/>
              </a:ext>
            </a:extLst>
          </p:cNvPr>
          <p:cNvPicPr>
            <a:picLocks noChangeAspect="1"/>
          </p:cNvPicPr>
          <p:nvPr>
            <p:custDataLst>
              <p:tags r:id="rId6"/>
            </p:custDataLst>
          </p:nvPr>
        </p:nvPicPr>
        <p:blipFill>
          <a:blip r:embed="rId11"/>
          <a:stretch>
            <a:fillRect/>
          </a:stretch>
        </p:blipFill>
        <p:spPr>
          <a:xfrm>
            <a:off x="94373" y="6485938"/>
            <a:ext cx="4066002" cy="243963"/>
          </a:xfrm>
          <a:prstGeom prst="rect">
            <a:avLst/>
          </a:prstGeom>
        </p:spPr>
      </p:pic>
      <p:pic>
        <p:nvPicPr>
          <p:cNvPr id="289" name="Picture 288">
            <a:extLst>
              <a:ext uri="{FF2B5EF4-FFF2-40B4-BE49-F238E27FC236}">
                <a16:creationId xmlns:a16="http://schemas.microsoft.com/office/drawing/2014/main" id="{B606989D-48E1-BC3B-E1DD-3FE32EE08055}"/>
              </a:ext>
            </a:extLst>
          </p:cNvPr>
          <p:cNvPicPr>
            <a:picLocks noChangeAspect="1"/>
          </p:cNvPicPr>
          <p:nvPr>
            <p:custDataLst>
              <p:tags r:id="rId7"/>
            </p:custDataLst>
          </p:nvPr>
        </p:nvPicPr>
        <p:blipFill>
          <a:blip r:embed="rId12"/>
          <a:stretch>
            <a:fillRect/>
          </a:stretch>
        </p:blipFill>
        <p:spPr>
          <a:xfrm>
            <a:off x="4291931" y="6372400"/>
            <a:ext cx="1668913" cy="477854"/>
          </a:xfrm>
          <a:prstGeom prst="rect">
            <a:avLst/>
          </a:prstGeom>
        </p:spPr>
      </p:pic>
      <p:grpSp>
        <p:nvGrpSpPr>
          <p:cNvPr id="107" name="Group 106">
            <a:extLst>
              <a:ext uri="{FF2B5EF4-FFF2-40B4-BE49-F238E27FC236}">
                <a16:creationId xmlns:a16="http://schemas.microsoft.com/office/drawing/2014/main" id="{8F7E8D3C-F229-4C8B-947C-DDD827203A83}"/>
              </a:ext>
            </a:extLst>
          </p:cNvPr>
          <p:cNvGrpSpPr>
            <a:grpSpLocks/>
          </p:cNvGrpSpPr>
          <p:nvPr/>
        </p:nvGrpSpPr>
        <p:grpSpPr>
          <a:xfrm>
            <a:off x="188325" y="2455068"/>
            <a:ext cx="5669280" cy="1737360"/>
            <a:chOff x="-30493" y="2686929"/>
            <a:chExt cx="7650494" cy="1626969"/>
          </a:xfrm>
        </p:grpSpPr>
        <p:sp>
          <p:nvSpPr>
            <p:cNvPr id="94" name="Rectangle: Rounded Corners 93">
              <a:extLst>
                <a:ext uri="{FF2B5EF4-FFF2-40B4-BE49-F238E27FC236}">
                  <a16:creationId xmlns:a16="http://schemas.microsoft.com/office/drawing/2014/main" id="{24794A45-7680-2381-B74B-91BA62E7CEF1}"/>
                </a:ext>
              </a:extLst>
            </p:cNvPr>
            <p:cNvSpPr/>
            <p:nvPr/>
          </p:nvSpPr>
          <p:spPr>
            <a:xfrm>
              <a:off x="-30493" y="2686929"/>
              <a:ext cx="7650494" cy="1626969"/>
            </a:xfrm>
            <a:prstGeom prst="roundRect">
              <a:avLst/>
            </a:prstGeom>
            <a:solidFill>
              <a:srgbClr val="FFFFFF">
                <a:alpha val="74902"/>
              </a:srgbClr>
            </a:solidFill>
            <a:ln w="4093" cap="flat">
              <a:solidFill>
                <a:srgbClr val="F1F7FD"/>
              </a:solidFill>
              <a:prstDash val="solid"/>
              <a:miter/>
            </a:ln>
          </p:spPr>
          <p:txBody>
            <a:bodyPr rtlCol="0" anchor="ctr"/>
            <a:lstStyle/>
            <a:p>
              <a:pPr defTabSz="311719"/>
              <a:endParaRPr lang="en-US" sz="1227" dirty="0">
                <a:solidFill>
                  <a:prstClr val="black"/>
                </a:solidFill>
                <a:latin typeface="Calibri"/>
              </a:endParaRPr>
            </a:p>
          </p:txBody>
        </p:sp>
        <p:sp>
          <p:nvSpPr>
            <p:cNvPr id="310" name="TextBox 309">
              <a:extLst>
                <a:ext uri="{FF2B5EF4-FFF2-40B4-BE49-F238E27FC236}">
                  <a16:creationId xmlns:a16="http://schemas.microsoft.com/office/drawing/2014/main" id="{BEF7DA7A-C926-143F-6892-FB8FFF22AD68}"/>
                </a:ext>
              </a:extLst>
            </p:cNvPr>
            <p:cNvSpPr txBox="1"/>
            <p:nvPr/>
          </p:nvSpPr>
          <p:spPr>
            <a:xfrm>
              <a:off x="58317" y="2785086"/>
              <a:ext cx="2236127" cy="868244"/>
            </a:xfrm>
            <a:prstGeom prst="rect">
              <a:avLst/>
            </a:prstGeom>
            <a:noFill/>
          </p:spPr>
          <p:txBody>
            <a:bodyPr wrap="square" lIns="0" rIns="0" rtlCol="0" anchor="b">
              <a:spAutoFit/>
            </a:bodyPr>
            <a:lstStyle/>
            <a:p>
              <a:pPr defTabSz="311719">
                <a:lnSpc>
                  <a:spcPct val="80000"/>
                </a:lnSpc>
              </a:pPr>
              <a:r>
                <a:rPr lang="en-US" sz="4800" b="1" dirty="0">
                  <a:solidFill>
                    <a:srgbClr val="0091E1"/>
                  </a:solidFill>
                  <a:latin typeface="Verdana"/>
                </a:rPr>
                <a:t>R</a:t>
              </a:r>
              <a:r>
                <a:rPr lang="en-US" sz="2800" b="1" dirty="0">
                  <a:solidFill>
                    <a:prstClr val="black"/>
                  </a:solidFill>
                  <a:latin typeface="Calibri"/>
                </a:rPr>
                <a:t>eframe</a:t>
              </a:r>
              <a:endParaRPr lang="en-US" sz="2000" b="1" dirty="0">
                <a:solidFill>
                  <a:prstClr val="black"/>
                </a:solidFill>
                <a:latin typeface="Calibri"/>
              </a:endParaRPr>
            </a:p>
            <a:p>
              <a:pPr marL="436407" lvl="3" indent="-124688" defTabSz="311719">
                <a:defRPr/>
              </a:pPr>
              <a:r>
                <a:rPr lang="en-US" sz="1400" dirty="0">
                  <a:solidFill>
                    <a:prstClr val="black"/>
                  </a:solidFill>
                  <a:latin typeface="Calibri"/>
                </a:rPr>
                <a:t>…the big picture</a:t>
              </a:r>
              <a:endParaRPr lang="en-US" sz="1200" dirty="0">
                <a:solidFill>
                  <a:prstClr val="black"/>
                </a:solidFill>
                <a:latin typeface="Calibri"/>
              </a:endParaRPr>
            </a:p>
          </p:txBody>
        </p:sp>
        <p:sp>
          <p:nvSpPr>
            <p:cNvPr id="89" name="TextBox 88">
              <a:extLst>
                <a:ext uri="{FF2B5EF4-FFF2-40B4-BE49-F238E27FC236}">
                  <a16:creationId xmlns:a16="http://schemas.microsoft.com/office/drawing/2014/main" id="{4539D2A7-4ACF-7FB8-9EC1-1A01EE688742}"/>
                </a:ext>
              </a:extLst>
            </p:cNvPr>
            <p:cNvSpPr txBox="1"/>
            <p:nvPr/>
          </p:nvSpPr>
          <p:spPr>
            <a:xfrm>
              <a:off x="3101562" y="2798881"/>
              <a:ext cx="4456172" cy="1498747"/>
            </a:xfrm>
            <a:prstGeom prst="rect">
              <a:avLst/>
            </a:prstGeom>
            <a:noFill/>
          </p:spPr>
          <p:txBody>
            <a:bodyPr wrap="square" lIns="62345" rtlCol="0">
              <a:spAutoFit/>
            </a:bodyPr>
            <a:lstStyle/>
            <a:p>
              <a:pPr defTabSz="311719"/>
              <a:r>
                <a:rPr lang="en-US" sz="1400" b="1" dirty="0">
                  <a:solidFill>
                    <a:prstClr val="black"/>
                  </a:solidFill>
                  <a:latin typeface="Calibri"/>
                </a:rPr>
                <a:t>ASK</a:t>
              </a:r>
              <a:r>
                <a:rPr lang="en-US" sz="1400" dirty="0">
                  <a:solidFill>
                    <a:prstClr val="black"/>
                  </a:solidFill>
                  <a:latin typeface="Calibri"/>
                </a:rPr>
                <a:t> </a:t>
              </a:r>
              <a:r>
                <a:rPr lang="en-US" sz="1400" b="1" i="1" dirty="0">
                  <a:solidFill>
                    <a:prstClr val="black"/>
                  </a:solidFill>
                  <a:latin typeface="Calibri"/>
                </a:rPr>
                <a:t>“What do you understand so far about your [your dad’s] illness?”</a:t>
              </a:r>
            </a:p>
            <a:p>
              <a:pPr defTabSz="311719"/>
              <a:r>
                <a:rPr lang="en-US" sz="1400" b="1" dirty="0">
                  <a:solidFill>
                    <a:prstClr val="black"/>
                  </a:solidFill>
                  <a:latin typeface="Calibri"/>
                </a:rPr>
                <a:t>TELL</a:t>
              </a:r>
              <a:r>
                <a:rPr lang="en-US" sz="1400" dirty="0">
                  <a:solidFill>
                    <a:prstClr val="black"/>
                  </a:solidFill>
                  <a:latin typeface="Calibri"/>
                </a:rPr>
                <a:t> (warning statement): </a:t>
              </a:r>
              <a:r>
                <a:rPr lang="en-US" sz="1400" b="1" i="1" dirty="0">
                  <a:solidFill>
                    <a:prstClr val="black"/>
                  </a:solidFill>
                  <a:latin typeface="Calibri"/>
                </a:rPr>
                <a:t>“We’re in a different place…”</a:t>
              </a:r>
            </a:p>
            <a:p>
              <a:pPr marL="311719" lvl="1" defTabSz="311719"/>
              <a:r>
                <a:rPr lang="en-US" sz="1400" dirty="0">
                  <a:solidFill>
                    <a:prstClr val="black"/>
                  </a:solidFill>
                  <a:latin typeface="Calibri"/>
                </a:rPr>
                <a:t>…..big picture headline</a:t>
              </a:r>
            </a:p>
            <a:p>
              <a:pPr marL="311719" lvl="1" defTabSz="311719"/>
              <a:r>
                <a:rPr lang="en-US" sz="1400" dirty="0">
                  <a:solidFill>
                    <a:prstClr val="black"/>
                  </a:solidFill>
                  <a:latin typeface="Calibri"/>
                </a:rPr>
                <a:t>…..then PAUSE</a:t>
              </a:r>
            </a:p>
            <a:p>
              <a:pPr defTabSz="311719"/>
              <a:r>
                <a:rPr lang="en-US" sz="1400" b="1" dirty="0">
                  <a:solidFill>
                    <a:prstClr val="black"/>
                  </a:solidFill>
                  <a:latin typeface="Calibri"/>
                </a:rPr>
                <a:t>ASK</a:t>
              </a:r>
              <a:r>
                <a:rPr lang="en-US" sz="1400" dirty="0">
                  <a:solidFill>
                    <a:prstClr val="black"/>
                  </a:solidFill>
                  <a:latin typeface="Calibri"/>
                </a:rPr>
                <a:t> </a:t>
              </a:r>
              <a:r>
                <a:rPr lang="en-US" sz="1400" b="1" i="1" dirty="0">
                  <a:solidFill>
                    <a:prstClr val="black"/>
                  </a:solidFill>
                  <a:latin typeface="Calibri"/>
                </a:rPr>
                <a:t>“What concerns do you have so far?”</a:t>
              </a:r>
            </a:p>
          </p:txBody>
        </p:sp>
      </p:grpSp>
      <p:grpSp>
        <p:nvGrpSpPr>
          <p:cNvPr id="104" name="Group 103">
            <a:extLst>
              <a:ext uri="{FF2B5EF4-FFF2-40B4-BE49-F238E27FC236}">
                <a16:creationId xmlns:a16="http://schemas.microsoft.com/office/drawing/2014/main" id="{022AB224-1166-0ACE-52EA-E4B3347FE00F}"/>
              </a:ext>
            </a:extLst>
          </p:cNvPr>
          <p:cNvGrpSpPr/>
          <p:nvPr/>
        </p:nvGrpSpPr>
        <p:grpSpPr>
          <a:xfrm>
            <a:off x="6268557" y="1842260"/>
            <a:ext cx="5669280" cy="1632303"/>
            <a:chOff x="152400" y="5931917"/>
            <a:chExt cx="7467600" cy="1263004"/>
          </a:xfrm>
        </p:grpSpPr>
        <p:sp>
          <p:nvSpPr>
            <p:cNvPr id="99" name="Rectangle: Rounded Corners 98">
              <a:extLst>
                <a:ext uri="{FF2B5EF4-FFF2-40B4-BE49-F238E27FC236}">
                  <a16:creationId xmlns:a16="http://schemas.microsoft.com/office/drawing/2014/main" id="{E458F7A9-BA72-C4C6-B6F5-F382BC8B18A3}"/>
                </a:ext>
              </a:extLst>
            </p:cNvPr>
            <p:cNvSpPr/>
            <p:nvPr/>
          </p:nvSpPr>
          <p:spPr>
            <a:xfrm>
              <a:off x="152400" y="5931917"/>
              <a:ext cx="7467600" cy="1202788"/>
            </a:xfrm>
            <a:prstGeom prst="roundRect">
              <a:avLst/>
            </a:prstGeom>
            <a:solidFill>
              <a:srgbClr val="FFFFFF">
                <a:alpha val="74902"/>
              </a:srgbClr>
            </a:solidFill>
            <a:ln w="4093" cap="flat">
              <a:solidFill>
                <a:srgbClr val="F1F7FD"/>
              </a:solidFill>
              <a:prstDash val="solid"/>
              <a:miter/>
            </a:ln>
          </p:spPr>
          <p:txBody>
            <a:bodyPr rtlCol="0" anchor="ctr"/>
            <a:lstStyle/>
            <a:p>
              <a:pPr defTabSz="311719"/>
              <a:endParaRPr lang="en-US" sz="1227" dirty="0">
                <a:solidFill>
                  <a:prstClr val="black"/>
                </a:solidFill>
                <a:latin typeface="Calibri"/>
              </a:endParaRPr>
            </a:p>
          </p:txBody>
        </p:sp>
        <p:sp>
          <p:nvSpPr>
            <p:cNvPr id="270" name="TextBox 269">
              <a:extLst>
                <a:ext uri="{FF2B5EF4-FFF2-40B4-BE49-F238E27FC236}">
                  <a16:creationId xmlns:a16="http://schemas.microsoft.com/office/drawing/2014/main" id="{BF2CBFB1-620A-1BBA-07C5-5192097FD6C8}"/>
                </a:ext>
              </a:extLst>
            </p:cNvPr>
            <p:cNvSpPr txBox="1"/>
            <p:nvPr/>
          </p:nvSpPr>
          <p:spPr>
            <a:xfrm>
              <a:off x="267674" y="6155672"/>
              <a:ext cx="2279554" cy="711485"/>
            </a:xfrm>
            <a:prstGeom prst="rect">
              <a:avLst/>
            </a:prstGeom>
            <a:noFill/>
          </p:spPr>
          <p:txBody>
            <a:bodyPr wrap="square" lIns="0" rIns="0" rtlCol="0" anchor="b">
              <a:spAutoFit/>
            </a:bodyPr>
            <a:lstStyle/>
            <a:p>
              <a:pPr defTabSz="311719">
                <a:lnSpc>
                  <a:spcPct val="80000"/>
                </a:lnSpc>
              </a:pPr>
              <a:r>
                <a:rPr lang="en-US" sz="4800" b="1" dirty="0">
                  <a:solidFill>
                    <a:srgbClr val="0091E1"/>
                  </a:solidFill>
                  <a:latin typeface="Verdana"/>
                </a:rPr>
                <a:t>M</a:t>
              </a:r>
              <a:r>
                <a:rPr lang="en-US" sz="2800" b="1" dirty="0">
                  <a:solidFill>
                    <a:prstClr val="black"/>
                  </a:solidFill>
                  <a:latin typeface="Calibri"/>
                </a:rPr>
                <a:t>ap</a:t>
              </a:r>
              <a:endParaRPr lang="en-US" sz="2000" b="1" dirty="0">
                <a:solidFill>
                  <a:prstClr val="black"/>
                </a:solidFill>
                <a:latin typeface="Calibri"/>
              </a:endParaRPr>
            </a:p>
            <a:p>
              <a:pPr marL="436407" lvl="3" indent="-124688" defTabSz="311719">
                <a:defRPr/>
              </a:pPr>
              <a:r>
                <a:rPr lang="en-US" sz="1400" dirty="0">
                  <a:solidFill>
                    <a:prstClr val="black"/>
                  </a:solidFill>
                  <a:latin typeface="Calibri"/>
                </a:rPr>
                <a:t>…what’s important</a:t>
              </a:r>
            </a:p>
          </p:txBody>
        </p:sp>
        <p:sp>
          <p:nvSpPr>
            <p:cNvPr id="91" name="TextBox 90">
              <a:extLst>
                <a:ext uri="{FF2B5EF4-FFF2-40B4-BE49-F238E27FC236}">
                  <a16:creationId xmlns:a16="http://schemas.microsoft.com/office/drawing/2014/main" id="{6DACC742-DB3F-4990-ECFA-EB9613D0E63C}"/>
                </a:ext>
              </a:extLst>
            </p:cNvPr>
            <p:cNvSpPr txBox="1"/>
            <p:nvPr/>
          </p:nvSpPr>
          <p:spPr>
            <a:xfrm>
              <a:off x="3474055" y="5956573"/>
              <a:ext cx="4114800" cy="1238348"/>
            </a:xfrm>
            <a:prstGeom prst="rect">
              <a:avLst/>
            </a:prstGeom>
            <a:noFill/>
          </p:spPr>
          <p:txBody>
            <a:bodyPr wrap="square" lIns="62345">
              <a:spAutoFit/>
            </a:bodyPr>
            <a:lstStyle/>
            <a:p>
              <a:pPr defTabSz="311719"/>
              <a:r>
                <a:rPr lang="en-US" sz="1400" b="1" i="1" dirty="0">
                  <a:solidFill>
                    <a:prstClr val="black"/>
                  </a:solidFill>
                  <a:latin typeface="Calibri"/>
                </a:rPr>
                <a:t>“Would it be okay to talk about you [your dad] as a person before we talk about treatments?”</a:t>
              </a:r>
            </a:p>
            <a:p>
              <a:pPr marL="428614" lvl="1" indent="-116895" defTabSz="311719">
                <a:buFont typeface="Arial" panose="020B0604020202020204" pitchFamily="34" charset="0"/>
                <a:buChar char="•"/>
              </a:pPr>
              <a:r>
                <a:rPr lang="en-US" sz="1400" dirty="0">
                  <a:solidFill>
                    <a:prstClr val="black"/>
                  </a:solidFill>
                  <a:latin typeface="Calibri"/>
                </a:rPr>
                <a:t>What’s important…?</a:t>
              </a:r>
            </a:p>
            <a:p>
              <a:pPr marL="428614" lvl="1" indent="-116895" defTabSz="311719">
                <a:buFont typeface="Arial" panose="020B0604020202020204" pitchFamily="34" charset="0"/>
                <a:buChar char="•"/>
              </a:pPr>
              <a:r>
                <a:rPr lang="en-US" sz="1400" dirty="0">
                  <a:solidFill>
                    <a:prstClr val="black"/>
                  </a:solidFill>
                  <a:latin typeface="Calibri"/>
                </a:rPr>
                <a:t>What worries…?</a:t>
              </a:r>
            </a:p>
            <a:p>
              <a:pPr marL="428614" lvl="1" indent="-116895" defTabSz="311719">
                <a:buFont typeface="Arial" panose="020B0604020202020204" pitchFamily="34" charset="0"/>
                <a:buChar char="•"/>
              </a:pPr>
              <a:r>
                <a:rPr lang="en-US" sz="1400" dirty="0">
                  <a:solidFill>
                    <a:prstClr val="black"/>
                  </a:solidFill>
                  <a:latin typeface="Calibri"/>
                </a:rPr>
                <a:t>What to avoid…?</a:t>
              </a:r>
            </a:p>
            <a:p>
              <a:pPr marL="428614" lvl="1" indent="-116895" defTabSz="311719">
                <a:buFont typeface="Arial" panose="020B0604020202020204" pitchFamily="34" charset="0"/>
                <a:buChar char="•"/>
              </a:pPr>
              <a:r>
                <a:rPr lang="en-US" sz="1400" dirty="0">
                  <a:solidFill>
                    <a:prstClr val="black"/>
                  </a:solidFill>
                  <a:latin typeface="Calibri"/>
                </a:rPr>
                <a:t>What else?</a:t>
              </a:r>
              <a:endParaRPr lang="en-US" sz="1200" dirty="0">
                <a:solidFill>
                  <a:prstClr val="black"/>
                </a:solidFill>
                <a:latin typeface="Calibri"/>
              </a:endParaRPr>
            </a:p>
          </p:txBody>
        </p:sp>
      </p:grpSp>
      <p:grpSp>
        <p:nvGrpSpPr>
          <p:cNvPr id="103" name="Group 102">
            <a:extLst>
              <a:ext uri="{FF2B5EF4-FFF2-40B4-BE49-F238E27FC236}">
                <a16:creationId xmlns:a16="http://schemas.microsoft.com/office/drawing/2014/main" id="{38B4D161-E177-1B8A-947E-FE498015D06C}"/>
              </a:ext>
            </a:extLst>
          </p:cNvPr>
          <p:cNvGrpSpPr/>
          <p:nvPr/>
        </p:nvGrpSpPr>
        <p:grpSpPr>
          <a:xfrm>
            <a:off x="6268557" y="3482224"/>
            <a:ext cx="5683929" cy="1554480"/>
            <a:chOff x="152400" y="7258930"/>
            <a:chExt cx="7486896" cy="1266093"/>
          </a:xfrm>
        </p:grpSpPr>
        <p:sp>
          <p:nvSpPr>
            <p:cNvPr id="100" name="Rectangle: Rounded Corners 99">
              <a:extLst>
                <a:ext uri="{FF2B5EF4-FFF2-40B4-BE49-F238E27FC236}">
                  <a16:creationId xmlns:a16="http://schemas.microsoft.com/office/drawing/2014/main" id="{88095ADB-BBC7-6ABD-2120-CE88F6B16029}"/>
                </a:ext>
              </a:extLst>
            </p:cNvPr>
            <p:cNvSpPr/>
            <p:nvPr/>
          </p:nvSpPr>
          <p:spPr>
            <a:xfrm>
              <a:off x="152400" y="7258930"/>
              <a:ext cx="7467600" cy="1266093"/>
            </a:xfrm>
            <a:prstGeom prst="roundRect">
              <a:avLst/>
            </a:prstGeom>
            <a:solidFill>
              <a:srgbClr val="FFFFFF">
                <a:alpha val="74902"/>
              </a:srgbClr>
            </a:solidFill>
            <a:ln w="4093" cap="flat">
              <a:solidFill>
                <a:srgbClr val="F1F7FD"/>
              </a:solidFill>
              <a:prstDash val="solid"/>
              <a:miter/>
            </a:ln>
          </p:spPr>
          <p:txBody>
            <a:bodyPr rtlCol="0" anchor="ctr"/>
            <a:lstStyle/>
            <a:p>
              <a:pPr defTabSz="311719"/>
              <a:endParaRPr lang="en-US" sz="1227" dirty="0">
                <a:solidFill>
                  <a:prstClr val="black"/>
                </a:solidFill>
                <a:latin typeface="Calibri"/>
              </a:endParaRPr>
            </a:p>
          </p:txBody>
        </p:sp>
        <p:sp>
          <p:nvSpPr>
            <p:cNvPr id="278" name="TextBox 277">
              <a:extLst>
                <a:ext uri="{FF2B5EF4-FFF2-40B4-BE49-F238E27FC236}">
                  <a16:creationId xmlns:a16="http://schemas.microsoft.com/office/drawing/2014/main" id="{8DAC1E06-31BB-B319-2FE1-6AD49B9A3988}"/>
                </a:ext>
              </a:extLst>
            </p:cNvPr>
            <p:cNvSpPr txBox="1"/>
            <p:nvPr/>
          </p:nvSpPr>
          <p:spPr>
            <a:xfrm>
              <a:off x="315091" y="7607372"/>
              <a:ext cx="3050640" cy="731980"/>
            </a:xfrm>
            <a:prstGeom prst="rect">
              <a:avLst/>
            </a:prstGeom>
            <a:noFill/>
          </p:spPr>
          <p:txBody>
            <a:bodyPr wrap="square" lIns="0" rIns="0" rtlCol="0" anchor="b">
              <a:spAutoFit/>
            </a:bodyPr>
            <a:lstStyle/>
            <a:p>
              <a:pPr defTabSz="311719">
                <a:lnSpc>
                  <a:spcPct val="80000"/>
                </a:lnSpc>
              </a:pPr>
              <a:r>
                <a:rPr lang="en-US" sz="4800" b="1" dirty="0">
                  <a:solidFill>
                    <a:srgbClr val="0091E1"/>
                  </a:solidFill>
                  <a:latin typeface="Verdana"/>
                </a:rPr>
                <a:t>A</a:t>
              </a:r>
              <a:r>
                <a:rPr lang="en-US" sz="2800" b="1" dirty="0">
                  <a:solidFill>
                    <a:prstClr val="black"/>
                  </a:solidFill>
                  <a:latin typeface="Calibri"/>
                </a:rPr>
                <a:t>lign</a:t>
              </a:r>
              <a:endParaRPr lang="en-US" sz="2000" b="1" dirty="0">
                <a:solidFill>
                  <a:prstClr val="black"/>
                </a:solidFill>
                <a:latin typeface="Calibri"/>
              </a:endParaRPr>
            </a:p>
            <a:p>
              <a:pPr marL="436407" lvl="3" indent="-124688" defTabSz="311719">
                <a:defRPr/>
              </a:pPr>
              <a:r>
                <a:rPr lang="en-US" sz="1400" dirty="0">
                  <a:solidFill>
                    <a:prstClr val="black"/>
                  </a:solidFill>
                  <a:latin typeface="Calibri"/>
                </a:rPr>
                <a:t>…with the patient’s values</a:t>
              </a:r>
            </a:p>
          </p:txBody>
        </p:sp>
        <p:sp>
          <p:nvSpPr>
            <p:cNvPr id="92" name="TextBox 91">
              <a:extLst>
                <a:ext uri="{FF2B5EF4-FFF2-40B4-BE49-F238E27FC236}">
                  <a16:creationId xmlns:a16="http://schemas.microsoft.com/office/drawing/2014/main" id="{90F6DA43-FBC6-419F-896D-0ED3D5BE675D}"/>
                </a:ext>
              </a:extLst>
            </p:cNvPr>
            <p:cNvSpPr txBox="1"/>
            <p:nvPr/>
          </p:nvSpPr>
          <p:spPr>
            <a:xfrm>
              <a:off x="3423618" y="7545730"/>
              <a:ext cx="4215678" cy="818881"/>
            </a:xfrm>
            <a:prstGeom prst="rect">
              <a:avLst/>
            </a:prstGeom>
            <a:noFill/>
          </p:spPr>
          <p:txBody>
            <a:bodyPr wrap="square" lIns="62345">
              <a:spAutoFit/>
            </a:bodyPr>
            <a:lstStyle/>
            <a:p>
              <a:pPr defTabSz="311719">
                <a:spcBef>
                  <a:spcPts val="409"/>
                </a:spcBef>
                <a:defRPr/>
              </a:pPr>
              <a:r>
                <a:rPr lang="en-US" sz="1400" b="1" i="1" dirty="0">
                  <a:solidFill>
                    <a:prstClr val="black"/>
                  </a:solidFill>
                  <a:latin typeface="Calibri"/>
                </a:rPr>
                <a:t>“As I listen to you, it sounds like the most important things to you [your dad] are…”</a:t>
              </a:r>
            </a:p>
            <a:p>
              <a:pPr defTabSz="311719">
                <a:spcBef>
                  <a:spcPts val="409"/>
                </a:spcBef>
                <a:defRPr/>
              </a:pPr>
              <a:r>
                <a:rPr lang="en-US" sz="1400" b="1" i="1" dirty="0">
                  <a:solidFill>
                    <a:prstClr val="black"/>
                  </a:solidFill>
                  <a:latin typeface="Calibri"/>
                </a:rPr>
                <a:t>“I wonder if perhaps you [your dad] would want to avoid…?”</a:t>
              </a:r>
            </a:p>
          </p:txBody>
        </p:sp>
      </p:grpSp>
      <p:grpSp>
        <p:nvGrpSpPr>
          <p:cNvPr id="102" name="Group 101">
            <a:extLst>
              <a:ext uri="{FF2B5EF4-FFF2-40B4-BE49-F238E27FC236}">
                <a16:creationId xmlns:a16="http://schemas.microsoft.com/office/drawing/2014/main" id="{4AA92195-0E6E-8361-BD19-94FE2F6B20C6}"/>
              </a:ext>
            </a:extLst>
          </p:cNvPr>
          <p:cNvGrpSpPr/>
          <p:nvPr/>
        </p:nvGrpSpPr>
        <p:grpSpPr>
          <a:xfrm>
            <a:off x="6268557" y="5114526"/>
            <a:ext cx="5669280" cy="1554480"/>
            <a:chOff x="473246" y="8846959"/>
            <a:chExt cx="7758302" cy="1220372"/>
          </a:xfrm>
        </p:grpSpPr>
        <p:sp>
          <p:nvSpPr>
            <p:cNvPr id="101" name="Rectangle: Rounded Corners 100">
              <a:extLst>
                <a:ext uri="{FF2B5EF4-FFF2-40B4-BE49-F238E27FC236}">
                  <a16:creationId xmlns:a16="http://schemas.microsoft.com/office/drawing/2014/main" id="{9A71654B-41BA-F2D4-D50B-B5359C668418}"/>
                </a:ext>
              </a:extLst>
            </p:cNvPr>
            <p:cNvSpPr/>
            <p:nvPr/>
          </p:nvSpPr>
          <p:spPr>
            <a:xfrm>
              <a:off x="473246" y="8846959"/>
              <a:ext cx="7758302" cy="1220372"/>
            </a:xfrm>
            <a:prstGeom prst="roundRect">
              <a:avLst/>
            </a:prstGeom>
            <a:solidFill>
              <a:srgbClr val="FFFFFF">
                <a:alpha val="74902"/>
              </a:srgbClr>
            </a:solidFill>
            <a:ln w="4093" cap="flat">
              <a:solidFill>
                <a:srgbClr val="F1F7FD"/>
              </a:solidFill>
              <a:prstDash val="solid"/>
              <a:miter/>
            </a:ln>
          </p:spPr>
          <p:txBody>
            <a:bodyPr rtlCol="0" anchor="ctr"/>
            <a:lstStyle/>
            <a:p>
              <a:pPr defTabSz="311719"/>
              <a:endParaRPr lang="en-US" sz="1227" dirty="0">
                <a:solidFill>
                  <a:prstClr val="black"/>
                </a:solidFill>
                <a:latin typeface="Calibri"/>
              </a:endParaRPr>
            </a:p>
          </p:txBody>
        </p:sp>
        <p:sp>
          <p:nvSpPr>
            <p:cNvPr id="93" name="TextBox 92">
              <a:extLst>
                <a:ext uri="{FF2B5EF4-FFF2-40B4-BE49-F238E27FC236}">
                  <a16:creationId xmlns:a16="http://schemas.microsoft.com/office/drawing/2014/main" id="{1AFAA706-5E3F-5D90-FAD5-97960CA11D4F}"/>
                </a:ext>
              </a:extLst>
            </p:cNvPr>
            <p:cNvSpPr txBox="1"/>
            <p:nvPr/>
          </p:nvSpPr>
          <p:spPr>
            <a:xfrm>
              <a:off x="4004301" y="8980016"/>
              <a:ext cx="4114799" cy="1087315"/>
            </a:xfrm>
            <a:prstGeom prst="rect">
              <a:avLst/>
            </a:prstGeom>
            <a:noFill/>
          </p:spPr>
          <p:txBody>
            <a:bodyPr wrap="square" lIns="62345">
              <a:spAutoFit/>
            </a:bodyPr>
            <a:lstStyle/>
            <a:p>
              <a:pPr defTabSz="311719">
                <a:defRPr/>
              </a:pPr>
              <a:r>
                <a:rPr lang="en-US" sz="1400" b="1" i="1" dirty="0">
                  <a:solidFill>
                    <a:prstClr val="black"/>
                  </a:solidFill>
                  <a:latin typeface="Calibri"/>
                </a:rPr>
                <a:t>“Would it be okay to talk about a plan that can best meet your [your dad’s] priorities?”</a:t>
              </a:r>
            </a:p>
            <a:p>
              <a:pPr marL="428614" lvl="2" indent="-116895" defTabSz="311719">
                <a:buFont typeface="Arial" panose="020B0604020202020204" pitchFamily="34" charset="0"/>
                <a:buChar char="•"/>
                <a:defRPr/>
              </a:pPr>
              <a:r>
                <a:rPr lang="en-US" sz="1400" b="1" i="1" dirty="0">
                  <a:solidFill>
                    <a:prstClr val="black"/>
                  </a:solidFill>
                  <a:latin typeface="Calibri"/>
                </a:rPr>
                <a:t>“We can…”</a:t>
              </a:r>
            </a:p>
            <a:p>
              <a:pPr marL="428614" lvl="2" indent="-116895" defTabSz="311719">
                <a:buFont typeface="Arial" panose="020B0604020202020204" pitchFamily="34" charset="0"/>
                <a:buChar char="•"/>
                <a:defRPr/>
              </a:pPr>
              <a:r>
                <a:rPr lang="en-US" sz="1400" b="1" i="1" dirty="0">
                  <a:solidFill>
                    <a:prstClr val="black"/>
                  </a:solidFill>
                  <a:latin typeface="Calibri"/>
                </a:rPr>
                <a:t>“We can avoid…”</a:t>
              </a:r>
            </a:p>
            <a:p>
              <a:pPr marL="428614" lvl="2" indent="-116895" defTabSz="311719">
                <a:buFont typeface="Arial" panose="020B0604020202020204" pitchFamily="34" charset="0"/>
                <a:buChar char="•"/>
                <a:defRPr/>
              </a:pPr>
              <a:r>
                <a:rPr lang="en-US" sz="1400" b="1" i="1" dirty="0">
                  <a:solidFill>
                    <a:prstClr val="black"/>
                  </a:solidFill>
                  <a:latin typeface="Calibri"/>
                </a:rPr>
                <a:t>“We can stop…”</a:t>
              </a:r>
            </a:p>
          </p:txBody>
        </p:sp>
        <p:sp>
          <p:nvSpPr>
            <p:cNvPr id="284" name="TextBox 283">
              <a:extLst>
                <a:ext uri="{FF2B5EF4-FFF2-40B4-BE49-F238E27FC236}">
                  <a16:creationId xmlns:a16="http://schemas.microsoft.com/office/drawing/2014/main" id="{99F29BDA-D949-8F65-75FF-50846A4D854D}"/>
                </a:ext>
              </a:extLst>
            </p:cNvPr>
            <p:cNvSpPr txBox="1"/>
            <p:nvPr/>
          </p:nvSpPr>
          <p:spPr>
            <a:xfrm>
              <a:off x="642271" y="9092290"/>
              <a:ext cx="3445854" cy="705547"/>
            </a:xfrm>
            <a:prstGeom prst="rect">
              <a:avLst/>
            </a:prstGeom>
            <a:noFill/>
          </p:spPr>
          <p:txBody>
            <a:bodyPr wrap="square" lIns="0" rIns="0" rtlCol="0" anchor="b">
              <a:spAutoFit/>
            </a:bodyPr>
            <a:lstStyle/>
            <a:p>
              <a:pPr defTabSz="311719">
                <a:lnSpc>
                  <a:spcPct val="80000"/>
                </a:lnSpc>
              </a:pPr>
              <a:r>
                <a:rPr lang="en-US" sz="4800" b="1" dirty="0">
                  <a:solidFill>
                    <a:srgbClr val="0091E1"/>
                  </a:solidFill>
                  <a:latin typeface="Verdana"/>
                </a:rPr>
                <a:t>P</a:t>
              </a:r>
              <a:r>
                <a:rPr lang="en-US" sz="2800" b="1" dirty="0">
                  <a:solidFill>
                    <a:prstClr val="black"/>
                  </a:solidFill>
                  <a:latin typeface="Calibri"/>
                </a:rPr>
                <a:t>lan</a:t>
              </a:r>
              <a:endParaRPr lang="en-US" sz="2000" b="1" dirty="0">
                <a:solidFill>
                  <a:prstClr val="black"/>
                </a:solidFill>
                <a:latin typeface="Calibri"/>
              </a:endParaRPr>
            </a:p>
            <a:p>
              <a:pPr marL="436407" lvl="3" indent="-124688" defTabSz="311719">
                <a:defRPr/>
              </a:pPr>
              <a:r>
                <a:rPr lang="en-US" sz="1400" dirty="0">
                  <a:solidFill>
                    <a:prstClr val="black"/>
                  </a:solidFill>
                  <a:latin typeface="Calibri"/>
                </a:rPr>
                <a:t>…treatments to match values</a:t>
              </a:r>
            </a:p>
          </p:txBody>
        </p:sp>
      </p:grpSp>
      <p:grpSp>
        <p:nvGrpSpPr>
          <p:cNvPr id="106" name="Group 105">
            <a:extLst>
              <a:ext uri="{FF2B5EF4-FFF2-40B4-BE49-F238E27FC236}">
                <a16:creationId xmlns:a16="http://schemas.microsoft.com/office/drawing/2014/main" id="{5EF59F54-3CC8-05C3-E095-625BD978582A}"/>
              </a:ext>
            </a:extLst>
          </p:cNvPr>
          <p:cNvGrpSpPr/>
          <p:nvPr/>
        </p:nvGrpSpPr>
        <p:grpSpPr>
          <a:xfrm>
            <a:off x="188325" y="4291083"/>
            <a:ext cx="5669280" cy="1782393"/>
            <a:chOff x="-182262" y="3809436"/>
            <a:chExt cx="9132809" cy="2936316"/>
          </a:xfrm>
        </p:grpSpPr>
        <p:grpSp>
          <p:nvGrpSpPr>
            <p:cNvPr id="105" name="Group 104">
              <a:extLst>
                <a:ext uri="{FF2B5EF4-FFF2-40B4-BE49-F238E27FC236}">
                  <a16:creationId xmlns:a16="http://schemas.microsoft.com/office/drawing/2014/main" id="{F86C40C8-2DCF-D353-1C35-7D4B44F92F65}"/>
                </a:ext>
              </a:extLst>
            </p:cNvPr>
            <p:cNvGrpSpPr/>
            <p:nvPr/>
          </p:nvGrpSpPr>
          <p:grpSpPr>
            <a:xfrm>
              <a:off x="-182262" y="3809436"/>
              <a:ext cx="9132809" cy="2924499"/>
              <a:chOff x="-182262" y="3809436"/>
              <a:chExt cx="9132809" cy="2924499"/>
            </a:xfrm>
          </p:grpSpPr>
          <p:sp>
            <p:nvSpPr>
              <p:cNvPr id="98" name="Rectangle: Rounded Corners 97">
                <a:extLst>
                  <a:ext uri="{FF2B5EF4-FFF2-40B4-BE49-F238E27FC236}">
                    <a16:creationId xmlns:a16="http://schemas.microsoft.com/office/drawing/2014/main" id="{6F86DAB5-FA29-9411-59D8-24A99E568D3E}"/>
                  </a:ext>
                </a:extLst>
              </p:cNvPr>
              <p:cNvSpPr>
                <a:spLocks noChangeAspect="1"/>
              </p:cNvSpPr>
              <p:nvPr/>
            </p:nvSpPr>
            <p:spPr>
              <a:xfrm>
                <a:off x="-182262" y="3809436"/>
                <a:ext cx="9132809" cy="2862126"/>
              </a:xfrm>
              <a:prstGeom prst="roundRect">
                <a:avLst/>
              </a:prstGeom>
              <a:solidFill>
                <a:srgbClr val="FFFFFF">
                  <a:alpha val="74902"/>
                </a:srgbClr>
              </a:solidFill>
              <a:ln w="4093" cap="flat">
                <a:solidFill>
                  <a:srgbClr val="F1F7FD"/>
                </a:solidFill>
                <a:prstDash val="solid"/>
                <a:miter/>
              </a:ln>
            </p:spPr>
            <p:txBody>
              <a:bodyPr rtlCol="0" anchor="ctr"/>
              <a:lstStyle/>
              <a:p>
                <a:pPr defTabSz="311719"/>
                <a:endParaRPr lang="en-US" sz="1227" dirty="0">
                  <a:solidFill>
                    <a:prstClr val="black"/>
                  </a:solidFill>
                  <a:latin typeface="Calibri"/>
                </a:endParaRPr>
              </a:p>
            </p:txBody>
          </p:sp>
          <p:sp>
            <p:nvSpPr>
              <p:cNvPr id="90" name="TextBox 89">
                <a:extLst>
                  <a:ext uri="{FF2B5EF4-FFF2-40B4-BE49-F238E27FC236}">
                    <a16:creationId xmlns:a16="http://schemas.microsoft.com/office/drawing/2014/main" id="{CE0AE7C8-4A5B-9A03-E7CB-77ED585A7A72}"/>
                  </a:ext>
                </a:extLst>
              </p:cNvPr>
              <p:cNvSpPr txBox="1"/>
              <p:nvPr/>
            </p:nvSpPr>
            <p:spPr>
              <a:xfrm>
                <a:off x="3838721" y="3843857"/>
                <a:ext cx="5056185" cy="2890078"/>
              </a:xfrm>
              <a:prstGeom prst="rect">
                <a:avLst/>
              </a:prstGeom>
              <a:noFill/>
            </p:spPr>
            <p:txBody>
              <a:bodyPr wrap="square" lIns="62345">
                <a:spAutoFit/>
              </a:bodyPr>
              <a:lstStyle/>
              <a:p>
                <a:pPr defTabSz="311719"/>
                <a:r>
                  <a:rPr lang="en-US" sz="1400" b="1" dirty="0">
                    <a:solidFill>
                      <a:srgbClr val="0091E1"/>
                    </a:solidFill>
                    <a:latin typeface="Verdana"/>
                  </a:rPr>
                  <a:t>N</a:t>
                </a:r>
                <a:r>
                  <a:rPr lang="en-US" sz="1200" dirty="0">
                    <a:solidFill>
                      <a:prstClr val="black"/>
                    </a:solidFill>
                    <a:latin typeface="Calibri"/>
                  </a:rPr>
                  <a:t>ame: </a:t>
                </a:r>
                <a:r>
                  <a:rPr lang="en-US" sz="1200" b="1" i="1" dirty="0">
                    <a:solidFill>
                      <a:prstClr val="black"/>
                    </a:solidFill>
                    <a:latin typeface="Calibri"/>
                  </a:rPr>
                  <a:t>“It sounds like this might be…”</a:t>
                </a:r>
              </a:p>
              <a:p>
                <a:pPr defTabSz="311719"/>
                <a:r>
                  <a:rPr lang="en-US" sz="1400" b="1" dirty="0">
                    <a:solidFill>
                      <a:srgbClr val="0091E1"/>
                    </a:solidFill>
                    <a:latin typeface="Verdana"/>
                  </a:rPr>
                  <a:t>U</a:t>
                </a:r>
                <a:r>
                  <a:rPr lang="en-US" sz="1200" dirty="0">
                    <a:solidFill>
                      <a:prstClr val="black"/>
                    </a:solidFill>
                    <a:latin typeface="Calibri"/>
                  </a:rPr>
                  <a:t>nderstand: </a:t>
                </a:r>
                <a:r>
                  <a:rPr lang="en-US" sz="1200" b="1" i="1" dirty="0">
                    <a:solidFill>
                      <a:prstClr val="black"/>
                    </a:solidFill>
                    <a:latin typeface="Calibri"/>
                  </a:rPr>
                  <a:t>“I can only imagine…”</a:t>
                </a:r>
              </a:p>
              <a:p>
                <a:pPr defTabSz="311719"/>
                <a:r>
                  <a:rPr lang="en-US" sz="1400" b="1" dirty="0">
                    <a:solidFill>
                      <a:srgbClr val="0091E1"/>
                    </a:solidFill>
                    <a:latin typeface="Verdana"/>
                  </a:rPr>
                  <a:t>R</a:t>
                </a:r>
                <a:r>
                  <a:rPr lang="en-US" sz="1200" dirty="0">
                    <a:solidFill>
                      <a:prstClr val="black"/>
                    </a:solidFill>
                    <a:latin typeface="Calibri"/>
                  </a:rPr>
                  <a:t>espect: </a:t>
                </a:r>
                <a:r>
                  <a:rPr lang="en-US" sz="1200" b="1" i="1" dirty="0">
                    <a:solidFill>
                      <a:prstClr val="black"/>
                    </a:solidFill>
                    <a:latin typeface="Calibri"/>
                  </a:rPr>
                  <a:t>“I’m impressed that…”</a:t>
                </a:r>
              </a:p>
              <a:p>
                <a:pPr defTabSz="311719"/>
                <a:r>
                  <a:rPr lang="en-US" sz="1400" b="1" dirty="0">
                    <a:solidFill>
                      <a:srgbClr val="0091E1"/>
                    </a:solidFill>
                    <a:latin typeface="Verdana"/>
                  </a:rPr>
                  <a:t>S</a:t>
                </a:r>
                <a:r>
                  <a:rPr lang="en-US" sz="1200" dirty="0">
                    <a:solidFill>
                      <a:prstClr val="black"/>
                    </a:solidFill>
                    <a:latin typeface="Calibri"/>
                  </a:rPr>
                  <a:t>upport: </a:t>
                </a:r>
                <a:r>
                  <a:rPr lang="en-US" sz="1200" b="1" i="1" dirty="0">
                    <a:solidFill>
                      <a:prstClr val="black"/>
                    </a:solidFill>
                    <a:latin typeface="Calibri"/>
                  </a:rPr>
                  <a:t>“I will be available for you…”</a:t>
                </a:r>
              </a:p>
              <a:p>
                <a:pPr defTabSz="311719"/>
                <a:r>
                  <a:rPr lang="en-US" sz="1400" b="1" dirty="0">
                    <a:solidFill>
                      <a:srgbClr val="0091E1"/>
                    </a:solidFill>
                    <a:latin typeface="Verdana"/>
                  </a:rPr>
                  <a:t>E</a:t>
                </a:r>
                <a:r>
                  <a:rPr lang="en-US" sz="1200" dirty="0">
                    <a:solidFill>
                      <a:prstClr val="black"/>
                    </a:solidFill>
                    <a:latin typeface="Calibri"/>
                  </a:rPr>
                  <a:t>xplore:* </a:t>
                </a:r>
                <a:r>
                  <a:rPr lang="en-US" sz="1200" b="1" i="1" dirty="0">
                    <a:solidFill>
                      <a:prstClr val="black"/>
                    </a:solidFill>
                    <a:latin typeface="Calibri"/>
                  </a:rPr>
                  <a:t>“It would help me to know what </a:t>
                </a:r>
              </a:p>
              <a:p>
                <a:pPr defTabSz="311719"/>
                <a:r>
                  <a:rPr lang="en-US" sz="1200" b="1" i="1" dirty="0">
                    <a:solidFill>
                      <a:prstClr val="black"/>
                    </a:solidFill>
                    <a:latin typeface="Calibri"/>
                  </a:rPr>
                  <a:t>you might be wondering when you say that…”</a:t>
                </a:r>
              </a:p>
              <a:p>
                <a:pPr marL="118453" indent="-118453" defTabSz="311719"/>
                <a:r>
                  <a:rPr lang="en-US" sz="1200" i="1" dirty="0">
                    <a:solidFill>
                      <a:prstClr val="black"/>
                    </a:solidFill>
                    <a:latin typeface="Calibri"/>
                  </a:rPr>
                  <a:t>	</a:t>
                </a:r>
                <a:r>
                  <a:rPr lang="en-US" sz="1100" i="1" dirty="0">
                    <a:solidFill>
                      <a:prstClr val="black"/>
                    </a:solidFill>
                    <a:latin typeface="Calibri"/>
                  </a:rPr>
                  <a:t>*uncertain emotional cues</a:t>
                </a:r>
                <a:endParaRPr lang="en-US" sz="1200" i="1" dirty="0">
                  <a:solidFill>
                    <a:prstClr val="black"/>
                  </a:solidFill>
                  <a:latin typeface="Calibri"/>
                </a:endParaRPr>
              </a:p>
              <a:p>
                <a:pPr defTabSz="311719">
                  <a:defRPr/>
                </a:pPr>
                <a:r>
                  <a:rPr lang="en-US" sz="1400" b="1" dirty="0">
                    <a:solidFill>
                      <a:srgbClr val="0091E1"/>
                    </a:solidFill>
                    <a:latin typeface="Verdana"/>
                  </a:rPr>
                  <a:t>I</a:t>
                </a:r>
                <a:r>
                  <a:rPr lang="en-US" sz="1200" dirty="0">
                    <a:solidFill>
                      <a:prstClr val="black"/>
                    </a:solidFill>
                    <a:latin typeface="Calibri"/>
                  </a:rPr>
                  <a:t> Wish: </a:t>
                </a:r>
                <a:r>
                  <a:rPr lang="en-US" sz="1200" b="1" i="1" dirty="0">
                    <a:solidFill>
                      <a:prstClr val="black"/>
                    </a:solidFill>
                    <a:latin typeface="Calibri"/>
                  </a:rPr>
                  <a:t>“I wish there were a safe treatment…”</a:t>
                </a:r>
              </a:p>
            </p:txBody>
          </p:sp>
          <p:sp>
            <p:nvSpPr>
              <p:cNvPr id="260" name="TextBox 259">
                <a:extLst>
                  <a:ext uri="{FF2B5EF4-FFF2-40B4-BE49-F238E27FC236}">
                    <a16:creationId xmlns:a16="http://schemas.microsoft.com/office/drawing/2014/main" id="{F3D36AD2-C25A-6C26-083F-507C1B2F85A6}"/>
                  </a:ext>
                </a:extLst>
              </p:cNvPr>
              <p:cNvSpPr txBox="1"/>
              <p:nvPr/>
            </p:nvSpPr>
            <p:spPr>
              <a:xfrm>
                <a:off x="-102803" y="3850908"/>
                <a:ext cx="3896285" cy="2048406"/>
              </a:xfrm>
              <a:prstGeom prst="rect">
                <a:avLst/>
              </a:prstGeom>
              <a:noFill/>
            </p:spPr>
            <p:txBody>
              <a:bodyPr wrap="square" lIns="0" rIns="0" rtlCol="0" anchor="b">
                <a:spAutoFit/>
              </a:bodyPr>
              <a:lstStyle/>
              <a:p>
                <a:pPr defTabSz="311719">
                  <a:lnSpc>
                    <a:spcPct val="80000"/>
                  </a:lnSpc>
                </a:pPr>
                <a:r>
                  <a:rPr lang="en-US" sz="4800" b="1" dirty="0">
                    <a:solidFill>
                      <a:srgbClr val="0091E1"/>
                    </a:solidFill>
                    <a:latin typeface="Verdana"/>
                  </a:rPr>
                  <a:t>E</a:t>
                </a:r>
                <a:r>
                  <a:rPr lang="en-US" sz="2800" b="1" dirty="0">
                    <a:solidFill>
                      <a:prstClr val="black"/>
                    </a:solidFill>
                    <a:latin typeface="Calibri"/>
                  </a:rPr>
                  <a:t>xpect emotion</a:t>
                </a:r>
                <a:endParaRPr lang="en-US" sz="2000" b="1" dirty="0">
                  <a:solidFill>
                    <a:prstClr val="black"/>
                  </a:solidFill>
                  <a:latin typeface="Calibri"/>
                </a:endParaRPr>
              </a:p>
              <a:p>
                <a:pPr marL="436407" lvl="3" indent="-124688" defTabSz="311719">
                  <a:defRPr/>
                </a:pPr>
                <a:r>
                  <a:rPr lang="en-US" sz="1400" dirty="0">
                    <a:solidFill>
                      <a:prstClr val="black"/>
                    </a:solidFill>
                    <a:latin typeface="Calibri"/>
                  </a:rPr>
                  <a:t>…and respond with empathy</a:t>
                </a:r>
                <a:endParaRPr lang="en-US" sz="1000" dirty="0">
                  <a:solidFill>
                    <a:prstClr val="black"/>
                  </a:solidFill>
                  <a:latin typeface="Calibri"/>
                </a:endParaRPr>
              </a:p>
            </p:txBody>
          </p:sp>
        </p:grpSp>
        <p:sp>
          <p:nvSpPr>
            <p:cNvPr id="251" name="TextBox 250">
              <a:extLst>
                <a:ext uri="{FF2B5EF4-FFF2-40B4-BE49-F238E27FC236}">
                  <a16:creationId xmlns:a16="http://schemas.microsoft.com/office/drawing/2014/main" id="{92304173-5F87-52D2-B6F3-9CDD1B1F3A38}"/>
                </a:ext>
              </a:extLst>
            </p:cNvPr>
            <p:cNvSpPr txBox="1"/>
            <p:nvPr/>
          </p:nvSpPr>
          <p:spPr>
            <a:xfrm>
              <a:off x="181402" y="5883799"/>
              <a:ext cx="3419217" cy="861953"/>
            </a:xfrm>
            <a:prstGeom prst="rect">
              <a:avLst/>
            </a:prstGeom>
            <a:noFill/>
          </p:spPr>
          <p:txBody>
            <a:bodyPr wrap="square">
              <a:spAutoFit/>
            </a:bodyPr>
            <a:lstStyle/>
            <a:p>
              <a:pPr defTabSz="311719"/>
              <a:r>
                <a:rPr lang="en-US" sz="1400" dirty="0">
                  <a:solidFill>
                    <a:srgbClr val="0091E1"/>
                  </a:solidFill>
                  <a:latin typeface="Calibri" panose="020F0502020204030204" pitchFamily="34" charset="0"/>
                </a:rPr>
                <a:t>Throughout REMAP with </a:t>
              </a:r>
              <a:r>
                <a:rPr lang="en-US" sz="1400" b="1" dirty="0">
                  <a:solidFill>
                    <a:srgbClr val="0091E1"/>
                  </a:solidFill>
                  <a:latin typeface="Calibri" panose="020F0502020204030204" pitchFamily="34" charset="0"/>
                </a:rPr>
                <a:t>NURSE</a:t>
              </a:r>
              <a:r>
                <a:rPr lang="en-US" sz="1400" dirty="0">
                  <a:solidFill>
                    <a:srgbClr val="0091E1"/>
                  </a:solidFill>
                  <a:latin typeface="Calibri" panose="020F0502020204030204" pitchFamily="34" charset="0"/>
                </a:rPr>
                <a:t> or</a:t>
              </a:r>
              <a:r>
                <a:rPr lang="en-US" sz="1400" b="1" dirty="0">
                  <a:solidFill>
                    <a:srgbClr val="0091E1"/>
                  </a:solidFill>
                  <a:latin typeface="Calibri" panose="020F0502020204030204" pitchFamily="34" charset="0"/>
                </a:rPr>
                <a:t> I </a:t>
              </a:r>
              <a:r>
                <a:rPr lang="en-US" sz="1400" dirty="0">
                  <a:solidFill>
                    <a:srgbClr val="0091E1"/>
                  </a:solidFill>
                  <a:latin typeface="Calibri" panose="020F0502020204030204" pitchFamily="34" charset="0"/>
                </a:rPr>
                <a:t>Wish</a:t>
              </a:r>
              <a:r>
                <a:rPr lang="en-US" sz="1400" b="1" dirty="0">
                  <a:solidFill>
                    <a:srgbClr val="0091E1"/>
                  </a:solidFill>
                  <a:latin typeface="Calibri" panose="020F0502020204030204" pitchFamily="34" charset="0"/>
                </a:rPr>
                <a:t> </a:t>
              </a:r>
              <a:r>
                <a:rPr lang="en-US" sz="1400" dirty="0">
                  <a:solidFill>
                    <a:srgbClr val="0091E1"/>
                  </a:solidFill>
                  <a:latin typeface="Calibri" panose="020F0502020204030204" pitchFamily="34" charset="0"/>
                </a:rPr>
                <a:t>&amp; PAUSE</a:t>
              </a:r>
              <a:endParaRPr lang="en-US" sz="1400" dirty="0">
                <a:solidFill>
                  <a:srgbClr val="0091E1"/>
                </a:solidFill>
                <a:latin typeface="Calibri"/>
              </a:endParaRPr>
            </a:p>
          </p:txBody>
        </p:sp>
      </p:grpSp>
      <p:sp>
        <p:nvSpPr>
          <p:cNvPr id="2" name="TextBox 1">
            <a:extLst>
              <a:ext uri="{FF2B5EF4-FFF2-40B4-BE49-F238E27FC236}">
                <a16:creationId xmlns:a16="http://schemas.microsoft.com/office/drawing/2014/main" id="{C78026F8-2C8C-6A67-74F7-75C0CBCC317F}"/>
              </a:ext>
            </a:extLst>
          </p:cNvPr>
          <p:cNvSpPr txBox="1"/>
          <p:nvPr/>
        </p:nvSpPr>
        <p:spPr>
          <a:xfrm>
            <a:off x="414073" y="3539115"/>
            <a:ext cx="2122512" cy="523220"/>
          </a:xfrm>
          <a:prstGeom prst="rect">
            <a:avLst/>
          </a:prstGeom>
          <a:noFill/>
        </p:spPr>
        <p:txBody>
          <a:bodyPr wrap="square">
            <a:spAutoFit/>
          </a:bodyPr>
          <a:lstStyle/>
          <a:p>
            <a:pPr defTabSz="311719"/>
            <a:r>
              <a:rPr lang="en-US" sz="1400" dirty="0">
                <a:solidFill>
                  <a:srgbClr val="0091E1"/>
                </a:solidFill>
                <a:latin typeface="Calibri" panose="020F0502020204030204" pitchFamily="34" charset="0"/>
              </a:rPr>
              <a:t>If uncertainty – </a:t>
            </a:r>
          </a:p>
          <a:p>
            <a:pPr defTabSz="311719"/>
            <a:r>
              <a:rPr lang="en-US" sz="1400" b="1" dirty="0">
                <a:solidFill>
                  <a:srgbClr val="0091E1"/>
                </a:solidFill>
                <a:latin typeface="Calibri" panose="020F0502020204030204" pitchFamily="34" charset="0"/>
              </a:rPr>
              <a:t>I hope</a:t>
            </a:r>
            <a:r>
              <a:rPr lang="en-US" sz="1400" dirty="0">
                <a:solidFill>
                  <a:srgbClr val="0091E1"/>
                </a:solidFill>
                <a:latin typeface="Calibri" panose="020F0502020204030204" pitchFamily="34" charset="0"/>
              </a:rPr>
              <a:t>… AND </a:t>
            </a:r>
            <a:r>
              <a:rPr lang="en-US" sz="1400" b="1" dirty="0">
                <a:solidFill>
                  <a:srgbClr val="0091E1"/>
                </a:solidFill>
                <a:latin typeface="Calibri" panose="020F0502020204030204" pitchFamily="34" charset="0"/>
              </a:rPr>
              <a:t>I worry</a:t>
            </a:r>
            <a:r>
              <a:rPr lang="en-US" sz="1400" dirty="0">
                <a:solidFill>
                  <a:srgbClr val="0091E1"/>
                </a:solidFill>
                <a:latin typeface="Calibri" panose="020F0502020204030204" pitchFamily="34" charset="0"/>
              </a:rPr>
              <a:t>…</a:t>
            </a:r>
            <a:endParaRPr lang="en-US" sz="1400" dirty="0">
              <a:solidFill>
                <a:srgbClr val="0091E1"/>
              </a:solidFill>
              <a:latin typeface="Calibri"/>
            </a:endParaRPr>
          </a:p>
        </p:txBody>
      </p:sp>
    </p:spTree>
    <p:custDataLst>
      <p:tags r:id="rId1"/>
    </p:custDataLst>
    <p:extLst>
      <p:ext uri="{BB962C8B-B14F-4D97-AF65-F5344CB8AC3E}">
        <p14:creationId xmlns:p14="http://schemas.microsoft.com/office/powerpoint/2010/main" val="2833431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D5B818-431F-42BF-94A8-E47F8F97F7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4" name="Object 3" hidden="1">
                        <a:extLst>
                          <a:ext uri="{FF2B5EF4-FFF2-40B4-BE49-F238E27FC236}">
                            <a16:creationId xmlns:a16="http://schemas.microsoft.com/office/drawing/2014/main" id="{B7D5B818-431F-42BF-94A8-E47F8F97F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A7EA131-4638-1D95-D5C0-AA03D02483B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r>
              <a:rPr kumimoji="0" lang="en-US" sz="1600" b="0" i="0" u="none" strike="noStrike" kern="1200" cap="none" spc="0" normalizeH="0" baseline="0" noProof="0">
                <a:ln>
                  <a:noFill/>
                </a:ln>
                <a:solidFill>
                  <a:srgbClr val="000064"/>
                </a:solidFill>
                <a:effectLst/>
                <a:uLnTx/>
                <a:uFillTx/>
                <a:latin typeface="Calibri"/>
                <a:ea typeface="+mn-ea"/>
                <a:cs typeface="+mn-cs"/>
              </a:rPr>
              <a:t>   </a:t>
            </a:r>
          </a:p>
        </p:txBody>
      </p:sp>
      <p:sp>
        <p:nvSpPr>
          <p:cNvPr id="9" name="Title 5">
            <a:extLst>
              <a:ext uri="{FF2B5EF4-FFF2-40B4-BE49-F238E27FC236}">
                <a16:creationId xmlns:a16="http://schemas.microsoft.com/office/drawing/2014/main" id="{3379CD39-2EC3-4DA3-8A61-3590CE0249F7}"/>
              </a:ext>
            </a:extLst>
          </p:cNvPr>
          <p:cNvSpPr>
            <a:spLocks noGrp="1"/>
          </p:cNvSpPr>
          <p:nvPr>
            <p:ph type="title"/>
          </p:nvPr>
        </p:nvSpPr>
        <p:spPr/>
        <p:txBody>
          <a:bodyPr vert="horz"/>
          <a:lstStyle/>
          <a:p>
            <a:r>
              <a:rPr lang="en-US" dirty="0"/>
              <a:t>Giving a Big Picture Message When the Prognosis is Uncertain</a:t>
            </a:r>
          </a:p>
        </p:txBody>
      </p:sp>
      <p:sp>
        <p:nvSpPr>
          <p:cNvPr id="15" name="Text Placeholder 14">
            <a:extLst>
              <a:ext uri="{FF2B5EF4-FFF2-40B4-BE49-F238E27FC236}">
                <a16:creationId xmlns:a16="http://schemas.microsoft.com/office/drawing/2014/main" id="{42048319-C01E-5C78-EDFA-78399007D7D1}"/>
              </a:ext>
            </a:extLst>
          </p:cNvPr>
          <p:cNvSpPr>
            <a:spLocks noGrp="1"/>
          </p:cNvSpPr>
          <p:nvPr>
            <p:ph type="body" sz="quarter" idx="11"/>
          </p:nvPr>
        </p:nvSpPr>
        <p:spPr/>
        <p:txBody>
          <a:bodyPr/>
          <a:lstStyle/>
          <a:p>
            <a:r>
              <a:rPr lang="en-US" dirty="0"/>
              <a:t>Reframe the big picture. If there is uncertainty, use “I hope” </a:t>
            </a:r>
            <a:r>
              <a:rPr lang="en-US" u="sng" dirty="0"/>
              <a:t>AND</a:t>
            </a:r>
            <a:r>
              <a:rPr lang="en-US" dirty="0"/>
              <a:t> “I worry” to communicate. </a:t>
            </a:r>
          </a:p>
        </p:txBody>
      </p:sp>
      <p:grpSp>
        <p:nvGrpSpPr>
          <p:cNvPr id="2" name="Group 1">
            <a:extLst>
              <a:ext uri="{FF2B5EF4-FFF2-40B4-BE49-F238E27FC236}">
                <a16:creationId xmlns:a16="http://schemas.microsoft.com/office/drawing/2014/main" id="{D12ACD65-89CA-24C7-9D15-31166EA6907B}"/>
              </a:ext>
            </a:extLst>
          </p:cNvPr>
          <p:cNvGrpSpPr/>
          <p:nvPr/>
        </p:nvGrpSpPr>
        <p:grpSpPr>
          <a:xfrm>
            <a:off x="265176" y="1816463"/>
            <a:ext cx="11658600" cy="4096339"/>
            <a:chOff x="266700" y="1333500"/>
            <a:chExt cx="11658600" cy="4724400"/>
          </a:xfrm>
        </p:grpSpPr>
        <p:sp>
          <p:nvSpPr>
            <p:cNvPr id="5" name="Text Placeholder 10">
              <a:extLst>
                <a:ext uri="{FF2B5EF4-FFF2-40B4-BE49-F238E27FC236}">
                  <a16:creationId xmlns:a16="http://schemas.microsoft.com/office/drawing/2014/main" id="{763BDEC3-FCAC-4B0D-BE7E-5D0F7B1DF00B}"/>
                </a:ext>
              </a:extLst>
            </p:cNvPr>
            <p:cNvSpPr txBox="1">
              <a:spLocks/>
            </p:cNvSpPr>
            <p:nvPr/>
          </p:nvSpPr>
          <p:spPr>
            <a:xfrm>
              <a:off x="266700" y="1333500"/>
              <a:ext cx="2103120" cy="2278581"/>
            </a:xfrm>
            <a:prstGeom prst="rect">
              <a:avLst/>
            </a:prstGeom>
            <a:solidFill>
              <a:schemeClr val="accent1"/>
            </a:solidFill>
          </p:spPr>
          <p:txBody>
            <a:bodyPr anchor="ctr"/>
            <a:lstStyle>
              <a:lvl1pPr marL="0" indent="0" algn="ctr" defTabSz="914400" rtl="0" eaLnBrk="1" latinLnBrk="0" hangingPunct="1">
                <a:spcBef>
                  <a:spcPct val="20000"/>
                </a:spcBef>
                <a:buClr>
                  <a:schemeClr val="accent6"/>
                </a:buClr>
                <a:buFont typeface="Calibri" panose="020F0502020204030204" pitchFamily="34" charset="0"/>
                <a:buNone/>
                <a:defRPr sz="1800" b="1" kern="1200">
                  <a:solidFill>
                    <a:schemeClr val="bg1"/>
                  </a:solidFill>
                  <a:latin typeface="+mn-lt"/>
                  <a:ea typeface="+mn-ea"/>
                  <a:cs typeface="+mn-cs"/>
                </a:defRPr>
              </a:lvl1pPr>
              <a:lvl2pPr marL="742950" indent="-28575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00C896"/>
                </a:buClr>
                <a:buSzTx/>
                <a:buFont typeface="Calibri" panose="020F0502020204030204" pitchFamily="34" charset="0"/>
                <a:buNone/>
                <a:tabLst/>
                <a:defRPr/>
              </a:pPr>
              <a:r>
                <a:rPr kumimoji="0" lang="en-US" sz="2800" b="1" i="0" u="none" strike="noStrike" kern="1200" cap="none" spc="0" normalizeH="0" baseline="0" noProof="0" dirty="0">
                  <a:ln>
                    <a:noFill/>
                  </a:ln>
                  <a:solidFill>
                    <a:prstClr val="white"/>
                  </a:solidFill>
                  <a:effectLst/>
                  <a:uLnTx/>
                  <a:uFillTx/>
                  <a:latin typeface="Calibri"/>
                  <a:ea typeface="+mn-ea"/>
                  <a:cs typeface="+mn-cs"/>
                </a:rPr>
                <a:t>I HOPE</a:t>
              </a:r>
            </a:p>
          </p:txBody>
        </p:sp>
        <p:sp>
          <p:nvSpPr>
            <p:cNvPr id="6" name="Text Placeholder 10">
              <a:extLst>
                <a:ext uri="{FF2B5EF4-FFF2-40B4-BE49-F238E27FC236}">
                  <a16:creationId xmlns:a16="http://schemas.microsoft.com/office/drawing/2014/main" id="{98B5DC5F-9E33-4053-A14D-CD60DD27FD8C}"/>
                </a:ext>
              </a:extLst>
            </p:cNvPr>
            <p:cNvSpPr txBox="1">
              <a:spLocks/>
            </p:cNvSpPr>
            <p:nvPr/>
          </p:nvSpPr>
          <p:spPr>
            <a:xfrm>
              <a:off x="266700" y="3779319"/>
              <a:ext cx="2103120" cy="2278581"/>
            </a:xfrm>
            <a:prstGeom prst="rect">
              <a:avLst/>
            </a:prstGeom>
            <a:solidFill>
              <a:schemeClr val="accent1"/>
            </a:solidFill>
          </p:spPr>
          <p:txBody>
            <a:bodyPr anchor="ctr"/>
            <a:lstStyle>
              <a:lvl1pPr marL="0" indent="0" algn="ctr" defTabSz="914400" rtl="0" eaLnBrk="1" latinLnBrk="0" hangingPunct="1">
                <a:spcBef>
                  <a:spcPct val="20000"/>
                </a:spcBef>
                <a:buClr>
                  <a:schemeClr val="accent6"/>
                </a:buClr>
                <a:buFont typeface="Calibri" panose="020F0502020204030204" pitchFamily="34" charset="0"/>
                <a:buNone/>
                <a:defRPr sz="1800" b="1" kern="1200">
                  <a:solidFill>
                    <a:schemeClr val="bg1"/>
                  </a:solidFill>
                  <a:latin typeface="+mn-lt"/>
                  <a:ea typeface="+mn-ea"/>
                  <a:cs typeface="+mn-cs"/>
                </a:defRPr>
              </a:lvl1pPr>
              <a:lvl2pPr marL="742950" indent="-28575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accent6"/>
                </a:buClr>
                <a:buSzPct val="10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00C896"/>
                </a:buClr>
                <a:buSzTx/>
                <a:buFont typeface="Calibri" panose="020F0502020204030204" pitchFamily="34" charset="0"/>
                <a:buNone/>
                <a:tabLst/>
                <a:defRPr/>
              </a:pPr>
              <a:r>
                <a:rPr kumimoji="0" lang="en-US" sz="2800" b="1" i="0" u="none" strike="noStrike" kern="1200" cap="none" spc="0" normalizeH="0" baseline="0" noProof="0" dirty="0">
                  <a:ln>
                    <a:noFill/>
                  </a:ln>
                  <a:solidFill>
                    <a:prstClr val="white"/>
                  </a:solidFill>
                  <a:effectLst/>
                  <a:uLnTx/>
                  <a:uFillTx/>
                  <a:latin typeface="Calibri"/>
                  <a:ea typeface="+mn-ea"/>
                  <a:cs typeface="+mn-cs"/>
                </a:rPr>
                <a:t>I WORRY</a:t>
              </a:r>
            </a:p>
          </p:txBody>
        </p:sp>
        <p:sp>
          <p:nvSpPr>
            <p:cNvPr id="7" name="Content Placeholder 3">
              <a:extLst>
                <a:ext uri="{FF2B5EF4-FFF2-40B4-BE49-F238E27FC236}">
                  <a16:creationId xmlns:a16="http://schemas.microsoft.com/office/drawing/2014/main" id="{BC085083-672F-46A9-9776-9FE79D28CEE2}"/>
                </a:ext>
              </a:extLst>
            </p:cNvPr>
            <p:cNvSpPr txBox="1">
              <a:spLocks/>
            </p:cNvSpPr>
            <p:nvPr/>
          </p:nvSpPr>
          <p:spPr>
            <a:xfrm>
              <a:off x="2369820" y="1333500"/>
              <a:ext cx="9555480" cy="2278581"/>
            </a:xfrm>
            <a:prstGeom prst="rect">
              <a:avLst/>
            </a:prstGeom>
            <a:solidFill>
              <a:schemeClr val="accent3">
                <a:lumMod val="40000"/>
                <a:lumOff val="60000"/>
              </a:schemeClr>
            </a:solidFill>
          </p:spPr>
          <p:txBody>
            <a:bodyPr tIns="91440">
              <a:noAutofit/>
            </a:bodyPr>
            <a:lstStyle>
              <a:lvl1pPr marL="342900" indent="-342900" algn="l" defTabSz="914400" rtl="0" eaLnBrk="1" latinLnBrk="0" hangingPunct="1">
                <a:spcBef>
                  <a:spcPct val="20000"/>
                </a:spcBef>
                <a:buClr>
                  <a:schemeClr val="accent6"/>
                </a:buClr>
                <a:buFont typeface="Calibri" panose="020F050202020403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Calibri" panose="020F050202020403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400"/>
                </a:spcBef>
                <a:spcAft>
                  <a:spcPts val="0"/>
                </a:spcAft>
                <a:buClrTx/>
                <a:buSzTx/>
                <a:buFont typeface="Calibri" panose="020F050202020403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I hope that she improves with treatment of the pneumonia and is able to come off the breathing machine in the next few days</a:t>
              </a:r>
              <a:endParaRPr kumimoji="0" lang="en-US" sz="24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228600" marR="0" lvl="0" indent="-2286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ontent Placeholder 3">
              <a:extLst>
                <a:ext uri="{FF2B5EF4-FFF2-40B4-BE49-F238E27FC236}">
                  <a16:creationId xmlns:a16="http://schemas.microsoft.com/office/drawing/2014/main" id="{BB96D2B8-3F9D-4D02-8036-6F6FA1E47624}"/>
                </a:ext>
              </a:extLst>
            </p:cNvPr>
            <p:cNvSpPr txBox="1">
              <a:spLocks/>
            </p:cNvSpPr>
            <p:nvPr/>
          </p:nvSpPr>
          <p:spPr>
            <a:xfrm>
              <a:off x="2369820" y="3779319"/>
              <a:ext cx="9555480" cy="2278581"/>
            </a:xfrm>
            <a:prstGeom prst="rect">
              <a:avLst/>
            </a:prstGeom>
            <a:solidFill>
              <a:schemeClr val="accent3">
                <a:lumMod val="40000"/>
                <a:lumOff val="60000"/>
              </a:schemeClr>
            </a:solidFill>
          </p:spPr>
          <p:txBody>
            <a:bodyPr tIns="91440">
              <a:noAutofit/>
            </a:bodyPr>
            <a:lstStyle>
              <a:lvl1pPr marL="342900" indent="-342900" algn="l" defTabSz="914400" rtl="0" eaLnBrk="1" latinLnBrk="0" hangingPunct="1">
                <a:spcBef>
                  <a:spcPct val="20000"/>
                </a:spcBef>
                <a:buClr>
                  <a:schemeClr val="accent6"/>
                </a:buClr>
                <a:buFont typeface="Calibri" panose="020F050202020403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chemeClr val="accent6"/>
                </a:buClr>
                <a:buSzPct val="10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Tx/>
                <a:buFont typeface="Calibri" panose="020F050202020403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400"/>
                </a:spcBef>
                <a:spcAft>
                  <a:spcPts val="0"/>
                </a:spcAft>
                <a:buClrTx/>
                <a:buSzTx/>
                <a:buFont typeface="Calibri" panose="020F050202020403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 also worry that given how her lung disease has been worsening, she may not be able to come off the breathing machine this time</a:t>
              </a:r>
            </a:p>
          </p:txBody>
        </p:sp>
      </p:grpSp>
      <p:sp>
        <p:nvSpPr>
          <p:cNvPr id="10" name="TextBox 9">
            <a:extLst>
              <a:ext uri="{FF2B5EF4-FFF2-40B4-BE49-F238E27FC236}">
                <a16:creationId xmlns:a16="http://schemas.microsoft.com/office/drawing/2014/main" id="{891B2957-8D8E-A0F8-98FF-87AED4491A2F}"/>
              </a:ext>
            </a:extLst>
          </p:cNvPr>
          <p:cNvSpPr txBox="1"/>
          <p:nvPr/>
        </p:nvSpPr>
        <p:spPr>
          <a:xfrm>
            <a:off x="2717874" y="3656970"/>
            <a:ext cx="8856324" cy="40011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a:ea typeface="+mn-ea"/>
                <a:cs typeface="+mn-cs"/>
              </a:rPr>
              <a:t>Key Point: Make sure to use AND rather than BUT when transitioning to “I worry” </a:t>
            </a:r>
          </a:p>
        </p:txBody>
      </p:sp>
      <p:grpSp>
        <p:nvGrpSpPr>
          <p:cNvPr id="16" name="Group 15">
            <a:extLst>
              <a:ext uri="{FF2B5EF4-FFF2-40B4-BE49-F238E27FC236}">
                <a16:creationId xmlns:a16="http://schemas.microsoft.com/office/drawing/2014/main" id="{DD100786-3D60-9CAF-9F04-02A69FD82FDC}"/>
              </a:ext>
            </a:extLst>
          </p:cNvPr>
          <p:cNvGrpSpPr/>
          <p:nvPr/>
        </p:nvGrpSpPr>
        <p:grpSpPr>
          <a:xfrm>
            <a:off x="493776" y="3050735"/>
            <a:ext cx="1645920" cy="1645920"/>
            <a:chOff x="647118" y="3178833"/>
            <a:chExt cx="1645920" cy="1645920"/>
          </a:xfrm>
        </p:grpSpPr>
        <p:sp>
          <p:nvSpPr>
            <p:cNvPr id="12" name="Plus Sign 11">
              <a:extLst>
                <a:ext uri="{FF2B5EF4-FFF2-40B4-BE49-F238E27FC236}">
                  <a16:creationId xmlns:a16="http://schemas.microsoft.com/office/drawing/2014/main" id="{4A62BEC9-F031-9FD1-54BE-50593F13E9F2}"/>
                </a:ext>
              </a:extLst>
            </p:cNvPr>
            <p:cNvSpPr/>
            <p:nvPr/>
          </p:nvSpPr>
          <p:spPr>
            <a:xfrm>
              <a:off x="647118" y="3178833"/>
              <a:ext cx="1645920" cy="1645920"/>
            </a:xfrm>
            <a:prstGeom prst="mathPlus">
              <a:avLst/>
            </a:prstGeom>
            <a:solidFill>
              <a:srgbClr val="009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7487B0E-E745-3BC9-5997-4C1C9ACE52C2}"/>
                </a:ext>
              </a:extLst>
            </p:cNvPr>
            <p:cNvSpPr txBox="1"/>
            <p:nvPr/>
          </p:nvSpPr>
          <p:spPr>
            <a:xfrm>
              <a:off x="1163228" y="3817127"/>
              <a:ext cx="661767" cy="369332"/>
            </a:xfrm>
            <a:prstGeom prst="rect">
              <a:avLst/>
            </a:prstGeom>
            <a:solidFill>
              <a:srgbClr val="0091E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AND</a:t>
              </a:r>
              <a:endParaRPr kumimoji="0" lang="en-US" sz="2000" b="1"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986921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825243-45DA-4044-BA12-8620CCF0D0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38" imgH="338" progId="TCLayout.ActiveDocument.1">
                  <p:embed/>
                </p:oleObj>
              </mc:Choice>
              <mc:Fallback>
                <p:oleObj name="think-cell Slide" r:id="rId13" imgW="338" imgH="338" progId="TCLayout.ActiveDocument.1">
                  <p:embed/>
                  <p:pic>
                    <p:nvPicPr>
                      <p:cNvPr id="5" name="Object 4" hidden="1">
                        <a:extLst>
                          <a:ext uri="{FF2B5EF4-FFF2-40B4-BE49-F238E27FC236}">
                            <a16:creationId xmlns:a16="http://schemas.microsoft.com/office/drawing/2014/main" id="{D1825243-45DA-4044-BA12-8620CCF0D05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6" name="Rectangle 35"/>
          <p:cNvSpPr/>
          <p:nvPr>
            <p:custDataLst>
              <p:tags r:id="rId3"/>
            </p:custDataLst>
          </p:nvPr>
        </p:nvSpPr>
        <p:spPr bwMode="auto">
          <a:xfrm>
            <a:off x="268429" y="1189444"/>
            <a:ext cx="11657075" cy="435895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182880" tIns="9144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400"/>
              </a:spcBef>
              <a:spcAft>
                <a:spcPct val="0"/>
              </a:spcAft>
              <a:buClrTx/>
              <a:buSzTx/>
              <a:buFontTx/>
              <a:buNone/>
              <a:tabLst/>
              <a:defRPr/>
            </a:pPr>
            <a:r>
              <a:rPr kumimoji="0" lang="en-US" sz="2400" b="1" i="0" u="none" strike="noStrike" kern="1200" cap="none" spc="0" normalizeH="0" baseline="0" noProof="0" dirty="0">
                <a:ln>
                  <a:noFill/>
                </a:ln>
                <a:solidFill>
                  <a:srgbClr val="0091E1"/>
                </a:solidFill>
                <a:effectLst/>
                <a:uLnTx/>
                <a:uFillTx/>
                <a:latin typeface="Calibri"/>
                <a:ea typeface="ヒラギノ明朝 ProN W3" pitchFamily="1" charset="-128"/>
                <a:cs typeface="+mn-cs"/>
                <a:sym typeface="Times New Roman" pitchFamily="18" charset="0"/>
              </a:rPr>
              <a:t>Instructions</a:t>
            </a:r>
          </a:p>
          <a:p>
            <a:pPr marL="283464" marR="0" lvl="1"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rPr>
              <a:t>Watch the skills that I use as the ICU physician and the patient’s response.</a:t>
            </a:r>
          </a:p>
          <a:p>
            <a:pPr marL="283464" marR="0" lvl="1"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rPr>
              <a:t>Write down at least two specific phrases or nonverbal skills that you think work well.  </a:t>
            </a:r>
          </a:p>
          <a:p>
            <a:pPr marL="283464" marR="0" lvl="1"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rPr>
              <a:t>I will ask for your feedback afterward.</a:t>
            </a: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a:p>
            <a:pPr marL="0" marR="0" lvl="0" indent="0" algn="l" defTabSz="914400" rtl="0" eaLnBrk="1" fontAlgn="base" latinLnBrk="0" hangingPunct="1">
              <a:lnSpc>
                <a:spcPct val="100000"/>
              </a:lnSpc>
              <a:spcBef>
                <a:spcPts val="40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ヒラギノ明朝 ProN W3" pitchFamily="1" charset="-128"/>
              <a:cs typeface="+mn-cs"/>
              <a:sym typeface="Times New Roman" pitchFamily="18" charset="0"/>
            </a:endParaRPr>
          </a:p>
        </p:txBody>
      </p:sp>
      <p:sp>
        <p:nvSpPr>
          <p:cNvPr id="2" name="Title 1"/>
          <p:cNvSpPr>
            <a:spLocks noGrp="1"/>
          </p:cNvSpPr>
          <p:nvPr>
            <p:ph type="title"/>
            <p:custDataLst>
              <p:tags r:id="rId4"/>
            </p:custDataLst>
          </p:nvPr>
        </p:nvSpPr>
        <p:spPr/>
        <p:txBody>
          <a:bodyPr vert="horz"/>
          <a:lstStyle/>
          <a:p>
            <a:r>
              <a:rPr kumimoji="0" lang="en-US" sz="2800" b="0" i="0" u="none" strike="noStrike" kern="1200" cap="none" spc="0" normalizeH="0" baseline="0" noProof="0" dirty="0">
                <a:ln>
                  <a:noFill/>
                </a:ln>
                <a:solidFill>
                  <a:srgbClr val="000064"/>
                </a:solidFill>
                <a:effectLst/>
                <a:uLnTx/>
                <a:uFillTx/>
                <a:latin typeface="Rockwell"/>
                <a:ea typeface="+mj-ea"/>
                <a:cs typeface="+mj-cs"/>
              </a:rPr>
              <a:t>Demonstration</a:t>
            </a:r>
            <a:endParaRPr lang="en-US" dirty="0"/>
          </a:p>
        </p:txBody>
      </p:sp>
      <p:sp>
        <p:nvSpPr>
          <p:cNvPr id="3" name="Footer Placeholder 2">
            <a:extLst>
              <a:ext uri="{FF2B5EF4-FFF2-40B4-BE49-F238E27FC236}">
                <a16:creationId xmlns:a16="http://schemas.microsoft.com/office/drawing/2014/main" id="{DA73676C-F74F-D334-EFB4-B672AC701D02}"/>
              </a:ext>
            </a:extLst>
          </p:cNvPr>
          <p:cNvSpPr>
            <a:spLocks noGrp="1"/>
          </p:cNvSpPr>
          <p:nvPr>
            <p:ph type="ftr" sz="quarter" idx="3"/>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Calibri"/>
                <a:ea typeface="+mn-ea"/>
                <a:cs typeface="+mn-cs"/>
              </a:rPr>
              <a:t>1190.004\681195(pptx)-E2 6-24-24</a:t>
            </a:r>
          </a:p>
        </p:txBody>
      </p:sp>
      <p:grpSp>
        <p:nvGrpSpPr>
          <p:cNvPr id="7177" name="Group 7176">
            <a:extLst>
              <a:ext uri="{FF2B5EF4-FFF2-40B4-BE49-F238E27FC236}">
                <a16:creationId xmlns:a16="http://schemas.microsoft.com/office/drawing/2014/main" id="{221CF41E-ADC1-48E7-ACA8-76DFFEEBB3E1}"/>
              </a:ext>
            </a:extLst>
          </p:cNvPr>
          <p:cNvGrpSpPr/>
          <p:nvPr>
            <p:custDataLst>
              <p:tags r:id="rId6"/>
            </p:custDataLst>
          </p:nvPr>
        </p:nvGrpSpPr>
        <p:grpSpPr>
          <a:xfrm>
            <a:off x="10584430" y="1466878"/>
            <a:ext cx="1177682" cy="4230314"/>
            <a:chOff x="9324267" y="2422275"/>
            <a:chExt cx="931738" cy="3346866"/>
          </a:xfrm>
        </p:grpSpPr>
        <p:sp>
          <p:nvSpPr>
            <p:cNvPr id="7118" name="Freeform: Shape 7117">
              <a:extLst>
                <a:ext uri="{FF2B5EF4-FFF2-40B4-BE49-F238E27FC236}">
                  <a16:creationId xmlns:a16="http://schemas.microsoft.com/office/drawing/2014/main" id="{ABCB3BAB-D2A2-4EF3-BFF4-924061CD84DB}"/>
                </a:ext>
              </a:extLst>
            </p:cNvPr>
            <p:cNvSpPr/>
            <p:nvPr/>
          </p:nvSpPr>
          <p:spPr>
            <a:xfrm>
              <a:off x="9485824" y="4028365"/>
              <a:ext cx="576721" cy="1690362"/>
            </a:xfrm>
            <a:custGeom>
              <a:avLst/>
              <a:gdLst>
                <a:gd name="connsiteX0" fmla="*/ 379929 w 416167"/>
                <a:gd name="connsiteY0" fmla="*/ 0 h 1298874"/>
                <a:gd name="connsiteX1" fmla="*/ 208083 w 416167"/>
                <a:gd name="connsiteY1" fmla="*/ 0 h 1298874"/>
                <a:gd name="connsiteX2" fmla="*/ 36237 w 416167"/>
                <a:gd name="connsiteY2" fmla="*/ 0 h 1298874"/>
                <a:gd name="connsiteX3" fmla="*/ 77141 w 416167"/>
                <a:gd name="connsiteY3" fmla="*/ 1178723 h 1298874"/>
                <a:gd name="connsiteX4" fmla="*/ 77019 w 416167"/>
                <a:gd name="connsiteY4" fmla="*/ 1298875 h 1298874"/>
                <a:gd name="connsiteX5" fmla="*/ 186747 w 416167"/>
                <a:gd name="connsiteY5" fmla="*/ 1298875 h 1298874"/>
                <a:gd name="connsiteX6" fmla="*/ 186381 w 416167"/>
                <a:gd name="connsiteY6" fmla="*/ 1178723 h 1298874"/>
                <a:gd name="connsiteX7" fmla="*/ 201438 w 416167"/>
                <a:gd name="connsiteY7" fmla="*/ 262128 h 1298874"/>
                <a:gd name="connsiteX8" fmla="*/ 208144 w 416167"/>
                <a:gd name="connsiteY8" fmla="*/ 262128 h 1298874"/>
                <a:gd name="connsiteX9" fmla="*/ 214849 w 416167"/>
                <a:gd name="connsiteY9" fmla="*/ 262128 h 1298874"/>
                <a:gd name="connsiteX10" fmla="*/ 229906 w 416167"/>
                <a:gd name="connsiteY10" fmla="*/ 1178723 h 1298874"/>
                <a:gd name="connsiteX11" fmla="*/ 229541 w 416167"/>
                <a:gd name="connsiteY11" fmla="*/ 1298875 h 1298874"/>
                <a:gd name="connsiteX12" fmla="*/ 339269 w 416167"/>
                <a:gd name="connsiteY12" fmla="*/ 1298875 h 1298874"/>
                <a:gd name="connsiteX13" fmla="*/ 339147 w 416167"/>
                <a:gd name="connsiteY13" fmla="*/ 1178723 h 1298874"/>
                <a:gd name="connsiteX14" fmla="*/ 379929 w 416167"/>
                <a:gd name="connsiteY14" fmla="*/ 0 h 129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6167" h="1298874">
                  <a:moveTo>
                    <a:pt x="379929" y="0"/>
                  </a:moveTo>
                  <a:lnTo>
                    <a:pt x="208083" y="0"/>
                  </a:lnTo>
                  <a:lnTo>
                    <a:pt x="36237" y="0"/>
                  </a:lnTo>
                  <a:cubicBezTo>
                    <a:pt x="-65018" y="174284"/>
                    <a:pt x="78177" y="490484"/>
                    <a:pt x="77141" y="1178723"/>
                  </a:cubicBezTo>
                  <a:lnTo>
                    <a:pt x="77019" y="1298875"/>
                  </a:lnTo>
                  <a:lnTo>
                    <a:pt x="186747" y="1298875"/>
                  </a:lnTo>
                  <a:lnTo>
                    <a:pt x="186381" y="1178723"/>
                  </a:lnTo>
                  <a:lnTo>
                    <a:pt x="201438" y="262128"/>
                  </a:lnTo>
                  <a:lnTo>
                    <a:pt x="208144" y="262128"/>
                  </a:lnTo>
                  <a:lnTo>
                    <a:pt x="214849" y="262128"/>
                  </a:lnTo>
                  <a:lnTo>
                    <a:pt x="229906" y="1178723"/>
                  </a:lnTo>
                  <a:lnTo>
                    <a:pt x="229541" y="1298875"/>
                  </a:lnTo>
                  <a:lnTo>
                    <a:pt x="339269" y="1298875"/>
                  </a:lnTo>
                  <a:lnTo>
                    <a:pt x="339147" y="1178723"/>
                  </a:lnTo>
                  <a:cubicBezTo>
                    <a:pt x="337989" y="490484"/>
                    <a:pt x="481184" y="174284"/>
                    <a:pt x="379929" y="0"/>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19" name="Freeform: Shape 7118">
              <a:extLst>
                <a:ext uri="{FF2B5EF4-FFF2-40B4-BE49-F238E27FC236}">
                  <a16:creationId xmlns:a16="http://schemas.microsoft.com/office/drawing/2014/main" id="{498385E1-4E62-46EB-B2DB-D267365C51CE}"/>
                </a:ext>
              </a:extLst>
            </p:cNvPr>
            <p:cNvSpPr/>
            <p:nvPr/>
          </p:nvSpPr>
          <p:spPr>
            <a:xfrm>
              <a:off x="9569832" y="5658116"/>
              <a:ext cx="185851" cy="110947"/>
            </a:xfrm>
            <a:custGeom>
              <a:avLst/>
              <a:gdLst>
                <a:gd name="connsiteX0" fmla="*/ 134112 w 134112"/>
                <a:gd name="connsiteY0" fmla="*/ 55900 h 85252"/>
                <a:gd name="connsiteX1" fmla="*/ 0 w 134112"/>
                <a:gd name="connsiteY1" fmla="*/ 55900 h 85252"/>
                <a:gd name="connsiteX2" fmla="*/ 67056 w 134112"/>
                <a:gd name="connsiteY2" fmla="*/ 0 h 85252"/>
                <a:gd name="connsiteX3" fmla="*/ 134112 w 134112"/>
                <a:gd name="connsiteY3" fmla="*/ 55900 h 85252"/>
              </a:gdLst>
              <a:ahLst/>
              <a:cxnLst>
                <a:cxn ang="0">
                  <a:pos x="connsiteX0" y="connsiteY0"/>
                </a:cxn>
                <a:cxn ang="0">
                  <a:pos x="connsiteX1" y="connsiteY1"/>
                </a:cxn>
                <a:cxn ang="0">
                  <a:pos x="connsiteX2" y="connsiteY2"/>
                </a:cxn>
                <a:cxn ang="0">
                  <a:pos x="connsiteX3" y="connsiteY3"/>
                </a:cxn>
              </a:cxnLst>
              <a:rect l="l" t="t" r="r" b="b"/>
              <a:pathLst>
                <a:path w="134112" h="85252">
                  <a:moveTo>
                    <a:pt x="134112" y="55900"/>
                  </a:moveTo>
                  <a:cubicBezTo>
                    <a:pt x="134112" y="95036"/>
                    <a:pt x="0" y="95036"/>
                    <a:pt x="0" y="55900"/>
                  </a:cubicBezTo>
                  <a:cubicBezTo>
                    <a:pt x="0" y="16764"/>
                    <a:pt x="18897" y="0"/>
                    <a:pt x="67056" y="0"/>
                  </a:cubicBezTo>
                  <a:cubicBezTo>
                    <a:pt x="115214" y="0"/>
                    <a:pt x="134112" y="16764"/>
                    <a:pt x="134112" y="55900"/>
                  </a:cubicBezTo>
                  <a:close/>
                </a:path>
              </a:pathLst>
            </a:custGeom>
            <a:solidFill>
              <a:schemeClr val="tx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0" name="Freeform: Shape 7119">
              <a:extLst>
                <a:ext uri="{FF2B5EF4-FFF2-40B4-BE49-F238E27FC236}">
                  <a16:creationId xmlns:a16="http://schemas.microsoft.com/office/drawing/2014/main" id="{EFFBAF86-83E1-4AE8-BB68-3969886A2E5A}"/>
                </a:ext>
              </a:extLst>
            </p:cNvPr>
            <p:cNvSpPr/>
            <p:nvPr/>
          </p:nvSpPr>
          <p:spPr>
            <a:xfrm>
              <a:off x="9569832" y="5718488"/>
              <a:ext cx="185851" cy="50653"/>
            </a:xfrm>
            <a:custGeom>
              <a:avLst/>
              <a:gdLst>
                <a:gd name="connsiteX0" fmla="*/ 487 w 134112"/>
                <a:gd name="connsiteY0" fmla="*/ 0 h 38922"/>
                <a:gd name="connsiteX1" fmla="*/ 0 w 134112"/>
                <a:gd name="connsiteY1" fmla="*/ 9571 h 38922"/>
                <a:gd name="connsiteX2" fmla="*/ 134112 w 134112"/>
                <a:gd name="connsiteY2" fmla="*/ 9571 h 38922"/>
                <a:gd name="connsiteX3" fmla="*/ 133624 w 134112"/>
                <a:gd name="connsiteY3" fmla="*/ 0 h 38922"/>
                <a:gd name="connsiteX4" fmla="*/ 487 w 134112"/>
                <a:gd name="connsiteY4" fmla="*/ 0 h 38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12" h="38922">
                  <a:moveTo>
                    <a:pt x="487" y="0"/>
                  </a:moveTo>
                  <a:cubicBezTo>
                    <a:pt x="183" y="3048"/>
                    <a:pt x="0" y="6218"/>
                    <a:pt x="0" y="9571"/>
                  </a:cubicBezTo>
                  <a:cubicBezTo>
                    <a:pt x="0" y="48707"/>
                    <a:pt x="134112" y="48707"/>
                    <a:pt x="134112" y="9571"/>
                  </a:cubicBezTo>
                  <a:cubicBezTo>
                    <a:pt x="134112" y="6218"/>
                    <a:pt x="133929" y="3048"/>
                    <a:pt x="133624" y="0"/>
                  </a:cubicBezTo>
                  <a:cubicBezTo>
                    <a:pt x="125394" y="33955"/>
                    <a:pt x="8656" y="33955"/>
                    <a:pt x="487" y="0"/>
                  </a:cubicBezTo>
                  <a:close/>
                </a:path>
              </a:pathLst>
            </a:custGeom>
            <a:solidFill>
              <a:schemeClr val="tx1">
                <a:lumMod val="65000"/>
                <a:lumOff val="35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1" name="Freeform: Shape 7120">
              <a:extLst>
                <a:ext uri="{FF2B5EF4-FFF2-40B4-BE49-F238E27FC236}">
                  <a16:creationId xmlns:a16="http://schemas.microsoft.com/office/drawing/2014/main" id="{3AAC2A2B-5A3D-4EAD-8A4E-EB1575D1FB5A}"/>
                </a:ext>
              </a:extLst>
            </p:cNvPr>
            <p:cNvSpPr/>
            <p:nvPr/>
          </p:nvSpPr>
          <p:spPr>
            <a:xfrm>
              <a:off x="9792601" y="5658116"/>
              <a:ext cx="185851" cy="110947"/>
            </a:xfrm>
            <a:custGeom>
              <a:avLst/>
              <a:gdLst>
                <a:gd name="connsiteX0" fmla="*/ 0 w 134112"/>
                <a:gd name="connsiteY0" fmla="*/ 55900 h 85252"/>
                <a:gd name="connsiteX1" fmla="*/ 134112 w 134112"/>
                <a:gd name="connsiteY1" fmla="*/ 55900 h 85252"/>
                <a:gd name="connsiteX2" fmla="*/ 67056 w 134112"/>
                <a:gd name="connsiteY2" fmla="*/ 0 h 85252"/>
                <a:gd name="connsiteX3" fmla="*/ 0 w 134112"/>
                <a:gd name="connsiteY3" fmla="*/ 55900 h 85252"/>
              </a:gdLst>
              <a:ahLst/>
              <a:cxnLst>
                <a:cxn ang="0">
                  <a:pos x="connsiteX0" y="connsiteY0"/>
                </a:cxn>
                <a:cxn ang="0">
                  <a:pos x="connsiteX1" y="connsiteY1"/>
                </a:cxn>
                <a:cxn ang="0">
                  <a:pos x="connsiteX2" y="connsiteY2"/>
                </a:cxn>
                <a:cxn ang="0">
                  <a:pos x="connsiteX3" y="connsiteY3"/>
                </a:cxn>
              </a:cxnLst>
              <a:rect l="l" t="t" r="r" b="b"/>
              <a:pathLst>
                <a:path w="134112" h="85252">
                  <a:moveTo>
                    <a:pt x="0" y="55900"/>
                  </a:moveTo>
                  <a:cubicBezTo>
                    <a:pt x="0" y="95036"/>
                    <a:pt x="134112" y="95036"/>
                    <a:pt x="134112" y="55900"/>
                  </a:cubicBezTo>
                  <a:cubicBezTo>
                    <a:pt x="134112" y="16764"/>
                    <a:pt x="115214" y="0"/>
                    <a:pt x="67056" y="0"/>
                  </a:cubicBezTo>
                  <a:cubicBezTo>
                    <a:pt x="18897" y="0"/>
                    <a:pt x="0" y="16764"/>
                    <a:pt x="0" y="55900"/>
                  </a:cubicBezTo>
                  <a:close/>
                </a:path>
              </a:pathLst>
            </a:custGeom>
            <a:solidFill>
              <a:schemeClr val="tx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2" name="Freeform: Shape 7121">
              <a:extLst>
                <a:ext uri="{FF2B5EF4-FFF2-40B4-BE49-F238E27FC236}">
                  <a16:creationId xmlns:a16="http://schemas.microsoft.com/office/drawing/2014/main" id="{3606DFF9-9782-4204-9F48-777DA82C5294}"/>
                </a:ext>
              </a:extLst>
            </p:cNvPr>
            <p:cNvSpPr/>
            <p:nvPr/>
          </p:nvSpPr>
          <p:spPr>
            <a:xfrm>
              <a:off x="9792601" y="5718488"/>
              <a:ext cx="185851" cy="50653"/>
            </a:xfrm>
            <a:custGeom>
              <a:avLst/>
              <a:gdLst>
                <a:gd name="connsiteX0" fmla="*/ 133624 w 134112"/>
                <a:gd name="connsiteY0" fmla="*/ 0 h 38922"/>
                <a:gd name="connsiteX1" fmla="*/ 134112 w 134112"/>
                <a:gd name="connsiteY1" fmla="*/ 9571 h 38922"/>
                <a:gd name="connsiteX2" fmla="*/ 0 w 134112"/>
                <a:gd name="connsiteY2" fmla="*/ 9571 h 38922"/>
                <a:gd name="connsiteX3" fmla="*/ 487 w 134112"/>
                <a:gd name="connsiteY3" fmla="*/ 0 h 38922"/>
                <a:gd name="connsiteX4" fmla="*/ 133624 w 134112"/>
                <a:gd name="connsiteY4" fmla="*/ 0 h 38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12" h="38922">
                  <a:moveTo>
                    <a:pt x="133624" y="0"/>
                  </a:moveTo>
                  <a:cubicBezTo>
                    <a:pt x="133929" y="3048"/>
                    <a:pt x="134112" y="6218"/>
                    <a:pt x="134112" y="9571"/>
                  </a:cubicBezTo>
                  <a:cubicBezTo>
                    <a:pt x="134112" y="48707"/>
                    <a:pt x="0" y="48707"/>
                    <a:pt x="0" y="9571"/>
                  </a:cubicBezTo>
                  <a:cubicBezTo>
                    <a:pt x="0" y="6218"/>
                    <a:pt x="183" y="3048"/>
                    <a:pt x="487" y="0"/>
                  </a:cubicBezTo>
                  <a:cubicBezTo>
                    <a:pt x="8717" y="33955"/>
                    <a:pt x="125455" y="33955"/>
                    <a:pt x="133624" y="0"/>
                  </a:cubicBezTo>
                  <a:close/>
                </a:path>
              </a:pathLst>
            </a:custGeom>
            <a:solidFill>
              <a:schemeClr val="tx1">
                <a:lumMod val="65000"/>
                <a:lumOff val="35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3" name="Freeform: Shape 7122">
              <a:extLst>
                <a:ext uri="{FF2B5EF4-FFF2-40B4-BE49-F238E27FC236}">
                  <a16:creationId xmlns:a16="http://schemas.microsoft.com/office/drawing/2014/main" id="{08D34E1C-63C9-4506-881A-A03AC2829E2E}"/>
                </a:ext>
              </a:extLst>
            </p:cNvPr>
            <p:cNvSpPr/>
            <p:nvPr/>
          </p:nvSpPr>
          <p:spPr>
            <a:xfrm>
              <a:off x="9645275" y="3113202"/>
              <a:ext cx="280877" cy="405558"/>
            </a:xfrm>
            <a:custGeom>
              <a:avLst/>
              <a:gdLst>
                <a:gd name="connsiteX0" fmla="*/ 304800 w 365760"/>
                <a:gd name="connsiteY0" fmla="*/ 155509 h 553334"/>
                <a:gd name="connsiteX1" fmla="*/ 304800 w 365760"/>
                <a:gd name="connsiteY1" fmla="*/ 0 h 553334"/>
                <a:gd name="connsiteX2" fmla="*/ 60960 w 365760"/>
                <a:gd name="connsiteY2" fmla="*/ 0 h 553334"/>
                <a:gd name="connsiteX3" fmla="*/ 60960 w 365760"/>
                <a:gd name="connsiteY3" fmla="*/ 155509 h 553334"/>
                <a:gd name="connsiteX4" fmla="*/ 0 w 365760"/>
                <a:gd name="connsiteY4" fmla="*/ 160203 h 553334"/>
                <a:gd name="connsiteX5" fmla="*/ 60960 w 365760"/>
                <a:gd name="connsiteY5" fmla="*/ 553334 h 553334"/>
                <a:gd name="connsiteX6" fmla="*/ 304800 w 365760"/>
                <a:gd name="connsiteY6" fmla="*/ 553334 h 553334"/>
                <a:gd name="connsiteX7" fmla="*/ 365760 w 365760"/>
                <a:gd name="connsiteY7" fmla="*/ 160203 h 5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553334">
                  <a:moveTo>
                    <a:pt x="304800" y="155509"/>
                  </a:moveTo>
                  <a:lnTo>
                    <a:pt x="304800" y="0"/>
                  </a:lnTo>
                  <a:lnTo>
                    <a:pt x="60960" y="0"/>
                  </a:lnTo>
                  <a:lnTo>
                    <a:pt x="60960" y="155509"/>
                  </a:lnTo>
                  <a:lnTo>
                    <a:pt x="0" y="160203"/>
                  </a:lnTo>
                  <a:lnTo>
                    <a:pt x="60960" y="553334"/>
                  </a:lnTo>
                  <a:lnTo>
                    <a:pt x="304800" y="553334"/>
                  </a:lnTo>
                  <a:lnTo>
                    <a:pt x="365760" y="160203"/>
                  </a:ln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4" name="Freeform: Shape 7123">
              <a:extLst>
                <a:ext uri="{FF2B5EF4-FFF2-40B4-BE49-F238E27FC236}">
                  <a16:creationId xmlns:a16="http://schemas.microsoft.com/office/drawing/2014/main" id="{57A4FFD2-6381-4F24-9921-C6695484A095}"/>
                </a:ext>
              </a:extLst>
            </p:cNvPr>
            <p:cNvSpPr/>
            <p:nvPr/>
          </p:nvSpPr>
          <p:spPr>
            <a:xfrm>
              <a:off x="9692088" y="3113961"/>
              <a:ext cx="187252" cy="110760"/>
            </a:xfrm>
            <a:custGeom>
              <a:avLst/>
              <a:gdLst>
                <a:gd name="connsiteX0" fmla="*/ 0 w 243840"/>
                <a:gd name="connsiteY0" fmla="*/ 0 h 151119"/>
                <a:gd name="connsiteX1" fmla="*/ 0 w 243840"/>
                <a:gd name="connsiteY1" fmla="*/ 62606 h 151119"/>
                <a:gd name="connsiteX2" fmla="*/ 243840 w 243840"/>
                <a:gd name="connsiteY2" fmla="*/ 151120 h 151119"/>
                <a:gd name="connsiteX3" fmla="*/ 243840 w 243840"/>
                <a:gd name="connsiteY3" fmla="*/ 0 h 151119"/>
              </a:gdLst>
              <a:ahLst/>
              <a:cxnLst>
                <a:cxn ang="0">
                  <a:pos x="connsiteX0" y="connsiteY0"/>
                </a:cxn>
                <a:cxn ang="0">
                  <a:pos x="connsiteX1" y="connsiteY1"/>
                </a:cxn>
                <a:cxn ang="0">
                  <a:pos x="connsiteX2" y="connsiteY2"/>
                </a:cxn>
                <a:cxn ang="0">
                  <a:pos x="connsiteX3" y="connsiteY3"/>
                </a:cxn>
              </a:cxnLst>
              <a:rect l="l" t="t" r="r" b="b"/>
              <a:pathLst>
                <a:path w="243840" h="151119">
                  <a:moveTo>
                    <a:pt x="0" y="0"/>
                  </a:moveTo>
                  <a:lnTo>
                    <a:pt x="0" y="62606"/>
                  </a:lnTo>
                  <a:lnTo>
                    <a:pt x="243840" y="151120"/>
                  </a:lnTo>
                  <a:lnTo>
                    <a:pt x="243840" y="0"/>
                  </a:ln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5" name="Freeform: Shape 7124">
              <a:extLst>
                <a:ext uri="{FF2B5EF4-FFF2-40B4-BE49-F238E27FC236}">
                  <a16:creationId xmlns:a16="http://schemas.microsoft.com/office/drawing/2014/main" id="{4727BCA8-81B3-4313-AD1C-A81D589E6367}"/>
                </a:ext>
              </a:extLst>
            </p:cNvPr>
            <p:cNvSpPr/>
            <p:nvPr/>
          </p:nvSpPr>
          <p:spPr>
            <a:xfrm>
              <a:off x="9532885" y="3240003"/>
              <a:ext cx="505619" cy="795431"/>
            </a:xfrm>
            <a:custGeom>
              <a:avLst/>
              <a:gdLst>
                <a:gd name="connsiteX0" fmla="*/ 495230 w 658419"/>
                <a:gd name="connsiteY0" fmla="*/ 0 h 1085270"/>
                <a:gd name="connsiteX1" fmla="*/ 485720 w 658419"/>
                <a:gd name="connsiteY1" fmla="*/ 35601 h 1085270"/>
                <a:gd name="connsiteX2" fmla="*/ 329236 w 658419"/>
                <a:gd name="connsiteY2" fmla="*/ 91745 h 1085270"/>
                <a:gd name="connsiteX3" fmla="*/ 158243 w 658419"/>
                <a:gd name="connsiteY3" fmla="*/ 19202 h 1085270"/>
                <a:gd name="connsiteX4" fmla="*/ 153122 w 658419"/>
                <a:gd name="connsiteY4" fmla="*/ 0 h 1085270"/>
                <a:gd name="connsiteX5" fmla="*/ 9196 w 658419"/>
                <a:gd name="connsiteY5" fmla="*/ 728106 h 1085270"/>
                <a:gd name="connsiteX6" fmla="*/ 7916 w 658419"/>
                <a:gd name="connsiteY6" fmla="*/ 1085210 h 1085270"/>
                <a:gd name="connsiteX7" fmla="*/ 324664 w 658419"/>
                <a:gd name="connsiteY7" fmla="*/ 1085271 h 1085270"/>
                <a:gd name="connsiteX8" fmla="*/ 658420 w 658419"/>
                <a:gd name="connsiteY8" fmla="*/ 1085210 h 1085270"/>
                <a:gd name="connsiteX9" fmla="*/ 649703 w 658419"/>
                <a:gd name="connsiteY9" fmla="*/ 728106 h 1085270"/>
                <a:gd name="connsiteX10" fmla="*/ 495230 w 658419"/>
                <a:gd name="connsiteY10" fmla="*/ 0 h 108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419" h="1085270">
                  <a:moveTo>
                    <a:pt x="495230" y="0"/>
                  </a:moveTo>
                  <a:lnTo>
                    <a:pt x="485720" y="35601"/>
                  </a:lnTo>
                  <a:cubicBezTo>
                    <a:pt x="469322" y="82601"/>
                    <a:pt x="429149" y="91745"/>
                    <a:pt x="329236" y="91745"/>
                  </a:cubicBezTo>
                  <a:cubicBezTo>
                    <a:pt x="216521" y="91745"/>
                    <a:pt x="171593" y="61631"/>
                    <a:pt x="158243" y="19202"/>
                  </a:cubicBezTo>
                  <a:lnTo>
                    <a:pt x="153122" y="0"/>
                  </a:lnTo>
                  <a:cubicBezTo>
                    <a:pt x="-54447" y="77968"/>
                    <a:pt x="9196" y="728106"/>
                    <a:pt x="9196" y="728106"/>
                  </a:cubicBezTo>
                  <a:lnTo>
                    <a:pt x="7916" y="1085210"/>
                  </a:lnTo>
                  <a:lnTo>
                    <a:pt x="324664" y="1085271"/>
                  </a:lnTo>
                  <a:lnTo>
                    <a:pt x="658420" y="1085210"/>
                  </a:lnTo>
                  <a:lnTo>
                    <a:pt x="649703" y="728106"/>
                  </a:lnTo>
                  <a:cubicBezTo>
                    <a:pt x="649764" y="728106"/>
                    <a:pt x="702799" y="77968"/>
                    <a:pt x="495230" y="0"/>
                  </a:cubicBezTo>
                  <a:close/>
                </a:path>
              </a:pathLst>
            </a:custGeom>
            <a:solidFill>
              <a:schemeClr val="bg1">
                <a:lumMod val="50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6" name="Freeform: Shape 7125">
              <a:extLst>
                <a:ext uri="{FF2B5EF4-FFF2-40B4-BE49-F238E27FC236}">
                  <a16:creationId xmlns:a16="http://schemas.microsoft.com/office/drawing/2014/main" id="{19446356-E5CC-42FF-9517-D36363515F12}"/>
                </a:ext>
              </a:extLst>
            </p:cNvPr>
            <p:cNvSpPr/>
            <p:nvPr/>
          </p:nvSpPr>
          <p:spPr>
            <a:xfrm flipH="1">
              <a:off x="9882510" y="3230084"/>
              <a:ext cx="318293" cy="1512675"/>
            </a:xfrm>
            <a:custGeom>
              <a:avLst/>
              <a:gdLst>
                <a:gd name="connsiteX0" fmla="*/ 414422 w 414483"/>
                <a:gd name="connsiteY0" fmla="*/ 1915729 h 2063861"/>
                <a:gd name="connsiteX1" fmla="*/ 382662 w 414483"/>
                <a:gd name="connsiteY1" fmla="*/ 2063862 h 2063861"/>
                <a:gd name="connsiteX2" fmla="*/ 39518 w 414483"/>
                <a:gd name="connsiteY2" fmla="*/ 2063801 h 2063861"/>
                <a:gd name="connsiteX3" fmla="*/ 174910 w 414483"/>
                <a:gd name="connsiteY3" fmla="*/ 754136 h 2063861"/>
                <a:gd name="connsiteX4" fmla="*/ 7392 w 414483"/>
                <a:gd name="connsiteY4" fmla="*/ 313152 h 2063861"/>
                <a:gd name="connsiteX5" fmla="*/ 111207 w 414483"/>
                <a:gd name="connsiteY5" fmla="*/ 93635 h 2063861"/>
                <a:gd name="connsiteX6" fmla="*/ 361326 w 414483"/>
                <a:gd name="connsiteY6" fmla="*/ 0 h 2063861"/>
                <a:gd name="connsiteX7" fmla="*/ 414483 w 414483"/>
                <a:gd name="connsiteY7" fmla="*/ 697382 h 2063861"/>
                <a:gd name="connsiteX8" fmla="*/ 414483 w 414483"/>
                <a:gd name="connsiteY8" fmla="*/ 1915729 h 206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83" h="2063861">
                  <a:moveTo>
                    <a:pt x="414422" y="1915729"/>
                  </a:moveTo>
                  <a:lnTo>
                    <a:pt x="382662" y="2063862"/>
                  </a:lnTo>
                  <a:lnTo>
                    <a:pt x="39518" y="2063801"/>
                  </a:lnTo>
                  <a:cubicBezTo>
                    <a:pt x="52930" y="1858731"/>
                    <a:pt x="174910" y="754136"/>
                    <a:pt x="174910" y="754136"/>
                  </a:cubicBezTo>
                  <a:cubicBezTo>
                    <a:pt x="130958" y="626669"/>
                    <a:pt x="45370" y="443057"/>
                    <a:pt x="7392" y="313152"/>
                  </a:cubicBezTo>
                  <a:cubicBezTo>
                    <a:pt x="-18638" y="224272"/>
                    <a:pt x="25985" y="129967"/>
                    <a:pt x="111207" y="93635"/>
                  </a:cubicBezTo>
                  <a:lnTo>
                    <a:pt x="361326" y="0"/>
                  </a:lnTo>
                  <a:cubicBezTo>
                    <a:pt x="361326" y="0"/>
                    <a:pt x="414483" y="697322"/>
                    <a:pt x="414483" y="697382"/>
                  </a:cubicBezTo>
                  <a:lnTo>
                    <a:pt x="414483" y="1915729"/>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127" name="Graphic 3">
              <a:extLst>
                <a:ext uri="{FF2B5EF4-FFF2-40B4-BE49-F238E27FC236}">
                  <a16:creationId xmlns:a16="http://schemas.microsoft.com/office/drawing/2014/main" id="{C8E1CF4B-57E4-4BF4-BF13-C46E55BF11AF}"/>
                </a:ext>
              </a:extLst>
            </p:cNvPr>
            <p:cNvGrpSpPr/>
            <p:nvPr/>
          </p:nvGrpSpPr>
          <p:grpSpPr>
            <a:xfrm flipH="1">
              <a:off x="10093523" y="4241900"/>
              <a:ext cx="139608" cy="213913"/>
              <a:chOff x="3692103" y="3526658"/>
              <a:chExt cx="181799" cy="291859"/>
            </a:xfrm>
            <a:solidFill>
              <a:srgbClr val="F7CDB9"/>
            </a:solidFill>
          </p:grpSpPr>
          <p:sp>
            <p:nvSpPr>
              <p:cNvPr id="7175" name="Freeform: Shape 7174">
                <a:extLst>
                  <a:ext uri="{FF2B5EF4-FFF2-40B4-BE49-F238E27FC236}">
                    <a16:creationId xmlns:a16="http://schemas.microsoft.com/office/drawing/2014/main" id="{BBB64D79-26ED-4174-97F2-6C5E65C49865}"/>
                  </a:ext>
                </a:extLst>
              </p:cNvPr>
              <p:cNvSpPr/>
              <p:nvPr/>
            </p:nvSpPr>
            <p:spPr>
              <a:xfrm>
                <a:off x="3692103" y="3526658"/>
                <a:ext cx="153111" cy="291859"/>
              </a:xfrm>
              <a:custGeom>
                <a:avLst/>
                <a:gdLst>
                  <a:gd name="connsiteX0" fmla="*/ 153070 w 153111"/>
                  <a:gd name="connsiteY0" fmla="*/ 219090 h 291859"/>
                  <a:gd name="connsiteX1" fmla="*/ 146243 w 153111"/>
                  <a:gd name="connsiteY1" fmla="*/ 0 h 291859"/>
                  <a:gd name="connsiteX2" fmla="*/ 0 w 153111"/>
                  <a:gd name="connsiteY2" fmla="*/ 4328 h 291859"/>
                  <a:gd name="connsiteX3" fmla="*/ 19019 w 153111"/>
                  <a:gd name="connsiteY3" fmla="*/ 223418 h 291859"/>
                  <a:gd name="connsiteX4" fmla="*/ 82357 w 153111"/>
                  <a:gd name="connsiteY4" fmla="*/ 291816 h 291859"/>
                  <a:gd name="connsiteX5" fmla="*/ 153070 w 153111"/>
                  <a:gd name="connsiteY5" fmla="*/ 219090 h 29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111" h="291859">
                    <a:moveTo>
                      <a:pt x="153070" y="219090"/>
                    </a:moveTo>
                    <a:lnTo>
                      <a:pt x="146243" y="0"/>
                    </a:lnTo>
                    <a:lnTo>
                      <a:pt x="0" y="4328"/>
                    </a:lnTo>
                    <a:lnTo>
                      <a:pt x="19019" y="223418"/>
                    </a:lnTo>
                    <a:cubicBezTo>
                      <a:pt x="20361" y="269138"/>
                      <a:pt x="42001" y="293035"/>
                      <a:pt x="82357" y="291816"/>
                    </a:cubicBezTo>
                    <a:cubicBezTo>
                      <a:pt x="122773" y="290657"/>
                      <a:pt x="154412" y="264810"/>
                      <a:pt x="153070" y="219090"/>
                    </a:cubicBez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76" name="Freeform: Shape 7175">
                <a:extLst>
                  <a:ext uri="{FF2B5EF4-FFF2-40B4-BE49-F238E27FC236}">
                    <a16:creationId xmlns:a16="http://schemas.microsoft.com/office/drawing/2014/main" id="{42992B10-01E8-4452-B5CA-716E31E82459}"/>
                  </a:ext>
                </a:extLst>
              </p:cNvPr>
              <p:cNvSpPr/>
              <p:nvPr/>
            </p:nvSpPr>
            <p:spPr>
              <a:xfrm>
                <a:off x="3784298" y="3556874"/>
                <a:ext cx="89603" cy="171813"/>
              </a:xfrm>
              <a:custGeom>
                <a:avLst/>
                <a:gdLst>
                  <a:gd name="connsiteX0" fmla="*/ 89587 w 89603"/>
                  <a:gd name="connsiteY0" fmla="*/ 143520 h 171813"/>
                  <a:gd name="connsiteX1" fmla="*/ 38625 w 89603"/>
                  <a:gd name="connsiteY1" fmla="*/ 5323 h 171813"/>
                  <a:gd name="connsiteX2" fmla="*/ 4609 w 89603"/>
                  <a:gd name="connsiteY2" fmla="*/ 11298 h 171813"/>
                  <a:gd name="connsiteX3" fmla="*/ 10096 w 89603"/>
                  <a:gd name="connsiteY3" fmla="*/ 49825 h 171813"/>
                  <a:gd name="connsiteX4" fmla="*/ 15033 w 89603"/>
                  <a:gd name="connsiteY4" fmla="*/ 57505 h 171813"/>
                  <a:gd name="connsiteX5" fmla="*/ 25214 w 89603"/>
                  <a:gd name="connsiteY5" fmla="*/ 77744 h 171813"/>
                  <a:gd name="connsiteX6" fmla="*/ 40880 w 89603"/>
                  <a:gd name="connsiteY6" fmla="*/ 144922 h 171813"/>
                  <a:gd name="connsiteX7" fmla="*/ 66057 w 89603"/>
                  <a:gd name="connsiteY7" fmla="*/ 171805 h 171813"/>
                  <a:gd name="connsiteX8" fmla="*/ 89587 w 89603"/>
                  <a:gd name="connsiteY8" fmla="*/ 143520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03" h="171813">
                    <a:moveTo>
                      <a:pt x="89587" y="143520"/>
                    </a:moveTo>
                    <a:cubicBezTo>
                      <a:pt x="87210" y="62870"/>
                      <a:pt x="41368" y="7640"/>
                      <a:pt x="38625" y="5323"/>
                    </a:cubicBezTo>
                    <a:cubicBezTo>
                      <a:pt x="27713" y="-3699"/>
                      <a:pt x="12473" y="-955"/>
                      <a:pt x="4609" y="11298"/>
                    </a:cubicBezTo>
                    <a:cubicBezTo>
                      <a:pt x="-3255" y="23611"/>
                      <a:pt x="-816" y="40802"/>
                      <a:pt x="10096" y="49825"/>
                    </a:cubicBezTo>
                    <a:cubicBezTo>
                      <a:pt x="10339" y="50007"/>
                      <a:pt x="12229" y="52751"/>
                      <a:pt x="15033" y="57505"/>
                    </a:cubicBezTo>
                    <a:cubicBezTo>
                      <a:pt x="17837" y="62321"/>
                      <a:pt x="21495" y="69210"/>
                      <a:pt x="25214" y="77744"/>
                    </a:cubicBezTo>
                    <a:cubicBezTo>
                      <a:pt x="32590" y="94813"/>
                      <a:pt x="40088" y="118344"/>
                      <a:pt x="40880" y="144922"/>
                    </a:cubicBezTo>
                    <a:cubicBezTo>
                      <a:pt x="41307" y="160162"/>
                      <a:pt x="52585" y="172171"/>
                      <a:pt x="66057" y="171805"/>
                    </a:cubicBezTo>
                    <a:cubicBezTo>
                      <a:pt x="79529" y="171439"/>
                      <a:pt x="90075" y="158760"/>
                      <a:pt x="89587" y="143520"/>
                    </a:cubicBez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128" name="Freeform: Shape 7127">
              <a:extLst>
                <a:ext uri="{FF2B5EF4-FFF2-40B4-BE49-F238E27FC236}">
                  <a16:creationId xmlns:a16="http://schemas.microsoft.com/office/drawing/2014/main" id="{38818ABD-BAF6-4D78-87D2-49CEDDEB25B6}"/>
                </a:ext>
              </a:extLst>
            </p:cNvPr>
            <p:cNvSpPr/>
            <p:nvPr/>
          </p:nvSpPr>
          <p:spPr>
            <a:xfrm flipH="1">
              <a:off x="10065402" y="3397722"/>
              <a:ext cx="190603" cy="900072"/>
            </a:xfrm>
            <a:custGeom>
              <a:avLst/>
              <a:gdLst>
                <a:gd name="connsiteX0" fmla="*/ 17288 w 248204"/>
                <a:gd name="connsiteY0" fmla="*/ 1228040 h 1228039"/>
                <a:gd name="connsiteX1" fmla="*/ 37 w 248204"/>
                <a:gd name="connsiteY1" fmla="*/ 641604 h 1228039"/>
                <a:gd name="connsiteX2" fmla="*/ 585 w 248204"/>
                <a:gd name="connsiteY2" fmla="*/ 628742 h 1228039"/>
                <a:gd name="connsiteX3" fmla="*/ 72518 w 248204"/>
                <a:gd name="connsiteY3" fmla="*/ 0 h 1228039"/>
                <a:gd name="connsiteX4" fmla="*/ 248205 w 248204"/>
                <a:gd name="connsiteY4" fmla="*/ 28956 h 1228039"/>
                <a:gd name="connsiteX5" fmla="*/ 175662 w 248204"/>
                <a:gd name="connsiteY5" fmla="*/ 642945 h 1228039"/>
                <a:gd name="connsiteX6" fmla="*/ 192731 w 248204"/>
                <a:gd name="connsiteY6" fmla="*/ 1222919 h 1228039"/>
                <a:gd name="connsiteX7" fmla="*/ 17288 w 248204"/>
                <a:gd name="connsiteY7" fmla="*/ 1228040 h 122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04" h="1228039">
                  <a:moveTo>
                    <a:pt x="17288" y="1228040"/>
                  </a:moveTo>
                  <a:lnTo>
                    <a:pt x="37" y="641604"/>
                  </a:lnTo>
                  <a:cubicBezTo>
                    <a:pt x="-85" y="637337"/>
                    <a:pt x="98" y="633009"/>
                    <a:pt x="585" y="628742"/>
                  </a:cubicBezTo>
                  <a:lnTo>
                    <a:pt x="72518" y="0"/>
                  </a:lnTo>
                  <a:lnTo>
                    <a:pt x="248205" y="28956"/>
                  </a:lnTo>
                  <a:lnTo>
                    <a:pt x="175662" y="642945"/>
                  </a:lnTo>
                  <a:lnTo>
                    <a:pt x="192731" y="1222919"/>
                  </a:lnTo>
                  <a:lnTo>
                    <a:pt x="17288" y="122804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29" name="Freeform: Shape 7128">
              <a:extLst>
                <a:ext uri="{FF2B5EF4-FFF2-40B4-BE49-F238E27FC236}">
                  <a16:creationId xmlns:a16="http://schemas.microsoft.com/office/drawing/2014/main" id="{4FBC55B7-4E10-4D4A-9151-85AEC0D627F6}"/>
                </a:ext>
              </a:extLst>
            </p:cNvPr>
            <p:cNvSpPr/>
            <p:nvPr/>
          </p:nvSpPr>
          <p:spPr>
            <a:xfrm>
              <a:off x="9766989" y="3414611"/>
              <a:ext cx="37450" cy="35744"/>
            </a:xfrm>
            <a:custGeom>
              <a:avLst/>
              <a:gdLst>
                <a:gd name="connsiteX0" fmla="*/ 48768 w 48768"/>
                <a:gd name="connsiteY0" fmla="*/ 24384 h 48768"/>
                <a:gd name="connsiteX1" fmla="*/ 24384 w 48768"/>
                <a:gd name="connsiteY1" fmla="*/ 48768 h 48768"/>
                <a:gd name="connsiteX2" fmla="*/ 0 w 48768"/>
                <a:gd name="connsiteY2" fmla="*/ 24384 h 48768"/>
                <a:gd name="connsiteX3" fmla="*/ 24384 w 48768"/>
                <a:gd name="connsiteY3" fmla="*/ 0 h 48768"/>
                <a:gd name="connsiteX4" fmla="*/ 48768 w 48768"/>
                <a:gd name="connsiteY4" fmla="*/ 24384 h 48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 h="48768">
                  <a:moveTo>
                    <a:pt x="48768" y="24384"/>
                  </a:moveTo>
                  <a:cubicBezTo>
                    <a:pt x="48768" y="37856"/>
                    <a:pt x="37856" y="48768"/>
                    <a:pt x="24384" y="48768"/>
                  </a:cubicBezTo>
                  <a:cubicBezTo>
                    <a:pt x="10912" y="48768"/>
                    <a:pt x="0" y="37856"/>
                    <a:pt x="0" y="24384"/>
                  </a:cubicBezTo>
                  <a:cubicBezTo>
                    <a:pt x="0" y="10912"/>
                    <a:pt x="10912" y="0"/>
                    <a:pt x="24384" y="0"/>
                  </a:cubicBezTo>
                  <a:cubicBezTo>
                    <a:pt x="37856" y="0"/>
                    <a:pt x="48768" y="10912"/>
                    <a:pt x="48768" y="24384"/>
                  </a:cubicBezTo>
                  <a:close/>
                </a:path>
              </a:pathLst>
            </a:custGeom>
            <a:solidFill>
              <a:schemeClr val="bg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0" name="Freeform: Shape 7129">
              <a:extLst>
                <a:ext uri="{FF2B5EF4-FFF2-40B4-BE49-F238E27FC236}">
                  <a16:creationId xmlns:a16="http://schemas.microsoft.com/office/drawing/2014/main" id="{7C4BB242-01E8-43EF-A998-707B0485AA59}"/>
                </a:ext>
              </a:extLst>
            </p:cNvPr>
            <p:cNvSpPr/>
            <p:nvPr/>
          </p:nvSpPr>
          <p:spPr>
            <a:xfrm>
              <a:off x="9766989" y="3591409"/>
              <a:ext cx="37450" cy="35744"/>
            </a:xfrm>
            <a:custGeom>
              <a:avLst/>
              <a:gdLst>
                <a:gd name="connsiteX0" fmla="*/ 48768 w 48768"/>
                <a:gd name="connsiteY0" fmla="*/ 24384 h 48768"/>
                <a:gd name="connsiteX1" fmla="*/ 24384 w 48768"/>
                <a:gd name="connsiteY1" fmla="*/ 48768 h 48768"/>
                <a:gd name="connsiteX2" fmla="*/ 0 w 48768"/>
                <a:gd name="connsiteY2" fmla="*/ 24384 h 48768"/>
                <a:gd name="connsiteX3" fmla="*/ 24384 w 48768"/>
                <a:gd name="connsiteY3" fmla="*/ 0 h 48768"/>
                <a:gd name="connsiteX4" fmla="*/ 48768 w 48768"/>
                <a:gd name="connsiteY4" fmla="*/ 24384 h 48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 h="48768">
                  <a:moveTo>
                    <a:pt x="48768" y="24384"/>
                  </a:moveTo>
                  <a:cubicBezTo>
                    <a:pt x="48768" y="37856"/>
                    <a:pt x="37856" y="48768"/>
                    <a:pt x="24384" y="48768"/>
                  </a:cubicBezTo>
                  <a:cubicBezTo>
                    <a:pt x="10912" y="48768"/>
                    <a:pt x="0" y="37856"/>
                    <a:pt x="0" y="24384"/>
                  </a:cubicBezTo>
                  <a:cubicBezTo>
                    <a:pt x="0" y="10912"/>
                    <a:pt x="10912" y="0"/>
                    <a:pt x="24384" y="0"/>
                  </a:cubicBezTo>
                  <a:cubicBezTo>
                    <a:pt x="37856" y="0"/>
                    <a:pt x="48768" y="10912"/>
                    <a:pt x="48768" y="24384"/>
                  </a:cubicBezTo>
                  <a:close/>
                </a:path>
              </a:pathLst>
            </a:custGeom>
            <a:solidFill>
              <a:schemeClr val="bg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1" name="Freeform: Shape 7130">
              <a:extLst>
                <a:ext uri="{FF2B5EF4-FFF2-40B4-BE49-F238E27FC236}">
                  <a16:creationId xmlns:a16="http://schemas.microsoft.com/office/drawing/2014/main" id="{1C4DBD05-E06C-4ADD-AA49-D629A572A80C}"/>
                </a:ext>
              </a:extLst>
            </p:cNvPr>
            <p:cNvSpPr/>
            <p:nvPr/>
          </p:nvSpPr>
          <p:spPr>
            <a:xfrm>
              <a:off x="9766989" y="3768251"/>
              <a:ext cx="37450" cy="35744"/>
            </a:xfrm>
            <a:custGeom>
              <a:avLst/>
              <a:gdLst>
                <a:gd name="connsiteX0" fmla="*/ 48768 w 48768"/>
                <a:gd name="connsiteY0" fmla="*/ 24384 h 48768"/>
                <a:gd name="connsiteX1" fmla="*/ 24384 w 48768"/>
                <a:gd name="connsiteY1" fmla="*/ 48768 h 48768"/>
                <a:gd name="connsiteX2" fmla="*/ 0 w 48768"/>
                <a:gd name="connsiteY2" fmla="*/ 24384 h 48768"/>
                <a:gd name="connsiteX3" fmla="*/ 24384 w 48768"/>
                <a:gd name="connsiteY3" fmla="*/ 0 h 48768"/>
                <a:gd name="connsiteX4" fmla="*/ 48768 w 48768"/>
                <a:gd name="connsiteY4" fmla="*/ 24384 h 48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 h="48768">
                  <a:moveTo>
                    <a:pt x="48768" y="24384"/>
                  </a:moveTo>
                  <a:cubicBezTo>
                    <a:pt x="48768" y="37856"/>
                    <a:pt x="37856" y="48768"/>
                    <a:pt x="24384" y="48768"/>
                  </a:cubicBezTo>
                  <a:cubicBezTo>
                    <a:pt x="10912" y="48768"/>
                    <a:pt x="0" y="37856"/>
                    <a:pt x="0" y="24384"/>
                  </a:cubicBezTo>
                  <a:cubicBezTo>
                    <a:pt x="0" y="10912"/>
                    <a:pt x="10912" y="0"/>
                    <a:pt x="24384" y="0"/>
                  </a:cubicBezTo>
                  <a:cubicBezTo>
                    <a:pt x="37856" y="0"/>
                    <a:pt x="48768" y="10912"/>
                    <a:pt x="48768" y="24384"/>
                  </a:cubicBezTo>
                  <a:close/>
                </a:path>
              </a:pathLst>
            </a:custGeom>
            <a:solidFill>
              <a:schemeClr val="bg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2" name="Freeform: Shape 7131">
              <a:extLst>
                <a:ext uri="{FF2B5EF4-FFF2-40B4-BE49-F238E27FC236}">
                  <a16:creationId xmlns:a16="http://schemas.microsoft.com/office/drawing/2014/main" id="{F9962E8C-CF6C-4C0A-B7C6-0343A17C6C99}"/>
                </a:ext>
              </a:extLst>
            </p:cNvPr>
            <p:cNvSpPr/>
            <p:nvPr/>
          </p:nvSpPr>
          <p:spPr>
            <a:xfrm>
              <a:off x="9766989" y="3945048"/>
              <a:ext cx="37450" cy="35744"/>
            </a:xfrm>
            <a:custGeom>
              <a:avLst/>
              <a:gdLst>
                <a:gd name="connsiteX0" fmla="*/ 48768 w 48768"/>
                <a:gd name="connsiteY0" fmla="*/ 24384 h 48768"/>
                <a:gd name="connsiteX1" fmla="*/ 24384 w 48768"/>
                <a:gd name="connsiteY1" fmla="*/ 48768 h 48768"/>
                <a:gd name="connsiteX2" fmla="*/ 0 w 48768"/>
                <a:gd name="connsiteY2" fmla="*/ 24384 h 48768"/>
                <a:gd name="connsiteX3" fmla="*/ 24384 w 48768"/>
                <a:gd name="connsiteY3" fmla="*/ 0 h 48768"/>
                <a:gd name="connsiteX4" fmla="*/ 48768 w 48768"/>
                <a:gd name="connsiteY4" fmla="*/ 24384 h 48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 h="48768">
                  <a:moveTo>
                    <a:pt x="48768" y="24384"/>
                  </a:moveTo>
                  <a:cubicBezTo>
                    <a:pt x="48768" y="37856"/>
                    <a:pt x="37856" y="48768"/>
                    <a:pt x="24384" y="48768"/>
                  </a:cubicBezTo>
                  <a:cubicBezTo>
                    <a:pt x="10912" y="48768"/>
                    <a:pt x="0" y="37856"/>
                    <a:pt x="0" y="24384"/>
                  </a:cubicBezTo>
                  <a:cubicBezTo>
                    <a:pt x="0" y="10912"/>
                    <a:pt x="10912" y="0"/>
                    <a:pt x="24384" y="0"/>
                  </a:cubicBezTo>
                  <a:cubicBezTo>
                    <a:pt x="37856" y="0"/>
                    <a:pt x="48768" y="10912"/>
                    <a:pt x="48768" y="24384"/>
                  </a:cubicBezTo>
                  <a:close/>
                </a:path>
              </a:pathLst>
            </a:custGeom>
            <a:solidFill>
              <a:schemeClr val="bg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3" name="Freeform: Shape 7132">
              <a:extLst>
                <a:ext uri="{FF2B5EF4-FFF2-40B4-BE49-F238E27FC236}">
                  <a16:creationId xmlns:a16="http://schemas.microsoft.com/office/drawing/2014/main" id="{0D4E006C-E902-4E8A-8755-F146391BCEF7}"/>
                </a:ext>
              </a:extLst>
            </p:cNvPr>
            <p:cNvSpPr/>
            <p:nvPr/>
          </p:nvSpPr>
          <p:spPr>
            <a:xfrm>
              <a:off x="9622338" y="3219897"/>
              <a:ext cx="163377" cy="147934"/>
            </a:xfrm>
            <a:custGeom>
              <a:avLst/>
              <a:gdLst>
                <a:gd name="connsiteX0" fmla="*/ 212750 w 212750"/>
                <a:gd name="connsiteY0" fmla="*/ 119177 h 201838"/>
                <a:gd name="connsiteX1" fmla="*/ 134234 w 212750"/>
                <a:gd name="connsiteY1" fmla="*/ 201839 h 201838"/>
                <a:gd name="connsiteX2" fmla="*/ 0 w 212750"/>
                <a:gd name="connsiteY2" fmla="*/ 41697 h 201838"/>
                <a:gd name="connsiteX3" fmla="*/ 83759 w 212750"/>
                <a:gd name="connsiteY3" fmla="*/ 0 h 201838"/>
                <a:gd name="connsiteX4" fmla="*/ 115275 w 212750"/>
                <a:gd name="connsiteY4" fmla="*/ 29139 h 201838"/>
                <a:gd name="connsiteX5" fmla="*/ 212750 w 212750"/>
                <a:gd name="connsiteY5" fmla="*/ 119177 h 20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50" h="201838">
                  <a:moveTo>
                    <a:pt x="212750" y="119177"/>
                  </a:moveTo>
                  <a:lnTo>
                    <a:pt x="134234" y="201839"/>
                  </a:lnTo>
                  <a:lnTo>
                    <a:pt x="0" y="41697"/>
                  </a:lnTo>
                  <a:cubicBezTo>
                    <a:pt x="244" y="41575"/>
                    <a:pt x="83759" y="0"/>
                    <a:pt x="83759" y="0"/>
                  </a:cubicBezTo>
                  <a:lnTo>
                    <a:pt x="115275" y="29139"/>
                  </a:lnTo>
                  <a:lnTo>
                    <a:pt x="212750" y="119177"/>
                  </a:lnTo>
                  <a:close/>
                </a:path>
              </a:pathLst>
            </a:custGeom>
            <a:solidFill>
              <a:schemeClr val="tx1">
                <a:lumMod val="75000"/>
                <a:lumOff val="25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4" name="Freeform: Shape 7133">
              <a:extLst>
                <a:ext uri="{FF2B5EF4-FFF2-40B4-BE49-F238E27FC236}">
                  <a16:creationId xmlns:a16="http://schemas.microsoft.com/office/drawing/2014/main" id="{BA4E2185-9D30-4AD1-A9EE-AD704020A046}"/>
                </a:ext>
              </a:extLst>
            </p:cNvPr>
            <p:cNvSpPr/>
            <p:nvPr/>
          </p:nvSpPr>
          <p:spPr>
            <a:xfrm>
              <a:off x="9785761" y="3219897"/>
              <a:ext cx="163283" cy="147934"/>
            </a:xfrm>
            <a:custGeom>
              <a:avLst/>
              <a:gdLst>
                <a:gd name="connsiteX0" fmla="*/ 128991 w 212628"/>
                <a:gd name="connsiteY0" fmla="*/ 0 h 201838"/>
                <a:gd name="connsiteX1" fmla="*/ 0 w 212628"/>
                <a:gd name="connsiteY1" fmla="*/ 119177 h 201838"/>
                <a:gd name="connsiteX2" fmla="*/ 78455 w 212628"/>
                <a:gd name="connsiteY2" fmla="*/ 201839 h 201838"/>
                <a:gd name="connsiteX3" fmla="*/ 212629 w 212628"/>
                <a:gd name="connsiteY3" fmla="*/ 41636 h 201838"/>
              </a:gdLst>
              <a:ahLst/>
              <a:cxnLst>
                <a:cxn ang="0">
                  <a:pos x="connsiteX0" y="connsiteY0"/>
                </a:cxn>
                <a:cxn ang="0">
                  <a:pos x="connsiteX1" y="connsiteY1"/>
                </a:cxn>
                <a:cxn ang="0">
                  <a:pos x="connsiteX2" y="connsiteY2"/>
                </a:cxn>
                <a:cxn ang="0">
                  <a:pos x="connsiteX3" y="connsiteY3"/>
                </a:cxn>
              </a:cxnLst>
              <a:rect l="l" t="t" r="r" b="b"/>
              <a:pathLst>
                <a:path w="212628" h="201838">
                  <a:moveTo>
                    <a:pt x="128991" y="0"/>
                  </a:moveTo>
                  <a:lnTo>
                    <a:pt x="0" y="119177"/>
                  </a:lnTo>
                  <a:lnTo>
                    <a:pt x="78455" y="201839"/>
                  </a:lnTo>
                  <a:lnTo>
                    <a:pt x="212629" y="41636"/>
                  </a:lnTo>
                  <a:close/>
                </a:path>
              </a:pathLst>
            </a:custGeom>
            <a:solidFill>
              <a:schemeClr val="tx1">
                <a:lumMod val="75000"/>
                <a:lumOff val="25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5" name="Freeform: Shape 7134">
              <a:extLst>
                <a:ext uri="{FF2B5EF4-FFF2-40B4-BE49-F238E27FC236}">
                  <a16:creationId xmlns:a16="http://schemas.microsoft.com/office/drawing/2014/main" id="{ACCC6551-97E7-4856-9479-5BDB052C689E}"/>
                </a:ext>
              </a:extLst>
            </p:cNvPr>
            <p:cNvSpPr/>
            <p:nvPr/>
          </p:nvSpPr>
          <p:spPr>
            <a:xfrm>
              <a:off x="9377821" y="3230084"/>
              <a:ext cx="318293" cy="1512675"/>
            </a:xfrm>
            <a:custGeom>
              <a:avLst/>
              <a:gdLst>
                <a:gd name="connsiteX0" fmla="*/ 414422 w 414483"/>
                <a:gd name="connsiteY0" fmla="*/ 1915729 h 2063861"/>
                <a:gd name="connsiteX1" fmla="*/ 382662 w 414483"/>
                <a:gd name="connsiteY1" fmla="*/ 2063862 h 2063861"/>
                <a:gd name="connsiteX2" fmla="*/ 39518 w 414483"/>
                <a:gd name="connsiteY2" fmla="*/ 2063801 h 2063861"/>
                <a:gd name="connsiteX3" fmla="*/ 174910 w 414483"/>
                <a:gd name="connsiteY3" fmla="*/ 754136 h 2063861"/>
                <a:gd name="connsiteX4" fmla="*/ 7392 w 414483"/>
                <a:gd name="connsiteY4" fmla="*/ 313152 h 2063861"/>
                <a:gd name="connsiteX5" fmla="*/ 111207 w 414483"/>
                <a:gd name="connsiteY5" fmla="*/ 93635 h 2063861"/>
                <a:gd name="connsiteX6" fmla="*/ 361326 w 414483"/>
                <a:gd name="connsiteY6" fmla="*/ 0 h 2063861"/>
                <a:gd name="connsiteX7" fmla="*/ 414483 w 414483"/>
                <a:gd name="connsiteY7" fmla="*/ 697382 h 2063861"/>
                <a:gd name="connsiteX8" fmla="*/ 414483 w 414483"/>
                <a:gd name="connsiteY8" fmla="*/ 1915729 h 206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83" h="2063861">
                  <a:moveTo>
                    <a:pt x="414422" y="1915729"/>
                  </a:moveTo>
                  <a:lnTo>
                    <a:pt x="382662" y="2063862"/>
                  </a:lnTo>
                  <a:lnTo>
                    <a:pt x="39518" y="2063801"/>
                  </a:lnTo>
                  <a:cubicBezTo>
                    <a:pt x="52930" y="1858731"/>
                    <a:pt x="174910" y="754136"/>
                    <a:pt x="174910" y="754136"/>
                  </a:cubicBezTo>
                  <a:cubicBezTo>
                    <a:pt x="130958" y="626669"/>
                    <a:pt x="45370" y="443057"/>
                    <a:pt x="7392" y="313152"/>
                  </a:cubicBezTo>
                  <a:cubicBezTo>
                    <a:pt x="-18638" y="224272"/>
                    <a:pt x="25985" y="129967"/>
                    <a:pt x="111207" y="93635"/>
                  </a:cubicBezTo>
                  <a:lnTo>
                    <a:pt x="361326" y="0"/>
                  </a:lnTo>
                  <a:cubicBezTo>
                    <a:pt x="361326" y="0"/>
                    <a:pt x="414483" y="697322"/>
                    <a:pt x="414483" y="697382"/>
                  </a:cubicBezTo>
                  <a:lnTo>
                    <a:pt x="414483" y="1915729"/>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6" name="Freeform: Shape 7135">
              <a:extLst>
                <a:ext uri="{FF2B5EF4-FFF2-40B4-BE49-F238E27FC236}">
                  <a16:creationId xmlns:a16="http://schemas.microsoft.com/office/drawing/2014/main" id="{EC589B7C-93CE-48F2-8A4C-4CFAA2ABB02B}"/>
                </a:ext>
              </a:extLst>
            </p:cNvPr>
            <p:cNvSpPr/>
            <p:nvPr/>
          </p:nvSpPr>
          <p:spPr>
            <a:xfrm rot="17099960">
              <a:off x="9986722" y="4124213"/>
              <a:ext cx="15503" cy="206345"/>
            </a:xfrm>
            <a:custGeom>
              <a:avLst/>
              <a:gdLst>
                <a:gd name="connsiteX0" fmla="*/ 0 w 21152"/>
                <a:gd name="connsiteY0" fmla="*/ 0 h 268703"/>
                <a:gd name="connsiteX1" fmla="*/ 21152 w 21152"/>
                <a:gd name="connsiteY1" fmla="*/ 0 h 268703"/>
                <a:gd name="connsiteX2" fmla="*/ 21152 w 21152"/>
                <a:gd name="connsiteY2" fmla="*/ 268704 h 268703"/>
                <a:gd name="connsiteX3" fmla="*/ 0 w 21152"/>
                <a:gd name="connsiteY3" fmla="*/ 268704 h 268703"/>
              </a:gdLst>
              <a:ahLst/>
              <a:cxnLst>
                <a:cxn ang="0">
                  <a:pos x="connsiteX0" y="connsiteY0"/>
                </a:cxn>
                <a:cxn ang="0">
                  <a:pos x="connsiteX1" y="connsiteY1"/>
                </a:cxn>
                <a:cxn ang="0">
                  <a:pos x="connsiteX2" y="connsiteY2"/>
                </a:cxn>
                <a:cxn ang="0">
                  <a:pos x="connsiteX3" y="connsiteY3"/>
                </a:cxn>
              </a:cxnLst>
              <a:rect l="l" t="t" r="r" b="b"/>
              <a:pathLst>
                <a:path w="21152" h="268703">
                  <a:moveTo>
                    <a:pt x="0" y="0"/>
                  </a:moveTo>
                  <a:lnTo>
                    <a:pt x="21152" y="0"/>
                  </a:lnTo>
                  <a:lnTo>
                    <a:pt x="21152" y="268704"/>
                  </a:lnTo>
                  <a:lnTo>
                    <a:pt x="0" y="268704"/>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7" name="Freeform: Shape 7136">
              <a:extLst>
                <a:ext uri="{FF2B5EF4-FFF2-40B4-BE49-F238E27FC236}">
                  <a16:creationId xmlns:a16="http://schemas.microsoft.com/office/drawing/2014/main" id="{95B21C2F-CD7F-4386-B404-4A8A6074C528}"/>
                </a:ext>
              </a:extLst>
            </p:cNvPr>
            <p:cNvSpPr/>
            <p:nvPr/>
          </p:nvSpPr>
          <p:spPr>
            <a:xfrm rot="20700040">
              <a:off x="9473133" y="4219577"/>
              <a:ext cx="206345" cy="15503"/>
            </a:xfrm>
            <a:custGeom>
              <a:avLst/>
              <a:gdLst>
                <a:gd name="connsiteX0" fmla="*/ 0 w 268703"/>
                <a:gd name="connsiteY0" fmla="*/ 0 h 21152"/>
                <a:gd name="connsiteX1" fmla="*/ 268703 w 268703"/>
                <a:gd name="connsiteY1" fmla="*/ 0 h 21152"/>
                <a:gd name="connsiteX2" fmla="*/ 268703 w 268703"/>
                <a:gd name="connsiteY2" fmla="*/ 21152 h 21152"/>
                <a:gd name="connsiteX3" fmla="*/ 0 w 268703"/>
                <a:gd name="connsiteY3" fmla="*/ 21152 h 21152"/>
              </a:gdLst>
              <a:ahLst/>
              <a:cxnLst>
                <a:cxn ang="0">
                  <a:pos x="connsiteX0" y="connsiteY0"/>
                </a:cxn>
                <a:cxn ang="0">
                  <a:pos x="connsiteX1" y="connsiteY1"/>
                </a:cxn>
                <a:cxn ang="0">
                  <a:pos x="connsiteX2" y="connsiteY2"/>
                </a:cxn>
                <a:cxn ang="0">
                  <a:pos x="connsiteX3" y="connsiteY3"/>
                </a:cxn>
              </a:cxnLst>
              <a:rect l="l" t="t" r="r" b="b"/>
              <a:pathLst>
                <a:path w="268703" h="21152">
                  <a:moveTo>
                    <a:pt x="0" y="0"/>
                  </a:moveTo>
                  <a:lnTo>
                    <a:pt x="268703" y="0"/>
                  </a:lnTo>
                  <a:lnTo>
                    <a:pt x="268703" y="21152"/>
                  </a:lnTo>
                  <a:lnTo>
                    <a:pt x="0" y="21152"/>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8" name="Freeform: Shape 7137">
              <a:extLst>
                <a:ext uri="{FF2B5EF4-FFF2-40B4-BE49-F238E27FC236}">
                  <a16:creationId xmlns:a16="http://schemas.microsoft.com/office/drawing/2014/main" id="{C55ABBED-1F55-4960-A585-4AB622882848}"/>
                </a:ext>
              </a:extLst>
            </p:cNvPr>
            <p:cNvSpPr/>
            <p:nvPr/>
          </p:nvSpPr>
          <p:spPr>
            <a:xfrm>
              <a:off x="9584746" y="3213374"/>
              <a:ext cx="111320" cy="527846"/>
            </a:xfrm>
            <a:custGeom>
              <a:avLst/>
              <a:gdLst>
                <a:gd name="connsiteX0" fmla="*/ 0 w 144962"/>
                <a:gd name="connsiteY0" fmla="*/ 54986 h 720181"/>
                <a:gd name="connsiteX1" fmla="*/ 4145 w 144962"/>
                <a:gd name="connsiteY1" fmla="*/ 176296 h 720181"/>
                <a:gd name="connsiteX2" fmla="*/ 64739 w 144962"/>
                <a:gd name="connsiteY2" fmla="*/ 226162 h 720181"/>
                <a:gd name="connsiteX3" fmla="*/ 17618 w 144962"/>
                <a:gd name="connsiteY3" fmla="*/ 290596 h 720181"/>
                <a:gd name="connsiteX4" fmla="*/ 144963 w 144962"/>
                <a:gd name="connsiteY4" fmla="*/ 720181 h 720181"/>
                <a:gd name="connsiteX5" fmla="*/ 106863 w 144962"/>
                <a:gd name="connsiteY5" fmla="*/ 0 h 72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962" h="720181">
                  <a:moveTo>
                    <a:pt x="0" y="54986"/>
                  </a:moveTo>
                  <a:lnTo>
                    <a:pt x="4145" y="176296"/>
                  </a:lnTo>
                  <a:lnTo>
                    <a:pt x="64739" y="226162"/>
                  </a:lnTo>
                  <a:lnTo>
                    <a:pt x="17618" y="290596"/>
                  </a:lnTo>
                  <a:lnTo>
                    <a:pt x="144963" y="720181"/>
                  </a:lnTo>
                  <a:lnTo>
                    <a:pt x="106863" y="0"/>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39" name="Freeform: Shape 7138">
              <a:extLst>
                <a:ext uri="{FF2B5EF4-FFF2-40B4-BE49-F238E27FC236}">
                  <a16:creationId xmlns:a16="http://schemas.microsoft.com/office/drawing/2014/main" id="{8B185175-B483-4217-AE0F-972D24BD8C32}"/>
                </a:ext>
              </a:extLst>
            </p:cNvPr>
            <p:cNvSpPr/>
            <p:nvPr/>
          </p:nvSpPr>
          <p:spPr>
            <a:xfrm>
              <a:off x="9874893" y="3213374"/>
              <a:ext cx="111320" cy="527846"/>
            </a:xfrm>
            <a:custGeom>
              <a:avLst/>
              <a:gdLst>
                <a:gd name="connsiteX0" fmla="*/ 144963 w 144962"/>
                <a:gd name="connsiteY0" fmla="*/ 54986 h 720181"/>
                <a:gd name="connsiteX1" fmla="*/ 140818 w 144962"/>
                <a:gd name="connsiteY1" fmla="*/ 176296 h 720181"/>
                <a:gd name="connsiteX2" fmla="*/ 80223 w 144962"/>
                <a:gd name="connsiteY2" fmla="*/ 226162 h 720181"/>
                <a:gd name="connsiteX3" fmla="*/ 127406 w 144962"/>
                <a:gd name="connsiteY3" fmla="*/ 290596 h 720181"/>
                <a:gd name="connsiteX4" fmla="*/ 0 w 144962"/>
                <a:gd name="connsiteY4" fmla="*/ 720181 h 720181"/>
                <a:gd name="connsiteX5" fmla="*/ 38100 w 144962"/>
                <a:gd name="connsiteY5" fmla="*/ 0 h 72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962" h="720181">
                  <a:moveTo>
                    <a:pt x="144963" y="54986"/>
                  </a:moveTo>
                  <a:lnTo>
                    <a:pt x="140818" y="176296"/>
                  </a:lnTo>
                  <a:lnTo>
                    <a:pt x="80223" y="226162"/>
                  </a:lnTo>
                  <a:lnTo>
                    <a:pt x="127406" y="290596"/>
                  </a:lnTo>
                  <a:lnTo>
                    <a:pt x="0" y="720181"/>
                  </a:lnTo>
                  <a:lnTo>
                    <a:pt x="38100" y="0"/>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140" name="Graphic 3">
              <a:extLst>
                <a:ext uri="{FF2B5EF4-FFF2-40B4-BE49-F238E27FC236}">
                  <a16:creationId xmlns:a16="http://schemas.microsoft.com/office/drawing/2014/main" id="{87B637E6-B051-4DC9-9C73-F3F8D1F966C2}"/>
                </a:ext>
              </a:extLst>
            </p:cNvPr>
            <p:cNvGrpSpPr/>
            <p:nvPr/>
          </p:nvGrpSpPr>
          <p:grpSpPr>
            <a:xfrm>
              <a:off x="9347140" y="4241900"/>
              <a:ext cx="139608" cy="213913"/>
              <a:chOff x="3692103" y="3526658"/>
              <a:chExt cx="181799" cy="291859"/>
            </a:xfrm>
            <a:solidFill>
              <a:srgbClr val="F7CDB9"/>
            </a:solidFill>
          </p:grpSpPr>
          <p:sp>
            <p:nvSpPr>
              <p:cNvPr id="7173" name="Freeform: Shape 7172">
                <a:extLst>
                  <a:ext uri="{FF2B5EF4-FFF2-40B4-BE49-F238E27FC236}">
                    <a16:creationId xmlns:a16="http://schemas.microsoft.com/office/drawing/2014/main" id="{E139068B-1342-4499-97F7-22A879E15E96}"/>
                  </a:ext>
                </a:extLst>
              </p:cNvPr>
              <p:cNvSpPr/>
              <p:nvPr/>
            </p:nvSpPr>
            <p:spPr>
              <a:xfrm>
                <a:off x="3692103" y="3526658"/>
                <a:ext cx="153111" cy="291859"/>
              </a:xfrm>
              <a:custGeom>
                <a:avLst/>
                <a:gdLst>
                  <a:gd name="connsiteX0" fmla="*/ 153070 w 153111"/>
                  <a:gd name="connsiteY0" fmla="*/ 219090 h 291859"/>
                  <a:gd name="connsiteX1" fmla="*/ 146243 w 153111"/>
                  <a:gd name="connsiteY1" fmla="*/ 0 h 291859"/>
                  <a:gd name="connsiteX2" fmla="*/ 0 w 153111"/>
                  <a:gd name="connsiteY2" fmla="*/ 4328 h 291859"/>
                  <a:gd name="connsiteX3" fmla="*/ 19019 w 153111"/>
                  <a:gd name="connsiteY3" fmla="*/ 223418 h 291859"/>
                  <a:gd name="connsiteX4" fmla="*/ 82357 w 153111"/>
                  <a:gd name="connsiteY4" fmla="*/ 291816 h 291859"/>
                  <a:gd name="connsiteX5" fmla="*/ 153070 w 153111"/>
                  <a:gd name="connsiteY5" fmla="*/ 219090 h 29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111" h="291859">
                    <a:moveTo>
                      <a:pt x="153070" y="219090"/>
                    </a:moveTo>
                    <a:lnTo>
                      <a:pt x="146243" y="0"/>
                    </a:lnTo>
                    <a:lnTo>
                      <a:pt x="0" y="4328"/>
                    </a:lnTo>
                    <a:lnTo>
                      <a:pt x="19019" y="223418"/>
                    </a:lnTo>
                    <a:cubicBezTo>
                      <a:pt x="20361" y="269138"/>
                      <a:pt x="42001" y="293035"/>
                      <a:pt x="82357" y="291816"/>
                    </a:cubicBezTo>
                    <a:cubicBezTo>
                      <a:pt x="122773" y="290657"/>
                      <a:pt x="154412" y="264810"/>
                      <a:pt x="153070" y="219090"/>
                    </a:cubicBez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74" name="Freeform: Shape 7173">
                <a:extLst>
                  <a:ext uri="{FF2B5EF4-FFF2-40B4-BE49-F238E27FC236}">
                    <a16:creationId xmlns:a16="http://schemas.microsoft.com/office/drawing/2014/main" id="{44DD0B05-246E-4F40-8022-02EDB3645EEA}"/>
                  </a:ext>
                </a:extLst>
              </p:cNvPr>
              <p:cNvSpPr/>
              <p:nvPr/>
            </p:nvSpPr>
            <p:spPr>
              <a:xfrm>
                <a:off x="3784298" y="3556874"/>
                <a:ext cx="89603" cy="171813"/>
              </a:xfrm>
              <a:custGeom>
                <a:avLst/>
                <a:gdLst>
                  <a:gd name="connsiteX0" fmla="*/ 89587 w 89603"/>
                  <a:gd name="connsiteY0" fmla="*/ 143520 h 171813"/>
                  <a:gd name="connsiteX1" fmla="*/ 38625 w 89603"/>
                  <a:gd name="connsiteY1" fmla="*/ 5323 h 171813"/>
                  <a:gd name="connsiteX2" fmla="*/ 4609 w 89603"/>
                  <a:gd name="connsiteY2" fmla="*/ 11298 h 171813"/>
                  <a:gd name="connsiteX3" fmla="*/ 10096 w 89603"/>
                  <a:gd name="connsiteY3" fmla="*/ 49825 h 171813"/>
                  <a:gd name="connsiteX4" fmla="*/ 15033 w 89603"/>
                  <a:gd name="connsiteY4" fmla="*/ 57505 h 171813"/>
                  <a:gd name="connsiteX5" fmla="*/ 25214 w 89603"/>
                  <a:gd name="connsiteY5" fmla="*/ 77744 h 171813"/>
                  <a:gd name="connsiteX6" fmla="*/ 40880 w 89603"/>
                  <a:gd name="connsiteY6" fmla="*/ 144922 h 171813"/>
                  <a:gd name="connsiteX7" fmla="*/ 66057 w 89603"/>
                  <a:gd name="connsiteY7" fmla="*/ 171805 h 171813"/>
                  <a:gd name="connsiteX8" fmla="*/ 89587 w 89603"/>
                  <a:gd name="connsiteY8" fmla="*/ 143520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03" h="171813">
                    <a:moveTo>
                      <a:pt x="89587" y="143520"/>
                    </a:moveTo>
                    <a:cubicBezTo>
                      <a:pt x="87210" y="62870"/>
                      <a:pt x="41368" y="7640"/>
                      <a:pt x="38625" y="5323"/>
                    </a:cubicBezTo>
                    <a:cubicBezTo>
                      <a:pt x="27713" y="-3699"/>
                      <a:pt x="12473" y="-955"/>
                      <a:pt x="4609" y="11298"/>
                    </a:cubicBezTo>
                    <a:cubicBezTo>
                      <a:pt x="-3255" y="23611"/>
                      <a:pt x="-816" y="40802"/>
                      <a:pt x="10096" y="49825"/>
                    </a:cubicBezTo>
                    <a:cubicBezTo>
                      <a:pt x="10339" y="50007"/>
                      <a:pt x="12229" y="52751"/>
                      <a:pt x="15033" y="57505"/>
                    </a:cubicBezTo>
                    <a:cubicBezTo>
                      <a:pt x="17837" y="62321"/>
                      <a:pt x="21495" y="69210"/>
                      <a:pt x="25214" y="77744"/>
                    </a:cubicBezTo>
                    <a:cubicBezTo>
                      <a:pt x="32590" y="94813"/>
                      <a:pt x="40088" y="118344"/>
                      <a:pt x="40880" y="144922"/>
                    </a:cubicBezTo>
                    <a:cubicBezTo>
                      <a:pt x="41307" y="160162"/>
                      <a:pt x="52585" y="172171"/>
                      <a:pt x="66057" y="171805"/>
                    </a:cubicBezTo>
                    <a:cubicBezTo>
                      <a:pt x="79529" y="171439"/>
                      <a:pt x="90075" y="158760"/>
                      <a:pt x="89587" y="143520"/>
                    </a:cubicBez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141" name="Freeform: Shape 7140">
              <a:extLst>
                <a:ext uri="{FF2B5EF4-FFF2-40B4-BE49-F238E27FC236}">
                  <a16:creationId xmlns:a16="http://schemas.microsoft.com/office/drawing/2014/main" id="{F904BE21-0EF0-4A5A-80F7-911616C9D5E8}"/>
                </a:ext>
              </a:extLst>
            </p:cNvPr>
            <p:cNvSpPr/>
            <p:nvPr/>
          </p:nvSpPr>
          <p:spPr>
            <a:xfrm>
              <a:off x="9324267" y="3397722"/>
              <a:ext cx="190603" cy="900072"/>
            </a:xfrm>
            <a:custGeom>
              <a:avLst/>
              <a:gdLst>
                <a:gd name="connsiteX0" fmla="*/ 17288 w 248204"/>
                <a:gd name="connsiteY0" fmla="*/ 1228040 h 1228039"/>
                <a:gd name="connsiteX1" fmla="*/ 37 w 248204"/>
                <a:gd name="connsiteY1" fmla="*/ 641604 h 1228039"/>
                <a:gd name="connsiteX2" fmla="*/ 585 w 248204"/>
                <a:gd name="connsiteY2" fmla="*/ 628742 h 1228039"/>
                <a:gd name="connsiteX3" fmla="*/ 72518 w 248204"/>
                <a:gd name="connsiteY3" fmla="*/ 0 h 1228039"/>
                <a:gd name="connsiteX4" fmla="*/ 248205 w 248204"/>
                <a:gd name="connsiteY4" fmla="*/ 28956 h 1228039"/>
                <a:gd name="connsiteX5" fmla="*/ 175662 w 248204"/>
                <a:gd name="connsiteY5" fmla="*/ 642945 h 1228039"/>
                <a:gd name="connsiteX6" fmla="*/ 192731 w 248204"/>
                <a:gd name="connsiteY6" fmla="*/ 1222919 h 1228039"/>
                <a:gd name="connsiteX7" fmla="*/ 17288 w 248204"/>
                <a:gd name="connsiteY7" fmla="*/ 1228040 h 122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04" h="1228039">
                  <a:moveTo>
                    <a:pt x="17288" y="1228040"/>
                  </a:moveTo>
                  <a:lnTo>
                    <a:pt x="37" y="641604"/>
                  </a:lnTo>
                  <a:cubicBezTo>
                    <a:pt x="-85" y="637337"/>
                    <a:pt x="98" y="633009"/>
                    <a:pt x="585" y="628742"/>
                  </a:cubicBezTo>
                  <a:lnTo>
                    <a:pt x="72518" y="0"/>
                  </a:lnTo>
                  <a:lnTo>
                    <a:pt x="248205" y="28956"/>
                  </a:lnTo>
                  <a:lnTo>
                    <a:pt x="175662" y="642945"/>
                  </a:lnTo>
                  <a:lnTo>
                    <a:pt x="192731" y="1222919"/>
                  </a:lnTo>
                  <a:lnTo>
                    <a:pt x="17288" y="122804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2" name="Freeform: Shape 7141">
              <a:extLst>
                <a:ext uri="{FF2B5EF4-FFF2-40B4-BE49-F238E27FC236}">
                  <a16:creationId xmlns:a16="http://schemas.microsoft.com/office/drawing/2014/main" id="{B8D8E4D4-8315-49B8-86EE-ABC29D04478C}"/>
                </a:ext>
              </a:extLst>
            </p:cNvPr>
            <p:cNvSpPr/>
            <p:nvPr/>
          </p:nvSpPr>
          <p:spPr>
            <a:xfrm>
              <a:off x="9423007" y="2778328"/>
              <a:ext cx="327690" cy="312758"/>
            </a:xfrm>
            <a:custGeom>
              <a:avLst/>
              <a:gdLst>
                <a:gd name="connsiteX0" fmla="*/ 426720 w 426720"/>
                <a:gd name="connsiteY0" fmla="*/ 213360 h 426720"/>
                <a:gd name="connsiteX1" fmla="*/ 213360 w 426720"/>
                <a:gd name="connsiteY1" fmla="*/ 426720 h 426720"/>
                <a:gd name="connsiteX2" fmla="*/ 0 w 426720"/>
                <a:gd name="connsiteY2" fmla="*/ 213360 h 426720"/>
                <a:gd name="connsiteX3" fmla="*/ 213360 w 426720"/>
                <a:gd name="connsiteY3" fmla="*/ 0 h 426720"/>
                <a:gd name="connsiteX4" fmla="*/ 426720 w 426720"/>
                <a:gd name="connsiteY4" fmla="*/ 21336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720" h="426720">
                  <a:moveTo>
                    <a:pt x="426720" y="213360"/>
                  </a:moveTo>
                  <a:cubicBezTo>
                    <a:pt x="426720" y="331196"/>
                    <a:pt x="331195" y="426720"/>
                    <a:pt x="213360" y="426720"/>
                  </a:cubicBezTo>
                  <a:cubicBezTo>
                    <a:pt x="95525" y="426720"/>
                    <a:pt x="0" y="331196"/>
                    <a:pt x="0" y="213360"/>
                  </a:cubicBezTo>
                  <a:cubicBezTo>
                    <a:pt x="0" y="95525"/>
                    <a:pt x="95525" y="0"/>
                    <a:pt x="213360" y="0"/>
                  </a:cubicBezTo>
                  <a:cubicBezTo>
                    <a:pt x="331195" y="0"/>
                    <a:pt x="426720" y="95525"/>
                    <a:pt x="426720" y="213360"/>
                  </a:cubicBezTo>
                  <a:close/>
                </a:path>
              </a:pathLst>
            </a:custGeom>
            <a:solidFill>
              <a:schemeClr val="tx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60" name="Freeform: Shape 7159">
              <a:extLst>
                <a:ext uri="{FF2B5EF4-FFF2-40B4-BE49-F238E27FC236}">
                  <a16:creationId xmlns:a16="http://schemas.microsoft.com/office/drawing/2014/main" id="{AC26DB26-2355-41F6-B139-D5E5CFDF7499}"/>
                </a:ext>
              </a:extLst>
            </p:cNvPr>
            <p:cNvSpPr/>
            <p:nvPr/>
          </p:nvSpPr>
          <p:spPr>
            <a:xfrm>
              <a:off x="9516353" y="2488625"/>
              <a:ext cx="524304" cy="679131"/>
            </a:xfrm>
            <a:custGeom>
              <a:avLst/>
              <a:gdLst>
                <a:gd name="connsiteX0" fmla="*/ 620695 w 682752"/>
                <a:gd name="connsiteY0" fmla="*/ 431597 h 926591"/>
                <a:gd name="connsiteX1" fmla="*/ 620695 w 682752"/>
                <a:gd name="connsiteY1" fmla="*/ 304800 h 926591"/>
                <a:gd name="connsiteX2" fmla="*/ 341376 w 682752"/>
                <a:gd name="connsiteY2" fmla="*/ 0 h 926591"/>
                <a:gd name="connsiteX3" fmla="*/ 62057 w 682752"/>
                <a:gd name="connsiteY3" fmla="*/ 304800 h 926591"/>
                <a:gd name="connsiteX4" fmla="*/ 62057 w 682752"/>
                <a:gd name="connsiteY4" fmla="*/ 431597 h 926591"/>
                <a:gd name="connsiteX5" fmla="*/ 0 w 682752"/>
                <a:gd name="connsiteY5" fmla="*/ 492557 h 926591"/>
                <a:gd name="connsiteX6" fmla="*/ 0 w 682752"/>
                <a:gd name="connsiteY6" fmla="*/ 555955 h 926591"/>
                <a:gd name="connsiteX7" fmla="*/ 62057 w 682752"/>
                <a:gd name="connsiteY7" fmla="*/ 616915 h 926591"/>
                <a:gd name="connsiteX8" fmla="*/ 341376 w 682752"/>
                <a:gd name="connsiteY8" fmla="*/ 926592 h 926591"/>
                <a:gd name="connsiteX9" fmla="*/ 620695 w 682752"/>
                <a:gd name="connsiteY9" fmla="*/ 616915 h 926591"/>
                <a:gd name="connsiteX10" fmla="*/ 682752 w 682752"/>
                <a:gd name="connsiteY10" fmla="*/ 555955 h 926591"/>
                <a:gd name="connsiteX11" fmla="*/ 682752 w 682752"/>
                <a:gd name="connsiteY11" fmla="*/ 492557 h 926591"/>
                <a:gd name="connsiteX12" fmla="*/ 620695 w 682752"/>
                <a:gd name="connsiteY12" fmla="*/ 431597 h 92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2752" h="926591">
                  <a:moveTo>
                    <a:pt x="620695" y="431597"/>
                  </a:moveTo>
                  <a:lnTo>
                    <a:pt x="620695" y="304800"/>
                  </a:lnTo>
                  <a:cubicBezTo>
                    <a:pt x="620695" y="170139"/>
                    <a:pt x="464820" y="0"/>
                    <a:pt x="341376" y="0"/>
                  </a:cubicBezTo>
                  <a:cubicBezTo>
                    <a:pt x="217993" y="0"/>
                    <a:pt x="62057" y="170139"/>
                    <a:pt x="62057" y="304800"/>
                  </a:cubicBezTo>
                  <a:lnTo>
                    <a:pt x="62057" y="431597"/>
                  </a:lnTo>
                  <a:cubicBezTo>
                    <a:pt x="27798" y="431597"/>
                    <a:pt x="0" y="458907"/>
                    <a:pt x="0" y="492557"/>
                  </a:cubicBezTo>
                  <a:lnTo>
                    <a:pt x="0" y="555955"/>
                  </a:lnTo>
                  <a:cubicBezTo>
                    <a:pt x="0" y="589605"/>
                    <a:pt x="27798" y="616915"/>
                    <a:pt x="62057" y="616915"/>
                  </a:cubicBezTo>
                  <a:cubicBezTo>
                    <a:pt x="62057" y="751576"/>
                    <a:pt x="217932" y="926592"/>
                    <a:pt x="341376" y="926592"/>
                  </a:cubicBezTo>
                  <a:cubicBezTo>
                    <a:pt x="464759" y="926592"/>
                    <a:pt x="620695" y="751576"/>
                    <a:pt x="620695" y="616915"/>
                  </a:cubicBezTo>
                  <a:cubicBezTo>
                    <a:pt x="654954" y="616915"/>
                    <a:pt x="682752" y="589605"/>
                    <a:pt x="682752" y="555955"/>
                  </a:cubicBezTo>
                  <a:lnTo>
                    <a:pt x="682752" y="492557"/>
                  </a:lnTo>
                  <a:cubicBezTo>
                    <a:pt x="682813" y="458907"/>
                    <a:pt x="655015" y="431597"/>
                    <a:pt x="620695" y="431597"/>
                  </a:cubicBez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61" name="Freeform: Shape 7160">
              <a:extLst>
                <a:ext uri="{FF2B5EF4-FFF2-40B4-BE49-F238E27FC236}">
                  <a16:creationId xmlns:a16="http://schemas.microsoft.com/office/drawing/2014/main" id="{4608CB2C-B9DE-47BB-BDC0-DCE6963D1517}"/>
                </a:ext>
              </a:extLst>
            </p:cNvPr>
            <p:cNvSpPr/>
            <p:nvPr/>
          </p:nvSpPr>
          <p:spPr>
            <a:xfrm>
              <a:off x="9730896" y="2488625"/>
              <a:ext cx="309807" cy="679131"/>
            </a:xfrm>
            <a:custGeom>
              <a:avLst/>
              <a:gdLst>
                <a:gd name="connsiteX0" fmla="*/ 62057 w 403433"/>
                <a:gd name="connsiteY0" fmla="*/ 701040 h 926591"/>
                <a:gd name="connsiteX1" fmla="*/ 62057 w 403433"/>
                <a:gd name="connsiteY1" fmla="*/ 926592 h 926591"/>
                <a:gd name="connsiteX2" fmla="*/ 341376 w 403433"/>
                <a:gd name="connsiteY2" fmla="*/ 616915 h 926591"/>
                <a:gd name="connsiteX3" fmla="*/ 403433 w 403433"/>
                <a:gd name="connsiteY3" fmla="*/ 555955 h 926591"/>
                <a:gd name="connsiteX4" fmla="*/ 403433 w 403433"/>
                <a:gd name="connsiteY4" fmla="*/ 492557 h 926591"/>
                <a:gd name="connsiteX5" fmla="*/ 341376 w 403433"/>
                <a:gd name="connsiteY5" fmla="*/ 431597 h 926591"/>
                <a:gd name="connsiteX6" fmla="*/ 341376 w 403433"/>
                <a:gd name="connsiteY6" fmla="*/ 304800 h 926591"/>
                <a:gd name="connsiteX7" fmla="*/ 62057 w 403433"/>
                <a:gd name="connsiteY7" fmla="*/ 0 h 926591"/>
                <a:gd name="connsiteX8" fmla="*/ 62057 w 403433"/>
                <a:gd name="connsiteY8" fmla="*/ 493776 h 926591"/>
                <a:gd name="connsiteX9" fmla="*/ 0 w 403433"/>
                <a:gd name="connsiteY9" fmla="*/ 688848 h 926591"/>
                <a:gd name="connsiteX10" fmla="*/ 62057 w 403433"/>
                <a:gd name="connsiteY10" fmla="*/ 701040 h 92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433" h="926591">
                  <a:moveTo>
                    <a:pt x="62057" y="701040"/>
                  </a:moveTo>
                  <a:lnTo>
                    <a:pt x="62057" y="926592"/>
                  </a:lnTo>
                  <a:cubicBezTo>
                    <a:pt x="185440" y="926592"/>
                    <a:pt x="341376" y="751576"/>
                    <a:pt x="341376" y="616915"/>
                  </a:cubicBezTo>
                  <a:cubicBezTo>
                    <a:pt x="375636" y="616915"/>
                    <a:pt x="403433" y="589605"/>
                    <a:pt x="403433" y="555955"/>
                  </a:cubicBezTo>
                  <a:lnTo>
                    <a:pt x="403433" y="492557"/>
                  </a:lnTo>
                  <a:cubicBezTo>
                    <a:pt x="403433" y="458907"/>
                    <a:pt x="375636" y="431597"/>
                    <a:pt x="341376" y="431597"/>
                  </a:cubicBezTo>
                  <a:lnTo>
                    <a:pt x="341376" y="304800"/>
                  </a:lnTo>
                  <a:cubicBezTo>
                    <a:pt x="341376" y="170139"/>
                    <a:pt x="185501" y="0"/>
                    <a:pt x="62057" y="0"/>
                  </a:cubicBezTo>
                  <a:lnTo>
                    <a:pt x="62057" y="493776"/>
                  </a:lnTo>
                  <a:cubicBezTo>
                    <a:pt x="16764" y="588325"/>
                    <a:pt x="0" y="688848"/>
                    <a:pt x="0" y="688848"/>
                  </a:cubicBezTo>
                  <a:lnTo>
                    <a:pt x="62057" y="701040"/>
                  </a:lnTo>
                  <a:close/>
                </a:path>
              </a:pathLst>
            </a:custGeom>
            <a:solidFill>
              <a:srgbClr val="934A1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5" name="Freeform: Shape 7144">
              <a:extLst>
                <a:ext uri="{FF2B5EF4-FFF2-40B4-BE49-F238E27FC236}">
                  <a16:creationId xmlns:a16="http://schemas.microsoft.com/office/drawing/2014/main" id="{82EA0DA3-CB8B-4650-9B54-3E82C91585A2}"/>
                </a:ext>
              </a:extLst>
            </p:cNvPr>
            <p:cNvSpPr/>
            <p:nvPr/>
          </p:nvSpPr>
          <p:spPr>
            <a:xfrm>
              <a:off x="9524649" y="2422275"/>
              <a:ext cx="507784" cy="411516"/>
            </a:xfrm>
            <a:custGeom>
              <a:avLst/>
              <a:gdLst>
                <a:gd name="connsiteX0" fmla="*/ 330632 w 661239"/>
                <a:gd name="connsiteY0" fmla="*/ 0 h 561464"/>
                <a:gd name="connsiteX1" fmla="*/ 29307 w 661239"/>
                <a:gd name="connsiteY1" fmla="*/ 552968 h 561464"/>
                <a:gd name="connsiteX2" fmla="*/ 53081 w 661239"/>
                <a:gd name="connsiteY2" fmla="*/ 550164 h 561464"/>
                <a:gd name="connsiteX3" fmla="*/ 330632 w 661239"/>
                <a:gd name="connsiteY3" fmla="*/ 329977 h 561464"/>
                <a:gd name="connsiteX4" fmla="*/ 608183 w 661239"/>
                <a:gd name="connsiteY4" fmla="*/ 550164 h 561464"/>
                <a:gd name="connsiteX5" fmla="*/ 631958 w 661239"/>
                <a:gd name="connsiteY5" fmla="*/ 552968 h 561464"/>
                <a:gd name="connsiteX6" fmla="*/ 330632 w 661239"/>
                <a:gd name="connsiteY6" fmla="*/ 0 h 56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239" h="561464">
                  <a:moveTo>
                    <a:pt x="330632" y="0"/>
                  </a:moveTo>
                  <a:cubicBezTo>
                    <a:pt x="45401" y="0"/>
                    <a:pt x="-56098" y="278770"/>
                    <a:pt x="29307" y="552968"/>
                  </a:cubicBezTo>
                  <a:cubicBezTo>
                    <a:pt x="33269" y="565770"/>
                    <a:pt x="52106" y="563514"/>
                    <a:pt x="53081" y="550164"/>
                  </a:cubicBezTo>
                  <a:cubicBezTo>
                    <a:pt x="64176" y="394533"/>
                    <a:pt x="128489" y="263591"/>
                    <a:pt x="330632" y="329977"/>
                  </a:cubicBezTo>
                  <a:cubicBezTo>
                    <a:pt x="532776" y="263591"/>
                    <a:pt x="597028" y="394533"/>
                    <a:pt x="608183" y="550164"/>
                  </a:cubicBezTo>
                  <a:cubicBezTo>
                    <a:pt x="609159" y="563514"/>
                    <a:pt x="627995" y="565770"/>
                    <a:pt x="631958" y="552968"/>
                  </a:cubicBezTo>
                  <a:cubicBezTo>
                    <a:pt x="717302" y="278770"/>
                    <a:pt x="615864" y="0"/>
                    <a:pt x="330632" y="0"/>
                  </a:cubicBezTo>
                  <a:close/>
                </a:path>
              </a:pathLst>
            </a:custGeom>
            <a:solidFill>
              <a:schemeClr val="tx1"/>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7" name="Freeform: Shape 7146">
              <a:extLst>
                <a:ext uri="{FF2B5EF4-FFF2-40B4-BE49-F238E27FC236}">
                  <a16:creationId xmlns:a16="http://schemas.microsoft.com/office/drawing/2014/main" id="{A0FE5FC8-C43B-4D31-8DC4-9B2477C24A59}"/>
                </a:ext>
              </a:extLst>
            </p:cNvPr>
            <p:cNvSpPr/>
            <p:nvPr/>
          </p:nvSpPr>
          <p:spPr>
            <a:xfrm>
              <a:off x="9879293" y="3193581"/>
              <a:ext cx="104158" cy="240779"/>
            </a:xfrm>
            <a:custGeom>
              <a:avLst/>
              <a:gdLst>
                <a:gd name="connsiteX0" fmla="*/ 135087 w 135636"/>
                <a:gd name="connsiteY0" fmla="*/ 315285 h 328513"/>
                <a:gd name="connsiteX1" fmla="*/ 0 w 135636"/>
                <a:gd name="connsiteY1" fmla="*/ 0 h 328513"/>
                <a:gd name="connsiteX2" fmla="*/ 0 w 135636"/>
                <a:gd name="connsiteY2" fmla="*/ 28163 h 328513"/>
                <a:gd name="connsiteX3" fmla="*/ 110703 w 135636"/>
                <a:gd name="connsiteY3" fmla="*/ 316321 h 328513"/>
                <a:gd name="connsiteX4" fmla="*/ 111252 w 135636"/>
                <a:gd name="connsiteY4" fmla="*/ 328513 h 328513"/>
                <a:gd name="connsiteX5" fmla="*/ 135636 w 135636"/>
                <a:gd name="connsiteY5" fmla="*/ 327477 h 328513"/>
                <a:gd name="connsiteX6" fmla="*/ 135087 w 135636"/>
                <a:gd name="connsiteY6" fmla="*/ 315285 h 32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636" h="328513">
                  <a:moveTo>
                    <a:pt x="135087" y="315285"/>
                  </a:moveTo>
                  <a:cubicBezTo>
                    <a:pt x="134600" y="304129"/>
                    <a:pt x="122713" y="61813"/>
                    <a:pt x="0" y="0"/>
                  </a:cubicBezTo>
                  <a:lnTo>
                    <a:pt x="0" y="28163"/>
                  </a:lnTo>
                  <a:cubicBezTo>
                    <a:pt x="99791" y="93330"/>
                    <a:pt x="110581" y="313883"/>
                    <a:pt x="110703" y="316321"/>
                  </a:cubicBezTo>
                  <a:lnTo>
                    <a:pt x="111252" y="328513"/>
                  </a:lnTo>
                  <a:lnTo>
                    <a:pt x="135636" y="327477"/>
                  </a:lnTo>
                  <a:lnTo>
                    <a:pt x="135087" y="315285"/>
                  </a:ln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48" name="Freeform: Shape 7147">
              <a:extLst>
                <a:ext uri="{FF2B5EF4-FFF2-40B4-BE49-F238E27FC236}">
                  <a16:creationId xmlns:a16="http://schemas.microsoft.com/office/drawing/2014/main" id="{AE6A644A-783D-44F5-9022-D1FF25E530B7}"/>
                </a:ext>
              </a:extLst>
            </p:cNvPr>
            <p:cNvSpPr/>
            <p:nvPr/>
          </p:nvSpPr>
          <p:spPr>
            <a:xfrm>
              <a:off x="9589683" y="3193224"/>
              <a:ext cx="102405" cy="484552"/>
            </a:xfrm>
            <a:custGeom>
              <a:avLst/>
              <a:gdLst>
                <a:gd name="connsiteX0" fmla="*/ 133353 w 133352"/>
                <a:gd name="connsiteY0" fmla="*/ 28225 h 661111"/>
                <a:gd name="connsiteX1" fmla="*/ 133353 w 133352"/>
                <a:gd name="connsiteY1" fmla="*/ 0 h 661111"/>
                <a:gd name="connsiteX2" fmla="*/ 20759 w 133352"/>
                <a:gd name="connsiteY2" fmla="*/ 649102 h 661111"/>
                <a:gd name="connsiteX3" fmla="*/ 22771 w 133352"/>
                <a:gd name="connsiteY3" fmla="*/ 661111 h 661111"/>
                <a:gd name="connsiteX4" fmla="*/ 46850 w 133352"/>
                <a:gd name="connsiteY4" fmla="*/ 657149 h 661111"/>
                <a:gd name="connsiteX5" fmla="*/ 44839 w 133352"/>
                <a:gd name="connsiteY5" fmla="*/ 645140 h 661111"/>
                <a:gd name="connsiteX6" fmla="*/ 133353 w 133352"/>
                <a:gd name="connsiteY6" fmla="*/ 28225 h 661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2" h="661111">
                  <a:moveTo>
                    <a:pt x="133353" y="28225"/>
                  </a:moveTo>
                  <a:lnTo>
                    <a:pt x="133353" y="0"/>
                  </a:lnTo>
                  <a:cubicBezTo>
                    <a:pt x="-67328" y="101742"/>
                    <a:pt x="16980" y="626120"/>
                    <a:pt x="20759" y="649102"/>
                  </a:cubicBezTo>
                  <a:lnTo>
                    <a:pt x="22771" y="661111"/>
                  </a:lnTo>
                  <a:lnTo>
                    <a:pt x="46850" y="657149"/>
                  </a:lnTo>
                  <a:lnTo>
                    <a:pt x="44839" y="645140"/>
                  </a:lnTo>
                  <a:cubicBezTo>
                    <a:pt x="43924" y="639775"/>
                    <a:pt x="-37031" y="136794"/>
                    <a:pt x="133353" y="28225"/>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149" name="Graphic 3">
              <a:extLst>
                <a:ext uri="{FF2B5EF4-FFF2-40B4-BE49-F238E27FC236}">
                  <a16:creationId xmlns:a16="http://schemas.microsoft.com/office/drawing/2014/main" id="{2E809837-6209-40F6-B4FB-8E7F9A7BBAD7}"/>
                </a:ext>
              </a:extLst>
            </p:cNvPr>
            <p:cNvGrpSpPr/>
            <p:nvPr/>
          </p:nvGrpSpPr>
          <p:grpSpPr>
            <a:xfrm>
              <a:off x="9866710" y="3416086"/>
              <a:ext cx="213953" cy="311462"/>
              <a:chOff x="4368406" y="2399934"/>
              <a:chExt cx="278611" cy="424952"/>
            </a:xfrm>
            <a:solidFill>
              <a:schemeClr val="accent1"/>
            </a:solidFill>
          </p:grpSpPr>
          <p:sp>
            <p:nvSpPr>
              <p:cNvPr id="7155" name="Freeform: Shape 7154">
                <a:extLst>
                  <a:ext uri="{FF2B5EF4-FFF2-40B4-BE49-F238E27FC236}">
                    <a16:creationId xmlns:a16="http://schemas.microsoft.com/office/drawing/2014/main" id="{230C9F3B-AA02-4DCC-83AC-21F9891C218F}"/>
                  </a:ext>
                </a:extLst>
              </p:cNvPr>
              <p:cNvSpPr/>
              <p:nvPr/>
            </p:nvSpPr>
            <p:spPr>
              <a:xfrm>
                <a:off x="4386676" y="2399934"/>
                <a:ext cx="242012" cy="417880"/>
              </a:xfrm>
              <a:custGeom>
                <a:avLst/>
                <a:gdLst>
                  <a:gd name="connsiteX0" fmla="*/ 204709 w 242012"/>
                  <a:gd name="connsiteY0" fmla="*/ 393558 h 417880"/>
                  <a:gd name="connsiteX1" fmla="*/ 141981 w 242012"/>
                  <a:gd name="connsiteY1" fmla="*/ 372953 h 417880"/>
                  <a:gd name="connsiteX2" fmla="*/ 241650 w 242012"/>
                  <a:gd name="connsiteY2" fmla="*/ 136185 h 417880"/>
                  <a:gd name="connsiteX3" fmla="*/ 121011 w 242012"/>
                  <a:gd name="connsiteY3" fmla="*/ 0 h 417880"/>
                  <a:gd name="connsiteX4" fmla="*/ 371 w 242012"/>
                  <a:gd name="connsiteY4" fmla="*/ 136185 h 417880"/>
                  <a:gd name="connsiteX5" fmla="*/ 100040 w 242012"/>
                  <a:gd name="connsiteY5" fmla="*/ 372953 h 417880"/>
                  <a:gd name="connsiteX6" fmla="*/ 37312 w 242012"/>
                  <a:gd name="connsiteY6" fmla="*/ 393558 h 417880"/>
                  <a:gd name="connsiteX7" fmla="*/ 26462 w 242012"/>
                  <a:gd name="connsiteY7" fmla="*/ 406969 h 417880"/>
                  <a:gd name="connsiteX8" fmla="*/ 38593 w 242012"/>
                  <a:gd name="connsiteY8" fmla="*/ 417881 h 417880"/>
                  <a:gd name="connsiteX9" fmla="*/ 39873 w 242012"/>
                  <a:gd name="connsiteY9" fmla="*/ 417820 h 417880"/>
                  <a:gd name="connsiteX10" fmla="*/ 120950 w 242012"/>
                  <a:gd name="connsiteY10" fmla="*/ 388437 h 417880"/>
                  <a:gd name="connsiteX11" fmla="*/ 202026 w 242012"/>
                  <a:gd name="connsiteY11" fmla="*/ 417820 h 417880"/>
                  <a:gd name="connsiteX12" fmla="*/ 203307 w 242012"/>
                  <a:gd name="connsiteY12" fmla="*/ 417881 h 417880"/>
                  <a:gd name="connsiteX13" fmla="*/ 215438 w 242012"/>
                  <a:gd name="connsiteY13" fmla="*/ 406969 h 417880"/>
                  <a:gd name="connsiteX14" fmla="*/ 204709 w 242012"/>
                  <a:gd name="connsiteY14" fmla="*/ 393558 h 417880"/>
                  <a:gd name="connsiteX15" fmla="*/ 24755 w 242012"/>
                  <a:gd name="connsiteY15" fmla="*/ 137526 h 417880"/>
                  <a:gd name="connsiteX16" fmla="*/ 121071 w 242012"/>
                  <a:gd name="connsiteY16" fmla="*/ 24445 h 417880"/>
                  <a:gd name="connsiteX17" fmla="*/ 217327 w 242012"/>
                  <a:gd name="connsiteY17" fmla="*/ 137526 h 417880"/>
                  <a:gd name="connsiteX18" fmla="*/ 121071 w 242012"/>
                  <a:gd name="connsiteY18" fmla="*/ 358993 h 417880"/>
                  <a:gd name="connsiteX19" fmla="*/ 24755 w 242012"/>
                  <a:gd name="connsiteY19" fmla="*/ 137526 h 41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2012" h="417880">
                    <a:moveTo>
                      <a:pt x="204709" y="393558"/>
                    </a:moveTo>
                    <a:cubicBezTo>
                      <a:pt x="182092" y="391119"/>
                      <a:pt x="161061" y="383865"/>
                      <a:pt x="141981" y="372953"/>
                    </a:cubicBezTo>
                    <a:cubicBezTo>
                      <a:pt x="208244" y="317541"/>
                      <a:pt x="246161" y="221224"/>
                      <a:pt x="241650" y="136185"/>
                    </a:cubicBezTo>
                    <a:cubicBezTo>
                      <a:pt x="237139" y="52182"/>
                      <a:pt x="190932" y="0"/>
                      <a:pt x="121011" y="0"/>
                    </a:cubicBezTo>
                    <a:cubicBezTo>
                      <a:pt x="51089" y="0"/>
                      <a:pt x="4882" y="52182"/>
                      <a:pt x="371" y="136185"/>
                    </a:cubicBezTo>
                    <a:cubicBezTo>
                      <a:pt x="-4201" y="221224"/>
                      <a:pt x="33777" y="317541"/>
                      <a:pt x="100040" y="372953"/>
                    </a:cubicBezTo>
                    <a:cubicBezTo>
                      <a:pt x="80960" y="383865"/>
                      <a:pt x="59990" y="391119"/>
                      <a:pt x="37312" y="393558"/>
                    </a:cubicBezTo>
                    <a:cubicBezTo>
                      <a:pt x="30607" y="394289"/>
                      <a:pt x="25791" y="400263"/>
                      <a:pt x="26462" y="406969"/>
                    </a:cubicBezTo>
                    <a:cubicBezTo>
                      <a:pt x="27132" y="413248"/>
                      <a:pt x="32436" y="417881"/>
                      <a:pt x="38593" y="417881"/>
                    </a:cubicBezTo>
                    <a:cubicBezTo>
                      <a:pt x="39019" y="417881"/>
                      <a:pt x="39446" y="417881"/>
                      <a:pt x="39873" y="417820"/>
                    </a:cubicBezTo>
                    <a:cubicBezTo>
                      <a:pt x="69621" y="414650"/>
                      <a:pt x="96809" y="404104"/>
                      <a:pt x="120950" y="388437"/>
                    </a:cubicBezTo>
                    <a:cubicBezTo>
                      <a:pt x="145151" y="404104"/>
                      <a:pt x="172339" y="414589"/>
                      <a:pt x="202026" y="417820"/>
                    </a:cubicBezTo>
                    <a:cubicBezTo>
                      <a:pt x="202453" y="417881"/>
                      <a:pt x="202880" y="417881"/>
                      <a:pt x="203307" y="417881"/>
                    </a:cubicBezTo>
                    <a:cubicBezTo>
                      <a:pt x="209463" y="417881"/>
                      <a:pt x="214767" y="413248"/>
                      <a:pt x="215438" y="406969"/>
                    </a:cubicBezTo>
                    <a:cubicBezTo>
                      <a:pt x="216291" y="400263"/>
                      <a:pt x="211414" y="394289"/>
                      <a:pt x="204709" y="393558"/>
                    </a:cubicBezTo>
                    <a:close/>
                    <a:moveTo>
                      <a:pt x="24755" y="137526"/>
                    </a:moveTo>
                    <a:cubicBezTo>
                      <a:pt x="26583" y="103510"/>
                      <a:pt x="39629" y="24445"/>
                      <a:pt x="121071" y="24445"/>
                    </a:cubicBezTo>
                    <a:cubicBezTo>
                      <a:pt x="202514" y="24445"/>
                      <a:pt x="215559" y="103510"/>
                      <a:pt x="217327" y="137526"/>
                    </a:cubicBezTo>
                    <a:cubicBezTo>
                      <a:pt x="221655" y="218176"/>
                      <a:pt x="184775" y="309921"/>
                      <a:pt x="121071" y="358993"/>
                    </a:cubicBezTo>
                    <a:cubicBezTo>
                      <a:pt x="57307" y="309860"/>
                      <a:pt x="20427" y="218115"/>
                      <a:pt x="24755" y="137526"/>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56" name="Freeform: Shape 7155">
                <a:extLst>
                  <a:ext uri="{FF2B5EF4-FFF2-40B4-BE49-F238E27FC236}">
                    <a16:creationId xmlns:a16="http://schemas.microsoft.com/office/drawing/2014/main" id="{67666994-D63B-4642-AC5B-566E1B35D72E}"/>
                  </a:ext>
                </a:extLst>
              </p:cNvPr>
              <p:cNvSpPr/>
              <p:nvPr/>
            </p:nvSpPr>
            <p:spPr>
              <a:xfrm>
                <a:off x="4368406" y="2787368"/>
                <a:ext cx="75259" cy="37517"/>
              </a:xfrm>
              <a:custGeom>
                <a:avLst/>
                <a:gdLst>
                  <a:gd name="connsiteX0" fmla="*/ 37904 w 75259"/>
                  <a:gd name="connsiteY0" fmla="*/ 37518 h 37517"/>
                  <a:gd name="connsiteX1" fmla="*/ 16385 w 75259"/>
                  <a:gd name="connsiteY1" fmla="*/ 36421 h 37517"/>
                  <a:gd name="connsiteX2" fmla="*/ 109 w 75259"/>
                  <a:gd name="connsiteY2" fmla="*/ 16365 h 37517"/>
                  <a:gd name="connsiteX3" fmla="*/ 20226 w 75259"/>
                  <a:gd name="connsiteY3" fmla="*/ 89 h 37517"/>
                  <a:gd name="connsiteX4" fmla="*/ 55034 w 75259"/>
                  <a:gd name="connsiteY4" fmla="*/ 149 h 37517"/>
                  <a:gd name="connsiteX5" fmla="*/ 75151 w 75259"/>
                  <a:gd name="connsiteY5" fmla="*/ 16365 h 37517"/>
                  <a:gd name="connsiteX6" fmla="*/ 58935 w 75259"/>
                  <a:gd name="connsiteY6" fmla="*/ 36482 h 37517"/>
                  <a:gd name="connsiteX7" fmla="*/ 37904 w 75259"/>
                  <a:gd name="connsiteY7" fmla="*/ 37518 h 3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59" h="37517">
                    <a:moveTo>
                      <a:pt x="37904" y="37518"/>
                    </a:moveTo>
                    <a:cubicBezTo>
                      <a:pt x="30772" y="37518"/>
                      <a:pt x="23579" y="37152"/>
                      <a:pt x="16385" y="36421"/>
                    </a:cubicBezTo>
                    <a:cubicBezTo>
                      <a:pt x="6327" y="35384"/>
                      <a:pt x="-988" y="26362"/>
                      <a:pt x="109" y="16365"/>
                    </a:cubicBezTo>
                    <a:cubicBezTo>
                      <a:pt x="1145" y="6306"/>
                      <a:pt x="10167" y="-887"/>
                      <a:pt x="20226" y="89"/>
                    </a:cubicBezTo>
                    <a:cubicBezTo>
                      <a:pt x="31991" y="1308"/>
                      <a:pt x="43756" y="1308"/>
                      <a:pt x="55034" y="149"/>
                    </a:cubicBezTo>
                    <a:cubicBezTo>
                      <a:pt x="64848" y="-948"/>
                      <a:pt x="74114" y="6367"/>
                      <a:pt x="75151" y="16365"/>
                    </a:cubicBezTo>
                    <a:cubicBezTo>
                      <a:pt x="76248" y="26423"/>
                      <a:pt x="68933" y="35445"/>
                      <a:pt x="58935" y="36482"/>
                    </a:cubicBezTo>
                    <a:cubicBezTo>
                      <a:pt x="51986" y="37152"/>
                      <a:pt x="44976" y="37518"/>
                      <a:pt x="37904" y="37518"/>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57" name="Freeform: Shape 7156">
                <a:extLst>
                  <a:ext uri="{FF2B5EF4-FFF2-40B4-BE49-F238E27FC236}">
                    <a16:creationId xmlns:a16="http://schemas.microsoft.com/office/drawing/2014/main" id="{3B97923B-FF64-4502-95C9-DF4F731596B4}"/>
                  </a:ext>
                </a:extLst>
              </p:cNvPr>
              <p:cNvSpPr/>
              <p:nvPr/>
            </p:nvSpPr>
            <p:spPr>
              <a:xfrm>
                <a:off x="4571829" y="2787308"/>
                <a:ext cx="75188" cy="37578"/>
              </a:xfrm>
              <a:custGeom>
                <a:avLst/>
                <a:gdLst>
                  <a:gd name="connsiteX0" fmla="*/ 37295 w 75188"/>
                  <a:gd name="connsiteY0" fmla="*/ 37578 h 37578"/>
                  <a:gd name="connsiteX1" fmla="*/ 16325 w 75188"/>
                  <a:gd name="connsiteY1" fmla="*/ 36481 h 37578"/>
                  <a:gd name="connsiteX2" fmla="*/ 110 w 75188"/>
                  <a:gd name="connsiteY2" fmla="*/ 16364 h 37578"/>
                  <a:gd name="connsiteX3" fmla="*/ 20227 w 75188"/>
                  <a:gd name="connsiteY3" fmla="*/ 149 h 37578"/>
                  <a:gd name="connsiteX4" fmla="*/ 55035 w 75188"/>
                  <a:gd name="connsiteY4" fmla="*/ 88 h 37578"/>
                  <a:gd name="connsiteX5" fmla="*/ 75090 w 75188"/>
                  <a:gd name="connsiteY5" fmla="*/ 16364 h 37578"/>
                  <a:gd name="connsiteX6" fmla="*/ 58814 w 75188"/>
                  <a:gd name="connsiteY6" fmla="*/ 36420 h 37578"/>
                  <a:gd name="connsiteX7" fmla="*/ 37295 w 75188"/>
                  <a:gd name="connsiteY7" fmla="*/ 37578 h 3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88" h="37578">
                    <a:moveTo>
                      <a:pt x="37295" y="37578"/>
                    </a:moveTo>
                    <a:cubicBezTo>
                      <a:pt x="30224" y="37578"/>
                      <a:pt x="23214" y="37212"/>
                      <a:pt x="16325" y="36481"/>
                    </a:cubicBezTo>
                    <a:cubicBezTo>
                      <a:pt x="6267" y="35384"/>
                      <a:pt x="-987" y="26423"/>
                      <a:pt x="110" y="16364"/>
                    </a:cubicBezTo>
                    <a:cubicBezTo>
                      <a:pt x="1207" y="6306"/>
                      <a:pt x="10351" y="-1009"/>
                      <a:pt x="20227" y="149"/>
                    </a:cubicBezTo>
                    <a:cubicBezTo>
                      <a:pt x="31504" y="1368"/>
                      <a:pt x="43209" y="1368"/>
                      <a:pt x="55035" y="88"/>
                    </a:cubicBezTo>
                    <a:cubicBezTo>
                      <a:pt x="65093" y="-888"/>
                      <a:pt x="74115" y="6367"/>
                      <a:pt x="75090" y="16364"/>
                    </a:cubicBezTo>
                    <a:cubicBezTo>
                      <a:pt x="76127" y="26423"/>
                      <a:pt x="68812" y="35384"/>
                      <a:pt x="58814" y="36420"/>
                    </a:cubicBezTo>
                    <a:cubicBezTo>
                      <a:pt x="51560" y="37212"/>
                      <a:pt x="44428" y="37578"/>
                      <a:pt x="37295" y="37578"/>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150" name="Graphic 3">
              <a:extLst>
                <a:ext uri="{FF2B5EF4-FFF2-40B4-BE49-F238E27FC236}">
                  <a16:creationId xmlns:a16="http://schemas.microsoft.com/office/drawing/2014/main" id="{DEEDC356-1F9B-47C2-A7B4-DECAE9E964B7}"/>
                </a:ext>
              </a:extLst>
            </p:cNvPr>
            <p:cNvGrpSpPr/>
            <p:nvPr/>
          </p:nvGrpSpPr>
          <p:grpSpPr>
            <a:xfrm>
              <a:off x="9535369" y="3592404"/>
              <a:ext cx="158887" cy="151647"/>
              <a:chOff x="3936932" y="2640498"/>
              <a:chExt cx="206903" cy="206903"/>
            </a:xfrm>
            <a:solidFill>
              <a:schemeClr val="accent1"/>
            </a:solidFill>
          </p:grpSpPr>
          <p:grpSp>
            <p:nvGrpSpPr>
              <p:cNvPr id="7151" name="Graphic 3">
                <a:extLst>
                  <a:ext uri="{FF2B5EF4-FFF2-40B4-BE49-F238E27FC236}">
                    <a16:creationId xmlns:a16="http://schemas.microsoft.com/office/drawing/2014/main" id="{E943DF27-4D2F-4A67-A249-744B9C7761CB}"/>
                  </a:ext>
                </a:extLst>
              </p:cNvPr>
              <p:cNvGrpSpPr/>
              <p:nvPr/>
            </p:nvGrpSpPr>
            <p:grpSpPr>
              <a:xfrm>
                <a:off x="3936932" y="2640498"/>
                <a:ext cx="206903" cy="206903"/>
                <a:chOff x="3936932" y="2640498"/>
                <a:chExt cx="206903" cy="206903"/>
              </a:xfrm>
              <a:solidFill>
                <a:schemeClr val="accent1"/>
              </a:solidFill>
            </p:grpSpPr>
            <p:sp>
              <p:nvSpPr>
                <p:cNvPr id="7153" name="Freeform: Shape 7152">
                  <a:extLst>
                    <a:ext uri="{FF2B5EF4-FFF2-40B4-BE49-F238E27FC236}">
                      <a16:creationId xmlns:a16="http://schemas.microsoft.com/office/drawing/2014/main" id="{73E49422-7FA5-4C20-B367-D964C9F24CC6}"/>
                    </a:ext>
                  </a:extLst>
                </p:cNvPr>
                <p:cNvSpPr/>
                <p:nvPr/>
              </p:nvSpPr>
              <p:spPr>
                <a:xfrm rot="-2700000">
                  <a:off x="3967233" y="2670798"/>
                  <a:ext cx="146302" cy="146302"/>
                </a:xfrm>
                <a:custGeom>
                  <a:avLst/>
                  <a:gdLst>
                    <a:gd name="connsiteX0" fmla="*/ 146303 w 146302"/>
                    <a:gd name="connsiteY0" fmla="*/ 73151 h 146302"/>
                    <a:gd name="connsiteX1" fmla="*/ 73151 w 146302"/>
                    <a:gd name="connsiteY1" fmla="*/ 146303 h 146302"/>
                    <a:gd name="connsiteX2" fmla="*/ 0 w 146302"/>
                    <a:gd name="connsiteY2" fmla="*/ 73151 h 146302"/>
                    <a:gd name="connsiteX3" fmla="*/ 73151 w 146302"/>
                    <a:gd name="connsiteY3" fmla="*/ 0 h 146302"/>
                    <a:gd name="connsiteX4" fmla="*/ 146303 w 146302"/>
                    <a:gd name="connsiteY4" fmla="*/ 73151 h 146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2" h="146302">
                      <a:moveTo>
                        <a:pt x="146303" y="73151"/>
                      </a:moveTo>
                      <a:cubicBezTo>
                        <a:pt x="146303" y="113552"/>
                        <a:pt x="113552" y="146303"/>
                        <a:pt x="73151" y="146303"/>
                      </a:cubicBezTo>
                      <a:cubicBezTo>
                        <a:pt x="32751" y="146303"/>
                        <a:pt x="0" y="113552"/>
                        <a:pt x="0" y="73151"/>
                      </a:cubicBezTo>
                      <a:cubicBezTo>
                        <a:pt x="0" y="32751"/>
                        <a:pt x="32751" y="0"/>
                        <a:pt x="73151" y="0"/>
                      </a:cubicBezTo>
                      <a:cubicBezTo>
                        <a:pt x="113552" y="0"/>
                        <a:pt x="146303" y="32751"/>
                        <a:pt x="146303" y="73151"/>
                      </a:cubicBez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54" name="Freeform: Shape 7153">
                  <a:extLst>
                    <a:ext uri="{FF2B5EF4-FFF2-40B4-BE49-F238E27FC236}">
                      <a16:creationId xmlns:a16="http://schemas.microsoft.com/office/drawing/2014/main" id="{E239F5E0-D8C1-4A4C-A7AC-1EAE37EE78AC}"/>
                    </a:ext>
                  </a:extLst>
                </p:cNvPr>
                <p:cNvSpPr/>
                <p:nvPr/>
              </p:nvSpPr>
              <p:spPr>
                <a:xfrm>
                  <a:off x="3942892" y="2646395"/>
                  <a:ext cx="195072" cy="195072"/>
                </a:xfrm>
                <a:custGeom>
                  <a:avLst/>
                  <a:gdLst>
                    <a:gd name="connsiteX0" fmla="*/ 97536 w 195072"/>
                    <a:gd name="connsiteY0" fmla="*/ 24384 h 195072"/>
                    <a:gd name="connsiteX1" fmla="*/ 170688 w 195072"/>
                    <a:gd name="connsiteY1" fmla="*/ 97536 h 195072"/>
                    <a:gd name="connsiteX2" fmla="*/ 97536 w 195072"/>
                    <a:gd name="connsiteY2" fmla="*/ 170688 h 195072"/>
                    <a:gd name="connsiteX3" fmla="*/ 24384 w 195072"/>
                    <a:gd name="connsiteY3" fmla="*/ 97536 h 195072"/>
                    <a:gd name="connsiteX4" fmla="*/ 97536 w 195072"/>
                    <a:gd name="connsiteY4" fmla="*/ 24384 h 195072"/>
                    <a:gd name="connsiteX5" fmla="*/ 97536 w 195072"/>
                    <a:gd name="connsiteY5" fmla="*/ 0 h 195072"/>
                    <a:gd name="connsiteX6" fmla="*/ 0 w 195072"/>
                    <a:gd name="connsiteY6" fmla="*/ 97536 h 195072"/>
                    <a:gd name="connsiteX7" fmla="*/ 97536 w 195072"/>
                    <a:gd name="connsiteY7" fmla="*/ 195072 h 195072"/>
                    <a:gd name="connsiteX8" fmla="*/ 195072 w 195072"/>
                    <a:gd name="connsiteY8" fmla="*/ 97536 h 195072"/>
                    <a:gd name="connsiteX9" fmla="*/ 97536 w 195072"/>
                    <a:gd name="connsiteY9" fmla="*/ 0 h 195072"/>
                    <a:gd name="connsiteX10" fmla="*/ 97536 w 195072"/>
                    <a:gd name="connsiteY10" fmla="*/ 0 h 195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072" h="195072">
                      <a:moveTo>
                        <a:pt x="97536" y="24384"/>
                      </a:moveTo>
                      <a:cubicBezTo>
                        <a:pt x="137953" y="24384"/>
                        <a:pt x="170688" y="57119"/>
                        <a:pt x="170688" y="97536"/>
                      </a:cubicBezTo>
                      <a:cubicBezTo>
                        <a:pt x="170688" y="137953"/>
                        <a:pt x="137953" y="170688"/>
                        <a:pt x="97536" y="170688"/>
                      </a:cubicBezTo>
                      <a:cubicBezTo>
                        <a:pt x="57120" y="170688"/>
                        <a:pt x="24384" y="137953"/>
                        <a:pt x="24384" y="97536"/>
                      </a:cubicBezTo>
                      <a:cubicBezTo>
                        <a:pt x="24384" y="57181"/>
                        <a:pt x="57181" y="24384"/>
                        <a:pt x="97536" y="24384"/>
                      </a:cubicBezTo>
                      <a:moveTo>
                        <a:pt x="97536" y="0"/>
                      </a:moveTo>
                      <a:cubicBezTo>
                        <a:pt x="43769" y="0"/>
                        <a:pt x="0" y="43769"/>
                        <a:pt x="0" y="97536"/>
                      </a:cubicBezTo>
                      <a:cubicBezTo>
                        <a:pt x="0" y="151303"/>
                        <a:pt x="43769" y="195072"/>
                        <a:pt x="97536" y="195072"/>
                      </a:cubicBezTo>
                      <a:cubicBezTo>
                        <a:pt x="151303" y="195072"/>
                        <a:pt x="195072" y="151303"/>
                        <a:pt x="195072" y="97536"/>
                      </a:cubicBezTo>
                      <a:cubicBezTo>
                        <a:pt x="195072" y="43769"/>
                        <a:pt x="151364" y="0"/>
                        <a:pt x="97536" y="0"/>
                      </a:cubicBezTo>
                      <a:lnTo>
                        <a:pt x="97536" y="0"/>
                      </a:ln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152" name="Freeform: Shape 7151">
                <a:extLst>
                  <a:ext uri="{FF2B5EF4-FFF2-40B4-BE49-F238E27FC236}">
                    <a16:creationId xmlns:a16="http://schemas.microsoft.com/office/drawing/2014/main" id="{1C356543-9735-4FDE-B9FA-29E9E937A402}"/>
                  </a:ext>
                </a:extLst>
              </p:cNvPr>
              <p:cNvSpPr/>
              <p:nvPr/>
            </p:nvSpPr>
            <p:spPr>
              <a:xfrm>
                <a:off x="3988247" y="2691749"/>
                <a:ext cx="104363" cy="104363"/>
              </a:xfrm>
              <a:custGeom>
                <a:avLst/>
                <a:gdLst>
                  <a:gd name="connsiteX0" fmla="*/ 104363 w 104363"/>
                  <a:gd name="connsiteY0" fmla="*/ 52182 h 104363"/>
                  <a:gd name="connsiteX1" fmla="*/ 52182 w 104363"/>
                  <a:gd name="connsiteY1" fmla="*/ 104363 h 104363"/>
                  <a:gd name="connsiteX2" fmla="*/ 0 w 104363"/>
                  <a:gd name="connsiteY2" fmla="*/ 52182 h 104363"/>
                  <a:gd name="connsiteX3" fmla="*/ 52182 w 104363"/>
                  <a:gd name="connsiteY3" fmla="*/ 0 h 104363"/>
                  <a:gd name="connsiteX4" fmla="*/ 104363 w 104363"/>
                  <a:gd name="connsiteY4" fmla="*/ 52182 h 10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63" h="104363">
                    <a:moveTo>
                      <a:pt x="104363" y="52182"/>
                    </a:moveTo>
                    <a:cubicBezTo>
                      <a:pt x="104363" y="81001"/>
                      <a:pt x="81001" y="104363"/>
                      <a:pt x="52182" y="104363"/>
                    </a:cubicBezTo>
                    <a:cubicBezTo>
                      <a:pt x="23362" y="104363"/>
                      <a:pt x="0" y="81001"/>
                      <a:pt x="0" y="52182"/>
                    </a:cubicBezTo>
                    <a:cubicBezTo>
                      <a:pt x="0" y="23362"/>
                      <a:pt x="23362" y="0"/>
                      <a:pt x="52182" y="0"/>
                    </a:cubicBezTo>
                    <a:cubicBezTo>
                      <a:pt x="81001" y="0"/>
                      <a:pt x="104363" y="23362"/>
                      <a:pt x="104363" y="52182"/>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7178" name="Group 7177">
            <a:extLst>
              <a:ext uri="{FF2B5EF4-FFF2-40B4-BE49-F238E27FC236}">
                <a16:creationId xmlns:a16="http://schemas.microsoft.com/office/drawing/2014/main" id="{D77990CB-760D-49D6-BC8C-516188478B92}"/>
              </a:ext>
            </a:extLst>
          </p:cNvPr>
          <p:cNvGrpSpPr/>
          <p:nvPr>
            <p:custDataLst>
              <p:tags r:id="rId7"/>
            </p:custDataLst>
          </p:nvPr>
        </p:nvGrpSpPr>
        <p:grpSpPr>
          <a:xfrm>
            <a:off x="8900924" y="1481121"/>
            <a:ext cx="1652221" cy="4215973"/>
            <a:chOff x="10327778" y="2335894"/>
            <a:chExt cx="1347625" cy="3438735"/>
          </a:xfrm>
        </p:grpSpPr>
        <p:sp>
          <p:nvSpPr>
            <p:cNvPr id="6979" name="Freeform: Shape 6978">
              <a:extLst>
                <a:ext uri="{FF2B5EF4-FFF2-40B4-BE49-F238E27FC236}">
                  <a16:creationId xmlns:a16="http://schemas.microsoft.com/office/drawing/2014/main" id="{7A6154C4-6921-4439-9F67-CE230FCF198E}"/>
                </a:ext>
              </a:extLst>
            </p:cNvPr>
            <p:cNvSpPr/>
            <p:nvPr/>
          </p:nvSpPr>
          <p:spPr>
            <a:xfrm>
              <a:off x="10985695" y="3058307"/>
              <a:ext cx="281926" cy="99775"/>
            </a:xfrm>
            <a:custGeom>
              <a:avLst/>
              <a:gdLst>
                <a:gd name="connsiteX0" fmla="*/ 12192 w 201229"/>
                <a:gd name="connsiteY0" fmla="*/ 0 h 75834"/>
                <a:gd name="connsiteX1" fmla="*/ 189037 w 201229"/>
                <a:gd name="connsiteY1" fmla="*/ 0 h 75834"/>
                <a:gd name="connsiteX2" fmla="*/ 201229 w 201229"/>
                <a:gd name="connsiteY2" fmla="*/ 75834 h 75834"/>
                <a:gd name="connsiteX3" fmla="*/ 0 w 201229"/>
                <a:gd name="connsiteY3" fmla="*/ 75834 h 75834"/>
              </a:gdLst>
              <a:ahLst/>
              <a:cxnLst>
                <a:cxn ang="0">
                  <a:pos x="connsiteX0" y="connsiteY0"/>
                </a:cxn>
                <a:cxn ang="0">
                  <a:pos x="connsiteX1" y="connsiteY1"/>
                </a:cxn>
                <a:cxn ang="0">
                  <a:pos x="connsiteX2" y="connsiteY2"/>
                </a:cxn>
                <a:cxn ang="0">
                  <a:pos x="connsiteX3" y="connsiteY3"/>
                </a:cxn>
              </a:cxnLst>
              <a:rect l="l" t="t" r="r" b="b"/>
              <a:pathLst>
                <a:path w="201229" h="75834">
                  <a:moveTo>
                    <a:pt x="12192" y="0"/>
                  </a:moveTo>
                  <a:lnTo>
                    <a:pt x="189037" y="0"/>
                  </a:lnTo>
                  <a:lnTo>
                    <a:pt x="201229" y="75834"/>
                  </a:lnTo>
                  <a:lnTo>
                    <a:pt x="0" y="75834"/>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0" name="Freeform: Shape 6979">
              <a:extLst>
                <a:ext uri="{FF2B5EF4-FFF2-40B4-BE49-F238E27FC236}">
                  <a16:creationId xmlns:a16="http://schemas.microsoft.com/office/drawing/2014/main" id="{B8B90F34-4B2F-4027-B5EC-E7410890A4AA}"/>
                </a:ext>
              </a:extLst>
            </p:cNvPr>
            <p:cNvSpPr/>
            <p:nvPr/>
          </p:nvSpPr>
          <p:spPr>
            <a:xfrm>
              <a:off x="10992187" y="2979062"/>
              <a:ext cx="268943" cy="420197"/>
            </a:xfrm>
            <a:custGeom>
              <a:avLst/>
              <a:gdLst>
                <a:gd name="connsiteX0" fmla="*/ 191963 w 191962"/>
                <a:gd name="connsiteY0" fmla="*/ 82967 h 319369"/>
                <a:gd name="connsiteX1" fmla="*/ 169164 w 191962"/>
                <a:gd name="connsiteY1" fmla="*/ 72481 h 319369"/>
                <a:gd name="connsiteX2" fmla="*/ 169164 w 191962"/>
                <a:gd name="connsiteY2" fmla="*/ 0 h 319369"/>
                <a:gd name="connsiteX3" fmla="*/ 22860 w 191962"/>
                <a:gd name="connsiteY3" fmla="*/ 0 h 319369"/>
                <a:gd name="connsiteX4" fmla="*/ 22860 w 191962"/>
                <a:gd name="connsiteY4" fmla="*/ 72481 h 319369"/>
                <a:gd name="connsiteX5" fmla="*/ 0 w 191962"/>
                <a:gd name="connsiteY5" fmla="*/ 82357 h 319369"/>
                <a:gd name="connsiteX6" fmla="*/ 6096 w 191962"/>
                <a:gd name="connsiteY6" fmla="*/ 287853 h 319369"/>
                <a:gd name="connsiteX7" fmla="*/ 22860 w 191962"/>
                <a:gd name="connsiteY7" fmla="*/ 287853 h 319369"/>
                <a:gd name="connsiteX8" fmla="*/ 22860 w 191962"/>
                <a:gd name="connsiteY8" fmla="*/ 319369 h 319369"/>
                <a:gd name="connsiteX9" fmla="*/ 169164 w 191962"/>
                <a:gd name="connsiteY9" fmla="*/ 319369 h 319369"/>
                <a:gd name="connsiteX10" fmla="*/ 169164 w 191962"/>
                <a:gd name="connsiteY10" fmla="*/ 287853 h 319369"/>
                <a:gd name="connsiteX11" fmla="*/ 185867 w 191962"/>
                <a:gd name="connsiteY11" fmla="*/ 287853 h 31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962" h="319369">
                  <a:moveTo>
                    <a:pt x="191963" y="82967"/>
                  </a:moveTo>
                  <a:lnTo>
                    <a:pt x="169164" y="72481"/>
                  </a:lnTo>
                  <a:lnTo>
                    <a:pt x="169164" y="0"/>
                  </a:lnTo>
                  <a:lnTo>
                    <a:pt x="22860" y="0"/>
                  </a:lnTo>
                  <a:lnTo>
                    <a:pt x="22860" y="72481"/>
                  </a:lnTo>
                  <a:lnTo>
                    <a:pt x="0" y="82357"/>
                  </a:lnTo>
                  <a:lnTo>
                    <a:pt x="6096" y="287853"/>
                  </a:lnTo>
                  <a:lnTo>
                    <a:pt x="22860" y="287853"/>
                  </a:lnTo>
                  <a:lnTo>
                    <a:pt x="22860" y="319369"/>
                  </a:lnTo>
                  <a:lnTo>
                    <a:pt x="169164" y="319369"/>
                  </a:lnTo>
                  <a:lnTo>
                    <a:pt x="169164" y="287853"/>
                  </a:lnTo>
                  <a:lnTo>
                    <a:pt x="185867" y="287853"/>
                  </a:ln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1" name="Freeform: Shape 6980">
              <a:extLst>
                <a:ext uri="{FF2B5EF4-FFF2-40B4-BE49-F238E27FC236}">
                  <a16:creationId xmlns:a16="http://schemas.microsoft.com/office/drawing/2014/main" id="{F7AE829B-C684-4573-8D3F-AE71616990B1}"/>
                </a:ext>
              </a:extLst>
            </p:cNvPr>
            <p:cNvSpPr/>
            <p:nvPr/>
          </p:nvSpPr>
          <p:spPr>
            <a:xfrm>
              <a:off x="11024214" y="2979062"/>
              <a:ext cx="204975" cy="89108"/>
            </a:xfrm>
            <a:custGeom>
              <a:avLst/>
              <a:gdLst>
                <a:gd name="connsiteX0" fmla="*/ 0 w 146304"/>
                <a:gd name="connsiteY0" fmla="*/ 0 h 67726"/>
                <a:gd name="connsiteX1" fmla="*/ 0 w 146304"/>
                <a:gd name="connsiteY1" fmla="*/ 42672 h 67726"/>
                <a:gd name="connsiteX2" fmla="*/ 146304 w 146304"/>
                <a:gd name="connsiteY2" fmla="*/ 67727 h 67726"/>
                <a:gd name="connsiteX3" fmla="*/ 146304 w 146304"/>
                <a:gd name="connsiteY3" fmla="*/ 0 h 67726"/>
              </a:gdLst>
              <a:ahLst/>
              <a:cxnLst>
                <a:cxn ang="0">
                  <a:pos x="connsiteX0" y="connsiteY0"/>
                </a:cxn>
                <a:cxn ang="0">
                  <a:pos x="connsiteX1" y="connsiteY1"/>
                </a:cxn>
                <a:cxn ang="0">
                  <a:pos x="connsiteX2" y="connsiteY2"/>
                </a:cxn>
                <a:cxn ang="0">
                  <a:pos x="connsiteX3" y="connsiteY3"/>
                </a:cxn>
              </a:cxnLst>
              <a:rect l="l" t="t" r="r" b="b"/>
              <a:pathLst>
                <a:path w="146304" h="67726">
                  <a:moveTo>
                    <a:pt x="0" y="0"/>
                  </a:moveTo>
                  <a:lnTo>
                    <a:pt x="0" y="42672"/>
                  </a:lnTo>
                  <a:lnTo>
                    <a:pt x="146304" y="67727"/>
                  </a:lnTo>
                  <a:lnTo>
                    <a:pt x="146304" y="0"/>
                  </a:lnTo>
                  <a:close/>
                </a:path>
              </a:pathLst>
            </a:custGeom>
            <a:solidFill>
              <a:srgbClr val="F6CCB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2" name="Freeform: Shape 6981">
              <a:extLst>
                <a:ext uri="{FF2B5EF4-FFF2-40B4-BE49-F238E27FC236}">
                  <a16:creationId xmlns:a16="http://schemas.microsoft.com/office/drawing/2014/main" id="{3F734349-D04A-43DE-95F2-6656651417E2}"/>
                </a:ext>
              </a:extLst>
            </p:cNvPr>
            <p:cNvSpPr/>
            <p:nvPr/>
          </p:nvSpPr>
          <p:spPr>
            <a:xfrm>
              <a:off x="10552315" y="4009624"/>
              <a:ext cx="148893" cy="222535"/>
            </a:xfrm>
            <a:custGeom>
              <a:avLst/>
              <a:gdLst>
                <a:gd name="connsiteX0" fmla="*/ 91035 w 106274"/>
                <a:gd name="connsiteY0" fmla="*/ 131552 h 169137"/>
                <a:gd name="connsiteX1" fmla="*/ 106275 w 106274"/>
                <a:gd name="connsiteY1" fmla="*/ 11522 h 169137"/>
                <a:gd name="connsiteX2" fmla="*/ 15566 w 106274"/>
                <a:gd name="connsiteY2" fmla="*/ 0 h 169137"/>
                <a:gd name="connsiteX3" fmla="*/ 326 w 106274"/>
                <a:gd name="connsiteY3" fmla="*/ 120030 h 169137"/>
                <a:gd name="connsiteX4" fmla="*/ 40194 w 106274"/>
                <a:gd name="connsiteY4" fmla="*/ 168737 h 169137"/>
                <a:gd name="connsiteX5" fmla="*/ 91035 w 106274"/>
                <a:gd name="connsiteY5" fmla="*/ 131552 h 16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274" h="169137">
                  <a:moveTo>
                    <a:pt x="91035" y="131552"/>
                  </a:moveTo>
                  <a:lnTo>
                    <a:pt x="106275" y="11522"/>
                  </a:lnTo>
                  <a:lnTo>
                    <a:pt x="15566" y="0"/>
                  </a:lnTo>
                  <a:lnTo>
                    <a:pt x="326" y="120030"/>
                  </a:lnTo>
                  <a:cubicBezTo>
                    <a:pt x="-2661" y="143744"/>
                    <a:pt x="15200" y="165567"/>
                    <a:pt x="40194" y="168737"/>
                  </a:cubicBezTo>
                  <a:cubicBezTo>
                    <a:pt x="65248" y="171968"/>
                    <a:pt x="87987" y="155265"/>
                    <a:pt x="91035" y="131552"/>
                  </a:cubicBez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3" name="Freeform: Shape 6982">
              <a:extLst>
                <a:ext uri="{FF2B5EF4-FFF2-40B4-BE49-F238E27FC236}">
                  <a16:creationId xmlns:a16="http://schemas.microsoft.com/office/drawing/2014/main" id="{8565884A-C87A-4C1C-B16D-CAF214A37F5A}"/>
                </a:ext>
              </a:extLst>
            </p:cNvPr>
            <p:cNvSpPr/>
            <p:nvPr/>
          </p:nvSpPr>
          <p:spPr>
            <a:xfrm>
              <a:off x="10554821" y="3237564"/>
              <a:ext cx="298324" cy="837587"/>
            </a:xfrm>
            <a:custGeom>
              <a:avLst/>
              <a:gdLst>
                <a:gd name="connsiteX0" fmla="*/ 108813 w 212933"/>
                <a:gd name="connsiteY0" fmla="*/ 636605 h 636605"/>
                <a:gd name="connsiteX1" fmla="*/ 0 w 212933"/>
                <a:gd name="connsiteY1" fmla="*/ 622767 h 636605"/>
                <a:gd name="connsiteX2" fmla="*/ 78578 w 212933"/>
                <a:gd name="connsiteY2" fmla="*/ 0 h 636605"/>
                <a:gd name="connsiteX3" fmla="*/ 212933 w 212933"/>
                <a:gd name="connsiteY3" fmla="*/ 9205 h 636605"/>
              </a:gdLst>
              <a:ahLst/>
              <a:cxnLst>
                <a:cxn ang="0">
                  <a:pos x="connsiteX0" y="connsiteY0"/>
                </a:cxn>
                <a:cxn ang="0">
                  <a:pos x="connsiteX1" y="connsiteY1"/>
                </a:cxn>
                <a:cxn ang="0">
                  <a:pos x="connsiteX2" y="connsiteY2"/>
                </a:cxn>
                <a:cxn ang="0">
                  <a:pos x="connsiteX3" y="connsiteY3"/>
                </a:cxn>
              </a:cxnLst>
              <a:rect l="l" t="t" r="r" b="b"/>
              <a:pathLst>
                <a:path w="212933" h="636605">
                  <a:moveTo>
                    <a:pt x="108813" y="636605"/>
                  </a:moveTo>
                  <a:lnTo>
                    <a:pt x="0" y="622767"/>
                  </a:lnTo>
                  <a:lnTo>
                    <a:pt x="78578" y="0"/>
                  </a:lnTo>
                  <a:lnTo>
                    <a:pt x="212933" y="9205"/>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984" name="Graphic 3">
              <a:extLst>
                <a:ext uri="{FF2B5EF4-FFF2-40B4-BE49-F238E27FC236}">
                  <a16:creationId xmlns:a16="http://schemas.microsoft.com/office/drawing/2014/main" id="{905C6401-8DA4-4183-90B4-693215318DCA}"/>
                </a:ext>
              </a:extLst>
            </p:cNvPr>
            <p:cNvGrpSpPr/>
            <p:nvPr/>
          </p:nvGrpSpPr>
          <p:grpSpPr>
            <a:xfrm>
              <a:off x="10327778" y="3643577"/>
              <a:ext cx="877506" cy="814796"/>
              <a:chOff x="6288305" y="1541930"/>
              <a:chExt cx="626333" cy="619283"/>
            </a:xfrm>
            <a:solidFill>
              <a:schemeClr val="accent1"/>
            </a:solidFill>
          </p:grpSpPr>
          <p:sp>
            <p:nvSpPr>
              <p:cNvPr id="7048" name="Freeform: Shape 7047">
                <a:extLst>
                  <a:ext uri="{FF2B5EF4-FFF2-40B4-BE49-F238E27FC236}">
                    <a16:creationId xmlns:a16="http://schemas.microsoft.com/office/drawing/2014/main" id="{F5A4D4AB-694A-4A70-8367-61FAFF7847A2}"/>
                  </a:ext>
                </a:extLst>
              </p:cNvPr>
              <p:cNvSpPr/>
              <p:nvPr/>
            </p:nvSpPr>
            <p:spPr>
              <a:xfrm rot="-2846628">
                <a:off x="6410305" y="1601945"/>
                <a:ext cx="382333" cy="499252"/>
              </a:xfrm>
              <a:custGeom>
                <a:avLst/>
                <a:gdLst>
                  <a:gd name="connsiteX0" fmla="*/ 0 w 382333"/>
                  <a:gd name="connsiteY0" fmla="*/ 0 h 499252"/>
                  <a:gd name="connsiteX1" fmla="*/ 382334 w 382333"/>
                  <a:gd name="connsiteY1" fmla="*/ 0 h 499252"/>
                  <a:gd name="connsiteX2" fmla="*/ 382334 w 382333"/>
                  <a:gd name="connsiteY2" fmla="*/ 499253 h 499252"/>
                  <a:gd name="connsiteX3" fmla="*/ 0 w 382333"/>
                  <a:gd name="connsiteY3" fmla="*/ 499253 h 499252"/>
                </a:gdLst>
                <a:ahLst/>
                <a:cxnLst>
                  <a:cxn ang="0">
                    <a:pos x="connsiteX0" y="connsiteY0"/>
                  </a:cxn>
                  <a:cxn ang="0">
                    <a:pos x="connsiteX1" y="connsiteY1"/>
                  </a:cxn>
                  <a:cxn ang="0">
                    <a:pos x="connsiteX2" y="connsiteY2"/>
                  </a:cxn>
                  <a:cxn ang="0">
                    <a:pos x="connsiteX3" y="connsiteY3"/>
                  </a:cxn>
                </a:cxnLst>
                <a:rect l="l" t="t" r="r" b="b"/>
                <a:pathLst>
                  <a:path w="382333" h="499252">
                    <a:moveTo>
                      <a:pt x="0" y="0"/>
                    </a:moveTo>
                    <a:lnTo>
                      <a:pt x="382334" y="0"/>
                    </a:lnTo>
                    <a:lnTo>
                      <a:pt x="382334" y="499253"/>
                    </a:lnTo>
                    <a:lnTo>
                      <a:pt x="0" y="499253"/>
                    </a:lnTo>
                    <a:close/>
                  </a:path>
                </a:pathLst>
              </a:custGeom>
              <a:solidFill>
                <a:schemeClr val="accent4"/>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9" name="Freeform: Shape 7048">
                <a:extLst>
                  <a:ext uri="{FF2B5EF4-FFF2-40B4-BE49-F238E27FC236}">
                    <a16:creationId xmlns:a16="http://schemas.microsoft.com/office/drawing/2014/main" id="{DFA6CC78-0816-4974-956E-EFBF77B57A0C}"/>
                  </a:ext>
                </a:extLst>
              </p:cNvPr>
              <p:cNvSpPr/>
              <p:nvPr/>
            </p:nvSpPr>
            <p:spPr>
              <a:xfrm rot="-2846628">
                <a:off x="6426688" y="1606473"/>
                <a:ext cx="329177" cy="471577"/>
              </a:xfrm>
              <a:custGeom>
                <a:avLst/>
                <a:gdLst>
                  <a:gd name="connsiteX0" fmla="*/ 0 w 329177"/>
                  <a:gd name="connsiteY0" fmla="*/ 0 h 471577"/>
                  <a:gd name="connsiteX1" fmla="*/ 329178 w 329177"/>
                  <a:gd name="connsiteY1" fmla="*/ 0 h 471577"/>
                  <a:gd name="connsiteX2" fmla="*/ 329178 w 329177"/>
                  <a:gd name="connsiteY2" fmla="*/ 471577 h 471577"/>
                  <a:gd name="connsiteX3" fmla="*/ 0 w 329177"/>
                  <a:gd name="connsiteY3" fmla="*/ 471577 h 471577"/>
                </a:gdLst>
                <a:ahLst/>
                <a:cxnLst>
                  <a:cxn ang="0">
                    <a:pos x="connsiteX0" y="connsiteY0"/>
                  </a:cxn>
                  <a:cxn ang="0">
                    <a:pos x="connsiteX1" y="connsiteY1"/>
                  </a:cxn>
                  <a:cxn ang="0">
                    <a:pos x="connsiteX2" y="connsiteY2"/>
                  </a:cxn>
                  <a:cxn ang="0">
                    <a:pos x="connsiteX3" y="connsiteY3"/>
                  </a:cxn>
                </a:cxnLst>
                <a:rect l="l" t="t" r="r" b="b"/>
                <a:pathLst>
                  <a:path w="329177" h="471577">
                    <a:moveTo>
                      <a:pt x="0" y="0"/>
                    </a:moveTo>
                    <a:lnTo>
                      <a:pt x="329178" y="0"/>
                    </a:lnTo>
                    <a:lnTo>
                      <a:pt x="329178" y="471577"/>
                    </a:lnTo>
                    <a:lnTo>
                      <a:pt x="0" y="471577"/>
                    </a:lnTo>
                    <a:close/>
                  </a:path>
                </a:pathLst>
              </a:custGeom>
              <a:solidFill>
                <a:schemeClr val="bg1">
                  <a:lumMod val="85000"/>
                </a:scheme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985" name="Freeform: Shape 6984">
              <a:extLst>
                <a:ext uri="{FF2B5EF4-FFF2-40B4-BE49-F238E27FC236}">
                  <a16:creationId xmlns:a16="http://schemas.microsoft.com/office/drawing/2014/main" id="{8268B1FF-0870-45C9-8B17-759B99B4AB6D}"/>
                </a:ext>
              </a:extLst>
            </p:cNvPr>
            <p:cNvSpPr/>
            <p:nvPr/>
          </p:nvSpPr>
          <p:spPr>
            <a:xfrm>
              <a:off x="10420904" y="3742300"/>
              <a:ext cx="183897" cy="179035"/>
            </a:xfrm>
            <a:custGeom>
              <a:avLst/>
              <a:gdLst>
                <a:gd name="connsiteX0" fmla="*/ 93391 w 131259"/>
                <a:gd name="connsiteY0" fmla="*/ 0 h 136075"/>
                <a:gd name="connsiteX1" fmla="*/ 68153 w 131259"/>
                <a:gd name="connsiteY1" fmla="*/ 27493 h 136075"/>
                <a:gd name="connsiteX2" fmla="*/ 28834 w 131259"/>
                <a:gd name="connsiteY2" fmla="*/ 34503 h 136075"/>
                <a:gd name="connsiteX3" fmla="*/ 25238 w 131259"/>
                <a:gd name="connsiteY3" fmla="*/ 74249 h 136075"/>
                <a:gd name="connsiteX4" fmla="*/ 0 w 131259"/>
                <a:gd name="connsiteY4" fmla="*/ 101742 h 136075"/>
                <a:gd name="connsiteX5" fmla="*/ 16154 w 131259"/>
                <a:gd name="connsiteY5" fmla="*/ 116555 h 136075"/>
                <a:gd name="connsiteX6" fmla="*/ 33467 w 131259"/>
                <a:gd name="connsiteY6" fmla="*/ 132466 h 136075"/>
                <a:gd name="connsiteX7" fmla="*/ 52852 w 131259"/>
                <a:gd name="connsiteY7" fmla="*/ 131613 h 136075"/>
                <a:gd name="connsiteX8" fmla="*/ 127650 w 131259"/>
                <a:gd name="connsiteY8" fmla="*/ 50170 h 136075"/>
                <a:gd name="connsiteX9" fmla="*/ 126797 w 131259"/>
                <a:gd name="connsiteY9" fmla="*/ 30785 h 136075"/>
                <a:gd name="connsiteX10" fmla="*/ 109484 w 131259"/>
                <a:gd name="connsiteY10" fmla="*/ 14874 h 136075"/>
                <a:gd name="connsiteX11" fmla="*/ 93391 w 131259"/>
                <a:gd name="connsiteY11" fmla="*/ 0 h 136075"/>
                <a:gd name="connsiteX12" fmla="*/ 37003 w 131259"/>
                <a:gd name="connsiteY12" fmla="*/ 41879 h 136075"/>
                <a:gd name="connsiteX13" fmla="*/ 44744 w 131259"/>
                <a:gd name="connsiteY13" fmla="*/ 41575 h 136075"/>
                <a:gd name="connsiteX14" fmla="*/ 45050 w 131259"/>
                <a:gd name="connsiteY14" fmla="*/ 49317 h 136075"/>
                <a:gd name="connsiteX15" fmla="*/ 37307 w 131259"/>
                <a:gd name="connsiteY15" fmla="*/ 49622 h 136075"/>
                <a:gd name="connsiteX16" fmla="*/ 37003 w 131259"/>
                <a:gd name="connsiteY16" fmla="*/ 41879 h 136075"/>
                <a:gd name="connsiteX17" fmla="*/ 123200 w 131259"/>
                <a:gd name="connsiteY17" fmla="*/ 34808 h 136075"/>
                <a:gd name="connsiteX18" fmla="*/ 123688 w 131259"/>
                <a:gd name="connsiteY18" fmla="*/ 46451 h 136075"/>
                <a:gd name="connsiteX19" fmla="*/ 48890 w 131259"/>
                <a:gd name="connsiteY19" fmla="*/ 127894 h 136075"/>
                <a:gd name="connsiteX20" fmla="*/ 37246 w 131259"/>
                <a:gd name="connsiteY20" fmla="*/ 128382 h 136075"/>
                <a:gd name="connsiteX21" fmla="*/ 19934 w 131259"/>
                <a:gd name="connsiteY21" fmla="*/ 112471 h 136075"/>
                <a:gd name="connsiteX22" fmla="*/ 105887 w 131259"/>
                <a:gd name="connsiteY22" fmla="*/ 18898 h 136075"/>
                <a:gd name="connsiteX23" fmla="*/ 123200 w 131259"/>
                <a:gd name="connsiteY23" fmla="*/ 34808 h 1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1259" h="136075">
                  <a:moveTo>
                    <a:pt x="93391" y="0"/>
                  </a:moveTo>
                  <a:lnTo>
                    <a:pt x="68153" y="27493"/>
                  </a:lnTo>
                  <a:cubicBezTo>
                    <a:pt x="55291" y="20848"/>
                    <a:pt x="39136" y="23287"/>
                    <a:pt x="28834" y="34503"/>
                  </a:cubicBezTo>
                  <a:cubicBezTo>
                    <a:pt x="18593" y="45659"/>
                    <a:pt x="17557" y="61996"/>
                    <a:pt x="25238" y="74249"/>
                  </a:cubicBezTo>
                  <a:lnTo>
                    <a:pt x="0" y="101742"/>
                  </a:lnTo>
                  <a:lnTo>
                    <a:pt x="16154" y="116555"/>
                  </a:lnTo>
                  <a:lnTo>
                    <a:pt x="33467" y="132466"/>
                  </a:lnTo>
                  <a:cubicBezTo>
                    <a:pt x="39014" y="137587"/>
                    <a:pt x="47732" y="137221"/>
                    <a:pt x="52852" y="131613"/>
                  </a:cubicBezTo>
                  <a:lnTo>
                    <a:pt x="127650" y="50170"/>
                  </a:lnTo>
                  <a:cubicBezTo>
                    <a:pt x="132771" y="44623"/>
                    <a:pt x="132405" y="35906"/>
                    <a:pt x="126797" y="30785"/>
                  </a:cubicBezTo>
                  <a:lnTo>
                    <a:pt x="109484" y="14874"/>
                  </a:lnTo>
                  <a:lnTo>
                    <a:pt x="93391" y="0"/>
                  </a:lnTo>
                  <a:close/>
                  <a:moveTo>
                    <a:pt x="37003" y="41879"/>
                  </a:moveTo>
                  <a:cubicBezTo>
                    <a:pt x="39075" y="39624"/>
                    <a:pt x="42550" y="39502"/>
                    <a:pt x="44744" y="41575"/>
                  </a:cubicBezTo>
                  <a:cubicBezTo>
                    <a:pt x="47000" y="43647"/>
                    <a:pt x="47122" y="47122"/>
                    <a:pt x="45050" y="49317"/>
                  </a:cubicBezTo>
                  <a:cubicBezTo>
                    <a:pt x="42977" y="51572"/>
                    <a:pt x="39502" y="51694"/>
                    <a:pt x="37307" y="49622"/>
                  </a:cubicBezTo>
                  <a:cubicBezTo>
                    <a:pt x="35052" y="47610"/>
                    <a:pt x="34930" y="44135"/>
                    <a:pt x="37003" y="41879"/>
                  </a:cubicBezTo>
                  <a:close/>
                  <a:moveTo>
                    <a:pt x="123200" y="34808"/>
                  </a:moveTo>
                  <a:cubicBezTo>
                    <a:pt x="126553" y="37856"/>
                    <a:pt x="126736" y="43099"/>
                    <a:pt x="123688" y="46451"/>
                  </a:cubicBezTo>
                  <a:lnTo>
                    <a:pt x="48890" y="127894"/>
                  </a:lnTo>
                  <a:cubicBezTo>
                    <a:pt x="45842" y="131247"/>
                    <a:pt x="40599" y="131430"/>
                    <a:pt x="37246" y="128382"/>
                  </a:cubicBezTo>
                  <a:lnTo>
                    <a:pt x="19934" y="112471"/>
                  </a:lnTo>
                  <a:lnTo>
                    <a:pt x="105887" y="18898"/>
                  </a:lnTo>
                  <a:lnTo>
                    <a:pt x="123200" y="34808"/>
                  </a:ln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86" name="Freeform: Shape 6985">
              <a:extLst>
                <a:ext uri="{FF2B5EF4-FFF2-40B4-BE49-F238E27FC236}">
                  <a16:creationId xmlns:a16="http://schemas.microsoft.com/office/drawing/2014/main" id="{9FFD428B-05F9-4B1A-83C4-23F292547701}"/>
                </a:ext>
              </a:extLst>
            </p:cNvPr>
            <p:cNvSpPr/>
            <p:nvPr/>
          </p:nvSpPr>
          <p:spPr>
            <a:xfrm>
              <a:off x="10547902" y="4178607"/>
              <a:ext cx="136684" cy="141011"/>
            </a:xfrm>
            <a:custGeom>
              <a:avLst/>
              <a:gdLst>
                <a:gd name="connsiteX0" fmla="*/ 0 w 97560"/>
                <a:gd name="connsiteY0" fmla="*/ 32256 h 107175"/>
                <a:gd name="connsiteX1" fmla="*/ 59619 w 97560"/>
                <a:gd name="connsiteY1" fmla="*/ 1898 h 107175"/>
                <a:gd name="connsiteX2" fmla="*/ 96195 w 97560"/>
                <a:gd name="connsiteY2" fmla="*/ 57920 h 107175"/>
                <a:gd name="connsiteX3" fmla="*/ 83027 w 97560"/>
                <a:gd name="connsiteY3" fmla="*/ 107176 h 107175"/>
                <a:gd name="connsiteX4" fmla="*/ 0 w 97560"/>
                <a:gd name="connsiteY4" fmla="*/ 32256 h 10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60" h="107175">
                  <a:moveTo>
                    <a:pt x="0" y="32256"/>
                  </a:moveTo>
                  <a:cubicBezTo>
                    <a:pt x="6401" y="8359"/>
                    <a:pt x="33040" y="-5235"/>
                    <a:pt x="59619" y="1898"/>
                  </a:cubicBezTo>
                  <a:cubicBezTo>
                    <a:pt x="86198" y="8969"/>
                    <a:pt x="102535" y="34084"/>
                    <a:pt x="96195" y="57920"/>
                  </a:cubicBezTo>
                  <a:lnTo>
                    <a:pt x="83027" y="107176"/>
                  </a:lnTo>
                  <a:cubicBezTo>
                    <a:pt x="10546" y="94618"/>
                    <a:pt x="0" y="32256"/>
                    <a:pt x="0" y="32256"/>
                  </a:cubicBez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987" name="Graphic 3">
              <a:extLst>
                <a:ext uri="{FF2B5EF4-FFF2-40B4-BE49-F238E27FC236}">
                  <a16:creationId xmlns:a16="http://schemas.microsoft.com/office/drawing/2014/main" id="{482CB741-E611-444A-AF6A-2DA360E541E4}"/>
                </a:ext>
              </a:extLst>
            </p:cNvPr>
            <p:cNvGrpSpPr/>
            <p:nvPr/>
          </p:nvGrpSpPr>
          <p:grpSpPr>
            <a:xfrm>
              <a:off x="10809931" y="4028875"/>
              <a:ext cx="633458" cy="1745754"/>
              <a:chOff x="6632448" y="1834774"/>
              <a:chExt cx="452140" cy="1326855"/>
            </a:xfrm>
            <a:solidFill>
              <a:schemeClr val="accent1"/>
            </a:solidFill>
          </p:grpSpPr>
          <p:sp>
            <p:nvSpPr>
              <p:cNvPr id="7038" name="Freeform: Shape 7037">
                <a:extLst>
                  <a:ext uri="{FF2B5EF4-FFF2-40B4-BE49-F238E27FC236}">
                    <a16:creationId xmlns:a16="http://schemas.microsoft.com/office/drawing/2014/main" id="{AED5B164-2BE2-4ABD-A6FC-6282B105D60B}"/>
                  </a:ext>
                </a:extLst>
              </p:cNvPr>
              <p:cNvSpPr/>
              <p:nvPr/>
            </p:nvSpPr>
            <p:spPr>
              <a:xfrm>
                <a:off x="6632448" y="1847209"/>
                <a:ext cx="452140" cy="1225478"/>
              </a:xfrm>
              <a:custGeom>
                <a:avLst/>
                <a:gdLst>
                  <a:gd name="connsiteX0" fmla="*/ 253472 w 452140"/>
                  <a:gd name="connsiteY0" fmla="*/ 0 h 1225478"/>
                  <a:gd name="connsiteX1" fmla="*/ 198729 w 452140"/>
                  <a:gd name="connsiteY1" fmla="*/ 0 h 1225478"/>
                  <a:gd name="connsiteX2" fmla="*/ 0 w 452140"/>
                  <a:gd name="connsiteY2" fmla="*/ 0 h 1225478"/>
                  <a:gd name="connsiteX3" fmla="*/ 15484 w 452140"/>
                  <a:gd name="connsiteY3" fmla="*/ 1225479 h 1225478"/>
                  <a:gd name="connsiteX4" fmla="*/ 175991 w 452140"/>
                  <a:gd name="connsiteY4" fmla="*/ 1225479 h 1225478"/>
                  <a:gd name="connsiteX5" fmla="*/ 205252 w 452140"/>
                  <a:gd name="connsiteY5" fmla="*/ 175870 h 1225478"/>
                  <a:gd name="connsiteX6" fmla="*/ 246827 w 452140"/>
                  <a:gd name="connsiteY6" fmla="*/ 175870 h 1225478"/>
                  <a:gd name="connsiteX7" fmla="*/ 276149 w 452140"/>
                  <a:gd name="connsiteY7" fmla="*/ 1225479 h 1225478"/>
                  <a:gd name="connsiteX8" fmla="*/ 436657 w 452140"/>
                  <a:gd name="connsiteY8" fmla="*/ 1225479 h 1225478"/>
                  <a:gd name="connsiteX9" fmla="*/ 452140 w 452140"/>
                  <a:gd name="connsiteY9" fmla="*/ 0 h 1225478"/>
                  <a:gd name="connsiteX10" fmla="*/ 253472 w 452140"/>
                  <a:gd name="connsiteY10" fmla="*/ 0 h 122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2140" h="1225478">
                    <a:moveTo>
                      <a:pt x="253472" y="0"/>
                    </a:moveTo>
                    <a:cubicBezTo>
                      <a:pt x="253411" y="0"/>
                      <a:pt x="198729" y="0"/>
                      <a:pt x="198729" y="0"/>
                    </a:cubicBezTo>
                    <a:cubicBezTo>
                      <a:pt x="198669" y="0"/>
                      <a:pt x="0" y="0"/>
                      <a:pt x="0" y="0"/>
                    </a:cubicBezTo>
                    <a:lnTo>
                      <a:pt x="15484" y="1225479"/>
                    </a:lnTo>
                    <a:lnTo>
                      <a:pt x="175991" y="1225479"/>
                    </a:lnTo>
                    <a:lnTo>
                      <a:pt x="205252" y="175870"/>
                    </a:lnTo>
                    <a:cubicBezTo>
                      <a:pt x="205313" y="175870"/>
                      <a:pt x="246827" y="175870"/>
                      <a:pt x="246827" y="175870"/>
                    </a:cubicBezTo>
                    <a:cubicBezTo>
                      <a:pt x="246888" y="175870"/>
                      <a:pt x="276149" y="1225479"/>
                      <a:pt x="276149" y="1225479"/>
                    </a:cubicBezTo>
                    <a:lnTo>
                      <a:pt x="436657" y="1225479"/>
                    </a:lnTo>
                    <a:lnTo>
                      <a:pt x="452140" y="0"/>
                    </a:lnTo>
                    <a:lnTo>
                      <a:pt x="253472" y="0"/>
                    </a:lnTo>
                    <a:close/>
                  </a:path>
                </a:pathLst>
              </a:custGeom>
              <a:solidFill>
                <a:srgbClr val="383643"/>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039" name="Graphic 3">
                <a:extLst>
                  <a:ext uri="{FF2B5EF4-FFF2-40B4-BE49-F238E27FC236}">
                    <a16:creationId xmlns:a16="http://schemas.microsoft.com/office/drawing/2014/main" id="{DCCA3C33-414E-4758-B8B7-D6BEAB9E69EB}"/>
                  </a:ext>
                </a:extLst>
              </p:cNvPr>
              <p:cNvGrpSpPr/>
              <p:nvPr/>
            </p:nvGrpSpPr>
            <p:grpSpPr>
              <a:xfrm>
                <a:off x="6632509" y="1834774"/>
                <a:ext cx="452018" cy="72542"/>
                <a:chOff x="6632509" y="1834774"/>
                <a:chExt cx="452018" cy="72542"/>
              </a:xfrm>
              <a:solidFill>
                <a:schemeClr val="accent1"/>
              </a:solidFill>
            </p:grpSpPr>
            <p:sp>
              <p:nvSpPr>
                <p:cNvPr id="7046" name="Freeform: Shape 7045">
                  <a:extLst>
                    <a:ext uri="{FF2B5EF4-FFF2-40B4-BE49-F238E27FC236}">
                      <a16:creationId xmlns:a16="http://schemas.microsoft.com/office/drawing/2014/main" id="{AFEBA20B-6786-45EC-BFE2-13252DF3F940}"/>
                    </a:ext>
                  </a:extLst>
                </p:cNvPr>
                <p:cNvSpPr/>
                <p:nvPr/>
              </p:nvSpPr>
              <p:spPr>
                <a:xfrm>
                  <a:off x="6632509" y="1847270"/>
                  <a:ext cx="452018" cy="47487"/>
                </a:xfrm>
                <a:custGeom>
                  <a:avLst/>
                  <a:gdLst>
                    <a:gd name="connsiteX0" fmla="*/ 451774 w 452018"/>
                    <a:gd name="connsiteY0" fmla="*/ 47488 h 47487"/>
                    <a:gd name="connsiteX1" fmla="*/ 0 w 452018"/>
                    <a:gd name="connsiteY1" fmla="*/ 47488 h 47487"/>
                    <a:gd name="connsiteX2" fmla="*/ 0 w 452018"/>
                    <a:gd name="connsiteY2" fmla="*/ 0 h 47487"/>
                    <a:gd name="connsiteX3" fmla="*/ 452018 w 452018"/>
                    <a:gd name="connsiteY3" fmla="*/ 0 h 47487"/>
                  </a:gdLst>
                  <a:ahLst/>
                  <a:cxnLst>
                    <a:cxn ang="0">
                      <a:pos x="connsiteX0" y="connsiteY0"/>
                    </a:cxn>
                    <a:cxn ang="0">
                      <a:pos x="connsiteX1" y="connsiteY1"/>
                    </a:cxn>
                    <a:cxn ang="0">
                      <a:pos x="connsiteX2" y="connsiteY2"/>
                    </a:cxn>
                    <a:cxn ang="0">
                      <a:pos x="connsiteX3" y="connsiteY3"/>
                    </a:cxn>
                  </a:cxnLst>
                  <a:rect l="l" t="t" r="r" b="b"/>
                  <a:pathLst>
                    <a:path w="452018" h="47487">
                      <a:moveTo>
                        <a:pt x="451774" y="47488"/>
                      </a:moveTo>
                      <a:lnTo>
                        <a:pt x="0" y="47488"/>
                      </a:lnTo>
                      <a:lnTo>
                        <a:pt x="0" y="0"/>
                      </a:lnTo>
                      <a:lnTo>
                        <a:pt x="452018" y="0"/>
                      </a:lnTo>
                      <a:close/>
                    </a:path>
                  </a:pathLst>
                </a:custGeom>
                <a:solidFill>
                  <a:srgbClr val="221F1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7" name="Freeform: Shape 7046">
                  <a:extLst>
                    <a:ext uri="{FF2B5EF4-FFF2-40B4-BE49-F238E27FC236}">
                      <a16:creationId xmlns:a16="http://schemas.microsoft.com/office/drawing/2014/main" id="{55EF0CF4-948F-48DD-BB3E-B74C42D687AD}"/>
                    </a:ext>
                  </a:extLst>
                </p:cNvPr>
                <p:cNvSpPr/>
                <p:nvPr/>
              </p:nvSpPr>
              <p:spPr>
                <a:xfrm>
                  <a:off x="6812280" y="1834774"/>
                  <a:ext cx="92537" cy="72542"/>
                </a:xfrm>
                <a:custGeom>
                  <a:avLst/>
                  <a:gdLst>
                    <a:gd name="connsiteX0" fmla="*/ 65837 w 92537"/>
                    <a:gd name="connsiteY0" fmla="*/ 72542 h 72542"/>
                    <a:gd name="connsiteX1" fmla="*/ 26701 w 92537"/>
                    <a:gd name="connsiteY1" fmla="*/ 72542 h 72542"/>
                    <a:gd name="connsiteX2" fmla="*/ 0 w 92537"/>
                    <a:gd name="connsiteY2" fmla="*/ 45842 h 72542"/>
                    <a:gd name="connsiteX3" fmla="*/ 0 w 92537"/>
                    <a:gd name="connsiteY3" fmla="*/ 26700 h 72542"/>
                    <a:gd name="connsiteX4" fmla="*/ 26701 w 92537"/>
                    <a:gd name="connsiteY4" fmla="*/ 0 h 72542"/>
                    <a:gd name="connsiteX5" fmla="*/ 65837 w 92537"/>
                    <a:gd name="connsiteY5" fmla="*/ 0 h 72542"/>
                    <a:gd name="connsiteX6" fmla="*/ 92537 w 92537"/>
                    <a:gd name="connsiteY6" fmla="*/ 26700 h 72542"/>
                    <a:gd name="connsiteX7" fmla="*/ 92537 w 92537"/>
                    <a:gd name="connsiteY7" fmla="*/ 45842 h 72542"/>
                    <a:gd name="connsiteX8" fmla="*/ 65837 w 92537"/>
                    <a:gd name="connsiteY8" fmla="*/ 72542 h 72542"/>
                    <a:gd name="connsiteX9" fmla="*/ 26639 w 92537"/>
                    <a:gd name="connsiteY9" fmla="*/ 13106 h 72542"/>
                    <a:gd name="connsiteX10" fmla="*/ 13046 w 92537"/>
                    <a:gd name="connsiteY10" fmla="*/ 26700 h 72542"/>
                    <a:gd name="connsiteX11" fmla="*/ 13046 w 92537"/>
                    <a:gd name="connsiteY11" fmla="*/ 45842 h 72542"/>
                    <a:gd name="connsiteX12" fmla="*/ 26639 w 92537"/>
                    <a:gd name="connsiteY12" fmla="*/ 59436 h 72542"/>
                    <a:gd name="connsiteX13" fmla="*/ 65776 w 92537"/>
                    <a:gd name="connsiteY13" fmla="*/ 59436 h 72542"/>
                    <a:gd name="connsiteX14" fmla="*/ 79370 w 92537"/>
                    <a:gd name="connsiteY14" fmla="*/ 45842 h 72542"/>
                    <a:gd name="connsiteX15" fmla="*/ 79370 w 92537"/>
                    <a:gd name="connsiteY15" fmla="*/ 26700 h 72542"/>
                    <a:gd name="connsiteX16" fmla="*/ 65776 w 92537"/>
                    <a:gd name="connsiteY16" fmla="*/ 13106 h 72542"/>
                    <a:gd name="connsiteX17" fmla="*/ 26639 w 92537"/>
                    <a:gd name="connsiteY17" fmla="*/ 13106 h 7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537" h="72542">
                      <a:moveTo>
                        <a:pt x="65837" y="72542"/>
                      </a:moveTo>
                      <a:lnTo>
                        <a:pt x="26701" y="72542"/>
                      </a:lnTo>
                      <a:cubicBezTo>
                        <a:pt x="11948" y="72542"/>
                        <a:pt x="0" y="60533"/>
                        <a:pt x="0" y="45842"/>
                      </a:cubicBezTo>
                      <a:lnTo>
                        <a:pt x="0" y="26700"/>
                      </a:lnTo>
                      <a:cubicBezTo>
                        <a:pt x="0" y="11948"/>
                        <a:pt x="12009" y="0"/>
                        <a:pt x="26701" y="0"/>
                      </a:cubicBezTo>
                      <a:lnTo>
                        <a:pt x="65837" y="0"/>
                      </a:lnTo>
                      <a:cubicBezTo>
                        <a:pt x="80589" y="0"/>
                        <a:pt x="92537" y="12009"/>
                        <a:pt x="92537" y="26700"/>
                      </a:cubicBezTo>
                      <a:lnTo>
                        <a:pt x="92537" y="45842"/>
                      </a:lnTo>
                      <a:cubicBezTo>
                        <a:pt x="92537" y="60533"/>
                        <a:pt x="80528" y="72542"/>
                        <a:pt x="65837" y="72542"/>
                      </a:cubicBezTo>
                      <a:close/>
                      <a:moveTo>
                        <a:pt x="26639" y="13106"/>
                      </a:moveTo>
                      <a:cubicBezTo>
                        <a:pt x="19142" y="13106"/>
                        <a:pt x="13046" y="19202"/>
                        <a:pt x="13046" y="26700"/>
                      </a:cubicBezTo>
                      <a:lnTo>
                        <a:pt x="13046" y="45842"/>
                      </a:lnTo>
                      <a:cubicBezTo>
                        <a:pt x="13046" y="53340"/>
                        <a:pt x="19142" y="59436"/>
                        <a:pt x="26639" y="59436"/>
                      </a:cubicBezTo>
                      <a:lnTo>
                        <a:pt x="65776" y="59436"/>
                      </a:lnTo>
                      <a:cubicBezTo>
                        <a:pt x="73274" y="59436"/>
                        <a:pt x="79370" y="53340"/>
                        <a:pt x="79370" y="45842"/>
                      </a:cubicBezTo>
                      <a:lnTo>
                        <a:pt x="79370" y="26700"/>
                      </a:lnTo>
                      <a:cubicBezTo>
                        <a:pt x="79370" y="19202"/>
                        <a:pt x="73274" y="13106"/>
                        <a:pt x="65776" y="13106"/>
                      </a:cubicBezTo>
                      <a:lnTo>
                        <a:pt x="26639" y="13106"/>
                      </a:lnTo>
                      <a:close/>
                    </a:path>
                  </a:pathLst>
                </a:custGeom>
                <a:solidFill>
                  <a:srgbClr val="4341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040" name="Graphic 3">
                <a:extLst>
                  <a:ext uri="{FF2B5EF4-FFF2-40B4-BE49-F238E27FC236}">
                    <a16:creationId xmlns:a16="http://schemas.microsoft.com/office/drawing/2014/main" id="{ABA3CC31-6464-48ED-B53D-62970929DB42}"/>
                  </a:ext>
                </a:extLst>
              </p:cNvPr>
              <p:cNvGrpSpPr/>
              <p:nvPr/>
            </p:nvGrpSpPr>
            <p:grpSpPr>
              <a:xfrm>
                <a:off x="6900306" y="3052267"/>
                <a:ext cx="176784" cy="109362"/>
                <a:chOff x="6900306" y="3052267"/>
                <a:chExt cx="176784" cy="109362"/>
              </a:xfrm>
              <a:solidFill>
                <a:schemeClr val="accent1"/>
              </a:solidFill>
            </p:grpSpPr>
            <p:sp>
              <p:nvSpPr>
                <p:cNvPr id="7044" name="Freeform: Shape 7043">
                  <a:extLst>
                    <a:ext uri="{FF2B5EF4-FFF2-40B4-BE49-F238E27FC236}">
                      <a16:creationId xmlns:a16="http://schemas.microsoft.com/office/drawing/2014/main" id="{62F9DB95-1EF8-4698-865F-1D3E596072CF}"/>
                    </a:ext>
                  </a:extLst>
                </p:cNvPr>
                <p:cNvSpPr/>
                <p:nvPr/>
              </p:nvSpPr>
              <p:spPr>
                <a:xfrm>
                  <a:off x="6900306" y="3052267"/>
                  <a:ext cx="176784" cy="109362"/>
                </a:xfrm>
                <a:custGeom>
                  <a:avLst/>
                  <a:gdLst>
                    <a:gd name="connsiteX0" fmla="*/ 0 w 176784"/>
                    <a:gd name="connsiteY0" fmla="*/ 61326 h 109362"/>
                    <a:gd name="connsiteX1" fmla="*/ 88392 w 176784"/>
                    <a:gd name="connsiteY1" fmla="*/ 0 h 109362"/>
                    <a:gd name="connsiteX2" fmla="*/ 176784 w 176784"/>
                    <a:gd name="connsiteY2" fmla="*/ 61326 h 109362"/>
                    <a:gd name="connsiteX3" fmla="*/ 88392 w 176784"/>
                    <a:gd name="connsiteY3" fmla="*/ 109362 h 109362"/>
                    <a:gd name="connsiteX4" fmla="*/ 0 w 176784"/>
                    <a:gd name="connsiteY4" fmla="*/ 61326 h 10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784" h="109362">
                      <a:moveTo>
                        <a:pt x="0" y="61326"/>
                      </a:moveTo>
                      <a:cubicBezTo>
                        <a:pt x="0" y="15728"/>
                        <a:pt x="37917" y="0"/>
                        <a:pt x="88392" y="0"/>
                      </a:cubicBezTo>
                      <a:cubicBezTo>
                        <a:pt x="138867" y="0"/>
                        <a:pt x="176784" y="15789"/>
                        <a:pt x="176784" y="61326"/>
                      </a:cubicBezTo>
                      <a:cubicBezTo>
                        <a:pt x="176784" y="84125"/>
                        <a:pt x="176784" y="109362"/>
                        <a:pt x="88392" y="109362"/>
                      </a:cubicBezTo>
                      <a:cubicBezTo>
                        <a:pt x="0" y="109362"/>
                        <a:pt x="0" y="84125"/>
                        <a:pt x="0" y="61326"/>
                      </a:cubicBezTo>
                      <a:close/>
                    </a:path>
                  </a:pathLst>
                </a:custGeom>
                <a:solidFill>
                  <a:srgbClr val="221F1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5" name="Freeform: Shape 7044">
                  <a:extLst>
                    <a:ext uri="{FF2B5EF4-FFF2-40B4-BE49-F238E27FC236}">
                      <a16:creationId xmlns:a16="http://schemas.microsoft.com/office/drawing/2014/main" id="{73315B95-A529-4887-92C0-02699C8D9F97}"/>
                    </a:ext>
                  </a:extLst>
                </p:cNvPr>
                <p:cNvSpPr/>
                <p:nvPr/>
              </p:nvSpPr>
              <p:spPr>
                <a:xfrm>
                  <a:off x="6900306" y="3110057"/>
                  <a:ext cx="176784" cy="51572"/>
                </a:xfrm>
                <a:custGeom>
                  <a:avLst/>
                  <a:gdLst>
                    <a:gd name="connsiteX0" fmla="*/ 176601 w 176784"/>
                    <a:gd name="connsiteY0" fmla="*/ 0 h 51572"/>
                    <a:gd name="connsiteX1" fmla="*/ 88392 w 176784"/>
                    <a:gd name="connsiteY1" fmla="*/ 33223 h 51572"/>
                    <a:gd name="connsiteX2" fmla="*/ 183 w 176784"/>
                    <a:gd name="connsiteY2" fmla="*/ 0 h 51572"/>
                    <a:gd name="connsiteX3" fmla="*/ 0 w 176784"/>
                    <a:gd name="connsiteY3" fmla="*/ 3536 h 51572"/>
                    <a:gd name="connsiteX4" fmla="*/ 88392 w 176784"/>
                    <a:gd name="connsiteY4" fmla="*/ 51572 h 51572"/>
                    <a:gd name="connsiteX5" fmla="*/ 176784 w 176784"/>
                    <a:gd name="connsiteY5" fmla="*/ 3536 h 51572"/>
                    <a:gd name="connsiteX6" fmla="*/ 176601 w 176784"/>
                    <a:gd name="connsiteY6" fmla="*/ 0 h 5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784" h="51572">
                      <a:moveTo>
                        <a:pt x="176601" y="0"/>
                      </a:moveTo>
                      <a:cubicBezTo>
                        <a:pt x="175016" y="17679"/>
                        <a:pt x="157765" y="33223"/>
                        <a:pt x="88392" y="33223"/>
                      </a:cubicBezTo>
                      <a:cubicBezTo>
                        <a:pt x="19019" y="33223"/>
                        <a:pt x="1768" y="17679"/>
                        <a:pt x="183" y="0"/>
                      </a:cubicBezTo>
                      <a:cubicBezTo>
                        <a:pt x="122" y="1158"/>
                        <a:pt x="0" y="2317"/>
                        <a:pt x="0" y="3536"/>
                      </a:cubicBezTo>
                      <a:cubicBezTo>
                        <a:pt x="0" y="26335"/>
                        <a:pt x="0" y="51572"/>
                        <a:pt x="88392" y="51572"/>
                      </a:cubicBezTo>
                      <a:cubicBezTo>
                        <a:pt x="176784" y="51572"/>
                        <a:pt x="176784" y="26335"/>
                        <a:pt x="176784" y="3536"/>
                      </a:cubicBezTo>
                      <a:cubicBezTo>
                        <a:pt x="176784" y="2317"/>
                        <a:pt x="176662" y="1158"/>
                        <a:pt x="176601" y="0"/>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041" name="Graphic 3">
                <a:extLst>
                  <a:ext uri="{FF2B5EF4-FFF2-40B4-BE49-F238E27FC236}">
                    <a16:creationId xmlns:a16="http://schemas.microsoft.com/office/drawing/2014/main" id="{FA394873-D4A1-4495-AB14-F7B57E2F3544}"/>
                  </a:ext>
                </a:extLst>
              </p:cNvPr>
              <p:cNvGrpSpPr/>
              <p:nvPr/>
            </p:nvGrpSpPr>
            <p:grpSpPr>
              <a:xfrm>
                <a:off x="6639945" y="3052267"/>
                <a:ext cx="176784" cy="109362"/>
                <a:chOff x="6639945" y="3052267"/>
                <a:chExt cx="176784" cy="109362"/>
              </a:xfrm>
              <a:solidFill>
                <a:schemeClr val="accent1"/>
              </a:solidFill>
            </p:grpSpPr>
            <p:sp>
              <p:nvSpPr>
                <p:cNvPr id="7042" name="Freeform: Shape 7041">
                  <a:extLst>
                    <a:ext uri="{FF2B5EF4-FFF2-40B4-BE49-F238E27FC236}">
                      <a16:creationId xmlns:a16="http://schemas.microsoft.com/office/drawing/2014/main" id="{30944626-284D-487E-9140-271DE926446D}"/>
                    </a:ext>
                  </a:extLst>
                </p:cNvPr>
                <p:cNvSpPr/>
                <p:nvPr/>
              </p:nvSpPr>
              <p:spPr>
                <a:xfrm>
                  <a:off x="6639945" y="3052267"/>
                  <a:ext cx="176784" cy="109362"/>
                </a:xfrm>
                <a:custGeom>
                  <a:avLst/>
                  <a:gdLst>
                    <a:gd name="connsiteX0" fmla="*/ 176784 w 176784"/>
                    <a:gd name="connsiteY0" fmla="*/ 61326 h 109362"/>
                    <a:gd name="connsiteX1" fmla="*/ 88392 w 176784"/>
                    <a:gd name="connsiteY1" fmla="*/ 0 h 109362"/>
                    <a:gd name="connsiteX2" fmla="*/ 0 w 176784"/>
                    <a:gd name="connsiteY2" fmla="*/ 61326 h 109362"/>
                    <a:gd name="connsiteX3" fmla="*/ 88392 w 176784"/>
                    <a:gd name="connsiteY3" fmla="*/ 109362 h 109362"/>
                    <a:gd name="connsiteX4" fmla="*/ 176784 w 176784"/>
                    <a:gd name="connsiteY4" fmla="*/ 61326 h 10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784" h="109362">
                      <a:moveTo>
                        <a:pt x="176784" y="61326"/>
                      </a:moveTo>
                      <a:cubicBezTo>
                        <a:pt x="176784" y="15728"/>
                        <a:pt x="138867" y="0"/>
                        <a:pt x="88392" y="0"/>
                      </a:cubicBezTo>
                      <a:cubicBezTo>
                        <a:pt x="37917" y="0"/>
                        <a:pt x="0" y="15789"/>
                        <a:pt x="0" y="61326"/>
                      </a:cubicBezTo>
                      <a:cubicBezTo>
                        <a:pt x="0" y="84125"/>
                        <a:pt x="0" y="109362"/>
                        <a:pt x="88392" y="109362"/>
                      </a:cubicBezTo>
                      <a:cubicBezTo>
                        <a:pt x="176784" y="109362"/>
                        <a:pt x="176784" y="84125"/>
                        <a:pt x="176784" y="61326"/>
                      </a:cubicBezTo>
                      <a:close/>
                    </a:path>
                  </a:pathLst>
                </a:custGeom>
                <a:solidFill>
                  <a:srgbClr val="221F1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43" name="Freeform: Shape 7042">
                  <a:extLst>
                    <a:ext uri="{FF2B5EF4-FFF2-40B4-BE49-F238E27FC236}">
                      <a16:creationId xmlns:a16="http://schemas.microsoft.com/office/drawing/2014/main" id="{91E777C9-7315-42C3-96F0-D917E73CD83B}"/>
                    </a:ext>
                  </a:extLst>
                </p:cNvPr>
                <p:cNvSpPr/>
                <p:nvPr/>
              </p:nvSpPr>
              <p:spPr>
                <a:xfrm>
                  <a:off x="6639945" y="3110057"/>
                  <a:ext cx="176784" cy="51572"/>
                </a:xfrm>
                <a:custGeom>
                  <a:avLst/>
                  <a:gdLst>
                    <a:gd name="connsiteX0" fmla="*/ 183 w 176784"/>
                    <a:gd name="connsiteY0" fmla="*/ 0 h 51572"/>
                    <a:gd name="connsiteX1" fmla="*/ 88392 w 176784"/>
                    <a:gd name="connsiteY1" fmla="*/ 33223 h 51572"/>
                    <a:gd name="connsiteX2" fmla="*/ 176601 w 176784"/>
                    <a:gd name="connsiteY2" fmla="*/ 0 h 51572"/>
                    <a:gd name="connsiteX3" fmla="*/ 176784 w 176784"/>
                    <a:gd name="connsiteY3" fmla="*/ 3536 h 51572"/>
                    <a:gd name="connsiteX4" fmla="*/ 88392 w 176784"/>
                    <a:gd name="connsiteY4" fmla="*/ 51572 h 51572"/>
                    <a:gd name="connsiteX5" fmla="*/ 0 w 176784"/>
                    <a:gd name="connsiteY5" fmla="*/ 3536 h 51572"/>
                    <a:gd name="connsiteX6" fmla="*/ 183 w 176784"/>
                    <a:gd name="connsiteY6" fmla="*/ 0 h 5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784" h="51572">
                      <a:moveTo>
                        <a:pt x="183" y="0"/>
                      </a:moveTo>
                      <a:cubicBezTo>
                        <a:pt x="1768" y="17679"/>
                        <a:pt x="19019" y="33223"/>
                        <a:pt x="88392" y="33223"/>
                      </a:cubicBezTo>
                      <a:cubicBezTo>
                        <a:pt x="157765" y="33223"/>
                        <a:pt x="175016" y="17679"/>
                        <a:pt x="176601" y="0"/>
                      </a:cubicBezTo>
                      <a:cubicBezTo>
                        <a:pt x="176662" y="1158"/>
                        <a:pt x="176784" y="2317"/>
                        <a:pt x="176784" y="3536"/>
                      </a:cubicBezTo>
                      <a:cubicBezTo>
                        <a:pt x="176784" y="26335"/>
                        <a:pt x="176784" y="51572"/>
                        <a:pt x="88392" y="51572"/>
                      </a:cubicBezTo>
                      <a:cubicBezTo>
                        <a:pt x="0" y="51572"/>
                        <a:pt x="0" y="26335"/>
                        <a:pt x="0" y="3536"/>
                      </a:cubicBezTo>
                      <a:cubicBezTo>
                        <a:pt x="0" y="2317"/>
                        <a:pt x="122" y="1158"/>
                        <a:pt x="183" y="0"/>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6988" name="Graphic 3">
              <a:extLst>
                <a:ext uri="{FF2B5EF4-FFF2-40B4-BE49-F238E27FC236}">
                  <a16:creationId xmlns:a16="http://schemas.microsoft.com/office/drawing/2014/main" id="{D6D910F3-F22A-4A18-9472-C483154A760F}"/>
                </a:ext>
              </a:extLst>
            </p:cNvPr>
            <p:cNvGrpSpPr/>
            <p:nvPr/>
          </p:nvGrpSpPr>
          <p:grpSpPr>
            <a:xfrm>
              <a:off x="10866414" y="3068172"/>
              <a:ext cx="528719" cy="977143"/>
              <a:chOff x="6672764" y="1104595"/>
              <a:chExt cx="377381" cy="742675"/>
            </a:xfrm>
            <a:solidFill>
              <a:schemeClr val="accent1"/>
            </a:solidFill>
          </p:grpSpPr>
          <p:sp>
            <p:nvSpPr>
              <p:cNvPr id="7033" name="Freeform: Shape 7032">
                <a:extLst>
                  <a:ext uri="{FF2B5EF4-FFF2-40B4-BE49-F238E27FC236}">
                    <a16:creationId xmlns:a16="http://schemas.microsoft.com/office/drawing/2014/main" id="{6A2CFF1A-952F-451D-BCD0-EC44A553B4DA}"/>
                  </a:ext>
                </a:extLst>
              </p:cNvPr>
              <p:cNvSpPr/>
              <p:nvPr/>
            </p:nvSpPr>
            <p:spPr>
              <a:xfrm>
                <a:off x="6672764" y="1120322"/>
                <a:ext cx="377381" cy="726948"/>
              </a:xfrm>
              <a:custGeom>
                <a:avLst/>
                <a:gdLst>
                  <a:gd name="connsiteX0" fmla="*/ 283808 w 377381"/>
                  <a:gd name="connsiteY0" fmla="*/ 0 h 726948"/>
                  <a:gd name="connsiteX1" fmla="*/ 278383 w 377381"/>
                  <a:gd name="connsiteY1" fmla="*/ 20422 h 726948"/>
                  <a:gd name="connsiteX2" fmla="*/ 187613 w 377381"/>
                  <a:gd name="connsiteY2" fmla="*/ 91440 h 726948"/>
                  <a:gd name="connsiteX3" fmla="*/ 90687 w 377381"/>
                  <a:gd name="connsiteY3" fmla="*/ 11034 h 726948"/>
                  <a:gd name="connsiteX4" fmla="*/ 87761 w 377381"/>
                  <a:gd name="connsiteY4" fmla="*/ 0 h 726948"/>
                  <a:gd name="connsiteX5" fmla="*/ 5282 w 377381"/>
                  <a:gd name="connsiteY5" fmla="*/ 417393 h 726948"/>
                  <a:gd name="connsiteX6" fmla="*/ 4550 w 377381"/>
                  <a:gd name="connsiteY6" fmla="*/ 726887 h 726948"/>
                  <a:gd name="connsiteX7" fmla="*/ 186089 w 377381"/>
                  <a:gd name="connsiteY7" fmla="*/ 726948 h 726948"/>
                  <a:gd name="connsiteX8" fmla="*/ 377382 w 377381"/>
                  <a:gd name="connsiteY8" fmla="*/ 726887 h 726948"/>
                  <a:gd name="connsiteX9" fmla="*/ 372383 w 377381"/>
                  <a:gd name="connsiteY9" fmla="*/ 417393 h 726948"/>
                  <a:gd name="connsiteX10" fmla="*/ 283808 w 377381"/>
                  <a:gd name="connsiteY10" fmla="*/ 0 h 72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381" h="726948">
                    <a:moveTo>
                      <a:pt x="283808" y="0"/>
                    </a:moveTo>
                    <a:lnTo>
                      <a:pt x="278383" y="20422"/>
                    </a:lnTo>
                    <a:cubicBezTo>
                      <a:pt x="268995" y="47366"/>
                      <a:pt x="244855" y="91440"/>
                      <a:pt x="187613" y="91440"/>
                    </a:cubicBezTo>
                    <a:cubicBezTo>
                      <a:pt x="122995" y="91440"/>
                      <a:pt x="98368" y="35357"/>
                      <a:pt x="90687" y="11034"/>
                    </a:cubicBezTo>
                    <a:lnTo>
                      <a:pt x="87761" y="0"/>
                    </a:lnTo>
                    <a:cubicBezTo>
                      <a:pt x="-31233" y="44684"/>
                      <a:pt x="5282" y="417393"/>
                      <a:pt x="5282" y="417393"/>
                    </a:cubicBezTo>
                    <a:lnTo>
                      <a:pt x="4550" y="726887"/>
                    </a:lnTo>
                    <a:lnTo>
                      <a:pt x="186089" y="726948"/>
                    </a:lnTo>
                    <a:lnTo>
                      <a:pt x="377382" y="726887"/>
                    </a:lnTo>
                    <a:lnTo>
                      <a:pt x="372383" y="417393"/>
                    </a:lnTo>
                    <a:cubicBezTo>
                      <a:pt x="372383" y="417393"/>
                      <a:pt x="402802" y="44745"/>
                      <a:pt x="283808" y="0"/>
                    </a:cubicBezTo>
                    <a:close/>
                  </a:path>
                </a:pathLst>
              </a:custGeom>
              <a:solidFill>
                <a:srgbClr val="A4D8E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4" name="Freeform: Shape 7033">
                <a:extLst>
                  <a:ext uri="{FF2B5EF4-FFF2-40B4-BE49-F238E27FC236}">
                    <a16:creationId xmlns:a16="http://schemas.microsoft.com/office/drawing/2014/main" id="{4E9CF31A-68C4-41CE-B907-97C3F3CCE6D6}"/>
                  </a:ext>
                </a:extLst>
              </p:cNvPr>
              <p:cNvSpPr/>
              <p:nvPr/>
            </p:nvSpPr>
            <p:spPr>
              <a:xfrm>
                <a:off x="6823313" y="1172931"/>
                <a:ext cx="70408" cy="55656"/>
              </a:xfrm>
              <a:custGeom>
                <a:avLst/>
                <a:gdLst>
                  <a:gd name="connsiteX0" fmla="*/ 70409 w 70408"/>
                  <a:gd name="connsiteY0" fmla="*/ 28773 h 55656"/>
                  <a:gd name="connsiteX1" fmla="*/ 56388 w 70408"/>
                  <a:gd name="connsiteY1" fmla="*/ 55656 h 55656"/>
                  <a:gd name="connsiteX2" fmla="*/ 13655 w 70408"/>
                  <a:gd name="connsiteY2" fmla="*/ 55656 h 55656"/>
                  <a:gd name="connsiteX3" fmla="*/ 0 w 70408"/>
                  <a:gd name="connsiteY3" fmla="*/ 28773 h 55656"/>
                  <a:gd name="connsiteX4" fmla="*/ 35235 w 70408"/>
                  <a:gd name="connsiteY4" fmla="*/ 0 h 5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08" h="55656">
                    <a:moveTo>
                      <a:pt x="70409" y="28773"/>
                    </a:moveTo>
                    <a:lnTo>
                      <a:pt x="56388" y="55656"/>
                    </a:lnTo>
                    <a:lnTo>
                      <a:pt x="13655" y="55656"/>
                    </a:lnTo>
                    <a:lnTo>
                      <a:pt x="0" y="28773"/>
                    </a:lnTo>
                    <a:lnTo>
                      <a:pt x="35235" y="0"/>
                    </a:lnTo>
                    <a:close/>
                  </a:path>
                </a:pathLst>
              </a:custGeom>
              <a:solidFill>
                <a:srgbClr val="383643"/>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5" name="Freeform: Shape 7034">
                <a:extLst>
                  <a:ext uri="{FF2B5EF4-FFF2-40B4-BE49-F238E27FC236}">
                    <a16:creationId xmlns:a16="http://schemas.microsoft.com/office/drawing/2014/main" id="{FB43CAC5-AC82-420C-A6A2-3E0AC2240981}"/>
                  </a:ext>
                </a:extLst>
              </p:cNvPr>
              <p:cNvSpPr/>
              <p:nvPr/>
            </p:nvSpPr>
            <p:spPr>
              <a:xfrm>
                <a:off x="6736628" y="1104595"/>
                <a:ext cx="121920" cy="115702"/>
              </a:xfrm>
              <a:custGeom>
                <a:avLst/>
                <a:gdLst>
                  <a:gd name="connsiteX0" fmla="*/ 121920 w 121920"/>
                  <a:gd name="connsiteY0" fmla="*/ 68336 h 115702"/>
                  <a:gd name="connsiteX1" fmla="*/ 76931 w 121920"/>
                  <a:gd name="connsiteY1" fmla="*/ 115702 h 115702"/>
                  <a:gd name="connsiteX2" fmla="*/ 0 w 121920"/>
                  <a:gd name="connsiteY2" fmla="*/ 23896 h 115702"/>
                  <a:gd name="connsiteX3" fmla="*/ 48036 w 121920"/>
                  <a:gd name="connsiteY3" fmla="*/ 0 h 115702"/>
                  <a:gd name="connsiteX4" fmla="*/ 66080 w 121920"/>
                  <a:gd name="connsiteY4" fmla="*/ 16703 h 115702"/>
                  <a:gd name="connsiteX5" fmla="*/ 121920 w 121920"/>
                  <a:gd name="connsiteY5" fmla="*/ 68336 h 11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 h="115702">
                    <a:moveTo>
                      <a:pt x="121920" y="68336"/>
                    </a:moveTo>
                    <a:lnTo>
                      <a:pt x="76931" y="115702"/>
                    </a:lnTo>
                    <a:lnTo>
                      <a:pt x="0" y="23896"/>
                    </a:lnTo>
                    <a:cubicBezTo>
                      <a:pt x="122" y="23835"/>
                      <a:pt x="48036" y="0"/>
                      <a:pt x="48036" y="0"/>
                    </a:cubicBezTo>
                    <a:lnTo>
                      <a:pt x="66080" y="16703"/>
                    </a:lnTo>
                    <a:lnTo>
                      <a:pt x="121920" y="68336"/>
                    </a:lnTo>
                    <a:close/>
                  </a:path>
                </a:pathLst>
              </a:custGeom>
              <a:solidFill>
                <a:srgbClr val="85CBE7"/>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6" name="Freeform: Shape 7035">
                <a:extLst>
                  <a:ext uri="{FF2B5EF4-FFF2-40B4-BE49-F238E27FC236}">
                    <a16:creationId xmlns:a16="http://schemas.microsoft.com/office/drawing/2014/main" id="{BB94F342-67D9-4C30-A35D-9C53F51BA39A}"/>
                  </a:ext>
                </a:extLst>
              </p:cNvPr>
              <p:cNvSpPr/>
              <p:nvPr/>
            </p:nvSpPr>
            <p:spPr>
              <a:xfrm>
                <a:off x="6858548" y="1104595"/>
                <a:ext cx="121920" cy="115702"/>
              </a:xfrm>
              <a:custGeom>
                <a:avLst/>
                <a:gdLst>
                  <a:gd name="connsiteX0" fmla="*/ 73944 w 121920"/>
                  <a:gd name="connsiteY0" fmla="*/ 0 h 115702"/>
                  <a:gd name="connsiteX1" fmla="*/ 0 w 121920"/>
                  <a:gd name="connsiteY1" fmla="*/ 68336 h 115702"/>
                  <a:gd name="connsiteX2" fmla="*/ 44988 w 121920"/>
                  <a:gd name="connsiteY2" fmla="*/ 115702 h 115702"/>
                  <a:gd name="connsiteX3" fmla="*/ 121920 w 121920"/>
                  <a:gd name="connsiteY3" fmla="*/ 23896 h 115702"/>
                </a:gdLst>
                <a:ahLst/>
                <a:cxnLst>
                  <a:cxn ang="0">
                    <a:pos x="connsiteX0" y="connsiteY0"/>
                  </a:cxn>
                  <a:cxn ang="0">
                    <a:pos x="connsiteX1" y="connsiteY1"/>
                  </a:cxn>
                  <a:cxn ang="0">
                    <a:pos x="connsiteX2" y="connsiteY2"/>
                  </a:cxn>
                  <a:cxn ang="0">
                    <a:pos x="connsiteX3" y="connsiteY3"/>
                  </a:cxn>
                </a:cxnLst>
                <a:rect l="l" t="t" r="r" b="b"/>
                <a:pathLst>
                  <a:path w="121920" h="115702">
                    <a:moveTo>
                      <a:pt x="73944" y="0"/>
                    </a:moveTo>
                    <a:lnTo>
                      <a:pt x="0" y="68336"/>
                    </a:lnTo>
                    <a:lnTo>
                      <a:pt x="44988" y="115702"/>
                    </a:lnTo>
                    <a:lnTo>
                      <a:pt x="121920" y="23896"/>
                    </a:lnTo>
                    <a:close/>
                  </a:path>
                </a:pathLst>
              </a:custGeom>
              <a:solidFill>
                <a:srgbClr val="85CBE7"/>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7" name="Freeform: Shape 7036">
                <a:extLst>
                  <a:ext uri="{FF2B5EF4-FFF2-40B4-BE49-F238E27FC236}">
                    <a16:creationId xmlns:a16="http://schemas.microsoft.com/office/drawing/2014/main" id="{0575930C-0C93-4E3E-8D57-A5D808F0D1C2}"/>
                  </a:ext>
                </a:extLst>
              </p:cNvPr>
              <p:cNvSpPr/>
              <p:nvPr/>
            </p:nvSpPr>
            <p:spPr>
              <a:xfrm>
                <a:off x="6819961" y="1235049"/>
                <a:ext cx="77114" cy="602711"/>
              </a:xfrm>
              <a:custGeom>
                <a:avLst/>
                <a:gdLst>
                  <a:gd name="connsiteX0" fmla="*/ 59741 w 77114"/>
                  <a:gd name="connsiteY0" fmla="*/ 0 h 602711"/>
                  <a:gd name="connsiteX1" fmla="*/ 77114 w 77114"/>
                  <a:gd name="connsiteY1" fmla="*/ 560101 h 602711"/>
                  <a:gd name="connsiteX2" fmla="*/ 38588 w 77114"/>
                  <a:gd name="connsiteY2" fmla="*/ 602712 h 602711"/>
                  <a:gd name="connsiteX3" fmla="*/ 0 w 77114"/>
                  <a:gd name="connsiteY3" fmla="*/ 560101 h 602711"/>
                  <a:gd name="connsiteX4" fmla="*/ 17008 w 77114"/>
                  <a:gd name="connsiteY4" fmla="*/ 0 h 60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14" h="602711">
                    <a:moveTo>
                      <a:pt x="59741" y="0"/>
                    </a:moveTo>
                    <a:lnTo>
                      <a:pt x="77114" y="560101"/>
                    </a:lnTo>
                    <a:lnTo>
                      <a:pt x="38588" y="602712"/>
                    </a:lnTo>
                    <a:lnTo>
                      <a:pt x="0" y="560101"/>
                    </a:lnTo>
                    <a:lnTo>
                      <a:pt x="17008" y="0"/>
                    </a:lnTo>
                    <a:close/>
                  </a:path>
                </a:pathLst>
              </a:custGeom>
              <a:solidFill>
                <a:srgbClr val="383643"/>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989" name="Freeform: Shape 6988">
              <a:extLst>
                <a:ext uri="{FF2B5EF4-FFF2-40B4-BE49-F238E27FC236}">
                  <a16:creationId xmlns:a16="http://schemas.microsoft.com/office/drawing/2014/main" id="{62298653-11BD-4EE5-8C94-701A6B730156}"/>
                </a:ext>
              </a:extLst>
            </p:cNvPr>
            <p:cNvSpPr/>
            <p:nvPr/>
          </p:nvSpPr>
          <p:spPr>
            <a:xfrm>
              <a:off x="10662573" y="3082048"/>
              <a:ext cx="327564" cy="1557833"/>
            </a:xfrm>
            <a:custGeom>
              <a:avLst/>
              <a:gdLst>
                <a:gd name="connsiteX0" fmla="*/ 233743 w 233803"/>
                <a:gd name="connsiteY0" fmla="*/ 396850 h 1184026"/>
                <a:gd name="connsiteX1" fmla="*/ 233255 w 233803"/>
                <a:gd name="connsiteY1" fmla="*/ 0 h 1184026"/>
                <a:gd name="connsiteX2" fmla="*/ 2521 w 233803"/>
                <a:gd name="connsiteY2" fmla="*/ 113020 h 1184026"/>
                <a:gd name="connsiteX3" fmla="*/ 77624 w 233803"/>
                <a:gd name="connsiteY3" fmla="*/ 325892 h 1184026"/>
                <a:gd name="connsiteX4" fmla="*/ 44584 w 233803"/>
                <a:gd name="connsiteY4" fmla="*/ 1184026 h 1184026"/>
                <a:gd name="connsiteX5" fmla="*/ 233804 w 233803"/>
                <a:gd name="connsiteY5" fmla="*/ 1184026 h 1184026"/>
                <a:gd name="connsiteX6" fmla="*/ 233804 w 233803"/>
                <a:gd name="connsiteY6" fmla="*/ 1098682 h 1184026"/>
                <a:gd name="connsiteX7" fmla="*/ 233804 w 233803"/>
                <a:gd name="connsiteY7" fmla="*/ 396850 h 118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803" h="1184026">
                  <a:moveTo>
                    <a:pt x="233743" y="396850"/>
                  </a:moveTo>
                  <a:cubicBezTo>
                    <a:pt x="233743" y="396850"/>
                    <a:pt x="233255" y="0"/>
                    <a:pt x="233255" y="0"/>
                  </a:cubicBezTo>
                  <a:cubicBezTo>
                    <a:pt x="114261" y="44684"/>
                    <a:pt x="14165" y="44745"/>
                    <a:pt x="2521" y="113020"/>
                  </a:cubicBezTo>
                  <a:cubicBezTo>
                    <a:pt x="-16376" y="223418"/>
                    <a:pt x="77137" y="326502"/>
                    <a:pt x="77624" y="325892"/>
                  </a:cubicBezTo>
                  <a:cubicBezTo>
                    <a:pt x="77624" y="325892"/>
                    <a:pt x="52265" y="1065886"/>
                    <a:pt x="44584" y="1184026"/>
                  </a:cubicBezTo>
                  <a:lnTo>
                    <a:pt x="233804" y="1184026"/>
                  </a:lnTo>
                  <a:lnTo>
                    <a:pt x="233804" y="1098682"/>
                  </a:lnTo>
                  <a:lnTo>
                    <a:pt x="233804" y="39685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990" name="Graphic 3">
              <a:extLst>
                <a:ext uri="{FF2B5EF4-FFF2-40B4-BE49-F238E27FC236}">
                  <a16:creationId xmlns:a16="http://schemas.microsoft.com/office/drawing/2014/main" id="{185B5F79-30B9-436D-946E-C9EADE9D7853}"/>
                </a:ext>
              </a:extLst>
            </p:cNvPr>
            <p:cNvGrpSpPr/>
            <p:nvPr/>
          </p:nvGrpSpPr>
          <p:grpSpPr>
            <a:xfrm>
              <a:off x="10763190" y="4078522"/>
              <a:ext cx="214051" cy="249438"/>
              <a:chOff x="6599086" y="1872508"/>
              <a:chExt cx="152782" cy="189585"/>
            </a:xfrm>
            <a:solidFill>
              <a:schemeClr val="accent1"/>
            </a:solidFill>
          </p:grpSpPr>
          <p:sp>
            <p:nvSpPr>
              <p:cNvPr id="7031" name="Freeform: Shape 7030">
                <a:extLst>
                  <a:ext uri="{FF2B5EF4-FFF2-40B4-BE49-F238E27FC236}">
                    <a16:creationId xmlns:a16="http://schemas.microsoft.com/office/drawing/2014/main" id="{3CCC5F5D-426F-4FE2-9CFF-DEC32D9ACE7D}"/>
                  </a:ext>
                </a:extLst>
              </p:cNvPr>
              <p:cNvSpPr/>
              <p:nvPr/>
            </p:nvSpPr>
            <p:spPr>
              <a:xfrm>
                <a:off x="6599285" y="1872508"/>
                <a:ext cx="152583" cy="189585"/>
              </a:xfrm>
              <a:custGeom>
                <a:avLst/>
                <a:gdLst>
                  <a:gd name="connsiteX0" fmla="*/ 152583 w 152583"/>
                  <a:gd name="connsiteY0" fmla="*/ 153131 h 189585"/>
                  <a:gd name="connsiteX1" fmla="*/ 40965 w 152583"/>
                  <a:gd name="connsiteY1" fmla="*/ 189585 h 189585"/>
                  <a:gd name="connsiteX2" fmla="*/ 0 w 152583"/>
                  <a:gd name="connsiteY2" fmla="*/ 36454 h 189585"/>
                  <a:gd name="connsiteX3" fmla="*/ 135941 w 152583"/>
                  <a:gd name="connsiteY3" fmla="*/ 0 h 189585"/>
                </a:gdLst>
                <a:ahLst/>
                <a:cxnLst>
                  <a:cxn ang="0">
                    <a:pos x="connsiteX0" y="connsiteY0"/>
                  </a:cxn>
                  <a:cxn ang="0">
                    <a:pos x="connsiteX1" y="connsiteY1"/>
                  </a:cxn>
                  <a:cxn ang="0">
                    <a:pos x="connsiteX2" y="connsiteY2"/>
                  </a:cxn>
                  <a:cxn ang="0">
                    <a:pos x="connsiteX3" y="connsiteY3"/>
                  </a:cxn>
                </a:cxnLst>
                <a:rect l="l" t="t" r="r" b="b"/>
                <a:pathLst>
                  <a:path w="152583" h="189585">
                    <a:moveTo>
                      <a:pt x="152583" y="153131"/>
                    </a:moveTo>
                    <a:lnTo>
                      <a:pt x="40965" y="189585"/>
                    </a:lnTo>
                    <a:lnTo>
                      <a:pt x="0" y="36454"/>
                    </a:lnTo>
                    <a:lnTo>
                      <a:pt x="135941" y="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2" name="Freeform: Shape 7031">
                <a:extLst>
                  <a:ext uri="{FF2B5EF4-FFF2-40B4-BE49-F238E27FC236}">
                    <a16:creationId xmlns:a16="http://schemas.microsoft.com/office/drawing/2014/main" id="{C47C00D3-D569-46CE-9B18-CA18D7CEE531}"/>
                  </a:ext>
                </a:extLst>
              </p:cNvPr>
              <p:cNvSpPr/>
              <p:nvPr/>
            </p:nvSpPr>
            <p:spPr>
              <a:xfrm rot="-899960">
                <a:off x="6598266" y="1890615"/>
                <a:ext cx="140752" cy="12191"/>
              </a:xfrm>
              <a:custGeom>
                <a:avLst/>
                <a:gdLst>
                  <a:gd name="connsiteX0" fmla="*/ 0 w 140752"/>
                  <a:gd name="connsiteY0" fmla="*/ 0 h 12191"/>
                  <a:gd name="connsiteX1" fmla="*/ 140752 w 140752"/>
                  <a:gd name="connsiteY1" fmla="*/ 0 h 12191"/>
                  <a:gd name="connsiteX2" fmla="*/ 140752 w 140752"/>
                  <a:gd name="connsiteY2" fmla="*/ 12192 h 12191"/>
                  <a:gd name="connsiteX3" fmla="*/ 0 w 140752"/>
                  <a:gd name="connsiteY3" fmla="*/ 12192 h 12191"/>
                </a:gdLst>
                <a:ahLst/>
                <a:cxnLst>
                  <a:cxn ang="0">
                    <a:pos x="connsiteX0" y="connsiteY0"/>
                  </a:cxn>
                  <a:cxn ang="0">
                    <a:pos x="connsiteX1" y="connsiteY1"/>
                  </a:cxn>
                  <a:cxn ang="0">
                    <a:pos x="connsiteX2" y="connsiteY2"/>
                  </a:cxn>
                  <a:cxn ang="0">
                    <a:pos x="connsiteX3" y="connsiteY3"/>
                  </a:cxn>
                </a:cxnLst>
                <a:rect l="l" t="t" r="r" b="b"/>
                <a:pathLst>
                  <a:path w="140752" h="12191">
                    <a:moveTo>
                      <a:pt x="0" y="0"/>
                    </a:moveTo>
                    <a:lnTo>
                      <a:pt x="140752" y="0"/>
                    </a:lnTo>
                    <a:lnTo>
                      <a:pt x="140752" y="12192"/>
                    </a:lnTo>
                    <a:lnTo>
                      <a:pt x="0" y="12192"/>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991" name="Freeform: Shape 6990">
              <a:extLst>
                <a:ext uri="{FF2B5EF4-FFF2-40B4-BE49-F238E27FC236}">
                  <a16:creationId xmlns:a16="http://schemas.microsoft.com/office/drawing/2014/main" id="{4D9AD967-5841-4D1F-85DC-A1E02995BCBC}"/>
                </a:ext>
              </a:extLst>
            </p:cNvPr>
            <p:cNvSpPr/>
            <p:nvPr/>
          </p:nvSpPr>
          <p:spPr>
            <a:xfrm>
              <a:off x="10915151" y="3058307"/>
              <a:ext cx="86260" cy="545878"/>
            </a:xfrm>
            <a:custGeom>
              <a:avLst/>
              <a:gdLst>
                <a:gd name="connsiteX0" fmla="*/ 0 w 61569"/>
                <a:gd name="connsiteY0" fmla="*/ 31638 h 414893"/>
                <a:gd name="connsiteX1" fmla="*/ 2438 w 61569"/>
                <a:gd name="connsiteY1" fmla="*/ 101559 h 414893"/>
                <a:gd name="connsiteX2" fmla="*/ 37307 w 61569"/>
                <a:gd name="connsiteY2" fmla="*/ 130271 h 414893"/>
                <a:gd name="connsiteX3" fmla="*/ 10180 w 61569"/>
                <a:gd name="connsiteY3" fmla="*/ 167396 h 414893"/>
                <a:gd name="connsiteX4" fmla="*/ 53462 w 61569"/>
                <a:gd name="connsiteY4" fmla="*/ 414894 h 414893"/>
                <a:gd name="connsiteX5" fmla="*/ 61569 w 61569"/>
                <a:gd name="connsiteY5" fmla="*/ 0 h 41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69" h="414893">
                  <a:moveTo>
                    <a:pt x="0" y="31638"/>
                  </a:moveTo>
                  <a:lnTo>
                    <a:pt x="2438" y="101559"/>
                  </a:lnTo>
                  <a:lnTo>
                    <a:pt x="37307" y="130271"/>
                  </a:lnTo>
                  <a:lnTo>
                    <a:pt x="10180" y="167396"/>
                  </a:lnTo>
                  <a:lnTo>
                    <a:pt x="53462" y="414894"/>
                  </a:lnTo>
                  <a:lnTo>
                    <a:pt x="61569" y="0"/>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92" name="Freeform: Shape 6991">
              <a:extLst>
                <a:ext uri="{FF2B5EF4-FFF2-40B4-BE49-F238E27FC236}">
                  <a16:creationId xmlns:a16="http://schemas.microsoft.com/office/drawing/2014/main" id="{75278E22-487A-4172-B368-027D682F29A0}"/>
                </a:ext>
              </a:extLst>
            </p:cNvPr>
            <p:cNvSpPr/>
            <p:nvPr/>
          </p:nvSpPr>
          <p:spPr>
            <a:xfrm>
              <a:off x="11263267" y="3082048"/>
              <a:ext cx="327564" cy="1557833"/>
            </a:xfrm>
            <a:custGeom>
              <a:avLst/>
              <a:gdLst>
                <a:gd name="connsiteX0" fmla="*/ 61 w 233803"/>
                <a:gd name="connsiteY0" fmla="*/ 396850 h 1184026"/>
                <a:gd name="connsiteX1" fmla="*/ 548 w 233803"/>
                <a:gd name="connsiteY1" fmla="*/ 0 h 1184026"/>
                <a:gd name="connsiteX2" fmla="*/ 231282 w 233803"/>
                <a:gd name="connsiteY2" fmla="*/ 113020 h 1184026"/>
                <a:gd name="connsiteX3" fmla="*/ 156179 w 233803"/>
                <a:gd name="connsiteY3" fmla="*/ 325892 h 1184026"/>
                <a:gd name="connsiteX4" fmla="*/ 189220 w 233803"/>
                <a:gd name="connsiteY4" fmla="*/ 1184026 h 1184026"/>
                <a:gd name="connsiteX5" fmla="*/ 0 w 233803"/>
                <a:gd name="connsiteY5" fmla="*/ 1184026 h 1184026"/>
                <a:gd name="connsiteX6" fmla="*/ 0 w 233803"/>
                <a:gd name="connsiteY6" fmla="*/ 1098682 h 1184026"/>
                <a:gd name="connsiteX7" fmla="*/ 0 w 233803"/>
                <a:gd name="connsiteY7" fmla="*/ 396850 h 118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803" h="1184026">
                  <a:moveTo>
                    <a:pt x="61" y="396850"/>
                  </a:moveTo>
                  <a:cubicBezTo>
                    <a:pt x="61" y="396850"/>
                    <a:pt x="548" y="0"/>
                    <a:pt x="548" y="0"/>
                  </a:cubicBezTo>
                  <a:cubicBezTo>
                    <a:pt x="119542" y="44684"/>
                    <a:pt x="219639" y="44745"/>
                    <a:pt x="231282" y="113020"/>
                  </a:cubicBezTo>
                  <a:cubicBezTo>
                    <a:pt x="250180" y="223418"/>
                    <a:pt x="156667" y="326502"/>
                    <a:pt x="156179" y="325892"/>
                  </a:cubicBezTo>
                  <a:cubicBezTo>
                    <a:pt x="156179" y="325892"/>
                    <a:pt x="181539" y="1065886"/>
                    <a:pt x="189220" y="1184026"/>
                  </a:cubicBezTo>
                  <a:lnTo>
                    <a:pt x="0" y="1184026"/>
                  </a:lnTo>
                  <a:lnTo>
                    <a:pt x="0" y="1098682"/>
                  </a:lnTo>
                  <a:lnTo>
                    <a:pt x="0" y="39685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993" name="Graphic 3">
              <a:extLst>
                <a:ext uri="{FF2B5EF4-FFF2-40B4-BE49-F238E27FC236}">
                  <a16:creationId xmlns:a16="http://schemas.microsoft.com/office/drawing/2014/main" id="{56857EC2-70ED-4661-A45B-58F86F604C8E}"/>
                </a:ext>
              </a:extLst>
            </p:cNvPr>
            <p:cNvGrpSpPr/>
            <p:nvPr/>
          </p:nvGrpSpPr>
          <p:grpSpPr>
            <a:xfrm>
              <a:off x="11291920" y="3228904"/>
              <a:ext cx="383483" cy="1030296"/>
              <a:chOff x="6976475" y="1226759"/>
              <a:chExt cx="273716" cy="783073"/>
            </a:xfrm>
            <a:solidFill>
              <a:schemeClr val="accent1"/>
            </a:solidFill>
          </p:grpSpPr>
          <p:grpSp>
            <p:nvGrpSpPr>
              <p:cNvPr id="7026" name="Graphic 3">
                <a:extLst>
                  <a:ext uri="{FF2B5EF4-FFF2-40B4-BE49-F238E27FC236}">
                    <a16:creationId xmlns:a16="http://schemas.microsoft.com/office/drawing/2014/main" id="{BA26A738-B764-4B28-9212-89D287063FD6}"/>
                  </a:ext>
                </a:extLst>
              </p:cNvPr>
              <p:cNvGrpSpPr/>
              <p:nvPr/>
            </p:nvGrpSpPr>
            <p:grpSpPr>
              <a:xfrm>
                <a:off x="6976475" y="1827397"/>
                <a:ext cx="151881" cy="182434"/>
                <a:chOff x="6976475" y="1827397"/>
                <a:chExt cx="151881" cy="182434"/>
              </a:xfrm>
              <a:solidFill>
                <a:srgbClr val="F7CDB9"/>
              </a:solidFill>
            </p:grpSpPr>
            <p:sp>
              <p:nvSpPr>
                <p:cNvPr id="7029" name="Freeform: Shape 7028">
                  <a:extLst>
                    <a:ext uri="{FF2B5EF4-FFF2-40B4-BE49-F238E27FC236}">
                      <a16:creationId xmlns:a16="http://schemas.microsoft.com/office/drawing/2014/main" id="{6144829C-1ABB-4CD3-B85D-F495B5531524}"/>
                    </a:ext>
                  </a:extLst>
                </p:cNvPr>
                <p:cNvSpPr/>
                <p:nvPr/>
              </p:nvSpPr>
              <p:spPr>
                <a:xfrm>
                  <a:off x="6987532" y="1827397"/>
                  <a:ext cx="140824" cy="182434"/>
                </a:xfrm>
                <a:custGeom>
                  <a:avLst/>
                  <a:gdLst>
                    <a:gd name="connsiteX0" fmla="*/ 4214 w 140824"/>
                    <a:gd name="connsiteY0" fmla="*/ 117409 h 182434"/>
                    <a:gd name="connsiteX1" fmla="*/ 57615 w 140824"/>
                    <a:gd name="connsiteY1" fmla="*/ 0 h 182434"/>
                    <a:gd name="connsiteX2" fmla="*/ 140825 w 140824"/>
                    <a:gd name="connsiteY2" fmla="*/ 37856 h 182434"/>
                    <a:gd name="connsiteX3" fmla="*/ 87424 w 140824"/>
                    <a:gd name="connsiteY3" fmla="*/ 155265 h 182434"/>
                    <a:gd name="connsiteX4" fmla="*/ 26708 w 140824"/>
                    <a:gd name="connsiteY4" fmla="*/ 178369 h 182434"/>
                    <a:gd name="connsiteX5" fmla="*/ 4214 w 140824"/>
                    <a:gd name="connsiteY5" fmla="*/ 117409 h 18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824" h="182434">
                      <a:moveTo>
                        <a:pt x="4214" y="117409"/>
                      </a:moveTo>
                      <a:lnTo>
                        <a:pt x="57615" y="0"/>
                      </a:lnTo>
                      <a:lnTo>
                        <a:pt x="140825" y="37856"/>
                      </a:lnTo>
                      <a:lnTo>
                        <a:pt x="87424" y="155265"/>
                      </a:lnTo>
                      <a:cubicBezTo>
                        <a:pt x="76878" y="178491"/>
                        <a:pt x="49690" y="188793"/>
                        <a:pt x="26708" y="178369"/>
                      </a:cubicBezTo>
                      <a:cubicBezTo>
                        <a:pt x="3726" y="167884"/>
                        <a:pt x="-6393" y="140635"/>
                        <a:pt x="4214" y="117409"/>
                      </a:cubicBez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30" name="Freeform: Shape 7029">
                  <a:extLst>
                    <a:ext uri="{FF2B5EF4-FFF2-40B4-BE49-F238E27FC236}">
                      <a16:creationId xmlns:a16="http://schemas.microsoft.com/office/drawing/2014/main" id="{4C505E86-39D8-4B2E-B4F4-808DE6D8DE59}"/>
                    </a:ext>
                  </a:extLst>
                </p:cNvPr>
                <p:cNvSpPr/>
                <p:nvPr/>
              </p:nvSpPr>
              <p:spPr>
                <a:xfrm>
                  <a:off x="6976475" y="1852339"/>
                  <a:ext cx="78939" cy="80780"/>
                </a:xfrm>
                <a:custGeom>
                  <a:avLst/>
                  <a:gdLst>
                    <a:gd name="connsiteX0" fmla="*/ 1372 w 78939"/>
                    <a:gd name="connsiteY0" fmla="*/ 59122 h 80780"/>
                    <a:gd name="connsiteX1" fmla="*/ 60259 w 78939"/>
                    <a:gd name="connsiteY1" fmla="*/ 418 h 80780"/>
                    <a:gd name="connsiteX2" fmla="*/ 78547 w 78939"/>
                    <a:gd name="connsiteY2" fmla="*/ 11817 h 80780"/>
                    <a:gd name="connsiteX3" fmla="*/ 67148 w 78939"/>
                    <a:gd name="connsiteY3" fmla="*/ 30288 h 80780"/>
                    <a:gd name="connsiteX4" fmla="*/ 62637 w 78939"/>
                    <a:gd name="connsiteY4" fmla="*/ 33032 h 80780"/>
                    <a:gd name="connsiteX5" fmla="*/ 52456 w 78939"/>
                    <a:gd name="connsiteY5" fmla="*/ 40956 h 80780"/>
                    <a:gd name="connsiteX6" fmla="*/ 29109 w 78939"/>
                    <a:gd name="connsiteY6" fmla="*/ 71741 h 80780"/>
                    <a:gd name="connsiteX7" fmla="*/ 8870 w 78939"/>
                    <a:gd name="connsiteY7" fmla="*/ 79422 h 80780"/>
                    <a:gd name="connsiteX8" fmla="*/ 1372 w 78939"/>
                    <a:gd name="connsiteY8" fmla="*/ 59122 h 8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39" h="80780">
                      <a:moveTo>
                        <a:pt x="1372" y="59122"/>
                      </a:moveTo>
                      <a:cubicBezTo>
                        <a:pt x="20025" y="18157"/>
                        <a:pt x="58186" y="906"/>
                        <a:pt x="60259" y="418"/>
                      </a:cubicBezTo>
                      <a:cubicBezTo>
                        <a:pt x="68489" y="-1533"/>
                        <a:pt x="76657" y="3527"/>
                        <a:pt x="78547" y="11817"/>
                      </a:cubicBezTo>
                      <a:cubicBezTo>
                        <a:pt x="80437" y="20047"/>
                        <a:pt x="75316" y="28338"/>
                        <a:pt x="67148" y="30288"/>
                      </a:cubicBezTo>
                      <a:cubicBezTo>
                        <a:pt x="66965" y="30349"/>
                        <a:pt x="65258" y="31264"/>
                        <a:pt x="62637" y="33032"/>
                      </a:cubicBezTo>
                      <a:cubicBezTo>
                        <a:pt x="60015" y="34799"/>
                        <a:pt x="56419" y="37482"/>
                        <a:pt x="52456" y="40956"/>
                      </a:cubicBezTo>
                      <a:cubicBezTo>
                        <a:pt x="44531" y="47906"/>
                        <a:pt x="35205" y="58269"/>
                        <a:pt x="29109" y="71741"/>
                      </a:cubicBezTo>
                      <a:cubicBezTo>
                        <a:pt x="25573" y="79483"/>
                        <a:pt x="16551" y="82897"/>
                        <a:pt x="8870" y="79422"/>
                      </a:cubicBezTo>
                      <a:cubicBezTo>
                        <a:pt x="1250" y="75947"/>
                        <a:pt x="-2103" y="66864"/>
                        <a:pt x="1372" y="59122"/>
                      </a:cubicBez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027" name="Freeform: Shape 7026">
                <a:extLst>
                  <a:ext uri="{FF2B5EF4-FFF2-40B4-BE49-F238E27FC236}">
                    <a16:creationId xmlns:a16="http://schemas.microsoft.com/office/drawing/2014/main" id="{667F5E34-3FAD-4B90-A5E3-AEECD4DE9D3B}"/>
                  </a:ext>
                </a:extLst>
              </p:cNvPr>
              <p:cNvSpPr/>
              <p:nvPr/>
            </p:nvSpPr>
            <p:spPr>
              <a:xfrm>
                <a:off x="7009180" y="1615135"/>
                <a:ext cx="111008" cy="249813"/>
              </a:xfrm>
              <a:custGeom>
                <a:avLst/>
                <a:gdLst>
                  <a:gd name="connsiteX0" fmla="*/ 111008 w 111008"/>
                  <a:gd name="connsiteY0" fmla="*/ 54620 h 249813"/>
                  <a:gd name="connsiteX1" fmla="*/ 22251 w 111008"/>
                  <a:gd name="connsiteY1" fmla="*/ 249814 h 249813"/>
                  <a:gd name="connsiteX2" fmla="*/ 0 w 111008"/>
                  <a:gd name="connsiteY2" fmla="*/ 239695 h 249813"/>
                  <a:gd name="connsiteX3" fmla="*/ 109058 w 111008"/>
                  <a:gd name="connsiteY3" fmla="*/ 0 h 249813"/>
                  <a:gd name="connsiteX4" fmla="*/ 111008 w 111008"/>
                  <a:gd name="connsiteY4" fmla="*/ 54620 h 249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08" h="249813">
                    <a:moveTo>
                      <a:pt x="111008" y="54620"/>
                    </a:moveTo>
                    <a:lnTo>
                      <a:pt x="22251" y="249814"/>
                    </a:lnTo>
                    <a:lnTo>
                      <a:pt x="0" y="239695"/>
                    </a:lnTo>
                    <a:lnTo>
                      <a:pt x="109058" y="0"/>
                    </a:lnTo>
                    <a:cubicBezTo>
                      <a:pt x="109728" y="17373"/>
                      <a:pt x="110338" y="35661"/>
                      <a:pt x="111008" y="54620"/>
                    </a:cubicBez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8" name="Freeform: Shape 7027">
                <a:extLst>
                  <a:ext uri="{FF2B5EF4-FFF2-40B4-BE49-F238E27FC236}">
                    <a16:creationId xmlns:a16="http://schemas.microsoft.com/office/drawing/2014/main" id="{3DD888D5-46B7-42BB-A021-B83BC916D52B}"/>
                  </a:ext>
                </a:extLst>
              </p:cNvPr>
              <p:cNvSpPr/>
              <p:nvPr/>
            </p:nvSpPr>
            <p:spPr>
              <a:xfrm>
                <a:off x="7020336" y="1226759"/>
                <a:ext cx="229855" cy="678545"/>
              </a:xfrm>
              <a:custGeom>
                <a:avLst/>
                <a:gdLst>
                  <a:gd name="connsiteX0" fmla="*/ 99853 w 229855"/>
                  <a:gd name="connsiteY0" fmla="*/ 678546 h 678545"/>
                  <a:gd name="connsiteX1" fmla="*/ 0 w 229855"/>
                  <a:gd name="connsiteY1" fmla="*/ 633131 h 678545"/>
                  <a:gd name="connsiteX2" fmla="*/ 118079 w 229855"/>
                  <a:gd name="connsiteY2" fmla="*/ 373441 h 678545"/>
                  <a:gd name="connsiteX3" fmla="*/ 33650 w 229855"/>
                  <a:gd name="connsiteY3" fmla="*/ 42001 h 678545"/>
                  <a:gd name="connsiteX4" fmla="*/ 166725 w 229855"/>
                  <a:gd name="connsiteY4" fmla="*/ 0 h 678545"/>
                  <a:gd name="connsiteX5" fmla="*/ 229088 w 229855"/>
                  <a:gd name="connsiteY5" fmla="*/ 371673 h 678545"/>
                  <a:gd name="connsiteX6" fmla="*/ 224943 w 229855"/>
                  <a:gd name="connsiteY6" fmla="*/ 403555 h 678545"/>
                  <a:gd name="connsiteX7" fmla="*/ 99853 w 229855"/>
                  <a:gd name="connsiteY7" fmla="*/ 678546 h 67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855" h="678545">
                    <a:moveTo>
                      <a:pt x="99853" y="678546"/>
                    </a:moveTo>
                    <a:lnTo>
                      <a:pt x="0" y="633131"/>
                    </a:lnTo>
                    <a:lnTo>
                      <a:pt x="118079" y="373441"/>
                    </a:lnTo>
                    <a:lnTo>
                      <a:pt x="33650" y="42001"/>
                    </a:lnTo>
                    <a:lnTo>
                      <a:pt x="166725" y="0"/>
                    </a:lnTo>
                    <a:lnTo>
                      <a:pt x="229088" y="371673"/>
                    </a:lnTo>
                    <a:cubicBezTo>
                      <a:pt x="230917" y="382463"/>
                      <a:pt x="229454" y="393558"/>
                      <a:pt x="224943" y="403555"/>
                    </a:cubicBezTo>
                    <a:lnTo>
                      <a:pt x="99853" y="678546"/>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994" name="Graphic 3">
              <a:extLst>
                <a:ext uri="{FF2B5EF4-FFF2-40B4-BE49-F238E27FC236}">
                  <a16:creationId xmlns:a16="http://schemas.microsoft.com/office/drawing/2014/main" id="{A6423D77-FDF2-431E-B3FB-E53DF4B912B7}"/>
                </a:ext>
              </a:extLst>
            </p:cNvPr>
            <p:cNvGrpSpPr/>
            <p:nvPr/>
          </p:nvGrpSpPr>
          <p:grpSpPr>
            <a:xfrm>
              <a:off x="11276078" y="4078522"/>
              <a:ext cx="213856" cy="249438"/>
              <a:chOff x="6965167" y="1872508"/>
              <a:chExt cx="152643" cy="189585"/>
            </a:xfrm>
            <a:solidFill>
              <a:schemeClr val="accent1"/>
            </a:solidFill>
          </p:grpSpPr>
          <p:sp>
            <p:nvSpPr>
              <p:cNvPr id="7024" name="Freeform: Shape 7023">
                <a:extLst>
                  <a:ext uri="{FF2B5EF4-FFF2-40B4-BE49-F238E27FC236}">
                    <a16:creationId xmlns:a16="http://schemas.microsoft.com/office/drawing/2014/main" id="{87D1FFC9-C483-4467-9AC4-F816B2D5B8B4}"/>
                  </a:ext>
                </a:extLst>
              </p:cNvPr>
              <p:cNvSpPr/>
              <p:nvPr/>
            </p:nvSpPr>
            <p:spPr>
              <a:xfrm>
                <a:off x="6965167" y="1872508"/>
                <a:ext cx="152643" cy="189585"/>
              </a:xfrm>
              <a:custGeom>
                <a:avLst/>
                <a:gdLst>
                  <a:gd name="connsiteX0" fmla="*/ 0 w 152643"/>
                  <a:gd name="connsiteY0" fmla="*/ 153131 h 189585"/>
                  <a:gd name="connsiteX1" fmla="*/ 111618 w 152643"/>
                  <a:gd name="connsiteY1" fmla="*/ 189585 h 189585"/>
                  <a:gd name="connsiteX2" fmla="*/ 152644 w 152643"/>
                  <a:gd name="connsiteY2" fmla="*/ 36454 h 189585"/>
                  <a:gd name="connsiteX3" fmla="*/ 16642 w 152643"/>
                  <a:gd name="connsiteY3" fmla="*/ 0 h 189585"/>
                </a:gdLst>
                <a:ahLst/>
                <a:cxnLst>
                  <a:cxn ang="0">
                    <a:pos x="connsiteX0" y="connsiteY0"/>
                  </a:cxn>
                  <a:cxn ang="0">
                    <a:pos x="connsiteX1" y="connsiteY1"/>
                  </a:cxn>
                  <a:cxn ang="0">
                    <a:pos x="connsiteX2" y="connsiteY2"/>
                  </a:cxn>
                  <a:cxn ang="0">
                    <a:pos x="connsiteX3" y="connsiteY3"/>
                  </a:cxn>
                </a:cxnLst>
                <a:rect l="l" t="t" r="r" b="b"/>
                <a:pathLst>
                  <a:path w="152643" h="189585">
                    <a:moveTo>
                      <a:pt x="0" y="153131"/>
                    </a:moveTo>
                    <a:lnTo>
                      <a:pt x="111618" y="189585"/>
                    </a:lnTo>
                    <a:lnTo>
                      <a:pt x="152644" y="36454"/>
                    </a:lnTo>
                    <a:lnTo>
                      <a:pt x="16642" y="0"/>
                    </a:ln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5" name="Freeform: Shape 7024">
                <a:extLst>
                  <a:ext uri="{FF2B5EF4-FFF2-40B4-BE49-F238E27FC236}">
                    <a16:creationId xmlns:a16="http://schemas.microsoft.com/office/drawing/2014/main" id="{9A49E2FD-3EBB-4BF4-9E53-CBF01869B126}"/>
                  </a:ext>
                </a:extLst>
              </p:cNvPr>
              <p:cNvSpPr/>
              <p:nvPr/>
            </p:nvSpPr>
            <p:spPr>
              <a:xfrm rot="-4500040">
                <a:off x="7041923" y="1826397"/>
                <a:ext cx="12191" cy="140752"/>
              </a:xfrm>
              <a:custGeom>
                <a:avLst/>
                <a:gdLst>
                  <a:gd name="connsiteX0" fmla="*/ 0 w 12191"/>
                  <a:gd name="connsiteY0" fmla="*/ 0 h 140752"/>
                  <a:gd name="connsiteX1" fmla="*/ 12192 w 12191"/>
                  <a:gd name="connsiteY1" fmla="*/ 0 h 140752"/>
                  <a:gd name="connsiteX2" fmla="*/ 12192 w 12191"/>
                  <a:gd name="connsiteY2" fmla="*/ 140752 h 140752"/>
                  <a:gd name="connsiteX3" fmla="*/ 0 w 12191"/>
                  <a:gd name="connsiteY3" fmla="*/ 140752 h 140752"/>
                </a:gdLst>
                <a:ahLst/>
                <a:cxnLst>
                  <a:cxn ang="0">
                    <a:pos x="connsiteX0" y="connsiteY0"/>
                  </a:cxn>
                  <a:cxn ang="0">
                    <a:pos x="connsiteX1" y="connsiteY1"/>
                  </a:cxn>
                  <a:cxn ang="0">
                    <a:pos x="connsiteX2" y="connsiteY2"/>
                  </a:cxn>
                  <a:cxn ang="0">
                    <a:pos x="connsiteX3" y="connsiteY3"/>
                  </a:cxn>
                </a:cxnLst>
                <a:rect l="l" t="t" r="r" b="b"/>
                <a:pathLst>
                  <a:path w="12191" h="140752">
                    <a:moveTo>
                      <a:pt x="0" y="0"/>
                    </a:moveTo>
                    <a:lnTo>
                      <a:pt x="12192" y="0"/>
                    </a:lnTo>
                    <a:lnTo>
                      <a:pt x="12192" y="140752"/>
                    </a:lnTo>
                    <a:lnTo>
                      <a:pt x="0" y="140752"/>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995" name="Freeform: Shape 6994">
              <a:extLst>
                <a:ext uri="{FF2B5EF4-FFF2-40B4-BE49-F238E27FC236}">
                  <a16:creationId xmlns:a16="http://schemas.microsoft.com/office/drawing/2014/main" id="{7A8F4BF3-1F1A-4451-B495-52D17E08A12B}"/>
                </a:ext>
              </a:extLst>
            </p:cNvPr>
            <p:cNvSpPr/>
            <p:nvPr/>
          </p:nvSpPr>
          <p:spPr>
            <a:xfrm>
              <a:off x="11251909" y="3058307"/>
              <a:ext cx="86260" cy="545878"/>
            </a:xfrm>
            <a:custGeom>
              <a:avLst/>
              <a:gdLst>
                <a:gd name="connsiteX0" fmla="*/ 61569 w 61569"/>
                <a:gd name="connsiteY0" fmla="*/ 31638 h 414893"/>
                <a:gd name="connsiteX1" fmla="*/ 59192 w 61569"/>
                <a:gd name="connsiteY1" fmla="*/ 101559 h 414893"/>
                <a:gd name="connsiteX2" fmla="*/ 24262 w 61569"/>
                <a:gd name="connsiteY2" fmla="*/ 130271 h 414893"/>
                <a:gd name="connsiteX3" fmla="*/ 51450 w 61569"/>
                <a:gd name="connsiteY3" fmla="*/ 167396 h 414893"/>
                <a:gd name="connsiteX4" fmla="*/ 8169 w 61569"/>
                <a:gd name="connsiteY4" fmla="*/ 414894 h 414893"/>
                <a:gd name="connsiteX5" fmla="*/ 0 w 61569"/>
                <a:gd name="connsiteY5" fmla="*/ 0 h 41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69" h="414893">
                  <a:moveTo>
                    <a:pt x="61569" y="31638"/>
                  </a:moveTo>
                  <a:lnTo>
                    <a:pt x="59192" y="101559"/>
                  </a:lnTo>
                  <a:lnTo>
                    <a:pt x="24262" y="130271"/>
                  </a:lnTo>
                  <a:lnTo>
                    <a:pt x="51450" y="167396"/>
                  </a:lnTo>
                  <a:lnTo>
                    <a:pt x="8169" y="414894"/>
                  </a:lnTo>
                  <a:lnTo>
                    <a:pt x="0" y="0"/>
                  </a:ln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96" name="Freeform: Shape 6995">
              <a:extLst>
                <a:ext uri="{FF2B5EF4-FFF2-40B4-BE49-F238E27FC236}">
                  <a16:creationId xmlns:a16="http://schemas.microsoft.com/office/drawing/2014/main" id="{FF433482-5468-43E9-A948-45A6D665E8E9}"/>
                </a:ext>
              </a:extLst>
            </p:cNvPr>
            <p:cNvSpPr/>
            <p:nvPr/>
          </p:nvSpPr>
          <p:spPr>
            <a:xfrm>
              <a:off x="11229104" y="3037854"/>
              <a:ext cx="94971" cy="216154"/>
            </a:xfrm>
            <a:custGeom>
              <a:avLst/>
              <a:gdLst>
                <a:gd name="connsiteX0" fmla="*/ 67543 w 67787"/>
                <a:gd name="connsiteY0" fmla="*/ 157643 h 164287"/>
                <a:gd name="connsiteX1" fmla="*/ 0 w 67787"/>
                <a:gd name="connsiteY1" fmla="*/ 0 h 164287"/>
                <a:gd name="connsiteX2" fmla="*/ 0 w 67787"/>
                <a:gd name="connsiteY2" fmla="*/ 14082 h 164287"/>
                <a:gd name="connsiteX3" fmla="*/ 55351 w 67787"/>
                <a:gd name="connsiteY3" fmla="*/ 158191 h 164287"/>
                <a:gd name="connsiteX4" fmla="*/ 55595 w 67787"/>
                <a:gd name="connsiteY4" fmla="*/ 164287 h 164287"/>
                <a:gd name="connsiteX5" fmla="*/ 67787 w 67787"/>
                <a:gd name="connsiteY5" fmla="*/ 163799 h 164287"/>
                <a:gd name="connsiteX6" fmla="*/ 67543 w 67787"/>
                <a:gd name="connsiteY6" fmla="*/ 157643 h 16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87" h="164287">
                  <a:moveTo>
                    <a:pt x="67543" y="157643"/>
                  </a:moveTo>
                  <a:cubicBezTo>
                    <a:pt x="67300" y="152034"/>
                    <a:pt x="61326" y="30907"/>
                    <a:pt x="0" y="0"/>
                  </a:cubicBezTo>
                  <a:lnTo>
                    <a:pt x="0" y="14082"/>
                  </a:lnTo>
                  <a:cubicBezTo>
                    <a:pt x="49865" y="46634"/>
                    <a:pt x="55291" y="156911"/>
                    <a:pt x="55351" y="158191"/>
                  </a:cubicBezTo>
                  <a:lnTo>
                    <a:pt x="55595" y="164287"/>
                  </a:lnTo>
                  <a:lnTo>
                    <a:pt x="67787" y="163799"/>
                  </a:lnTo>
                  <a:lnTo>
                    <a:pt x="67543" y="157643"/>
                  </a:ln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97" name="Freeform: Shape 6996">
              <a:extLst>
                <a:ext uri="{FF2B5EF4-FFF2-40B4-BE49-F238E27FC236}">
                  <a16:creationId xmlns:a16="http://schemas.microsoft.com/office/drawing/2014/main" id="{7F3C30EE-5F4E-4460-BB23-C0A709A7B192}"/>
                </a:ext>
              </a:extLst>
            </p:cNvPr>
            <p:cNvSpPr/>
            <p:nvPr/>
          </p:nvSpPr>
          <p:spPr>
            <a:xfrm>
              <a:off x="10930703" y="3036009"/>
              <a:ext cx="93424" cy="434954"/>
            </a:xfrm>
            <a:custGeom>
              <a:avLst/>
              <a:gdLst>
                <a:gd name="connsiteX0" fmla="*/ 66684 w 66683"/>
                <a:gd name="connsiteY0" fmla="*/ 14082 h 330586"/>
                <a:gd name="connsiteX1" fmla="*/ 66684 w 66683"/>
                <a:gd name="connsiteY1" fmla="*/ 0 h 330586"/>
                <a:gd name="connsiteX2" fmla="*/ 10418 w 66683"/>
                <a:gd name="connsiteY2" fmla="*/ 324551 h 330586"/>
                <a:gd name="connsiteX3" fmla="*/ 11393 w 66683"/>
                <a:gd name="connsiteY3" fmla="*/ 330586 h 330586"/>
                <a:gd name="connsiteX4" fmla="*/ 23402 w 66683"/>
                <a:gd name="connsiteY4" fmla="*/ 328574 h 330586"/>
                <a:gd name="connsiteX5" fmla="*/ 22427 w 66683"/>
                <a:gd name="connsiteY5" fmla="*/ 322539 h 330586"/>
                <a:gd name="connsiteX6" fmla="*/ 66684 w 66683"/>
                <a:gd name="connsiteY6" fmla="*/ 14082 h 3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83" h="330586">
                  <a:moveTo>
                    <a:pt x="66684" y="14082"/>
                  </a:moveTo>
                  <a:lnTo>
                    <a:pt x="66684" y="0"/>
                  </a:lnTo>
                  <a:cubicBezTo>
                    <a:pt x="-33656" y="50841"/>
                    <a:pt x="8467" y="313091"/>
                    <a:pt x="10418" y="324551"/>
                  </a:cubicBezTo>
                  <a:lnTo>
                    <a:pt x="11393" y="330586"/>
                  </a:lnTo>
                  <a:lnTo>
                    <a:pt x="23402" y="328574"/>
                  </a:lnTo>
                  <a:lnTo>
                    <a:pt x="22427" y="322539"/>
                  </a:lnTo>
                  <a:cubicBezTo>
                    <a:pt x="22000" y="319857"/>
                    <a:pt x="-18477" y="68336"/>
                    <a:pt x="66684" y="14082"/>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998" name="Graphic 3">
              <a:extLst>
                <a:ext uri="{FF2B5EF4-FFF2-40B4-BE49-F238E27FC236}">
                  <a16:creationId xmlns:a16="http://schemas.microsoft.com/office/drawing/2014/main" id="{00CDA5C8-D4C4-4ECA-8087-662BBE330497}"/>
                </a:ext>
              </a:extLst>
            </p:cNvPr>
            <p:cNvGrpSpPr/>
            <p:nvPr/>
          </p:nvGrpSpPr>
          <p:grpSpPr>
            <a:xfrm>
              <a:off x="11217599" y="3237565"/>
              <a:ext cx="195205" cy="279596"/>
              <a:chOff x="6923427" y="1233342"/>
              <a:chExt cx="139330" cy="212506"/>
            </a:xfrm>
            <a:solidFill>
              <a:schemeClr val="accent1"/>
            </a:solidFill>
          </p:grpSpPr>
          <p:sp>
            <p:nvSpPr>
              <p:cNvPr id="7021" name="Freeform: Shape 7020">
                <a:extLst>
                  <a:ext uri="{FF2B5EF4-FFF2-40B4-BE49-F238E27FC236}">
                    <a16:creationId xmlns:a16="http://schemas.microsoft.com/office/drawing/2014/main" id="{10A1AB13-3225-4616-9809-84CBAFB3BE20}"/>
                  </a:ext>
                </a:extLst>
              </p:cNvPr>
              <p:cNvSpPr/>
              <p:nvPr/>
            </p:nvSpPr>
            <p:spPr>
              <a:xfrm>
                <a:off x="6932678" y="1233342"/>
                <a:ext cx="120949" cy="208909"/>
              </a:xfrm>
              <a:custGeom>
                <a:avLst/>
                <a:gdLst>
                  <a:gd name="connsiteX0" fmla="*/ 102289 w 120949"/>
                  <a:gd name="connsiteY0" fmla="*/ 196779 h 208909"/>
                  <a:gd name="connsiteX1" fmla="*/ 70955 w 120949"/>
                  <a:gd name="connsiteY1" fmla="*/ 186477 h 208909"/>
                  <a:gd name="connsiteX2" fmla="*/ 120760 w 120949"/>
                  <a:gd name="connsiteY2" fmla="*/ 68092 h 208909"/>
                  <a:gd name="connsiteX3" fmla="*/ 60470 w 120949"/>
                  <a:gd name="connsiteY3" fmla="*/ 0 h 208909"/>
                  <a:gd name="connsiteX4" fmla="*/ 181 w 120949"/>
                  <a:gd name="connsiteY4" fmla="*/ 68092 h 208909"/>
                  <a:gd name="connsiteX5" fmla="*/ 49985 w 120949"/>
                  <a:gd name="connsiteY5" fmla="*/ 186477 h 208909"/>
                  <a:gd name="connsiteX6" fmla="*/ 18652 w 120949"/>
                  <a:gd name="connsiteY6" fmla="*/ 196779 h 208909"/>
                  <a:gd name="connsiteX7" fmla="*/ 13226 w 120949"/>
                  <a:gd name="connsiteY7" fmla="*/ 203484 h 208909"/>
                  <a:gd name="connsiteX8" fmla="*/ 19261 w 120949"/>
                  <a:gd name="connsiteY8" fmla="*/ 208910 h 208909"/>
                  <a:gd name="connsiteX9" fmla="*/ 19932 w 120949"/>
                  <a:gd name="connsiteY9" fmla="*/ 208849 h 208909"/>
                  <a:gd name="connsiteX10" fmla="*/ 60470 w 120949"/>
                  <a:gd name="connsiteY10" fmla="*/ 194158 h 208909"/>
                  <a:gd name="connsiteX11" fmla="*/ 101009 w 120949"/>
                  <a:gd name="connsiteY11" fmla="*/ 208849 h 208909"/>
                  <a:gd name="connsiteX12" fmla="*/ 101679 w 120949"/>
                  <a:gd name="connsiteY12" fmla="*/ 208910 h 208909"/>
                  <a:gd name="connsiteX13" fmla="*/ 107714 w 120949"/>
                  <a:gd name="connsiteY13" fmla="*/ 203484 h 208909"/>
                  <a:gd name="connsiteX14" fmla="*/ 102289 w 120949"/>
                  <a:gd name="connsiteY14" fmla="*/ 196779 h 208909"/>
                  <a:gd name="connsiteX15" fmla="*/ 12251 w 120949"/>
                  <a:gd name="connsiteY15" fmla="*/ 68763 h 208909"/>
                  <a:gd name="connsiteX16" fmla="*/ 60409 w 120949"/>
                  <a:gd name="connsiteY16" fmla="*/ 12192 h 208909"/>
                  <a:gd name="connsiteX17" fmla="*/ 108568 w 120949"/>
                  <a:gd name="connsiteY17" fmla="*/ 68763 h 208909"/>
                  <a:gd name="connsiteX18" fmla="*/ 60409 w 120949"/>
                  <a:gd name="connsiteY18" fmla="*/ 179527 h 208909"/>
                  <a:gd name="connsiteX19" fmla="*/ 12251 w 120949"/>
                  <a:gd name="connsiteY19" fmla="*/ 68763 h 20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949" h="208909">
                    <a:moveTo>
                      <a:pt x="102289" y="196779"/>
                    </a:moveTo>
                    <a:cubicBezTo>
                      <a:pt x="90950" y="195560"/>
                      <a:pt x="80465" y="191902"/>
                      <a:pt x="70955" y="186477"/>
                    </a:cubicBezTo>
                    <a:cubicBezTo>
                      <a:pt x="104057" y="158801"/>
                      <a:pt x="123076" y="110581"/>
                      <a:pt x="120760" y="68092"/>
                    </a:cubicBezTo>
                    <a:cubicBezTo>
                      <a:pt x="118504" y="26091"/>
                      <a:pt x="95400" y="0"/>
                      <a:pt x="60470" y="0"/>
                    </a:cubicBezTo>
                    <a:cubicBezTo>
                      <a:pt x="25540" y="0"/>
                      <a:pt x="2375" y="26091"/>
                      <a:pt x="181" y="68092"/>
                    </a:cubicBezTo>
                    <a:cubicBezTo>
                      <a:pt x="-2075" y="110581"/>
                      <a:pt x="16884" y="158801"/>
                      <a:pt x="49985" y="186477"/>
                    </a:cubicBezTo>
                    <a:cubicBezTo>
                      <a:pt x="40475" y="191902"/>
                      <a:pt x="29929" y="195560"/>
                      <a:pt x="18652" y="196779"/>
                    </a:cubicBezTo>
                    <a:cubicBezTo>
                      <a:pt x="15299" y="197145"/>
                      <a:pt x="12860" y="200132"/>
                      <a:pt x="13226" y="203484"/>
                    </a:cubicBezTo>
                    <a:cubicBezTo>
                      <a:pt x="13531" y="206593"/>
                      <a:pt x="16213" y="208910"/>
                      <a:pt x="19261" y="208910"/>
                    </a:cubicBezTo>
                    <a:cubicBezTo>
                      <a:pt x="19505" y="208910"/>
                      <a:pt x="19688" y="208910"/>
                      <a:pt x="19932" y="208849"/>
                    </a:cubicBezTo>
                    <a:cubicBezTo>
                      <a:pt x="34806" y="207264"/>
                      <a:pt x="48400" y="202021"/>
                      <a:pt x="60470" y="194158"/>
                    </a:cubicBezTo>
                    <a:cubicBezTo>
                      <a:pt x="72540" y="202021"/>
                      <a:pt x="86134" y="207264"/>
                      <a:pt x="101009" y="208849"/>
                    </a:cubicBezTo>
                    <a:cubicBezTo>
                      <a:pt x="101252" y="208849"/>
                      <a:pt x="101435" y="208910"/>
                      <a:pt x="101679" y="208910"/>
                    </a:cubicBezTo>
                    <a:cubicBezTo>
                      <a:pt x="104727" y="208910"/>
                      <a:pt x="107409" y="206593"/>
                      <a:pt x="107714" y="203484"/>
                    </a:cubicBezTo>
                    <a:cubicBezTo>
                      <a:pt x="108019" y="200132"/>
                      <a:pt x="105642" y="197145"/>
                      <a:pt x="102289" y="196779"/>
                    </a:cubicBezTo>
                    <a:close/>
                    <a:moveTo>
                      <a:pt x="12251" y="68763"/>
                    </a:moveTo>
                    <a:cubicBezTo>
                      <a:pt x="13165" y="51755"/>
                      <a:pt x="19688" y="12192"/>
                      <a:pt x="60409" y="12192"/>
                    </a:cubicBezTo>
                    <a:cubicBezTo>
                      <a:pt x="101131" y="12192"/>
                      <a:pt x="107653" y="51755"/>
                      <a:pt x="108568" y="68763"/>
                    </a:cubicBezTo>
                    <a:cubicBezTo>
                      <a:pt x="110701" y="109057"/>
                      <a:pt x="92291" y="154960"/>
                      <a:pt x="60409" y="179527"/>
                    </a:cubicBezTo>
                    <a:cubicBezTo>
                      <a:pt x="28527" y="154960"/>
                      <a:pt x="10117" y="109057"/>
                      <a:pt x="12251" y="68763"/>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2" name="Freeform: Shape 7021">
                <a:extLst>
                  <a:ext uri="{FF2B5EF4-FFF2-40B4-BE49-F238E27FC236}">
                    <a16:creationId xmlns:a16="http://schemas.microsoft.com/office/drawing/2014/main" id="{377BFD5D-A20A-4093-A502-A99D36778F6D}"/>
                  </a:ext>
                </a:extLst>
              </p:cNvPr>
              <p:cNvSpPr/>
              <p:nvPr/>
            </p:nvSpPr>
            <p:spPr>
              <a:xfrm>
                <a:off x="6923427" y="1427019"/>
                <a:ext cx="37588" cy="18830"/>
              </a:xfrm>
              <a:custGeom>
                <a:avLst/>
                <a:gdLst>
                  <a:gd name="connsiteX0" fmla="*/ 18941 w 37588"/>
                  <a:gd name="connsiteY0" fmla="*/ 18830 h 18830"/>
                  <a:gd name="connsiteX1" fmla="*/ 8212 w 37588"/>
                  <a:gd name="connsiteY1" fmla="*/ 18281 h 18830"/>
                  <a:gd name="connsiteX2" fmla="*/ 44 w 37588"/>
                  <a:gd name="connsiteY2" fmla="*/ 8223 h 18830"/>
                  <a:gd name="connsiteX3" fmla="*/ 10102 w 37588"/>
                  <a:gd name="connsiteY3" fmla="*/ 55 h 18830"/>
                  <a:gd name="connsiteX4" fmla="*/ 27476 w 37588"/>
                  <a:gd name="connsiteY4" fmla="*/ 55 h 18830"/>
                  <a:gd name="connsiteX5" fmla="*/ 37534 w 37588"/>
                  <a:gd name="connsiteY5" fmla="*/ 8162 h 18830"/>
                  <a:gd name="connsiteX6" fmla="*/ 29426 w 37588"/>
                  <a:gd name="connsiteY6" fmla="*/ 18221 h 18830"/>
                  <a:gd name="connsiteX7" fmla="*/ 18941 w 37588"/>
                  <a:gd name="connsiteY7" fmla="*/ 18830 h 1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88" h="18830">
                    <a:moveTo>
                      <a:pt x="18941" y="18830"/>
                    </a:moveTo>
                    <a:cubicBezTo>
                      <a:pt x="15406" y="18830"/>
                      <a:pt x="11809" y="18647"/>
                      <a:pt x="8212" y="18281"/>
                    </a:cubicBezTo>
                    <a:cubicBezTo>
                      <a:pt x="3214" y="17733"/>
                      <a:pt x="-444" y="13283"/>
                      <a:pt x="44" y="8223"/>
                    </a:cubicBezTo>
                    <a:cubicBezTo>
                      <a:pt x="592" y="3224"/>
                      <a:pt x="5042" y="-372"/>
                      <a:pt x="10102" y="55"/>
                    </a:cubicBezTo>
                    <a:cubicBezTo>
                      <a:pt x="16015" y="664"/>
                      <a:pt x="21867" y="664"/>
                      <a:pt x="27476" y="55"/>
                    </a:cubicBezTo>
                    <a:cubicBezTo>
                      <a:pt x="32413" y="-494"/>
                      <a:pt x="36985" y="3163"/>
                      <a:pt x="37534" y="8162"/>
                    </a:cubicBezTo>
                    <a:cubicBezTo>
                      <a:pt x="38083" y="13161"/>
                      <a:pt x="34425" y="17672"/>
                      <a:pt x="29426" y="18221"/>
                    </a:cubicBezTo>
                    <a:cubicBezTo>
                      <a:pt x="26013" y="18647"/>
                      <a:pt x="22477" y="18830"/>
                      <a:pt x="18941" y="18830"/>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3" name="Freeform: Shape 7022">
                <a:extLst>
                  <a:ext uri="{FF2B5EF4-FFF2-40B4-BE49-F238E27FC236}">
                    <a16:creationId xmlns:a16="http://schemas.microsoft.com/office/drawing/2014/main" id="{661C20C4-EC03-4E43-B6DD-EEFD8BAF9A70}"/>
                  </a:ext>
                </a:extLst>
              </p:cNvPr>
              <p:cNvSpPr/>
              <p:nvPr/>
            </p:nvSpPr>
            <p:spPr>
              <a:xfrm>
                <a:off x="7025158" y="1427080"/>
                <a:ext cx="37599" cy="18769"/>
              </a:xfrm>
              <a:custGeom>
                <a:avLst/>
                <a:gdLst>
                  <a:gd name="connsiteX0" fmla="*/ 18647 w 37599"/>
                  <a:gd name="connsiteY0" fmla="*/ 18769 h 18769"/>
                  <a:gd name="connsiteX1" fmla="*/ 8162 w 37599"/>
                  <a:gd name="connsiteY1" fmla="*/ 18221 h 18769"/>
                  <a:gd name="connsiteX2" fmla="*/ 54 w 37599"/>
                  <a:gd name="connsiteY2" fmla="*/ 8162 h 18769"/>
                  <a:gd name="connsiteX3" fmla="*/ 10113 w 37599"/>
                  <a:gd name="connsiteY3" fmla="*/ 54 h 18769"/>
                  <a:gd name="connsiteX4" fmla="*/ 27486 w 37599"/>
                  <a:gd name="connsiteY4" fmla="*/ 54 h 18769"/>
                  <a:gd name="connsiteX5" fmla="*/ 37545 w 37599"/>
                  <a:gd name="connsiteY5" fmla="*/ 8223 h 18769"/>
                  <a:gd name="connsiteX6" fmla="*/ 29376 w 37599"/>
                  <a:gd name="connsiteY6" fmla="*/ 18282 h 18769"/>
                  <a:gd name="connsiteX7" fmla="*/ 18647 w 37599"/>
                  <a:gd name="connsiteY7" fmla="*/ 18769 h 1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99" h="18769">
                    <a:moveTo>
                      <a:pt x="18647" y="18769"/>
                    </a:moveTo>
                    <a:cubicBezTo>
                      <a:pt x="15112" y="18769"/>
                      <a:pt x="11637" y="18586"/>
                      <a:pt x="8162" y="18221"/>
                    </a:cubicBezTo>
                    <a:cubicBezTo>
                      <a:pt x="3163" y="17672"/>
                      <a:pt x="-494" y="13161"/>
                      <a:pt x="54" y="8162"/>
                    </a:cubicBezTo>
                    <a:cubicBezTo>
                      <a:pt x="603" y="3163"/>
                      <a:pt x="5175" y="-494"/>
                      <a:pt x="10113" y="54"/>
                    </a:cubicBezTo>
                    <a:cubicBezTo>
                      <a:pt x="15782" y="664"/>
                      <a:pt x="21634" y="664"/>
                      <a:pt x="27486" y="54"/>
                    </a:cubicBezTo>
                    <a:cubicBezTo>
                      <a:pt x="32546" y="-433"/>
                      <a:pt x="36996" y="3163"/>
                      <a:pt x="37545" y="8223"/>
                    </a:cubicBezTo>
                    <a:cubicBezTo>
                      <a:pt x="38093" y="13222"/>
                      <a:pt x="34436" y="17733"/>
                      <a:pt x="29376" y="18282"/>
                    </a:cubicBezTo>
                    <a:cubicBezTo>
                      <a:pt x="25780" y="18586"/>
                      <a:pt x="22183" y="18769"/>
                      <a:pt x="18647" y="18769"/>
                    </a:cubicBezTo>
                    <a:close/>
                  </a:path>
                </a:pathLst>
              </a:custGeom>
              <a:solidFill>
                <a:srgbClr val="42404D"/>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999" name="Graphic 3">
              <a:extLst>
                <a:ext uri="{FF2B5EF4-FFF2-40B4-BE49-F238E27FC236}">
                  <a16:creationId xmlns:a16="http://schemas.microsoft.com/office/drawing/2014/main" id="{3838EDA7-C622-4E05-BF8C-D2D01B150717}"/>
                </a:ext>
              </a:extLst>
            </p:cNvPr>
            <p:cNvGrpSpPr/>
            <p:nvPr/>
          </p:nvGrpSpPr>
          <p:grpSpPr>
            <a:xfrm>
              <a:off x="10885429" y="3399741"/>
              <a:ext cx="136650" cy="128329"/>
              <a:chOff x="6686336" y="1356603"/>
              <a:chExt cx="97536" cy="97536"/>
            </a:xfrm>
            <a:solidFill>
              <a:schemeClr val="accent1"/>
            </a:solidFill>
          </p:grpSpPr>
          <p:grpSp>
            <p:nvGrpSpPr>
              <p:cNvPr id="7017" name="Graphic 3">
                <a:extLst>
                  <a:ext uri="{FF2B5EF4-FFF2-40B4-BE49-F238E27FC236}">
                    <a16:creationId xmlns:a16="http://schemas.microsoft.com/office/drawing/2014/main" id="{BCCB7ECD-A707-423B-A7EB-4EB3678B3A0A}"/>
                  </a:ext>
                </a:extLst>
              </p:cNvPr>
              <p:cNvGrpSpPr/>
              <p:nvPr/>
            </p:nvGrpSpPr>
            <p:grpSpPr>
              <a:xfrm>
                <a:off x="6686336" y="1356603"/>
                <a:ext cx="97536" cy="97536"/>
                <a:chOff x="6686336" y="1356603"/>
                <a:chExt cx="97536" cy="97536"/>
              </a:xfrm>
              <a:solidFill>
                <a:schemeClr val="accent1"/>
              </a:solidFill>
            </p:grpSpPr>
            <p:sp>
              <p:nvSpPr>
                <p:cNvPr id="7019" name="Freeform: Shape 7018">
                  <a:extLst>
                    <a:ext uri="{FF2B5EF4-FFF2-40B4-BE49-F238E27FC236}">
                      <a16:creationId xmlns:a16="http://schemas.microsoft.com/office/drawing/2014/main" id="{9E32AF4E-79AB-4823-9320-B096F0FAF69D}"/>
                    </a:ext>
                  </a:extLst>
                </p:cNvPr>
                <p:cNvSpPr/>
                <p:nvPr/>
              </p:nvSpPr>
              <p:spPr>
                <a:xfrm>
                  <a:off x="6698528" y="1368795"/>
                  <a:ext cx="73152" cy="73152"/>
                </a:xfrm>
                <a:custGeom>
                  <a:avLst/>
                  <a:gdLst>
                    <a:gd name="connsiteX0" fmla="*/ 73152 w 73152"/>
                    <a:gd name="connsiteY0" fmla="*/ 36576 h 73152"/>
                    <a:gd name="connsiteX1" fmla="*/ 36576 w 73152"/>
                    <a:gd name="connsiteY1" fmla="*/ 73152 h 73152"/>
                    <a:gd name="connsiteX2" fmla="*/ 0 w 73152"/>
                    <a:gd name="connsiteY2" fmla="*/ 36576 h 73152"/>
                    <a:gd name="connsiteX3" fmla="*/ 36576 w 73152"/>
                    <a:gd name="connsiteY3" fmla="*/ 0 h 73152"/>
                    <a:gd name="connsiteX4" fmla="*/ 73152 w 73152"/>
                    <a:gd name="connsiteY4" fmla="*/ 36576 h 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 h="73152">
                      <a:moveTo>
                        <a:pt x="73152" y="36576"/>
                      </a:moveTo>
                      <a:cubicBezTo>
                        <a:pt x="73152" y="56776"/>
                        <a:pt x="56777" y="73152"/>
                        <a:pt x="36576" y="73152"/>
                      </a:cubicBezTo>
                      <a:cubicBezTo>
                        <a:pt x="16376" y="73152"/>
                        <a:pt x="0" y="56776"/>
                        <a:pt x="0" y="36576"/>
                      </a:cubicBezTo>
                      <a:cubicBezTo>
                        <a:pt x="0" y="16376"/>
                        <a:pt x="16376" y="0"/>
                        <a:pt x="36576" y="0"/>
                      </a:cubicBezTo>
                      <a:cubicBezTo>
                        <a:pt x="56777" y="0"/>
                        <a:pt x="73152" y="16376"/>
                        <a:pt x="73152" y="36576"/>
                      </a:cubicBezTo>
                      <a:close/>
                    </a:path>
                  </a:pathLst>
                </a:custGeom>
                <a:solidFill>
                  <a:srgbClr val="E6E7E8"/>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20" name="Freeform: Shape 7019">
                  <a:extLst>
                    <a:ext uri="{FF2B5EF4-FFF2-40B4-BE49-F238E27FC236}">
                      <a16:creationId xmlns:a16="http://schemas.microsoft.com/office/drawing/2014/main" id="{271DF3FA-819B-4031-A4F8-5B301E74A017}"/>
                    </a:ext>
                  </a:extLst>
                </p:cNvPr>
                <p:cNvSpPr/>
                <p:nvPr/>
              </p:nvSpPr>
              <p:spPr>
                <a:xfrm>
                  <a:off x="6686336" y="1356603"/>
                  <a:ext cx="97536" cy="97536"/>
                </a:xfrm>
                <a:custGeom>
                  <a:avLst/>
                  <a:gdLst>
                    <a:gd name="connsiteX0" fmla="*/ 48768 w 97536"/>
                    <a:gd name="connsiteY0" fmla="*/ 12192 h 97536"/>
                    <a:gd name="connsiteX1" fmla="*/ 85344 w 97536"/>
                    <a:gd name="connsiteY1" fmla="*/ 48768 h 97536"/>
                    <a:gd name="connsiteX2" fmla="*/ 48768 w 97536"/>
                    <a:gd name="connsiteY2" fmla="*/ 85344 h 97536"/>
                    <a:gd name="connsiteX3" fmla="*/ 12192 w 97536"/>
                    <a:gd name="connsiteY3" fmla="*/ 48768 h 97536"/>
                    <a:gd name="connsiteX4" fmla="*/ 48768 w 97536"/>
                    <a:gd name="connsiteY4" fmla="*/ 12192 h 97536"/>
                    <a:gd name="connsiteX5" fmla="*/ 48768 w 97536"/>
                    <a:gd name="connsiteY5" fmla="*/ 0 h 97536"/>
                    <a:gd name="connsiteX6" fmla="*/ 0 w 97536"/>
                    <a:gd name="connsiteY6" fmla="*/ 48768 h 97536"/>
                    <a:gd name="connsiteX7" fmla="*/ 48768 w 97536"/>
                    <a:gd name="connsiteY7" fmla="*/ 97536 h 97536"/>
                    <a:gd name="connsiteX8" fmla="*/ 97536 w 97536"/>
                    <a:gd name="connsiteY8" fmla="*/ 48768 h 97536"/>
                    <a:gd name="connsiteX9" fmla="*/ 48768 w 97536"/>
                    <a:gd name="connsiteY9" fmla="*/ 0 h 97536"/>
                    <a:gd name="connsiteX10" fmla="*/ 48768 w 97536"/>
                    <a:gd name="connsiteY10" fmla="*/ 0 h 9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536" h="97536">
                      <a:moveTo>
                        <a:pt x="48768" y="12192"/>
                      </a:moveTo>
                      <a:cubicBezTo>
                        <a:pt x="68946" y="12192"/>
                        <a:pt x="85344" y="28590"/>
                        <a:pt x="85344" y="48768"/>
                      </a:cubicBezTo>
                      <a:cubicBezTo>
                        <a:pt x="85344" y="68946"/>
                        <a:pt x="68946" y="85344"/>
                        <a:pt x="48768" y="85344"/>
                      </a:cubicBezTo>
                      <a:cubicBezTo>
                        <a:pt x="28590" y="85344"/>
                        <a:pt x="12192" y="68946"/>
                        <a:pt x="12192" y="48768"/>
                      </a:cubicBezTo>
                      <a:cubicBezTo>
                        <a:pt x="12192" y="28590"/>
                        <a:pt x="28529" y="12192"/>
                        <a:pt x="48768" y="12192"/>
                      </a:cubicBezTo>
                      <a:moveTo>
                        <a:pt x="48768" y="0"/>
                      </a:moveTo>
                      <a:cubicBezTo>
                        <a:pt x="21884" y="0"/>
                        <a:pt x="0" y="21885"/>
                        <a:pt x="0" y="48768"/>
                      </a:cubicBezTo>
                      <a:cubicBezTo>
                        <a:pt x="0" y="75651"/>
                        <a:pt x="21884" y="97536"/>
                        <a:pt x="48768" y="97536"/>
                      </a:cubicBezTo>
                      <a:cubicBezTo>
                        <a:pt x="75651" y="97536"/>
                        <a:pt x="97536" y="75651"/>
                        <a:pt x="97536" y="48768"/>
                      </a:cubicBezTo>
                      <a:cubicBezTo>
                        <a:pt x="97536" y="21885"/>
                        <a:pt x="75651" y="0"/>
                        <a:pt x="48768" y="0"/>
                      </a:cubicBezTo>
                      <a:lnTo>
                        <a:pt x="48768" y="0"/>
                      </a:ln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018" name="Freeform: Shape 7017">
                <a:extLst>
                  <a:ext uri="{FF2B5EF4-FFF2-40B4-BE49-F238E27FC236}">
                    <a16:creationId xmlns:a16="http://schemas.microsoft.com/office/drawing/2014/main" id="{F0F88EEA-A66A-4D0E-94AA-5E6430FBFE67}"/>
                  </a:ext>
                </a:extLst>
              </p:cNvPr>
              <p:cNvSpPr/>
              <p:nvPr/>
            </p:nvSpPr>
            <p:spPr>
              <a:xfrm>
                <a:off x="6708952" y="1379280"/>
                <a:ext cx="52181" cy="52181"/>
              </a:xfrm>
              <a:custGeom>
                <a:avLst/>
                <a:gdLst>
                  <a:gd name="connsiteX0" fmla="*/ 52182 w 52181"/>
                  <a:gd name="connsiteY0" fmla="*/ 26091 h 52181"/>
                  <a:gd name="connsiteX1" fmla="*/ 26091 w 52181"/>
                  <a:gd name="connsiteY1" fmla="*/ 52182 h 52181"/>
                  <a:gd name="connsiteX2" fmla="*/ 0 w 52181"/>
                  <a:gd name="connsiteY2" fmla="*/ 26091 h 52181"/>
                  <a:gd name="connsiteX3" fmla="*/ 26091 w 52181"/>
                  <a:gd name="connsiteY3" fmla="*/ 0 h 52181"/>
                  <a:gd name="connsiteX4" fmla="*/ 52182 w 52181"/>
                  <a:gd name="connsiteY4" fmla="*/ 26091 h 52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81" h="52181">
                    <a:moveTo>
                      <a:pt x="52182" y="26091"/>
                    </a:moveTo>
                    <a:cubicBezTo>
                      <a:pt x="52182" y="40477"/>
                      <a:pt x="40478" y="52182"/>
                      <a:pt x="26091" y="52182"/>
                    </a:cubicBezTo>
                    <a:cubicBezTo>
                      <a:pt x="11704" y="52182"/>
                      <a:pt x="0" y="40477"/>
                      <a:pt x="0" y="26091"/>
                    </a:cubicBezTo>
                    <a:cubicBezTo>
                      <a:pt x="0" y="11704"/>
                      <a:pt x="11704" y="0"/>
                      <a:pt x="26091" y="0"/>
                    </a:cubicBezTo>
                    <a:cubicBezTo>
                      <a:pt x="40539" y="0"/>
                      <a:pt x="52182" y="11704"/>
                      <a:pt x="52182" y="26091"/>
                    </a:cubicBezTo>
                    <a:close/>
                  </a:path>
                </a:pathLst>
              </a:custGeom>
              <a:solidFill>
                <a:srgbClr val="A7A9AC"/>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006" name="Freeform: Shape 7005">
              <a:extLst>
                <a:ext uri="{FF2B5EF4-FFF2-40B4-BE49-F238E27FC236}">
                  <a16:creationId xmlns:a16="http://schemas.microsoft.com/office/drawing/2014/main" id="{38651015-7EF6-4B3F-8841-6F6FADF6D902}"/>
                </a:ext>
              </a:extLst>
            </p:cNvPr>
            <p:cNvSpPr/>
            <p:nvPr/>
          </p:nvSpPr>
          <p:spPr>
            <a:xfrm>
              <a:off x="10869202" y="2422275"/>
              <a:ext cx="512353" cy="609563"/>
            </a:xfrm>
            <a:custGeom>
              <a:avLst/>
              <a:gdLst>
                <a:gd name="connsiteX0" fmla="*/ 342534 w 365699"/>
                <a:gd name="connsiteY0" fmla="*/ 216774 h 463296"/>
                <a:gd name="connsiteX1" fmla="*/ 347472 w 365699"/>
                <a:gd name="connsiteY1" fmla="*/ 152400 h 463296"/>
                <a:gd name="connsiteX2" fmla="*/ 182880 w 365699"/>
                <a:gd name="connsiteY2" fmla="*/ 0 h 463296"/>
                <a:gd name="connsiteX3" fmla="*/ 18288 w 365699"/>
                <a:gd name="connsiteY3" fmla="*/ 152400 h 463296"/>
                <a:gd name="connsiteX4" fmla="*/ 23226 w 365699"/>
                <a:gd name="connsiteY4" fmla="*/ 216713 h 463296"/>
                <a:gd name="connsiteX5" fmla="*/ 10729 w 365699"/>
                <a:gd name="connsiteY5" fmla="*/ 223053 h 463296"/>
                <a:gd name="connsiteX6" fmla="*/ 0 w 365699"/>
                <a:gd name="connsiteY6" fmla="*/ 246278 h 463296"/>
                <a:gd name="connsiteX7" fmla="*/ 0 w 365699"/>
                <a:gd name="connsiteY7" fmla="*/ 277978 h 463296"/>
                <a:gd name="connsiteX8" fmla="*/ 30297 w 365699"/>
                <a:gd name="connsiteY8" fmla="*/ 308458 h 463296"/>
                <a:gd name="connsiteX9" fmla="*/ 182880 w 365699"/>
                <a:gd name="connsiteY9" fmla="*/ 463296 h 463296"/>
                <a:gd name="connsiteX10" fmla="*/ 335463 w 365699"/>
                <a:gd name="connsiteY10" fmla="*/ 308458 h 463296"/>
                <a:gd name="connsiteX11" fmla="*/ 365699 w 365699"/>
                <a:gd name="connsiteY11" fmla="*/ 277978 h 463296"/>
                <a:gd name="connsiteX12" fmla="*/ 365699 w 365699"/>
                <a:gd name="connsiteY12" fmla="*/ 246278 h 463296"/>
                <a:gd name="connsiteX13" fmla="*/ 342534 w 365699"/>
                <a:gd name="connsiteY13" fmla="*/ 216774 h 46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5699" h="463296">
                  <a:moveTo>
                    <a:pt x="342534" y="216774"/>
                  </a:moveTo>
                  <a:lnTo>
                    <a:pt x="347472" y="152400"/>
                  </a:lnTo>
                  <a:cubicBezTo>
                    <a:pt x="347472" y="68214"/>
                    <a:pt x="267005" y="0"/>
                    <a:pt x="182880" y="0"/>
                  </a:cubicBezTo>
                  <a:cubicBezTo>
                    <a:pt x="98694" y="0"/>
                    <a:pt x="18288" y="68214"/>
                    <a:pt x="18288" y="152400"/>
                  </a:cubicBezTo>
                  <a:lnTo>
                    <a:pt x="23226" y="216713"/>
                  </a:lnTo>
                  <a:cubicBezTo>
                    <a:pt x="18532" y="217871"/>
                    <a:pt x="14265" y="220005"/>
                    <a:pt x="10729" y="223053"/>
                  </a:cubicBezTo>
                  <a:cubicBezTo>
                    <a:pt x="4145" y="228661"/>
                    <a:pt x="0" y="236951"/>
                    <a:pt x="0" y="246278"/>
                  </a:cubicBezTo>
                  <a:lnTo>
                    <a:pt x="0" y="277978"/>
                  </a:lnTo>
                  <a:cubicBezTo>
                    <a:pt x="0" y="294742"/>
                    <a:pt x="13472" y="308336"/>
                    <a:pt x="30297" y="308458"/>
                  </a:cubicBezTo>
                  <a:cubicBezTo>
                    <a:pt x="30297" y="387949"/>
                    <a:pt x="125822" y="463296"/>
                    <a:pt x="182880" y="463296"/>
                  </a:cubicBezTo>
                  <a:cubicBezTo>
                    <a:pt x="239938" y="463296"/>
                    <a:pt x="335463" y="387949"/>
                    <a:pt x="335463" y="308458"/>
                  </a:cubicBezTo>
                  <a:cubicBezTo>
                    <a:pt x="352166" y="308336"/>
                    <a:pt x="365699" y="294742"/>
                    <a:pt x="365699" y="277978"/>
                  </a:cubicBezTo>
                  <a:lnTo>
                    <a:pt x="365699" y="246278"/>
                  </a:lnTo>
                  <a:cubicBezTo>
                    <a:pt x="365760" y="231953"/>
                    <a:pt x="355824" y="220005"/>
                    <a:pt x="342534" y="216774"/>
                  </a:cubicBezTo>
                  <a:close/>
                </a:path>
              </a:pathLst>
            </a:custGeom>
            <a:solidFill>
              <a:srgbClr val="F7CDB9"/>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07" name="Freeform: Shape 7006">
              <a:extLst>
                <a:ext uri="{FF2B5EF4-FFF2-40B4-BE49-F238E27FC236}">
                  <a16:creationId xmlns:a16="http://schemas.microsoft.com/office/drawing/2014/main" id="{7A3171E9-F9D9-48C5-A142-021147351FC0}"/>
                </a:ext>
              </a:extLst>
            </p:cNvPr>
            <p:cNvSpPr/>
            <p:nvPr/>
          </p:nvSpPr>
          <p:spPr>
            <a:xfrm>
              <a:off x="11074177" y="2422275"/>
              <a:ext cx="307378" cy="609563"/>
            </a:xfrm>
            <a:custGeom>
              <a:avLst/>
              <a:gdLst>
                <a:gd name="connsiteX0" fmla="*/ 196230 w 219395"/>
                <a:gd name="connsiteY0" fmla="*/ 216774 h 463296"/>
                <a:gd name="connsiteX1" fmla="*/ 201168 w 219395"/>
                <a:gd name="connsiteY1" fmla="*/ 152400 h 463296"/>
                <a:gd name="connsiteX2" fmla="*/ 36576 w 219395"/>
                <a:gd name="connsiteY2" fmla="*/ 0 h 463296"/>
                <a:gd name="connsiteX3" fmla="*/ 36576 w 219395"/>
                <a:gd name="connsiteY3" fmla="*/ 0 h 463296"/>
                <a:gd name="connsiteX4" fmla="*/ 36576 w 219395"/>
                <a:gd name="connsiteY4" fmla="*/ 216408 h 463296"/>
                <a:gd name="connsiteX5" fmla="*/ 0 w 219395"/>
                <a:gd name="connsiteY5" fmla="*/ 332232 h 463296"/>
                <a:gd name="connsiteX6" fmla="*/ 36576 w 219395"/>
                <a:gd name="connsiteY6" fmla="*/ 332232 h 463296"/>
                <a:gd name="connsiteX7" fmla="*/ 36576 w 219395"/>
                <a:gd name="connsiteY7" fmla="*/ 463296 h 463296"/>
                <a:gd name="connsiteX8" fmla="*/ 36576 w 219395"/>
                <a:gd name="connsiteY8" fmla="*/ 463296 h 463296"/>
                <a:gd name="connsiteX9" fmla="*/ 36576 w 219395"/>
                <a:gd name="connsiteY9" fmla="*/ 463296 h 463296"/>
                <a:gd name="connsiteX10" fmla="*/ 189159 w 219395"/>
                <a:gd name="connsiteY10" fmla="*/ 308458 h 463296"/>
                <a:gd name="connsiteX11" fmla="*/ 219395 w 219395"/>
                <a:gd name="connsiteY11" fmla="*/ 277978 h 463296"/>
                <a:gd name="connsiteX12" fmla="*/ 219395 w 219395"/>
                <a:gd name="connsiteY12" fmla="*/ 246278 h 463296"/>
                <a:gd name="connsiteX13" fmla="*/ 196230 w 219395"/>
                <a:gd name="connsiteY13" fmla="*/ 216774 h 46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395" h="463296">
                  <a:moveTo>
                    <a:pt x="196230" y="216774"/>
                  </a:moveTo>
                  <a:lnTo>
                    <a:pt x="201168" y="152400"/>
                  </a:lnTo>
                  <a:cubicBezTo>
                    <a:pt x="201168" y="68214"/>
                    <a:pt x="120701" y="0"/>
                    <a:pt x="36576" y="0"/>
                  </a:cubicBezTo>
                  <a:cubicBezTo>
                    <a:pt x="36576" y="0"/>
                    <a:pt x="36576" y="0"/>
                    <a:pt x="36576" y="0"/>
                  </a:cubicBezTo>
                  <a:lnTo>
                    <a:pt x="36576" y="216408"/>
                  </a:lnTo>
                  <a:cubicBezTo>
                    <a:pt x="14325" y="263713"/>
                    <a:pt x="0" y="332232"/>
                    <a:pt x="0" y="332232"/>
                  </a:cubicBezTo>
                  <a:lnTo>
                    <a:pt x="36576" y="332232"/>
                  </a:lnTo>
                  <a:lnTo>
                    <a:pt x="36576" y="463296"/>
                  </a:lnTo>
                  <a:cubicBezTo>
                    <a:pt x="36576" y="463296"/>
                    <a:pt x="36576" y="463296"/>
                    <a:pt x="36576" y="463296"/>
                  </a:cubicBezTo>
                  <a:cubicBezTo>
                    <a:pt x="36576" y="463296"/>
                    <a:pt x="36576" y="463296"/>
                    <a:pt x="36576" y="463296"/>
                  </a:cubicBezTo>
                  <a:cubicBezTo>
                    <a:pt x="93634" y="463296"/>
                    <a:pt x="189159" y="387949"/>
                    <a:pt x="189159" y="308458"/>
                  </a:cubicBezTo>
                  <a:cubicBezTo>
                    <a:pt x="205862" y="308336"/>
                    <a:pt x="219395" y="294742"/>
                    <a:pt x="219395" y="277978"/>
                  </a:cubicBezTo>
                  <a:lnTo>
                    <a:pt x="219395" y="246278"/>
                  </a:lnTo>
                  <a:cubicBezTo>
                    <a:pt x="219456" y="231953"/>
                    <a:pt x="209519" y="220005"/>
                    <a:pt x="196230" y="216774"/>
                  </a:cubicBezTo>
                  <a:close/>
                </a:path>
              </a:pathLst>
            </a:custGeom>
            <a:solidFill>
              <a:srgbClr val="F7CDB9">
                <a:alpha val="80000"/>
              </a:srgbClr>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02" name="Freeform: Shape 7001">
              <a:extLst>
                <a:ext uri="{FF2B5EF4-FFF2-40B4-BE49-F238E27FC236}">
                  <a16:creationId xmlns:a16="http://schemas.microsoft.com/office/drawing/2014/main" id="{6552D6A5-8989-4D0B-B19A-AFCB4CA99FCB}"/>
                </a:ext>
              </a:extLst>
            </p:cNvPr>
            <p:cNvSpPr/>
            <p:nvPr/>
          </p:nvSpPr>
          <p:spPr>
            <a:xfrm>
              <a:off x="10869111" y="2335894"/>
              <a:ext cx="512526" cy="437682"/>
            </a:xfrm>
            <a:custGeom>
              <a:avLst/>
              <a:gdLst>
                <a:gd name="connsiteX0" fmla="*/ 355035 w 365823"/>
                <a:gd name="connsiteY0" fmla="*/ 281696 h 332659"/>
                <a:gd name="connsiteX1" fmla="*/ 335284 w 365823"/>
                <a:gd name="connsiteY1" fmla="*/ 332659 h 332659"/>
                <a:gd name="connsiteX2" fmla="*/ 334796 w 365823"/>
                <a:gd name="connsiteY2" fmla="*/ 273649 h 332659"/>
                <a:gd name="connsiteX3" fmla="*/ 300659 w 365823"/>
                <a:gd name="connsiteY3" fmla="*/ 170139 h 332659"/>
                <a:gd name="connsiteX4" fmla="*/ 182884 w 365823"/>
                <a:gd name="connsiteY4" fmla="*/ 184465 h 332659"/>
                <a:gd name="connsiteX5" fmla="*/ 65170 w 365823"/>
                <a:gd name="connsiteY5" fmla="*/ 170139 h 332659"/>
                <a:gd name="connsiteX6" fmla="*/ 30484 w 365823"/>
                <a:gd name="connsiteY6" fmla="*/ 273649 h 332659"/>
                <a:gd name="connsiteX7" fmla="*/ 30484 w 365823"/>
                <a:gd name="connsiteY7" fmla="*/ 332659 h 332659"/>
                <a:gd name="connsiteX8" fmla="*/ 10794 w 365823"/>
                <a:gd name="connsiteY8" fmla="*/ 281696 h 332659"/>
                <a:gd name="connsiteX9" fmla="*/ 431 w 365823"/>
                <a:gd name="connsiteY9" fmla="*/ 177211 h 332659"/>
                <a:gd name="connsiteX10" fmla="*/ 4515 w 365823"/>
                <a:gd name="connsiteY10" fmla="*/ 142585 h 332659"/>
                <a:gd name="connsiteX11" fmla="*/ 17560 w 365823"/>
                <a:gd name="connsiteY11" fmla="*/ 98267 h 332659"/>
                <a:gd name="connsiteX12" fmla="*/ 182884 w 365823"/>
                <a:gd name="connsiteY12" fmla="*/ 122 h 332659"/>
                <a:gd name="connsiteX13" fmla="*/ 190687 w 365823"/>
                <a:gd name="connsiteY13" fmla="*/ 0 h 332659"/>
                <a:gd name="connsiteX14" fmla="*/ 273044 w 365823"/>
                <a:gd name="connsiteY14" fmla="*/ 18105 h 332659"/>
                <a:gd name="connsiteX15" fmla="*/ 343087 w 365823"/>
                <a:gd name="connsiteY15" fmla="*/ 21458 h 332659"/>
                <a:gd name="connsiteX16" fmla="*/ 345220 w 365823"/>
                <a:gd name="connsiteY16" fmla="*/ 22921 h 332659"/>
                <a:gd name="connsiteX17" fmla="*/ 336625 w 365823"/>
                <a:gd name="connsiteY17" fmla="*/ 44013 h 332659"/>
                <a:gd name="connsiteX18" fmla="*/ 364910 w 365823"/>
                <a:gd name="connsiteY18" fmla="*/ 41453 h 332659"/>
                <a:gd name="connsiteX19" fmla="*/ 365276 w 365823"/>
                <a:gd name="connsiteY19" fmla="*/ 41392 h 332659"/>
                <a:gd name="connsiteX20" fmla="*/ 365276 w 365823"/>
                <a:gd name="connsiteY20" fmla="*/ 41819 h 332659"/>
                <a:gd name="connsiteX21" fmla="*/ 348268 w 365823"/>
                <a:gd name="connsiteY21" fmla="*/ 98267 h 332659"/>
                <a:gd name="connsiteX22" fmla="*/ 361192 w 365823"/>
                <a:gd name="connsiteY22" fmla="*/ 141732 h 332659"/>
                <a:gd name="connsiteX23" fmla="*/ 365337 w 365823"/>
                <a:gd name="connsiteY23" fmla="*/ 176296 h 332659"/>
                <a:gd name="connsiteX24" fmla="*/ 355035 w 365823"/>
                <a:gd name="connsiteY24" fmla="*/ 281696 h 3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5823" h="332659">
                  <a:moveTo>
                    <a:pt x="355035" y="281696"/>
                  </a:moveTo>
                  <a:cubicBezTo>
                    <a:pt x="350036" y="302910"/>
                    <a:pt x="343392" y="311871"/>
                    <a:pt x="335284" y="332659"/>
                  </a:cubicBezTo>
                  <a:cubicBezTo>
                    <a:pt x="335223" y="332659"/>
                    <a:pt x="334796" y="273649"/>
                    <a:pt x="334796" y="273649"/>
                  </a:cubicBezTo>
                  <a:lnTo>
                    <a:pt x="300659" y="170139"/>
                  </a:lnTo>
                  <a:cubicBezTo>
                    <a:pt x="300659" y="170139"/>
                    <a:pt x="246526" y="181783"/>
                    <a:pt x="182884" y="184465"/>
                  </a:cubicBezTo>
                  <a:cubicBezTo>
                    <a:pt x="119303" y="181783"/>
                    <a:pt x="65170" y="170139"/>
                    <a:pt x="65170" y="170139"/>
                  </a:cubicBezTo>
                  <a:lnTo>
                    <a:pt x="30484" y="273649"/>
                  </a:lnTo>
                  <a:cubicBezTo>
                    <a:pt x="30484" y="273649"/>
                    <a:pt x="30545" y="332842"/>
                    <a:pt x="30484" y="332659"/>
                  </a:cubicBezTo>
                  <a:cubicBezTo>
                    <a:pt x="26522" y="322600"/>
                    <a:pt x="13354" y="292608"/>
                    <a:pt x="10794" y="281696"/>
                  </a:cubicBezTo>
                  <a:cubicBezTo>
                    <a:pt x="2381" y="245974"/>
                    <a:pt x="-1337" y="210373"/>
                    <a:pt x="431" y="177211"/>
                  </a:cubicBezTo>
                  <a:cubicBezTo>
                    <a:pt x="1101" y="165323"/>
                    <a:pt x="2381" y="153741"/>
                    <a:pt x="4515" y="142585"/>
                  </a:cubicBezTo>
                  <a:cubicBezTo>
                    <a:pt x="7380" y="126980"/>
                    <a:pt x="11708" y="112105"/>
                    <a:pt x="17560" y="98267"/>
                  </a:cubicBezTo>
                  <a:cubicBezTo>
                    <a:pt x="17560" y="98267"/>
                    <a:pt x="54807" y="0"/>
                    <a:pt x="182884" y="122"/>
                  </a:cubicBezTo>
                  <a:cubicBezTo>
                    <a:pt x="185566" y="61"/>
                    <a:pt x="188126" y="0"/>
                    <a:pt x="190687" y="0"/>
                  </a:cubicBezTo>
                  <a:cubicBezTo>
                    <a:pt x="225251" y="0"/>
                    <a:pt x="249635" y="6523"/>
                    <a:pt x="273044" y="18105"/>
                  </a:cubicBezTo>
                  <a:cubicBezTo>
                    <a:pt x="273044" y="18105"/>
                    <a:pt x="311388" y="36698"/>
                    <a:pt x="343087" y="21458"/>
                  </a:cubicBezTo>
                  <a:cubicBezTo>
                    <a:pt x="344123" y="20970"/>
                    <a:pt x="345342" y="21763"/>
                    <a:pt x="345220" y="22921"/>
                  </a:cubicBezTo>
                  <a:cubicBezTo>
                    <a:pt x="344672" y="27188"/>
                    <a:pt x="342843" y="35905"/>
                    <a:pt x="336625" y="44013"/>
                  </a:cubicBezTo>
                  <a:cubicBezTo>
                    <a:pt x="344855" y="44379"/>
                    <a:pt x="354121" y="43769"/>
                    <a:pt x="364910" y="41453"/>
                  </a:cubicBezTo>
                  <a:cubicBezTo>
                    <a:pt x="365032" y="41453"/>
                    <a:pt x="365154" y="41392"/>
                    <a:pt x="365276" y="41392"/>
                  </a:cubicBezTo>
                  <a:lnTo>
                    <a:pt x="365276" y="41819"/>
                  </a:lnTo>
                  <a:cubicBezTo>
                    <a:pt x="366069" y="63276"/>
                    <a:pt x="358632" y="82357"/>
                    <a:pt x="348268" y="98267"/>
                  </a:cubicBezTo>
                  <a:cubicBezTo>
                    <a:pt x="353999" y="111862"/>
                    <a:pt x="358266" y="126431"/>
                    <a:pt x="361192" y="141732"/>
                  </a:cubicBezTo>
                  <a:cubicBezTo>
                    <a:pt x="363326" y="152888"/>
                    <a:pt x="364667" y="164470"/>
                    <a:pt x="365337" y="176296"/>
                  </a:cubicBezTo>
                  <a:cubicBezTo>
                    <a:pt x="367227" y="209763"/>
                    <a:pt x="363569" y="245608"/>
                    <a:pt x="355035" y="281696"/>
                  </a:cubicBezTo>
                  <a:close/>
                </a:path>
              </a:pathLst>
            </a:custGeom>
            <a:solidFill>
              <a:srgbClr val="4F3C30"/>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03" name="Freeform: Shape 7002">
              <a:extLst>
                <a:ext uri="{FF2B5EF4-FFF2-40B4-BE49-F238E27FC236}">
                  <a16:creationId xmlns:a16="http://schemas.microsoft.com/office/drawing/2014/main" id="{48D57977-6E29-4EBA-88FB-D4FF8AB1045E}"/>
                </a:ext>
              </a:extLst>
            </p:cNvPr>
            <p:cNvSpPr/>
            <p:nvPr/>
          </p:nvSpPr>
          <p:spPr>
            <a:xfrm>
              <a:off x="10886454" y="2650621"/>
              <a:ext cx="478276" cy="140199"/>
            </a:xfrm>
            <a:custGeom>
              <a:avLst/>
              <a:gdLst>
                <a:gd name="connsiteX0" fmla="*/ 341254 w 341376"/>
                <a:gd name="connsiteY0" fmla="*/ 8961 h 106558"/>
                <a:gd name="connsiteX1" fmla="*/ 308031 w 341376"/>
                <a:gd name="connsiteY1" fmla="*/ 8961 h 106558"/>
                <a:gd name="connsiteX2" fmla="*/ 262615 w 341376"/>
                <a:gd name="connsiteY2" fmla="*/ 0 h 106558"/>
                <a:gd name="connsiteX3" fmla="*/ 193853 w 341376"/>
                <a:gd name="connsiteY3" fmla="*/ 19141 h 106558"/>
                <a:gd name="connsiteX4" fmla="*/ 170627 w 341376"/>
                <a:gd name="connsiteY4" fmla="*/ 12680 h 106558"/>
                <a:gd name="connsiteX5" fmla="*/ 147401 w 341376"/>
                <a:gd name="connsiteY5" fmla="*/ 19141 h 106558"/>
                <a:gd name="connsiteX6" fmla="*/ 78638 w 341376"/>
                <a:gd name="connsiteY6" fmla="*/ 0 h 106558"/>
                <a:gd name="connsiteX7" fmla="*/ 33223 w 341376"/>
                <a:gd name="connsiteY7" fmla="*/ 8961 h 106558"/>
                <a:gd name="connsiteX8" fmla="*/ 0 w 341376"/>
                <a:gd name="connsiteY8" fmla="*/ 8961 h 106558"/>
                <a:gd name="connsiteX9" fmla="*/ 0 w 341376"/>
                <a:gd name="connsiteY9" fmla="*/ 32735 h 106558"/>
                <a:gd name="connsiteX10" fmla="*/ 10912 w 341376"/>
                <a:gd name="connsiteY10" fmla="*/ 36576 h 106558"/>
                <a:gd name="connsiteX11" fmla="*/ 9327 w 341376"/>
                <a:gd name="connsiteY11" fmla="*/ 49926 h 106558"/>
                <a:gd name="connsiteX12" fmla="*/ 78638 w 341376"/>
                <a:gd name="connsiteY12" fmla="*/ 106558 h 106558"/>
                <a:gd name="connsiteX13" fmla="*/ 155631 w 341376"/>
                <a:gd name="connsiteY13" fmla="*/ 51206 h 106558"/>
                <a:gd name="connsiteX14" fmla="*/ 156118 w 341376"/>
                <a:gd name="connsiteY14" fmla="*/ 36759 h 106558"/>
                <a:gd name="connsiteX15" fmla="*/ 170688 w 341376"/>
                <a:gd name="connsiteY15" fmla="*/ 33528 h 106558"/>
                <a:gd name="connsiteX16" fmla="*/ 185257 w 341376"/>
                <a:gd name="connsiteY16" fmla="*/ 36759 h 106558"/>
                <a:gd name="connsiteX17" fmla="*/ 185745 w 341376"/>
                <a:gd name="connsiteY17" fmla="*/ 51206 h 106558"/>
                <a:gd name="connsiteX18" fmla="*/ 262737 w 341376"/>
                <a:gd name="connsiteY18" fmla="*/ 106558 h 106558"/>
                <a:gd name="connsiteX19" fmla="*/ 332049 w 341376"/>
                <a:gd name="connsiteY19" fmla="*/ 49926 h 106558"/>
                <a:gd name="connsiteX20" fmla="*/ 330464 w 341376"/>
                <a:gd name="connsiteY20" fmla="*/ 36576 h 106558"/>
                <a:gd name="connsiteX21" fmla="*/ 341376 w 341376"/>
                <a:gd name="connsiteY21" fmla="*/ 32735 h 106558"/>
                <a:gd name="connsiteX22" fmla="*/ 341376 w 341376"/>
                <a:gd name="connsiteY22" fmla="*/ 8961 h 106558"/>
                <a:gd name="connsiteX23" fmla="*/ 145938 w 341376"/>
                <a:gd name="connsiteY23" fmla="*/ 51267 h 106558"/>
                <a:gd name="connsiteX24" fmla="*/ 78577 w 341376"/>
                <a:gd name="connsiteY24" fmla="*/ 97780 h 106558"/>
                <a:gd name="connsiteX25" fmla="*/ 17557 w 341376"/>
                <a:gd name="connsiteY25" fmla="*/ 48646 h 106558"/>
                <a:gd name="connsiteX26" fmla="*/ 78577 w 341376"/>
                <a:gd name="connsiteY26" fmla="*/ 20422 h 106558"/>
                <a:gd name="connsiteX27" fmla="*/ 140086 w 341376"/>
                <a:gd name="connsiteY27" fmla="*/ 33284 h 106558"/>
                <a:gd name="connsiteX28" fmla="*/ 145938 w 341376"/>
                <a:gd name="connsiteY28" fmla="*/ 51267 h 106558"/>
                <a:gd name="connsiteX29" fmla="*/ 262555 w 341376"/>
                <a:gd name="connsiteY29" fmla="*/ 97719 h 106558"/>
                <a:gd name="connsiteX30" fmla="*/ 195194 w 341376"/>
                <a:gd name="connsiteY30" fmla="*/ 51206 h 106558"/>
                <a:gd name="connsiteX31" fmla="*/ 201046 w 341376"/>
                <a:gd name="connsiteY31" fmla="*/ 33162 h 106558"/>
                <a:gd name="connsiteX32" fmla="*/ 262555 w 341376"/>
                <a:gd name="connsiteY32" fmla="*/ 20300 h 106558"/>
                <a:gd name="connsiteX33" fmla="*/ 323575 w 341376"/>
                <a:gd name="connsiteY33" fmla="*/ 48524 h 106558"/>
                <a:gd name="connsiteX34" fmla="*/ 262555 w 341376"/>
                <a:gd name="connsiteY34" fmla="*/ 97719 h 10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1376" h="106558">
                  <a:moveTo>
                    <a:pt x="341254" y="8961"/>
                  </a:moveTo>
                  <a:lnTo>
                    <a:pt x="308031" y="8961"/>
                  </a:lnTo>
                  <a:cubicBezTo>
                    <a:pt x="297607" y="3475"/>
                    <a:pt x="283037" y="0"/>
                    <a:pt x="262615" y="0"/>
                  </a:cubicBezTo>
                  <a:cubicBezTo>
                    <a:pt x="228722" y="0"/>
                    <a:pt x="205679" y="6462"/>
                    <a:pt x="193853" y="19141"/>
                  </a:cubicBezTo>
                  <a:cubicBezTo>
                    <a:pt x="188245" y="16093"/>
                    <a:pt x="179954" y="12680"/>
                    <a:pt x="170627" y="12680"/>
                  </a:cubicBezTo>
                  <a:cubicBezTo>
                    <a:pt x="161239" y="12680"/>
                    <a:pt x="153009" y="16093"/>
                    <a:pt x="147401" y="19141"/>
                  </a:cubicBezTo>
                  <a:cubicBezTo>
                    <a:pt x="135575" y="6462"/>
                    <a:pt x="112532" y="0"/>
                    <a:pt x="78638" y="0"/>
                  </a:cubicBezTo>
                  <a:cubicBezTo>
                    <a:pt x="58217" y="0"/>
                    <a:pt x="43647" y="3475"/>
                    <a:pt x="33223" y="8961"/>
                  </a:cubicBezTo>
                  <a:lnTo>
                    <a:pt x="0" y="8961"/>
                  </a:lnTo>
                  <a:lnTo>
                    <a:pt x="0" y="32735"/>
                  </a:lnTo>
                  <a:lnTo>
                    <a:pt x="10912" y="36576"/>
                  </a:lnTo>
                  <a:cubicBezTo>
                    <a:pt x="9814" y="41026"/>
                    <a:pt x="9327" y="45537"/>
                    <a:pt x="9327" y="49926"/>
                  </a:cubicBezTo>
                  <a:cubicBezTo>
                    <a:pt x="9327" y="85771"/>
                    <a:pt x="20665" y="106558"/>
                    <a:pt x="78638" y="106558"/>
                  </a:cubicBezTo>
                  <a:cubicBezTo>
                    <a:pt x="127650" y="106558"/>
                    <a:pt x="147035" y="92598"/>
                    <a:pt x="155631" y="51206"/>
                  </a:cubicBezTo>
                  <a:cubicBezTo>
                    <a:pt x="156667" y="46147"/>
                    <a:pt x="156789" y="41331"/>
                    <a:pt x="156118" y="36759"/>
                  </a:cubicBezTo>
                  <a:cubicBezTo>
                    <a:pt x="158801" y="35052"/>
                    <a:pt x="163312" y="33528"/>
                    <a:pt x="170688" y="33528"/>
                  </a:cubicBezTo>
                  <a:cubicBezTo>
                    <a:pt x="178064" y="33528"/>
                    <a:pt x="182514" y="35052"/>
                    <a:pt x="185257" y="36759"/>
                  </a:cubicBezTo>
                  <a:cubicBezTo>
                    <a:pt x="184587" y="41270"/>
                    <a:pt x="184648" y="46147"/>
                    <a:pt x="185745" y="51206"/>
                  </a:cubicBezTo>
                  <a:cubicBezTo>
                    <a:pt x="194341" y="92598"/>
                    <a:pt x="213726" y="106558"/>
                    <a:pt x="262737" y="106558"/>
                  </a:cubicBezTo>
                  <a:cubicBezTo>
                    <a:pt x="320710" y="106558"/>
                    <a:pt x="332049" y="85832"/>
                    <a:pt x="332049" y="49926"/>
                  </a:cubicBezTo>
                  <a:cubicBezTo>
                    <a:pt x="332049" y="45598"/>
                    <a:pt x="331622" y="41026"/>
                    <a:pt x="330464" y="36576"/>
                  </a:cubicBezTo>
                  <a:lnTo>
                    <a:pt x="341376" y="32735"/>
                  </a:lnTo>
                  <a:lnTo>
                    <a:pt x="341376" y="8961"/>
                  </a:lnTo>
                  <a:close/>
                  <a:moveTo>
                    <a:pt x="145938" y="51267"/>
                  </a:moveTo>
                  <a:cubicBezTo>
                    <a:pt x="138501" y="87112"/>
                    <a:pt x="124724" y="97780"/>
                    <a:pt x="78577" y="97780"/>
                  </a:cubicBezTo>
                  <a:cubicBezTo>
                    <a:pt x="20605" y="97780"/>
                    <a:pt x="17557" y="75469"/>
                    <a:pt x="17557" y="48646"/>
                  </a:cubicBezTo>
                  <a:cubicBezTo>
                    <a:pt x="17557" y="39319"/>
                    <a:pt x="21397" y="20422"/>
                    <a:pt x="78577" y="20422"/>
                  </a:cubicBezTo>
                  <a:cubicBezTo>
                    <a:pt x="118018" y="20422"/>
                    <a:pt x="133990" y="25786"/>
                    <a:pt x="140086" y="33284"/>
                  </a:cubicBezTo>
                  <a:cubicBezTo>
                    <a:pt x="144353" y="38527"/>
                    <a:pt x="147584" y="43282"/>
                    <a:pt x="145938" y="51267"/>
                  </a:cubicBezTo>
                  <a:close/>
                  <a:moveTo>
                    <a:pt x="262555" y="97719"/>
                  </a:moveTo>
                  <a:cubicBezTo>
                    <a:pt x="216347" y="97719"/>
                    <a:pt x="202570" y="87051"/>
                    <a:pt x="195194" y="51206"/>
                  </a:cubicBezTo>
                  <a:cubicBezTo>
                    <a:pt x="193548" y="43221"/>
                    <a:pt x="196718" y="38466"/>
                    <a:pt x="201046" y="33162"/>
                  </a:cubicBezTo>
                  <a:cubicBezTo>
                    <a:pt x="207142" y="25664"/>
                    <a:pt x="223174" y="20300"/>
                    <a:pt x="262555" y="20300"/>
                  </a:cubicBezTo>
                  <a:cubicBezTo>
                    <a:pt x="319674" y="20300"/>
                    <a:pt x="323575" y="39197"/>
                    <a:pt x="323575" y="48524"/>
                  </a:cubicBezTo>
                  <a:cubicBezTo>
                    <a:pt x="323575" y="75407"/>
                    <a:pt x="320527" y="97719"/>
                    <a:pt x="262555" y="97719"/>
                  </a:cubicBezTo>
                  <a:close/>
                </a:path>
              </a:pathLst>
            </a:custGeom>
            <a:solidFill>
              <a:srgbClr val="FFFFFF"/>
            </a:solidFill>
            <a:ln w="6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1" name="Picture 10">
            <a:extLst>
              <a:ext uri="{FF2B5EF4-FFF2-40B4-BE49-F238E27FC236}">
                <a16:creationId xmlns:a16="http://schemas.microsoft.com/office/drawing/2014/main" id="{80649796-1D51-1924-B9A9-782C4C185BDD}"/>
              </a:ext>
            </a:extLst>
          </p:cNvPr>
          <p:cNvPicPr>
            <a:picLocks noChangeAspect="1"/>
          </p:cNvPicPr>
          <p:nvPr>
            <p:custDataLst>
              <p:tags r:id="rId8"/>
            </p:custDataLst>
          </p:nvPr>
        </p:nvPicPr>
        <p:blipFill>
          <a:blip r:embed="rId15"/>
          <a:stretch>
            <a:fillRect/>
          </a:stretch>
        </p:blipFill>
        <p:spPr>
          <a:xfrm>
            <a:off x="867107" y="3213321"/>
            <a:ext cx="7379079" cy="1790792"/>
          </a:xfrm>
          <a:prstGeom prst="rect">
            <a:avLst/>
          </a:prstGeom>
          <a:ln>
            <a:solidFill>
              <a:schemeClr val="accent1"/>
            </a:solidFill>
          </a:ln>
          <a:effectLst/>
        </p:spPr>
      </p:pic>
      <p:sp>
        <p:nvSpPr>
          <p:cNvPr id="7" name="TextBox 6">
            <a:extLst>
              <a:ext uri="{FF2B5EF4-FFF2-40B4-BE49-F238E27FC236}">
                <a16:creationId xmlns:a16="http://schemas.microsoft.com/office/drawing/2014/main" id="{8834002C-63E2-980D-6335-78BA768D5DE4}"/>
              </a:ext>
            </a:extLst>
          </p:cNvPr>
          <p:cNvSpPr txBox="1"/>
          <p:nvPr>
            <p:custDataLst>
              <p:tags r:id="rId9"/>
            </p:custDataLst>
          </p:nvPr>
        </p:nvSpPr>
        <p:spPr>
          <a:xfrm>
            <a:off x="-1027688" y="2821771"/>
            <a:ext cx="1027687" cy="954107"/>
          </a:xfrm>
          <a:prstGeom prst="rect">
            <a:avLst/>
          </a:prstGeom>
          <a:noFill/>
        </p:spPr>
        <p:txBody>
          <a:bodyPr wrap="square" lIns="18288" rIns="1828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DPC 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6/24/24, source= 681034.docx</a:t>
            </a:r>
          </a:p>
        </p:txBody>
      </p:sp>
      <p:sp>
        <p:nvSpPr>
          <p:cNvPr id="4" name="Slide Number Placeholder 3">
            <a:extLst>
              <a:ext uri="{FF2B5EF4-FFF2-40B4-BE49-F238E27FC236}">
                <a16:creationId xmlns:a16="http://schemas.microsoft.com/office/drawing/2014/main" id="{FA4D2F27-3DA0-65A3-1573-B39E8F02C7D5}"/>
              </a:ext>
            </a:extLst>
          </p:cNvPr>
          <p:cNvSpPr>
            <a:spLocks noGrp="1"/>
          </p:cNvSpPr>
          <p:nvPr>
            <p:ph type="sldNum" sz="quarter" idx="4"/>
            <p:custDataLst>
              <p:tags r:id="rId10"/>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64"/>
                </a:solidFill>
                <a:effectLst/>
                <a:uLnTx/>
                <a:uFillTx/>
                <a:latin typeface="Calibri"/>
                <a:ea typeface="+mn-ea"/>
                <a:cs typeface="+mn-cs"/>
              </a:rPr>
              <a:t>|  </a:t>
            </a:r>
            <a:fld id="{020DA90B-5D47-4F77-AA3C-54E76B4D78A2}" type="slidenum">
              <a:rPr kumimoji="0" lang="en-US" sz="1600" b="0" i="0" u="none" strike="noStrike" kern="1200" cap="none" spc="0" normalizeH="0" baseline="0" noProof="0" smtClean="0">
                <a:ln>
                  <a:noFill/>
                </a:ln>
                <a:solidFill>
                  <a:srgbClr val="00006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r>
              <a:rPr kumimoji="0" lang="en-US" sz="1600" b="0" i="0" u="none" strike="noStrike" kern="1200" cap="none" spc="0" normalizeH="0" baseline="0" noProof="0" dirty="0">
                <a:ln>
                  <a:noFill/>
                </a:ln>
                <a:solidFill>
                  <a:srgbClr val="000064"/>
                </a:solidFill>
                <a:effectLst/>
                <a:uLnTx/>
                <a:uFillTx/>
                <a:latin typeface="Calibri"/>
                <a:ea typeface="+mn-ea"/>
                <a:cs typeface="+mn-cs"/>
              </a:rPr>
              <a:t>   </a:t>
            </a:r>
          </a:p>
        </p:txBody>
      </p:sp>
      <p:grpSp>
        <p:nvGrpSpPr>
          <p:cNvPr id="6" name="Group 5">
            <a:extLst>
              <a:ext uri="{FF2B5EF4-FFF2-40B4-BE49-F238E27FC236}">
                <a16:creationId xmlns:a16="http://schemas.microsoft.com/office/drawing/2014/main" id="{D97FBC4F-C4F0-BF9A-0ADA-76E2B142E441}"/>
              </a:ext>
            </a:extLst>
          </p:cNvPr>
          <p:cNvGrpSpPr/>
          <p:nvPr>
            <p:custDataLst>
              <p:tags r:id="rId11"/>
            </p:custDataLst>
          </p:nvPr>
        </p:nvGrpSpPr>
        <p:grpSpPr>
          <a:xfrm>
            <a:off x="266700" y="5825829"/>
            <a:ext cx="11604816" cy="338554"/>
            <a:chOff x="278574" y="5597728"/>
            <a:chExt cx="11604816" cy="338554"/>
          </a:xfrm>
        </p:grpSpPr>
        <p:sp>
          <p:nvSpPr>
            <p:cNvPr id="8" name="TextBox 7">
              <a:extLst>
                <a:ext uri="{FF2B5EF4-FFF2-40B4-BE49-F238E27FC236}">
                  <a16:creationId xmlns:a16="http://schemas.microsoft.com/office/drawing/2014/main" id="{0CE600D4-C7D1-3915-B254-BD405E2CBBCE}"/>
                </a:ext>
              </a:extLst>
            </p:cNvPr>
            <p:cNvSpPr txBox="1"/>
            <p:nvPr/>
          </p:nvSpPr>
          <p:spPr>
            <a:xfrm>
              <a:off x="548640" y="5597728"/>
              <a:ext cx="11334750" cy="338554"/>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1E1"/>
                  </a:solidFill>
                  <a:effectLst/>
                  <a:uLnTx/>
                  <a:uFillTx/>
                  <a:latin typeface="Calibri"/>
                  <a:ea typeface="+mn-ea"/>
                  <a:cs typeface="+mn-cs"/>
                </a:rPr>
                <a:t>Advance to the next slide to reference REMAP skills during </a:t>
              </a:r>
              <a:r>
                <a:rPr kumimoji="0" lang="en-US" sz="1600" b="1" i="0" u="none" strike="noStrike" kern="1200" cap="none" spc="0" normalizeH="0" baseline="0" noProof="0">
                  <a:ln>
                    <a:noFill/>
                  </a:ln>
                  <a:solidFill>
                    <a:srgbClr val="0091E1"/>
                  </a:solidFill>
                  <a:effectLst/>
                  <a:uLnTx/>
                  <a:uFillTx/>
                  <a:latin typeface="Calibri"/>
                  <a:ea typeface="+mn-ea"/>
                  <a:cs typeface="+mn-cs"/>
                </a:rPr>
                <a:t>the demonstration.  </a:t>
              </a:r>
              <a:endParaRPr kumimoji="0" lang="en-US" sz="1600" b="1" i="0" u="none" strike="noStrike" kern="1200" cap="none" spc="0" normalizeH="0" baseline="0" noProof="0" dirty="0">
                <a:ln>
                  <a:noFill/>
                </a:ln>
                <a:solidFill>
                  <a:srgbClr val="0091E1"/>
                </a:solidFill>
                <a:effectLst/>
                <a:uLnTx/>
                <a:uFillTx/>
                <a:latin typeface="Calibri"/>
                <a:ea typeface="+mn-ea"/>
                <a:cs typeface="+mn-cs"/>
              </a:endParaRPr>
            </a:p>
          </p:txBody>
        </p:sp>
        <p:sp>
          <p:nvSpPr>
            <p:cNvPr id="9" name="Isosceles Triangle 8">
              <a:extLst>
                <a:ext uri="{FF2B5EF4-FFF2-40B4-BE49-F238E27FC236}">
                  <a16:creationId xmlns:a16="http://schemas.microsoft.com/office/drawing/2014/main" id="{713C3D48-6360-28CE-E93A-233080DDDCDB}"/>
                </a:ext>
              </a:extLst>
            </p:cNvPr>
            <p:cNvSpPr/>
            <p:nvPr/>
          </p:nvSpPr>
          <p:spPr>
            <a:xfrm rot="5400000">
              <a:off x="209772" y="5671280"/>
              <a:ext cx="329056" cy="19145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Tree>
    <p:custDataLst>
      <p:tags r:id="rId1"/>
    </p:custDataLst>
    <p:extLst>
      <p:ext uri="{BB962C8B-B14F-4D97-AF65-F5344CB8AC3E}">
        <p14:creationId xmlns:p14="http://schemas.microsoft.com/office/powerpoint/2010/main" val="1254971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219" name="think-cell data - do not delete" hidden="1">
            <a:extLst>
              <a:ext uri="{FF2B5EF4-FFF2-40B4-BE49-F238E27FC236}">
                <a16:creationId xmlns:a16="http://schemas.microsoft.com/office/drawing/2014/main" id="{C541BC36-8FA7-0849-BEB0-8877AC1FDDE1}"/>
              </a:ext>
            </a:extLst>
          </p:cNvPr>
          <p:cNvGraphicFramePr>
            <a:graphicFrameLocks noChangeAspect="1"/>
          </p:cNvGraphicFramePr>
          <p:nvPr>
            <p:custDataLst>
              <p:tags r:id="rId2"/>
            </p:custDataLst>
          </p:nvPr>
        </p:nvGraphicFramePr>
        <p:xfrm>
          <a:off x="3447401" y="1083"/>
          <a:ext cx="1083" cy="1083"/>
        </p:xfrm>
        <a:graphic>
          <a:graphicData uri="http://schemas.openxmlformats.org/presentationml/2006/ole">
            <mc:AlternateContent xmlns:mc="http://schemas.openxmlformats.org/markup-compatibility/2006">
              <mc:Choice xmlns:v="urn:schemas-microsoft-com:vml" Requires="v">
                <p:oleObj name="think-cell Slide" r:id="rId10" imgW="416" imgH="416" progId="TCLayout.ActiveDocument.1">
                  <p:embed/>
                </p:oleObj>
              </mc:Choice>
              <mc:Fallback>
                <p:oleObj name="think-cell Slide" r:id="rId10" imgW="416" imgH="416" progId="TCLayout.ActiveDocument.1">
                  <p:embed/>
                  <p:pic>
                    <p:nvPicPr>
                      <p:cNvPr id="219" name="think-cell data - do not delete" hidden="1">
                        <a:extLst>
                          <a:ext uri="{FF2B5EF4-FFF2-40B4-BE49-F238E27FC236}">
                            <a16:creationId xmlns:a16="http://schemas.microsoft.com/office/drawing/2014/main" id="{C541BC36-8FA7-0849-BEB0-8877AC1FDDE1}"/>
                          </a:ext>
                        </a:extLst>
                      </p:cNvPr>
                      <p:cNvPicPr/>
                      <p:nvPr/>
                    </p:nvPicPr>
                    <p:blipFill>
                      <a:blip r:embed="rId11"/>
                      <a:stretch>
                        <a:fillRect/>
                      </a:stretch>
                    </p:blipFill>
                    <p:spPr>
                      <a:xfrm>
                        <a:off x="3447401" y="1083"/>
                        <a:ext cx="1083" cy="1083"/>
                      </a:xfrm>
                      <a:prstGeom prst="rect">
                        <a:avLst/>
                      </a:prstGeom>
                    </p:spPr>
                  </p:pic>
                </p:oleObj>
              </mc:Fallback>
            </mc:AlternateContent>
          </a:graphicData>
        </a:graphic>
      </p:graphicFrame>
      <p:sp>
        <p:nvSpPr>
          <p:cNvPr id="115" name="Freeform: Shape 114">
            <a:extLst>
              <a:ext uri="{FF2B5EF4-FFF2-40B4-BE49-F238E27FC236}">
                <a16:creationId xmlns:a16="http://schemas.microsoft.com/office/drawing/2014/main" id="{BA021AD6-7225-5739-583D-1F3989A55AA4}"/>
              </a:ext>
            </a:extLst>
          </p:cNvPr>
          <p:cNvSpPr/>
          <p:nvPr>
            <p:custDataLst>
              <p:tags r:id="rId3"/>
            </p:custDataLst>
          </p:nvPr>
        </p:nvSpPr>
        <p:spPr>
          <a:xfrm>
            <a:off x="0" y="2"/>
            <a:ext cx="12191999" cy="1700784"/>
          </a:xfrm>
          <a:custGeom>
            <a:avLst/>
            <a:gdLst>
              <a:gd name="connsiteX0" fmla="*/ 0 w 6794446"/>
              <a:gd name="connsiteY0" fmla="*/ 0 h 1248721"/>
              <a:gd name="connsiteX1" fmla="*/ 6794447 w 6794446"/>
              <a:gd name="connsiteY1" fmla="*/ 0 h 1248721"/>
              <a:gd name="connsiteX2" fmla="*/ 6794447 w 6794446"/>
              <a:gd name="connsiteY2" fmla="*/ 1248722 h 1248721"/>
              <a:gd name="connsiteX3" fmla="*/ 0 w 6794446"/>
              <a:gd name="connsiteY3" fmla="*/ 1248722 h 1248721"/>
            </a:gdLst>
            <a:ahLst/>
            <a:cxnLst>
              <a:cxn ang="0">
                <a:pos x="connsiteX0" y="connsiteY0"/>
              </a:cxn>
              <a:cxn ang="0">
                <a:pos x="connsiteX1" y="connsiteY1"/>
              </a:cxn>
              <a:cxn ang="0">
                <a:pos x="connsiteX2" y="connsiteY2"/>
              </a:cxn>
              <a:cxn ang="0">
                <a:pos x="connsiteX3" y="connsiteY3"/>
              </a:cxn>
            </a:cxnLst>
            <a:rect l="l" t="t" r="r" b="b"/>
            <a:pathLst>
              <a:path w="6794446" h="1248721">
                <a:moveTo>
                  <a:pt x="0" y="0"/>
                </a:moveTo>
                <a:lnTo>
                  <a:pt x="6794447" y="0"/>
                </a:lnTo>
                <a:lnTo>
                  <a:pt x="6794447" y="1248722"/>
                </a:lnTo>
                <a:lnTo>
                  <a:pt x="0" y="1248722"/>
                </a:lnTo>
                <a:close/>
              </a:path>
            </a:pathLst>
          </a:custGeom>
          <a:solidFill>
            <a:schemeClr val="accent1"/>
          </a:solidFill>
          <a:ln w="12903" cap="flat">
            <a:no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Rectangle 131">
            <a:extLst>
              <a:ext uri="{FF2B5EF4-FFF2-40B4-BE49-F238E27FC236}">
                <a16:creationId xmlns:a16="http://schemas.microsoft.com/office/drawing/2014/main" id="{3F05E3B9-3806-1AC9-5665-D71349AD614C}"/>
              </a:ext>
            </a:extLst>
          </p:cNvPr>
          <p:cNvSpPr/>
          <p:nvPr>
            <p:custDataLst>
              <p:tags r:id="rId4"/>
            </p:custDataLst>
          </p:nvPr>
        </p:nvSpPr>
        <p:spPr>
          <a:xfrm>
            <a:off x="3556529" y="538338"/>
            <a:ext cx="8476327" cy="646331"/>
          </a:xfrm>
          <a:prstGeom prst="rect">
            <a:avLst/>
          </a:prstGeom>
          <a:noFill/>
        </p:spPr>
        <p:txBody>
          <a:bodyPr wrap="square" lIns="62345" rIns="62345" rtlCol="0">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Purpose: </a:t>
            </a:r>
            <a:r>
              <a:rPr kumimoji="0" lang="en-US" sz="1800" b="0" i="0" u="none" strike="noStrike" kern="1200" cap="none" spc="0" normalizeH="0" baseline="0" noProof="0" dirty="0">
                <a:ln>
                  <a:noFill/>
                </a:ln>
                <a:solidFill>
                  <a:prstClr val="white"/>
                </a:solidFill>
                <a:effectLst/>
                <a:uLnTx/>
                <a:uFillTx/>
                <a:latin typeface="Calibri"/>
                <a:ea typeface="+mn-ea"/>
                <a:cs typeface="+mn-cs"/>
              </a:rPr>
              <a:t>To talk to patients about their goals and values, assess their illness understanding, share their prognosis, and discuss a care plan that aligns with their goals</a:t>
            </a:r>
            <a:r>
              <a:rPr kumimoji="0" lang="en-US" sz="1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22" name="TextBox 221">
            <a:extLst>
              <a:ext uri="{FF2B5EF4-FFF2-40B4-BE49-F238E27FC236}">
                <a16:creationId xmlns:a16="http://schemas.microsoft.com/office/drawing/2014/main" id="{88509352-2CAE-36B0-EE10-16E91441E95B}"/>
              </a:ext>
            </a:extLst>
          </p:cNvPr>
          <p:cNvSpPr txBox="1"/>
          <p:nvPr>
            <p:custDataLst>
              <p:tags r:id="rId5"/>
            </p:custDataLst>
          </p:nvPr>
        </p:nvSpPr>
        <p:spPr>
          <a:xfrm>
            <a:off x="254136" y="277624"/>
            <a:ext cx="3143250" cy="1160959"/>
          </a:xfrm>
          <a:prstGeom prst="rect">
            <a:avLst/>
          </a:prstGeom>
          <a:noFill/>
        </p:spPr>
        <p:txBody>
          <a:bodyPr wrap="square" rtlCol="0">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91E1"/>
                </a:solidFill>
                <a:effectLst/>
                <a:uLnTx/>
                <a:uFillTx/>
                <a:latin typeface="Verdana"/>
                <a:ea typeface="+mn-ea"/>
                <a:cs typeface="+mn-cs"/>
              </a:rPr>
              <a:t>REMAP</a:t>
            </a:r>
            <a:br>
              <a:rPr kumimoji="0" lang="en-US" sz="6000" b="1" i="0" u="none" strike="noStrike" kern="1200" cap="none" spc="34" normalizeH="0" baseline="0" noProof="0" dirty="0">
                <a:ln w="0"/>
                <a:solidFill>
                  <a:prstClr val="white"/>
                </a:solidFill>
                <a:effectLst>
                  <a:innerShdw blurRad="63500" dist="50800" dir="13500000">
                    <a:srgbClr val="000000">
                      <a:alpha val="50000"/>
                    </a:srgbClr>
                  </a:innerShdw>
                </a:effectLst>
                <a:uLnTx/>
                <a:uFillTx/>
                <a:latin typeface="Calibri"/>
                <a:ea typeface="+mn-ea"/>
                <a:cs typeface="+mn-cs"/>
              </a:rPr>
            </a:br>
            <a:r>
              <a:rPr kumimoji="0" lang="en-US" sz="3200" b="0" i="0" u="none" strike="noStrike" kern="1200" cap="none" spc="0" normalizeH="0" baseline="0" noProof="0" dirty="0">
                <a:ln>
                  <a:noFill/>
                </a:ln>
                <a:solidFill>
                  <a:prstClr val="white"/>
                </a:solidFill>
                <a:effectLst/>
                <a:uLnTx/>
                <a:uFillTx/>
                <a:latin typeface="Calibri"/>
                <a:ea typeface="+mn-ea"/>
                <a:cs typeface="+mn-cs"/>
              </a:rPr>
              <a:t>for Goals of Care</a:t>
            </a:r>
          </a:p>
        </p:txBody>
      </p:sp>
      <p:pic>
        <p:nvPicPr>
          <p:cNvPr id="288" name="Picture 287">
            <a:extLst>
              <a:ext uri="{FF2B5EF4-FFF2-40B4-BE49-F238E27FC236}">
                <a16:creationId xmlns:a16="http://schemas.microsoft.com/office/drawing/2014/main" id="{DCADCE34-33BF-18B4-F2DB-4244BABC1F95}"/>
              </a:ext>
            </a:extLst>
          </p:cNvPr>
          <p:cNvPicPr>
            <a:picLocks noChangeAspect="1"/>
          </p:cNvPicPr>
          <p:nvPr>
            <p:custDataLst>
              <p:tags r:id="rId6"/>
            </p:custDataLst>
          </p:nvPr>
        </p:nvPicPr>
        <p:blipFill>
          <a:blip r:embed="rId12"/>
          <a:stretch>
            <a:fillRect/>
          </a:stretch>
        </p:blipFill>
        <p:spPr>
          <a:xfrm>
            <a:off x="94373" y="6485938"/>
            <a:ext cx="4066002" cy="243963"/>
          </a:xfrm>
          <a:prstGeom prst="rect">
            <a:avLst/>
          </a:prstGeom>
        </p:spPr>
      </p:pic>
      <p:pic>
        <p:nvPicPr>
          <p:cNvPr id="289" name="Picture 288">
            <a:extLst>
              <a:ext uri="{FF2B5EF4-FFF2-40B4-BE49-F238E27FC236}">
                <a16:creationId xmlns:a16="http://schemas.microsoft.com/office/drawing/2014/main" id="{B606989D-48E1-BC3B-E1DD-3FE32EE08055}"/>
              </a:ext>
            </a:extLst>
          </p:cNvPr>
          <p:cNvPicPr>
            <a:picLocks noChangeAspect="1"/>
          </p:cNvPicPr>
          <p:nvPr>
            <p:custDataLst>
              <p:tags r:id="rId7"/>
            </p:custDataLst>
          </p:nvPr>
        </p:nvPicPr>
        <p:blipFill>
          <a:blip r:embed="rId13"/>
          <a:stretch>
            <a:fillRect/>
          </a:stretch>
        </p:blipFill>
        <p:spPr>
          <a:xfrm>
            <a:off x="4291931" y="6372400"/>
            <a:ext cx="1668913" cy="477854"/>
          </a:xfrm>
          <a:prstGeom prst="rect">
            <a:avLst/>
          </a:prstGeom>
        </p:spPr>
      </p:pic>
      <p:grpSp>
        <p:nvGrpSpPr>
          <p:cNvPr id="107" name="Group 106">
            <a:extLst>
              <a:ext uri="{FF2B5EF4-FFF2-40B4-BE49-F238E27FC236}">
                <a16:creationId xmlns:a16="http://schemas.microsoft.com/office/drawing/2014/main" id="{8F7E8D3C-F229-4C8B-947C-DDD827203A83}"/>
              </a:ext>
            </a:extLst>
          </p:cNvPr>
          <p:cNvGrpSpPr>
            <a:grpSpLocks/>
          </p:cNvGrpSpPr>
          <p:nvPr/>
        </p:nvGrpSpPr>
        <p:grpSpPr>
          <a:xfrm>
            <a:off x="188325" y="2455068"/>
            <a:ext cx="5669280" cy="1737360"/>
            <a:chOff x="-30493" y="2686929"/>
            <a:chExt cx="7650494" cy="1626969"/>
          </a:xfrm>
        </p:grpSpPr>
        <p:sp>
          <p:nvSpPr>
            <p:cNvPr id="94" name="Rectangle: Rounded Corners 93">
              <a:extLst>
                <a:ext uri="{FF2B5EF4-FFF2-40B4-BE49-F238E27FC236}">
                  <a16:creationId xmlns:a16="http://schemas.microsoft.com/office/drawing/2014/main" id="{24794A45-7680-2381-B74B-91BA62E7CEF1}"/>
                </a:ext>
              </a:extLst>
            </p:cNvPr>
            <p:cNvSpPr/>
            <p:nvPr/>
          </p:nvSpPr>
          <p:spPr>
            <a:xfrm>
              <a:off x="-30493" y="2686929"/>
              <a:ext cx="7650494" cy="1626969"/>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310" name="TextBox 309">
              <a:extLst>
                <a:ext uri="{FF2B5EF4-FFF2-40B4-BE49-F238E27FC236}">
                  <a16:creationId xmlns:a16="http://schemas.microsoft.com/office/drawing/2014/main" id="{BEF7DA7A-C926-143F-6892-FB8FFF22AD68}"/>
                </a:ext>
              </a:extLst>
            </p:cNvPr>
            <p:cNvSpPr txBox="1"/>
            <p:nvPr/>
          </p:nvSpPr>
          <p:spPr>
            <a:xfrm>
              <a:off x="58317" y="2785086"/>
              <a:ext cx="2236127" cy="868244"/>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91E1"/>
                  </a:solidFill>
                  <a:effectLst/>
                  <a:uLnTx/>
                  <a:uFillTx/>
                  <a:latin typeface="Verdana"/>
                  <a:ea typeface="+mn-ea"/>
                  <a:cs typeface="+mn-cs"/>
                </a:rPr>
                <a:t>R</a:t>
              </a:r>
              <a:r>
                <a:rPr kumimoji="0" lang="en-US" sz="2800" b="1" i="0" u="none" strike="noStrike" kern="1200" cap="none" spc="0" normalizeH="0" baseline="0" noProof="0" dirty="0">
                  <a:ln>
                    <a:noFill/>
                  </a:ln>
                  <a:solidFill>
                    <a:prstClr val="black"/>
                  </a:solidFill>
                  <a:effectLst/>
                  <a:uLnTx/>
                  <a:uFillTx/>
                  <a:latin typeface="Calibri"/>
                  <a:ea typeface="+mn-ea"/>
                  <a:cs typeface="+mn-cs"/>
                </a:rPr>
                <a:t>eframe</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he big pictur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4539D2A7-4ACF-7FB8-9EC1-1A01EE688742}"/>
                </a:ext>
              </a:extLst>
            </p:cNvPr>
            <p:cNvSpPr txBox="1"/>
            <p:nvPr/>
          </p:nvSpPr>
          <p:spPr>
            <a:xfrm>
              <a:off x="3101562" y="2798881"/>
              <a:ext cx="4456172" cy="1498747"/>
            </a:xfrm>
            <a:prstGeom prst="rect">
              <a:avLst/>
            </a:prstGeom>
            <a:noFill/>
          </p:spPr>
          <p:txBody>
            <a:bodyPr wrap="square" lIns="62345" rtlCol="0">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SK</a:t>
              </a:r>
              <a:r>
                <a:rPr kumimoji="0" lang="en-US" sz="1400" b="0" i="0" u="none" strike="noStrike" kern="1200" cap="none" spc="0" normalizeH="0" baseline="0" noProof="0" dirty="0">
                  <a:ln>
                    <a:noFill/>
                  </a:ln>
                  <a:solidFill>
                    <a:prstClr val="black"/>
                  </a:solidFill>
                  <a:effectLst/>
                  <a:uLnTx/>
                  <a:uFillTx/>
                  <a:latin typeface="Calibri"/>
                  <a:ea typeface="+mn-ea"/>
                  <a:cs typeface="+mn-cs"/>
                </a:rPr>
                <a:t> </a:t>
              </a:r>
              <a:r>
                <a:rPr kumimoji="0" lang="en-US" sz="1400" b="1" i="1" u="none" strike="noStrike" kern="1200" cap="none" spc="0" normalizeH="0" baseline="0" noProof="0" dirty="0">
                  <a:ln>
                    <a:noFill/>
                  </a:ln>
                  <a:solidFill>
                    <a:prstClr val="black"/>
                  </a:solidFill>
                  <a:effectLst/>
                  <a:uLnTx/>
                  <a:uFillTx/>
                  <a:latin typeface="Calibri"/>
                  <a:ea typeface="+mn-ea"/>
                  <a:cs typeface="+mn-cs"/>
                </a:rPr>
                <a:t>“What do you understand so far about your [your dad’s] illness?”</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ELL</a:t>
              </a:r>
              <a:r>
                <a:rPr kumimoji="0" lang="en-US" sz="1400" b="0" i="0" u="none" strike="noStrike" kern="1200" cap="none" spc="0" normalizeH="0" baseline="0" noProof="0" dirty="0">
                  <a:ln>
                    <a:noFill/>
                  </a:ln>
                  <a:solidFill>
                    <a:prstClr val="black"/>
                  </a:solidFill>
                  <a:effectLst/>
                  <a:uLnTx/>
                  <a:uFillTx/>
                  <a:latin typeface="Calibri"/>
                  <a:ea typeface="+mn-ea"/>
                  <a:cs typeface="+mn-cs"/>
                </a:rPr>
                <a:t> (warning statement): </a:t>
              </a:r>
              <a:r>
                <a:rPr kumimoji="0" lang="en-US" sz="1400" b="1" i="1" u="none" strike="noStrike" kern="1200" cap="none" spc="0" normalizeH="0" baseline="0" noProof="0" dirty="0">
                  <a:ln>
                    <a:noFill/>
                  </a:ln>
                  <a:solidFill>
                    <a:prstClr val="black"/>
                  </a:solidFill>
                  <a:effectLst/>
                  <a:uLnTx/>
                  <a:uFillTx/>
                  <a:latin typeface="Calibri"/>
                  <a:ea typeface="+mn-ea"/>
                  <a:cs typeface="+mn-cs"/>
                </a:rPr>
                <a:t>“We’re in a different place…”</a:t>
              </a:r>
            </a:p>
            <a:p>
              <a:pPr marL="311719" marR="0" lvl="1" indent="0"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big picture headline</a:t>
              </a:r>
            </a:p>
            <a:p>
              <a:pPr marL="311719" marR="0" lvl="1" indent="0"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hen PAUS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SK</a:t>
              </a:r>
              <a:r>
                <a:rPr kumimoji="0" lang="en-US" sz="1400" b="0" i="0" u="none" strike="noStrike" kern="1200" cap="none" spc="0" normalizeH="0" baseline="0" noProof="0" dirty="0">
                  <a:ln>
                    <a:noFill/>
                  </a:ln>
                  <a:solidFill>
                    <a:prstClr val="black"/>
                  </a:solidFill>
                  <a:effectLst/>
                  <a:uLnTx/>
                  <a:uFillTx/>
                  <a:latin typeface="Calibri"/>
                  <a:ea typeface="+mn-ea"/>
                  <a:cs typeface="+mn-cs"/>
                </a:rPr>
                <a:t> </a:t>
              </a:r>
              <a:r>
                <a:rPr kumimoji="0" lang="en-US" sz="1400" b="1" i="1" u="none" strike="noStrike" kern="1200" cap="none" spc="0" normalizeH="0" baseline="0" noProof="0" dirty="0">
                  <a:ln>
                    <a:noFill/>
                  </a:ln>
                  <a:solidFill>
                    <a:prstClr val="black"/>
                  </a:solidFill>
                  <a:effectLst/>
                  <a:uLnTx/>
                  <a:uFillTx/>
                  <a:latin typeface="Calibri"/>
                  <a:ea typeface="+mn-ea"/>
                  <a:cs typeface="+mn-cs"/>
                </a:rPr>
                <a:t>“What concerns do you have so far?”</a:t>
              </a:r>
            </a:p>
          </p:txBody>
        </p:sp>
      </p:grpSp>
      <p:grpSp>
        <p:nvGrpSpPr>
          <p:cNvPr id="104" name="Group 103">
            <a:extLst>
              <a:ext uri="{FF2B5EF4-FFF2-40B4-BE49-F238E27FC236}">
                <a16:creationId xmlns:a16="http://schemas.microsoft.com/office/drawing/2014/main" id="{022AB224-1166-0ACE-52EA-E4B3347FE00F}"/>
              </a:ext>
            </a:extLst>
          </p:cNvPr>
          <p:cNvGrpSpPr/>
          <p:nvPr/>
        </p:nvGrpSpPr>
        <p:grpSpPr>
          <a:xfrm>
            <a:off x="6268557" y="1842260"/>
            <a:ext cx="5669280" cy="1632303"/>
            <a:chOff x="152400" y="5931917"/>
            <a:chExt cx="7467600" cy="1263004"/>
          </a:xfrm>
        </p:grpSpPr>
        <p:sp>
          <p:nvSpPr>
            <p:cNvPr id="99" name="Rectangle: Rounded Corners 98">
              <a:extLst>
                <a:ext uri="{FF2B5EF4-FFF2-40B4-BE49-F238E27FC236}">
                  <a16:creationId xmlns:a16="http://schemas.microsoft.com/office/drawing/2014/main" id="{E458F7A9-BA72-C4C6-B6F5-F382BC8B18A3}"/>
                </a:ext>
              </a:extLst>
            </p:cNvPr>
            <p:cNvSpPr/>
            <p:nvPr/>
          </p:nvSpPr>
          <p:spPr>
            <a:xfrm>
              <a:off x="152400" y="5931917"/>
              <a:ext cx="7467600" cy="1202788"/>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TextBox 269">
              <a:extLst>
                <a:ext uri="{FF2B5EF4-FFF2-40B4-BE49-F238E27FC236}">
                  <a16:creationId xmlns:a16="http://schemas.microsoft.com/office/drawing/2014/main" id="{BF2CBFB1-620A-1BBA-07C5-5192097FD6C8}"/>
                </a:ext>
              </a:extLst>
            </p:cNvPr>
            <p:cNvSpPr txBox="1"/>
            <p:nvPr/>
          </p:nvSpPr>
          <p:spPr>
            <a:xfrm>
              <a:off x="267674" y="6155672"/>
              <a:ext cx="2279554" cy="711485"/>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91E1"/>
                  </a:solidFill>
                  <a:effectLst/>
                  <a:uLnTx/>
                  <a:uFillTx/>
                  <a:latin typeface="Verdana"/>
                  <a:ea typeface="+mn-ea"/>
                  <a:cs typeface="+mn-cs"/>
                </a:rPr>
                <a:t>M</a:t>
              </a:r>
              <a:r>
                <a:rPr kumimoji="0" lang="en-US" sz="2800" b="1" i="0" u="none" strike="noStrike" kern="1200" cap="none" spc="0" normalizeH="0" baseline="0" noProof="0" dirty="0">
                  <a:ln>
                    <a:noFill/>
                  </a:ln>
                  <a:solidFill>
                    <a:prstClr val="black"/>
                  </a:solidFill>
                  <a:effectLst/>
                  <a:uLnTx/>
                  <a:uFillTx/>
                  <a:latin typeface="Calibri"/>
                  <a:ea typeface="+mn-ea"/>
                  <a:cs typeface="+mn-cs"/>
                </a:rPr>
                <a:t>ap</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hat’s important</a:t>
              </a:r>
            </a:p>
          </p:txBody>
        </p:sp>
        <p:sp>
          <p:nvSpPr>
            <p:cNvPr id="91" name="TextBox 90">
              <a:extLst>
                <a:ext uri="{FF2B5EF4-FFF2-40B4-BE49-F238E27FC236}">
                  <a16:creationId xmlns:a16="http://schemas.microsoft.com/office/drawing/2014/main" id="{6DACC742-DB3F-4990-ECFA-EB9613D0E63C}"/>
                </a:ext>
              </a:extLst>
            </p:cNvPr>
            <p:cNvSpPr txBox="1"/>
            <p:nvPr/>
          </p:nvSpPr>
          <p:spPr>
            <a:xfrm>
              <a:off x="3474055" y="5956573"/>
              <a:ext cx="4114800" cy="1238348"/>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Would it be okay to talk about you [your dad] as a person before we talk about treatments?”</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hat’s important…?</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hat worries…?</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hat to avoid…?</a:t>
              </a:r>
            </a:p>
            <a:p>
              <a:pPr marL="428614" marR="0" lvl="1"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hat els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3" name="Group 102">
            <a:extLst>
              <a:ext uri="{FF2B5EF4-FFF2-40B4-BE49-F238E27FC236}">
                <a16:creationId xmlns:a16="http://schemas.microsoft.com/office/drawing/2014/main" id="{38B4D161-E177-1B8A-947E-FE498015D06C}"/>
              </a:ext>
            </a:extLst>
          </p:cNvPr>
          <p:cNvGrpSpPr/>
          <p:nvPr/>
        </p:nvGrpSpPr>
        <p:grpSpPr>
          <a:xfrm>
            <a:off x="6268557" y="3482224"/>
            <a:ext cx="5683929" cy="1554480"/>
            <a:chOff x="152400" y="7258930"/>
            <a:chExt cx="7486896" cy="1266093"/>
          </a:xfrm>
        </p:grpSpPr>
        <p:sp>
          <p:nvSpPr>
            <p:cNvPr id="100" name="Rectangle: Rounded Corners 99">
              <a:extLst>
                <a:ext uri="{FF2B5EF4-FFF2-40B4-BE49-F238E27FC236}">
                  <a16:creationId xmlns:a16="http://schemas.microsoft.com/office/drawing/2014/main" id="{88095ADB-BBC7-6ABD-2120-CE88F6B16029}"/>
                </a:ext>
              </a:extLst>
            </p:cNvPr>
            <p:cNvSpPr/>
            <p:nvPr/>
          </p:nvSpPr>
          <p:spPr>
            <a:xfrm>
              <a:off x="152400" y="7258930"/>
              <a:ext cx="7467600" cy="1266093"/>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278" name="TextBox 277">
              <a:extLst>
                <a:ext uri="{FF2B5EF4-FFF2-40B4-BE49-F238E27FC236}">
                  <a16:creationId xmlns:a16="http://schemas.microsoft.com/office/drawing/2014/main" id="{8DAC1E06-31BB-B319-2FE1-6AD49B9A3988}"/>
                </a:ext>
              </a:extLst>
            </p:cNvPr>
            <p:cNvSpPr txBox="1"/>
            <p:nvPr/>
          </p:nvSpPr>
          <p:spPr>
            <a:xfrm>
              <a:off x="315091" y="7607372"/>
              <a:ext cx="3050640" cy="731980"/>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91E1"/>
                  </a:solidFill>
                  <a:effectLst/>
                  <a:uLnTx/>
                  <a:uFillTx/>
                  <a:latin typeface="Verdana"/>
                  <a:ea typeface="+mn-ea"/>
                  <a:cs typeface="+mn-cs"/>
                </a:rPr>
                <a:t>A</a:t>
              </a:r>
              <a:r>
                <a:rPr kumimoji="0" lang="en-US" sz="2800" b="1" i="0" u="none" strike="noStrike" kern="1200" cap="none" spc="0" normalizeH="0" baseline="0" noProof="0" dirty="0">
                  <a:ln>
                    <a:noFill/>
                  </a:ln>
                  <a:solidFill>
                    <a:prstClr val="black"/>
                  </a:solidFill>
                  <a:effectLst/>
                  <a:uLnTx/>
                  <a:uFillTx/>
                  <a:latin typeface="Calibri"/>
                  <a:ea typeface="+mn-ea"/>
                  <a:cs typeface="+mn-cs"/>
                </a:rPr>
                <a:t>lign</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ith the patient’s values</a:t>
              </a:r>
            </a:p>
          </p:txBody>
        </p:sp>
        <p:sp>
          <p:nvSpPr>
            <p:cNvPr id="92" name="TextBox 91">
              <a:extLst>
                <a:ext uri="{FF2B5EF4-FFF2-40B4-BE49-F238E27FC236}">
                  <a16:creationId xmlns:a16="http://schemas.microsoft.com/office/drawing/2014/main" id="{90F6DA43-FBC6-419F-896D-0ED3D5BE675D}"/>
                </a:ext>
              </a:extLst>
            </p:cNvPr>
            <p:cNvSpPr txBox="1"/>
            <p:nvPr/>
          </p:nvSpPr>
          <p:spPr>
            <a:xfrm>
              <a:off x="3423618" y="7545730"/>
              <a:ext cx="4215678" cy="818881"/>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409"/>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As I listen to you, it sounds like the most important things to you [your dad] are…”</a:t>
              </a:r>
            </a:p>
            <a:p>
              <a:pPr marL="0" marR="0" lvl="0" indent="0" algn="l" defTabSz="311719" rtl="0" eaLnBrk="1" fontAlgn="auto" latinLnBrk="0" hangingPunct="1">
                <a:lnSpc>
                  <a:spcPct val="100000"/>
                </a:lnSpc>
                <a:spcBef>
                  <a:spcPts val="409"/>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I wonder if perhaps you [your dad] would want to avoid…?”</a:t>
              </a:r>
            </a:p>
          </p:txBody>
        </p:sp>
      </p:grpSp>
      <p:grpSp>
        <p:nvGrpSpPr>
          <p:cNvPr id="102" name="Group 101">
            <a:extLst>
              <a:ext uri="{FF2B5EF4-FFF2-40B4-BE49-F238E27FC236}">
                <a16:creationId xmlns:a16="http://schemas.microsoft.com/office/drawing/2014/main" id="{4AA92195-0E6E-8361-BD19-94FE2F6B20C6}"/>
              </a:ext>
            </a:extLst>
          </p:cNvPr>
          <p:cNvGrpSpPr/>
          <p:nvPr/>
        </p:nvGrpSpPr>
        <p:grpSpPr>
          <a:xfrm>
            <a:off x="6268557" y="5114526"/>
            <a:ext cx="5669280" cy="1554480"/>
            <a:chOff x="473246" y="8846959"/>
            <a:chExt cx="7758302" cy="1220372"/>
          </a:xfrm>
        </p:grpSpPr>
        <p:sp>
          <p:nvSpPr>
            <p:cNvPr id="101" name="Rectangle: Rounded Corners 100">
              <a:extLst>
                <a:ext uri="{FF2B5EF4-FFF2-40B4-BE49-F238E27FC236}">
                  <a16:creationId xmlns:a16="http://schemas.microsoft.com/office/drawing/2014/main" id="{9A71654B-41BA-F2D4-D50B-B5359C668418}"/>
                </a:ext>
              </a:extLst>
            </p:cNvPr>
            <p:cNvSpPr/>
            <p:nvPr/>
          </p:nvSpPr>
          <p:spPr>
            <a:xfrm>
              <a:off x="473246" y="8846959"/>
              <a:ext cx="7758302" cy="1220372"/>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1AFAA706-5E3F-5D90-FAD5-97960CA11D4F}"/>
                </a:ext>
              </a:extLst>
            </p:cNvPr>
            <p:cNvSpPr txBox="1"/>
            <p:nvPr/>
          </p:nvSpPr>
          <p:spPr>
            <a:xfrm>
              <a:off x="4004301" y="8980016"/>
              <a:ext cx="4114799" cy="1087315"/>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Would it be okay to talk about a plan that can best meet your [your dad’s] priorities?”</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We can…”</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We can avoid…”</a:t>
              </a:r>
            </a:p>
            <a:p>
              <a:pPr marL="428614" marR="0" lvl="2" indent="-116895" algn="l" defTabSz="311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1200" cap="none" spc="0" normalizeH="0" baseline="0" noProof="0" dirty="0">
                  <a:ln>
                    <a:noFill/>
                  </a:ln>
                  <a:solidFill>
                    <a:prstClr val="black"/>
                  </a:solidFill>
                  <a:effectLst/>
                  <a:uLnTx/>
                  <a:uFillTx/>
                  <a:latin typeface="Calibri"/>
                  <a:ea typeface="+mn-ea"/>
                  <a:cs typeface="+mn-cs"/>
                </a:rPr>
                <a:t>“We can stop…”</a:t>
              </a:r>
            </a:p>
          </p:txBody>
        </p:sp>
        <p:sp>
          <p:nvSpPr>
            <p:cNvPr id="284" name="TextBox 283">
              <a:extLst>
                <a:ext uri="{FF2B5EF4-FFF2-40B4-BE49-F238E27FC236}">
                  <a16:creationId xmlns:a16="http://schemas.microsoft.com/office/drawing/2014/main" id="{99F29BDA-D949-8F65-75FF-50846A4D854D}"/>
                </a:ext>
              </a:extLst>
            </p:cNvPr>
            <p:cNvSpPr txBox="1"/>
            <p:nvPr/>
          </p:nvSpPr>
          <p:spPr>
            <a:xfrm>
              <a:off x="642271" y="9092290"/>
              <a:ext cx="3445854" cy="705547"/>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91E1"/>
                  </a:solidFill>
                  <a:effectLst/>
                  <a:uLnTx/>
                  <a:uFillTx/>
                  <a:latin typeface="Verdana"/>
                  <a:ea typeface="+mn-ea"/>
                  <a:cs typeface="+mn-cs"/>
                </a:rPr>
                <a:t>P</a:t>
              </a:r>
              <a:r>
                <a:rPr kumimoji="0" lang="en-US" sz="2800" b="1" i="0" u="none" strike="noStrike" kern="1200" cap="none" spc="0" normalizeH="0" baseline="0" noProof="0" dirty="0">
                  <a:ln>
                    <a:noFill/>
                  </a:ln>
                  <a:solidFill>
                    <a:prstClr val="black"/>
                  </a:solidFill>
                  <a:effectLst/>
                  <a:uLnTx/>
                  <a:uFillTx/>
                  <a:latin typeface="Calibri"/>
                  <a:ea typeface="+mn-ea"/>
                  <a:cs typeface="+mn-cs"/>
                </a:rPr>
                <a:t>lan</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reatments to match values</a:t>
              </a:r>
            </a:p>
          </p:txBody>
        </p:sp>
      </p:grpSp>
      <p:grpSp>
        <p:nvGrpSpPr>
          <p:cNvPr id="106" name="Group 105">
            <a:extLst>
              <a:ext uri="{FF2B5EF4-FFF2-40B4-BE49-F238E27FC236}">
                <a16:creationId xmlns:a16="http://schemas.microsoft.com/office/drawing/2014/main" id="{5EF59F54-3CC8-05C3-E095-625BD978582A}"/>
              </a:ext>
            </a:extLst>
          </p:cNvPr>
          <p:cNvGrpSpPr/>
          <p:nvPr/>
        </p:nvGrpSpPr>
        <p:grpSpPr>
          <a:xfrm>
            <a:off x="188325" y="4291083"/>
            <a:ext cx="5669280" cy="1782393"/>
            <a:chOff x="-182262" y="3809436"/>
            <a:chExt cx="9132809" cy="2936316"/>
          </a:xfrm>
        </p:grpSpPr>
        <p:grpSp>
          <p:nvGrpSpPr>
            <p:cNvPr id="105" name="Group 104">
              <a:extLst>
                <a:ext uri="{FF2B5EF4-FFF2-40B4-BE49-F238E27FC236}">
                  <a16:creationId xmlns:a16="http://schemas.microsoft.com/office/drawing/2014/main" id="{F86C40C8-2DCF-D353-1C35-7D4B44F92F65}"/>
                </a:ext>
              </a:extLst>
            </p:cNvPr>
            <p:cNvGrpSpPr/>
            <p:nvPr/>
          </p:nvGrpSpPr>
          <p:grpSpPr>
            <a:xfrm>
              <a:off x="-182262" y="3809436"/>
              <a:ext cx="9132809" cy="2924499"/>
              <a:chOff x="-182262" y="3809436"/>
              <a:chExt cx="9132809" cy="2924499"/>
            </a:xfrm>
          </p:grpSpPr>
          <p:sp>
            <p:nvSpPr>
              <p:cNvPr id="98" name="Rectangle: Rounded Corners 97">
                <a:extLst>
                  <a:ext uri="{FF2B5EF4-FFF2-40B4-BE49-F238E27FC236}">
                    <a16:creationId xmlns:a16="http://schemas.microsoft.com/office/drawing/2014/main" id="{6F86DAB5-FA29-9411-59D8-24A99E568D3E}"/>
                  </a:ext>
                </a:extLst>
              </p:cNvPr>
              <p:cNvSpPr>
                <a:spLocks noChangeAspect="1"/>
              </p:cNvSpPr>
              <p:nvPr/>
            </p:nvSpPr>
            <p:spPr>
              <a:xfrm>
                <a:off x="-182262" y="3809436"/>
                <a:ext cx="9132809" cy="2862126"/>
              </a:xfrm>
              <a:prstGeom prst="roundRect">
                <a:avLst/>
              </a:prstGeom>
              <a:solidFill>
                <a:srgbClr val="FFFFFF">
                  <a:alpha val="74902"/>
                </a:srgbClr>
              </a:solidFill>
              <a:ln w="4093" cap="flat">
                <a:solidFill>
                  <a:srgbClr val="F1F7FD"/>
                </a:solidFill>
                <a:prstDash val="solid"/>
                <a:miter/>
              </a:ln>
            </p:spPr>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E0AE7C8-4A5B-9A03-E7CB-77ED585A7A72}"/>
                  </a:ext>
                </a:extLst>
              </p:cNvPr>
              <p:cNvSpPr txBox="1"/>
              <p:nvPr/>
            </p:nvSpPr>
            <p:spPr>
              <a:xfrm>
                <a:off x="3838721" y="3843857"/>
                <a:ext cx="5056185" cy="2890078"/>
              </a:xfrm>
              <a:prstGeom prst="rect">
                <a:avLst/>
              </a:prstGeom>
              <a:noFill/>
            </p:spPr>
            <p:txBody>
              <a:bodyPr wrap="square" lIns="62345">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N</a:t>
                </a:r>
                <a:r>
                  <a:rPr kumimoji="0" lang="en-US" sz="1200" b="0" i="0" u="none" strike="noStrike" kern="1200" cap="none" spc="0" normalizeH="0" baseline="0" noProof="0" dirty="0">
                    <a:ln>
                      <a:noFill/>
                    </a:ln>
                    <a:solidFill>
                      <a:prstClr val="black"/>
                    </a:solidFill>
                    <a:effectLst/>
                    <a:uLnTx/>
                    <a:uFillTx/>
                    <a:latin typeface="Calibri"/>
                    <a:ea typeface="+mn-ea"/>
                    <a:cs typeface="+mn-cs"/>
                  </a:rPr>
                  <a:t>ame: </a:t>
                </a:r>
                <a:r>
                  <a:rPr kumimoji="0" lang="en-US" sz="1200" b="1" i="1" u="none" strike="noStrike" kern="1200" cap="none" spc="0" normalizeH="0" baseline="0" noProof="0" dirty="0">
                    <a:ln>
                      <a:noFill/>
                    </a:ln>
                    <a:solidFill>
                      <a:prstClr val="black"/>
                    </a:solidFill>
                    <a:effectLst/>
                    <a:uLnTx/>
                    <a:uFillTx/>
                    <a:latin typeface="Calibri"/>
                    <a:ea typeface="+mn-ea"/>
                    <a:cs typeface="+mn-cs"/>
                  </a:rPr>
                  <a:t>“It sounds like this might b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U</a:t>
                </a:r>
                <a:r>
                  <a:rPr kumimoji="0" lang="en-US" sz="1200" b="0" i="0" u="none" strike="noStrike" kern="1200" cap="none" spc="0" normalizeH="0" baseline="0" noProof="0" dirty="0">
                    <a:ln>
                      <a:noFill/>
                    </a:ln>
                    <a:solidFill>
                      <a:prstClr val="black"/>
                    </a:solidFill>
                    <a:effectLst/>
                    <a:uLnTx/>
                    <a:uFillTx/>
                    <a:latin typeface="Calibri"/>
                    <a:ea typeface="+mn-ea"/>
                    <a:cs typeface="+mn-cs"/>
                  </a:rPr>
                  <a:t>nderstand: </a:t>
                </a:r>
                <a:r>
                  <a:rPr kumimoji="0" lang="en-US" sz="1200" b="1" i="1" u="none" strike="noStrike" kern="1200" cap="none" spc="0" normalizeH="0" baseline="0" noProof="0" dirty="0">
                    <a:ln>
                      <a:noFill/>
                    </a:ln>
                    <a:solidFill>
                      <a:prstClr val="black"/>
                    </a:solidFill>
                    <a:effectLst/>
                    <a:uLnTx/>
                    <a:uFillTx/>
                    <a:latin typeface="Calibri"/>
                    <a:ea typeface="+mn-ea"/>
                    <a:cs typeface="+mn-cs"/>
                  </a:rPr>
                  <a:t>“I can only imagine…”</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R</a:t>
                </a:r>
                <a:r>
                  <a:rPr kumimoji="0" lang="en-US" sz="1200" b="0" i="0" u="none" strike="noStrike" kern="1200" cap="none" spc="0" normalizeH="0" baseline="0" noProof="0" dirty="0">
                    <a:ln>
                      <a:noFill/>
                    </a:ln>
                    <a:solidFill>
                      <a:prstClr val="black"/>
                    </a:solidFill>
                    <a:effectLst/>
                    <a:uLnTx/>
                    <a:uFillTx/>
                    <a:latin typeface="Calibri"/>
                    <a:ea typeface="+mn-ea"/>
                    <a:cs typeface="+mn-cs"/>
                  </a:rPr>
                  <a:t>espect: </a:t>
                </a:r>
                <a:r>
                  <a:rPr kumimoji="0" lang="en-US" sz="1200" b="1" i="1" u="none" strike="noStrike" kern="1200" cap="none" spc="0" normalizeH="0" baseline="0" noProof="0" dirty="0">
                    <a:ln>
                      <a:noFill/>
                    </a:ln>
                    <a:solidFill>
                      <a:prstClr val="black"/>
                    </a:solidFill>
                    <a:effectLst/>
                    <a:uLnTx/>
                    <a:uFillTx/>
                    <a:latin typeface="Calibri"/>
                    <a:ea typeface="+mn-ea"/>
                    <a:cs typeface="+mn-cs"/>
                  </a:rPr>
                  <a:t>“I’m impressed that…”</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S</a:t>
                </a:r>
                <a:r>
                  <a:rPr kumimoji="0" lang="en-US" sz="1200" b="0" i="0" u="none" strike="noStrike" kern="1200" cap="none" spc="0" normalizeH="0" baseline="0" noProof="0" dirty="0">
                    <a:ln>
                      <a:noFill/>
                    </a:ln>
                    <a:solidFill>
                      <a:prstClr val="black"/>
                    </a:solidFill>
                    <a:effectLst/>
                    <a:uLnTx/>
                    <a:uFillTx/>
                    <a:latin typeface="Calibri"/>
                    <a:ea typeface="+mn-ea"/>
                    <a:cs typeface="+mn-cs"/>
                  </a:rPr>
                  <a:t>upport: </a:t>
                </a:r>
                <a:r>
                  <a:rPr kumimoji="0" lang="en-US" sz="1200" b="1" i="1" u="none" strike="noStrike" kern="1200" cap="none" spc="0" normalizeH="0" baseline="0" noProof="0" dirty="0">
                    <a:ln>
                      <a:noFill/>
                    </a:ln>
                    <a:solidFill>
                      <a:prstClr val="black"/>
                    </a:solidFill>
                    <a:effectLst/>
                    <a:uLnTx/>
                    <a:uFillTx/>
                    <a:latin typeface="Calibri"/>
                    <a:ea typeface="+mn-ea"/>
                    <a:cs typeface="+mn-cs"/>
                  </a:rPr>
                  <a:t>“I will be available for you…”</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E</a:t>
                </a:r>
                <a:r>
                  <a:rPr kumimoji="0" lang="en-US" sz="1200" b="0" i="0" u="none" strike="noStrike" kern="1200" cap="none" spc="0" normalizeH="0" baseline="0" noProof="0" dirty="0">
                    <a:ln>
                      <a:noFill/>
                    </a:ln>
                    <a:solidFill>
                      <a:prstClr val="black"/>
                    </a:solidFill>
                    <a:effectLst/>
                    <a:uLnTx/>
                    <a:uFillTx/>
                    <a:latin typeface="Calibri"/>
                    <a:ea typeface="+mn-ea"/>
                    <a:cs typeface="+mn-cs"/>
                  </a:rPr>
                  <a:t>xplore:* </a:t>
                </a:r>
                <a:r>
                  <a:rPr kumimoji="0" lang="en-US" sz="1200" b="1" i="1" u="none" strike="noStrike" kern="1200" cap="none" spc="0" normalizeH="0" baseline="0" noProof="0" dirty="0">
                    <a:ln>
                      <a:noFill/>
                    </a:ln>
                    <a:solidFill>
                      <a:prstClr val="black"/>
                    </a:solidFill>
                    <a:effectLst/>
                    <a:uLnTx/>
                    <a:uFillTx/>
                    <a:latin typeface="Calibri"/>
                    <a:ea typeface="+mn-ea"/>
                    <a:cs typeface="+mn-cs"/>
                  </a:rPr>
                  <a:t>“It would help me to know what </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a:ea typeface="+mn-ea"/>
                    <a:cs typeface="+mn-cs"/>
                  </a:rPr>
                  <a:t>you might be wondering when you say that…”</a:t>
                </a:r>
              </a:p>
              <a:p>
                <a:pPr marL="118453" marR="0" lvl="0" indent="-118453" algn="l" defTabSz="311719"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	</a:t>
                </a:r>
                <a:r>
                  <a:rPr kumimoji="0" lang="en-US" sz="1100" b="0" i="1" u="none" strike="noStrike" kern="1200" cap="none" spc="0" normalizeH="0" baseline="0" noProof="0" dirty="0">
                    <a:ln>
                      <a:noFill/>
                    </a:ln>
                    <a:solidFill>
                      <a:prstClr val="black"/>
                    </a:solidFill>
                    <a:effectLst/>
                    <a:uLnTx/>
                    <a:uFillTx/>
                    <a:latin typeface="Calibri"/>
                    <a:ea typeface="+mn-ea"/>
                    <a:cs typeface="+mn-cs"/>
                  </a:rPr>
                  <a:t>*uncertain emotional cues</a:t>
                </a:r>
                <a:endParaRPr kumimoji="0" lang="en-US" sz="12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Verdana"/>
                    <a:ea typeface="+mn-ea"/>
                    <a:cs typeface="+mn-cs"/>
                  </a:rPr>
                  <a:t>I</a:t>
                </a:r>
                <a:r>
                  <a:rPr kumimoji="0" lang="en-US" sz="1200" b="0" i="0" u="none" strike="noStrike" kern="1200" cap="none" spc="0" normalizeH="0" baseline="0" noProof="0" dirty="0">
                    <a:ln>
                      <a:noFill/>
                    </a:ln>
                    <a:solidFill>
                      <a:prstClr val="black"/>
                    </a:solidFill>
                    <a:effectLst/>
                    <a:uLnTx/>
                    <a:uFillTx/>
                    <a:latin typeface="Calibri"/>
                    <a:ea typeface="+mn-ea"/>
                    <a:cs typeface="+mn-cs"/>
                  </a:rPr>
                  <a:t> Wish: </a:t>
                </a:r>
                <a:r>
                  <a:rPr kumimoji="0" lang="en-US" sz="1200" b="1" i="1" u="none" strike="noStrike" kern="1200" cap="none" spc="0" normalizeH="0" baseline="0" noProof="0" dirty="0">
                    <a:ln>
                      <a:noFill/>
                    </a:ln>
                    <a:solidFill>
                      <a:prstClr val="black"/>
                    </a:solidFill>
                    <a:effectLst/>
                    <a:uLnTx/>
                    <a:uFillTx/>
                    <a:latin typeface="Calibri"/>
                    <a:ea typeface="+mn-ea"/>
                    <a:cs typeface="+mn-cs"/>
                  </a:rPr>
                  <a:t>“I wish there were a safe treatment…”</a:t>
                </a:r>
              </a:p>
            </p:txBody>
          </p:sp>
          <p:sp>
            <p:nvSpPr>
              <p:cNvPr id="260" name="TextBox 259">
                <a:extLst>
                  <a:ext uri="{FF2B5EF4-FFF2-40B4-BE49-F238E27FC236}">
                    <a16:creationId xmlns:a16="http://schemas.microsoft.com/office/drawing/2014/main" id="{F3D36AD2-C25A-6C26-083F-507C1B2F85A6}"/>
                  </a:ext>
                </a:extLst>
              </p:cNvPr>
              <p:cNvSpPr txBox="1"/>
              <p:nvPr/>
            </p:nvSpPr>
            <p:spPr>
              <a:xfrm>
                <a:off x="-102803" y="3850908"/>
                <a:ext cx="3896285" cy="2048406"/>
              </a:xfrm>
              <a:prstGeom prst="rect">
                <a:avLst/>
              </a:prstGeom>
              <a:noFill/>
            </p:spPr>
            <p:txBody>
              <a:bodyPr wrap="square" lIns="0" rIns="0" rtlCol="0" anchor="b">
                <a:spAutoFit/>
              </a:bodyPr>
              <a:lstStyle/>
              <a:p>
                <a:pPr marL="0" marR="0" lvl="0" indent="0" algn="l" defTabSz="311719"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91E1"/>
                    </a:solidFill>
                    <a:effectLst/>
                    <a:uLnTx/>
                    <a:uFillTx/>
                    <a:latin typeface="Verdana"/>
                    <a:ea typeface="+mn-ea"/>
                    <a:cs typeface="+mn-cs"/>
                  </a:rPr>
                  <a:t>E</a:t>
                </a:r>
                <a:r>
                  <a:rPr kumimoji="0" lang="en-US" sz="2800" b="1" i="0" u="none" strike="noStrike" kern="1200" cap="none" spc="0" normalizeH="0" baseline="0" noProof="0" dirty="0">
                    <a:ln>
                      <a:noFill/>
                    </a:ln>
                    <a:solidFill>
                      <a:prstClr val="black"/>
                    </a:solidFill>
                    <a:effectLst/>
                    <a:uLnTx/>
                    <a:uFillTx/>
                    <a:latin typeface="Calibri"/>
                    <a:ea typeface="+mn-ea"/>
                    <a:cs typeface="+mn-cs"/>
                  </a:rPr>
                  <a:t>xpect emotion</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436407" marR="0" lvl="3" indent="-124688"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and respond with empathy</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1" name="TextBox 250">
              <a:extLst>
                <a:ext uri="{FF2B5EF4-FFF2-40B4-BE49-F238E27FC236}">
                  <a16:creationId xmlns:a16="http://schemas.microsoft.com/office/drawing/2014/main" id="{92304173-5F87-52D2-B6F3-9CDD1B1F3A38}"/>
                </a:ext>
              </a:extLst>
            </p:cNvPr>
            <p:cNvSpPr txBox="1"/>
            <p:nvPr/>
          </p:nvSpPr>
          <p:spPr>
            <a:xfrm>
              <a:off x="181402" y="5883799"/>
              <a:ext cx="3419217" cy="861953"/>
            </a:xfrm>
            <a:prstGeom prst="rect">
              <a:avLst/>
            </a:prstGeom>
            <a:noFill/>
          </p:spPr>
          <p:txBody>
            <a:bodyPr wrap="square">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Throughout REMAP with </a:t>
              </a:r>
              <a:r>
                <a:rPr kumimoji="0" lang="en-US" sz="1400"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NURSE</a:t>
              </a: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or</a:t>
              </a:r>
              <a:r>
                <a:rPr kumimoji="0" lang="en-US" sz="1400"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I </a:t>
              </a: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Wish</a:t>
              </a:r>
              <a:r>
                <a:rPr kumimoji="0" lang="en-US" sz="1400"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a:t>
              </a: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amp; PAUSE</a:t>
              </a:r>
              <a:endParaRPr kumimoji="0" lang="en-US" sz="1400" b="0" i="0" u="none" strike="noStrike" kern="1200" cap="none" spc="0" normalizeH="0" baseline="0" noProof="0" dirty="0">
                <a:ln>
                  <a:noFill/>
                </a:ln>
                <a:solidFill>
                  <a:srgbClr val="0091E1"/>
                </a:solidFill>
                <a:effectLst/>
                <a:uLnTx/>
                <a:uFillTx/>
                <a:latin typeface="Calibri"/>
                <a:ea typeface="+mn-ea"/>
                <a:cs typeface="+mn-cs"/>
              </a:endParaRPr>
            </a:p>
          </p:txBody>
        </p:sp>
      </p:grpSp>
      <p:sp>
        <p:nvSpPr>
          <p:cNvPr id="2" name="TextBox 1">
            <a:extLst>
              <a:ext uri="{FF2B5EF4-FFF2-40B4-BE49-F238E27FC236}">
                <a16:creationId xmlns:a16="http://schemas.microsoft.com/office/drawing/2014/main" id="{C78026F8-2C8C-6A67-74F7-75C0CBCC317F}"/>
              </a:ext>
            </a:extLst>
          </p:cNvPr>
          <p:cNvSpPr txBox="1"/>
          <p:nvPr/>
        </p:nvSpPr>
        <p:spPr>
          <a:xfrm>
            <a:off x="414073" y="3539115"/>
            <a:ext cx="2122512" cy="523220"/>
          </a:xfrm>
          <a:prstGeom prst="rect">
            <a:avLst/>
          </a:prstGeom>
          <a:noFill/>
        </p:spPr>
        <p:txBody>
          <a:bodyPr wrap="square">
            <a:spAutoFit/>
          </a:bodyPr>
          <a:lstStyle/>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If uncertainty – </a:t>
            </a:r>
          </a:p>
          <a:p>
            <a:pPr marL="0" marR="0" lvl="0" indent="0" algn="l" defTabSz="31171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I hope</a:t>
            </a: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 AND </a:t>
            </a:r>
            <a:r>
              <a:rPr kumimoji="0" lang="en-US" sz="1400" b="1"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I worry</a:t>
            </a:r>
            <a:r>
              <a:rPr kumimoji="0" lang="en-US" sz="1400" b="0" i="0" u="none" strike="noStrike" kern="1200" cap="none" spc="0" normalizeH="0" baseline="0" noProof="0" dirty="0">
                <a:ln>
                  <a:noFill/>
                </a:ln>
                <a:solidFill>
                  <a:srgbClr val="0091E1"/>
                </a:solidFill>
                <a:effectLst/>
                <a:uLnTx/>
                <a:uFillTx/>
                <a:latin typeface="Calibri" panose="020F0502020204030204" pitchFamily="34" charset="0"/>
                <a:ea typeface="+mn-ea"/>
                <a:cs typeface="+mn-cs"/>
              </a:rPr>
              <a:t>…</a:t>
            </a:r>
            <a:endParaRPr kumimoji="0" lang="en-US" sz="1400" b="0" i="0" u="none" strike="noStrike" kern="1200" cap="none" spc="0" normalizeH="0" baseline="0" noProof="0" dirty="0">
              <a:ln>
                <a:noFill/>
              </a:ln>
              <a:solidFill>
                <a:srgbClr val="0091E1"/>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923460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86abc02-6836-44db-8636-07460690e5d5"/>
</p:tagLst>
</file>

<file path=ppt/tags/tag101.xml><?xml version="1.0" encoding="utf-8"?>
<p:tagLst xmlns:a="http://schemas.openxmlformats.org/drawingml/2006/main" xmlns:r="http://schemas.openxmlformats.org/officeDocument/2006/relationships" xmlns:p="http://schemas.openxmlformats.org/presentationml/2006/main">
  <p:tag name="PS_COMPARE_SHAPE_ID" val="b194c01c-6625-4887-8920-f48a777a97e5"/>
</p:tagLst>
</file>

<file path=ppt/tags/tag102.xml><?xml version="1.0" encoding="utf-8"?>
<p:tagLst xmlns:a="http://schemas.openxmlformats.org/drawingml/2006/main" xmlns:r="http://schemas.openxmlformats.org/officeDocument/2006/relationships" xmlns:p="http://schemas.openxmlformats.org/presentationml/2006/main">
  <p:tag name="PS_COMPARE_SHAPE_ID" val="02bdaefc-9376-4c28-8010-41fe5bc2694e"/>
</p:tagLst>
</file>

<file path=ppt/tags/tag103.xml><?xml version="1.0" encoding="utf-8"?>
<p:tagLst xmlns:a="http://schemas.openxmlformats.org/drawingml/2006/main" xmlns:r="http://schemas.openxmlformats.org/officeDocument/2006/relationships" xmlns:p="http://schemas.openxmlformats.org/presentationml/2006/main">
  <p:tag name="PS_COMPARE_SHAPE_ID" val="2f790e34-b143-4c57-9eff-4c5618756046"/>
</p:tagLst>
</file>

<file path=ppt/tags/tag104.xml><?xml version="1.0" encoding="utf-8"?>
<p:tagLst xmlns:a="http://schemas.openxmlformats.org/drawingml/2006/main" xmlns:r="http://schemas.openxmlformats.org/officeDocument/2006/relationships" xmlns:p="http://schemas.openxmlformats.org/presentationml/2006/main">
  <p:tag name="PS_COMPARE_SHAPE_ID" val="3c1bce85-3ac7-4ad3-86cf-e78f637cb45c"/>
</p:tagLst>
</file>

<file path=ppt/tags/tag105.xml><?xml version="1.0" encoding="utf-8"?>
<p:tagLst xmlns:a="http://schemas.openxmlformats.org/drawingml/2006/main" xmlns:r="http://schemas.openxmlformats.org/officeDocument/2006/relationships" xmlns:p="http://schemas.openxmlformats.org/presentationml/2006/main">
  <p:tag name="PS_COMPARE_SHAPE_ID" val="d700b3ff-361c-4f18-8648-a9c31fb9400d"/>
</p:tagLst>
</file>

<file path=ppt/tags/tag106.xml><?xml version="1.0" encoding="utf-8"?>
<p:tagLst xmlns:a="http://schemas.openxmlformats.org/drawingml/2006/main" xmlns:r="http://schemas.openxmlformats.org/officeDocument/2006/relationships" xmlns:p="http://schemas.openxmlformats.org/presentationml/2006/main">
  <p:tag name="PS_COMPARE_SHAPE_ID" val="9341b41b-8d69-4333-954d-f9905ddc6789"/>
</p:tagLst>
</file>

<file path=ppt/tags/tag107.xml><?xml version="1.0" encoding="utf-8"?>
<p:tagLst xmlns:a="http://schemas.openxmlformats.org/drawingml/2006/main" xmlns:r="http://schemas.openxmlformats.org/officeDocument/2006/relationships" xmlns:p="http://schemas.openxmlformats.org/presentationml/2006/main">
  <p:tag name="PS_COMPARE_SHAPE_ID" val="cb5cc172-9250-44c0-999c-ea7ec1364859"/>
</p:tagLst>
</file>

<file path=ppt/tags/tag108.xml><?xml version="1.0" encoding="utf-8"?>
<p:tagLst xmlns:a="http://schemas.openxmlformats.org/drawingml/2006/main" xmlns:r="http://schemas.openxmlformats.org/officeDocument/2006/relationships" xmlns:p="http://schemas.openxmlformats.org/presentationml/2006/main">
  <p:tag name="PS_COMPARE_SHAPE_ID" val="7fc54cfe-4670-4810-b51c-69f673b5d7ea"/>
</p:tagLst>
</file>

<file path=ppt/tags/tag109.xml><?xml version="1.0" encoding="utf-8"?>
<p:tagLst xmlns:a="http://schemas.openxmlformats.org/drawingml/2006/main" xmlns:r="http://schemas.openxmlformats.org/officeDocument/2006/relationships" xmlns:p="http://schemas.openxmlformats.org/presentationml/2006/main">
  <p:tag name="PS_COMPARE_SLIDE_ID" val="b4d075b7-2a38-46fc-888a-3c1c8e62758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4a7ba5ca-4f42-4618-b9f0-a009758a2597"/>
</p:tagLst>
</file>

<file path=ppt/tags/tag111.xml><?xml version="1.0" encoding="utf-8"?>
<p:tagLst xmlns:a="http://schemas.openxmlformats.org/drawingml/2006/main" xmlns:r="http://schemas.openxmlformats.org/officeDocument/2006/relationships" xmlns:p="http://schemas.openxmlformats.org/presentationml/2006/main">
  <p:tag name="PS_COMPARE_SHAPE_ID" val="194b628d-2ea2-40a7-a584-2dd2cdef84aa"/>
</p:tagLst>
</file>

<file path=ppt/tags/tag112.xml><?xml version="1.0" encoding="utf-8"?>
<p:tagLst xmlns:a="http://schemas.openxmlformats.org/drawingml/2006/main" xmlns:r="http://schemas.openxmlformats.org/officeDocument/2006/relationships" xmlns:p="http://schemas.openxmlformats.org/presentationml/2006/main">
  <p:tag name="PS_COMPARE_SHAPE_ID" val="b028ce94-5e02-40df-849f-0a3279a5433d"/>
</p:tagLst>
</file>

<file path=ppt/tags/tag113.xml><?xml version="1.0" encoding="utf-8"?>
<p:tagLst xmlns:a="http://schemas.openxmlformats.org/drawingml/2006/main" xmlns:r="http://schemas.openxmlformats.org/officeDocument/2006/relationships" xmlns:p="http://schemas.openxmlformats.org/presentationml/2006/main">
  <p:tag name="PS_COMPARE_SHAPE_ID" val="08aa37cd-672d-43ad-81ae-4390a9f51170"/>
</p:tagLst>
</file>

<file path=ppt/tags/tag114.xml><?xml version="1.0" encoding="utf-8"?>
<p:tagLst xmlns:a="http://schemas.openxmlformats.org/drawingml/2006/main" xmlns:r="http://schemas.openxmlformats.org/officeDocument/2006/relationships" xmlns:p="http://schemas.openxmlformats.org/presentationml/2006/main">
  <p:tag name="PS_COMPARE_SHAPE_ID" val="80951a8a-7fa5-445b-a053-437583344440"/>
</p:tagLst>
</file>

<file path=ppt/tags/tag115.xml><?xml version="1.0" encoding="utf-8"?>
<p:tagLst xmlns:a="http://schemas.openxmlformats.org/drawingml/2006/main" xmlns:r="http://schemas.openxmlformats.org/officeDocument/2006/relationships" xmlns:p="http://schemas.openxmlformats.org/presentationml/2006/main">
  <p:tag name="PS_COMPARE_SHAPE_ID" val="9784f3c1-6946-42ef-b89e-9495b2cf6b47"/>
</p:tagLst>
</file>

<file path=ppt/tags/tag116.xml><?xml version="1.0" encoding="utf-8"?>
<p:tagLst xmlns:a="http://schemas.openxmlformats.org/drawingml/2006/main" xmlns:r="http://schemas.openxmlformats.org/officeDocument/2006/relationships" xmlns:p="http://schemas.openxmlformats.org/presentationml/2006/main">
  <p:tag name="PS_COMPARE_SHAPE_ID" val="cc3bf8c3-ffdd-48d2-83e9-10b49de770c7"/>
</p:tagLst>
</file>

<file path=ppt/tags/tag117.xml><?xml version="1.0" encoding="utf-8"?>
<p:tagLst xmlns:a="http://schemas.openxmlformats.org/drawingml/2006/main" xmlns:r="http://schemas.openxmlformats.org/officeDocument/2006/relationships" xmlns:p="http://schemas.openxmlformats.org/presentationml/2006/main">
  <p:tag name="PS_COMPARE_SLIDE_ID" val="d523d463-ce1a-4a11-851b-39c31fd3b4e0"/>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34c2899d-9e14-4b2a-8e41-0a880680e936"/>
</p:tagLst>
</file>

<file path=ppt/tags/tag119.xml><?xml version="1.0" encoding="utf-8"?>
<p:tagLst xmlns:a="http://schemas.openxmlformats.org/drawingml/2006/main" xmlns:r="http://schemas.openxmlformats.org/officeDocument/2006/relationships" xmlns:p="http://schemas.openxmlformats.org/presentationml/2006/main">
  <p:tag name="PS_COMPARE_SHAPE_ID" val="9b4896a0-8f02-4936-aff6-3dd16641eee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S_COMPARE_SHAPE_ID" val="f2dd81f6-ed3f-4635-9c0d-ce73b010426c"/>
</p:tagLst>
</file>

<file path=ppt/tags/tag121.xml><?xml version="1.0" encoding="utf-8"?>
<p:tagLst xmlns:a="http://schemas.openxmlformats.org/drawingml/2006/main" xmlns:r="http://schemas.openxmlformats.org/officeDocument/2006/relationships" xmlns:p="http://schemas.openxmlformats.org/presentationml/2006/main">
  <p:tag name="PS_COMPARE_SHAPE_ID" val="bb9b1968-c7ef-469b-b818-0f7cafd38352"/>
</p:tagLst>
</file>

<file path=ppt/tags/tag122.xml><?xml version="1.0" encoding="utf-8"?>
<p:tagLst xmlns:a="http://schemas.openxmlformats.org/drawingml/2006/main" xmlns:r="http://schemas.openxmlformats.org/officeDocument/2006/relationships" xmlns:p="http://schemas.openxmlformats.org/presentationml/2006/main">
  <p:tag name="PS_COMPARE_SHAPE_ID" val="a2c51b9f-800c-4f68-8c79-9f6465bf13fe"/>
</p:tagLst>
</file>

<file path=ppt/tags/tag123.xml><?xml version="1.0" encoding="utf-8"?>
<p:tagLst xmlns:a="http://schemas.openxmlformats.org/drawingml/2006/main" xmlns:r="http://schemas.openxmlformats.org/officeDocument/2006/relationships" xmlns:p="http://schemas.openxmlformats.org/presentationml/2006/main">
  <p:tag name="PS_COMPARE_SHAPE_ID" val="5b71431e-4890-4fa4-aae9-b9fb1ba7e51c"/>
</p:tagLst>
</file>

<file path=ppt/tags/tag124.xml><?xml version="1.0" encoding="utf-8"?>
<p:tagLst xmlns:a="http://schemas.openxmlformats.org/drawingml/2006/main" xmlns:r="http://schemas.openxmlformats.org/officeDocument/2006/relationships" xmlns:p="http://schemas.openxmlformats.org/presentationml/2006/main">
  <p:tag name="PS_COMPARE_SHAPE_ID" val="cc3bf8c3-ffdd-48d2-83e9-10b49de770c7"/>
</p:tagLst>
</file>

<file path=ppt/tags/tag125.xml><?xml version="1.0" encoding="utf-8"?>
<p:tagLst xmlns:a="http://schemas.openxmlformats.org/drawingml/2006/main" xmlns:r="http://schemas.openxmlformats.org/officeDocument/2006/relationships" xmlns:p="http://schemas.openxmlformats.org/presentationml/2006/main">
  <p:tag name="PS_COMPARE_SLIDE_ID" val="5e50b979-ec58-4c05-98f2-04103b588e09"/>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708a11c4-d5af-4427-a6e3-b88cf94ab458"/>
</p:tagLst>
</file>

<file path=ppt/tags/tag127.xml><?xml version="1.0" encoding="utf-8"?>
<p:tagLst xmlns:a="http://schemas.openxmlformats.org/drawingml/2006/main" xmlns:r="http://schemas.openxmlformats.org/officeDocument/2006/relationships" xmlns:p="http://schemas.openxmlformats.org/presentationml/2006/main">
  <p:tag name="PS_COMPARE_SHAPE_ID" val="4dd3fb87-3589-446d-ac8d-ccc85d9276f5"/>
</p:tagLst>
</file>

<file path=ppt/tags/tag128.xml><?xml version="1.0" encoding="utf-8"?>
<p:tagLst xmlns:a="http://schemas.openxmlformats.org/drawingml/2006/main" xmlns:r="http://schemas.openxmlformats.org/officeDocument/2006/relationships" xmlns:p="http://schemas.openxmlformats.org/presentationml/2006/main">
  <p:tag name="PS_COMPARE_SHAPE_ID" val="da1e61ae-3b68-47ac-b5db-e6509854e1d6"/>
</p:tagLst>
</file>

<file path=ppt/tags/tag129.xml><?xml version="1.0" encoding="utf-8"?>
<p:tagLst xmlns:a="http://schemas.openxmlformats.org/drawingml/2006/main" xmlns:r="http://schemas.openxmlformats.org/officeDocument/2006/relationships" xmlns:p="http://schemas.openxmlformats.org/presentationml/2006/main">
  <p:tag name="PS_COMPARE_SHAPE_ID" val="90be44f3-c81b-4b94-916b-e728dfe009ab"/>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S_COMPARE_SHAPE_ID" val="1d7637fd-3c89-4f43-8e5f-479475fc968d"/>
</p:tagLst>
</file>

<file path=ppt/tags/tag131.xml><?xml version="1.0" encoding="utf-8"?>
<p:tagLst xmlns:a="http://schemas.openxmlformats.org/drawingml/2006/main" xmlns:r="http://schemas.openxmlformats.org/officeDocument/2006/relationships" xmlns:p="http://schemas.openxmlformats.org/presentationml/2006/main">
  <p:tag name="PS_COMPARE_SHAPE_ID" val="a1b9e619-c39b-4b63-ad2e-9c833ea76848"/>
</p:tagLst>
</file>

<file path=ppt/tags/tag132.xml><?xml version="1.0" encoding="utf-8"?>
<p:tagLst xmlns:a="http://schemas.openxmlformats.org/drawingml/2006/main" xmlns:r="http://schemas.openxmlformats.org/officeDocument/2006/relationships" xmlns:p="http://schemas.openxmlformats.org/presentationml/2006/main">
  <p:tag name="PS_COMPARE_SHAPE_ID" val="a33eaaca-f803-40bf-a225-c2a550fd4372"/>
</p:tagLst>
</file>

<file path=ppt/tags/tag133.xml><?xml version="1.0" encoding="utf-8"?>
<p:tagLst xmlns:a="http://schemas.openxmlformats.org/drawingml/2006/main" xmlns:r="http://schemas.openxmlformats.org/officeDocument/2006/relationships" xmlns:p="http://schemas.openxmlformats.org/presentationml/2006/main">
  <p:tag name="PS_COMPARE_SHAPE_ID" val="017c94c2-d93a-4134-9940-5b7becff0fa3"/>
</p:tagLst>
</file>

<file path=ppt/tags/tag134.xml><?xml version="1.0" encoding="utf-8"?>
<p:tagLst xmlns:a="http://schemas.openxmlformats.org/drawingml/2006/main" xmlns:r="http://schemas.openxmlformats.org/officeDocument/2006/relationships" xmlns:p="http://schemas.openxmlformats.org/presentationml/2006/main">
  <p:tag name="PS_COMPARE_SLIDE_ID" val="ea4e3dcb-d68d-4c01-81af-3bab6b69a6a7"/>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a0887db-5c7f-436e-b89b-83ad617db1b7"/>
</p:tagLst>
</file>

<file path=ppt/tags/tag136.xml><?xml version="1.0" encoding="utf-8"?>
<p:tagLst xmlns:a="http://schemas.openxmlformats.org/drawingml/2006/main" xmlns:r="http://schemas.openxmlformats.org/officeDocument/2006/relationships" xmlns:p="http://schemas.openxmlformats.org/presentationml/2006/main">
  <p:tag name="PS_COMPARE_SHAPE_ID" val="630b3fb4-01b3-4fd8-8a4b-4831f51125ff"/>
</p:tagLst>
</file>

<file path=ppt/tags/tag137.xml><?xml version="1.0" encoding="utf-8"?>
<p:tagLst xmlns:a="http://schemas.openxmlformats.org/drawingml/2006/main" xmlns:r="http://schemas.openxmlformats.org/officeDocument/2006/relationships" xmlns:p="http://schemas.openxmlformats.org/presentationml/2006/main">
  <p:tag name="PS_COMPARE_SHAPE_ID" val="0f86c223-0224-4bbb-b017-67cb11539f9a"/>
</p:tagLst>
</file>

<file path=ppt/tags/tag138.xml><?xml version="1.0" encoding="utf-8"?>
<p:tagLst xmlns:a="http://schemas.openxmlformats.org/drawingml/2006/main" xmlns:r="http://schemas.openxmlformats.org/officeDocument/2006/relationships" xmlns:p="http://schemas.openxmlformats.org/presentationml/2006/main">
  <p:tag name="PS_COMPARE_SHAPE_ID" val="c0ad9d32-e21a-458e-8afb-eb4190cff740"/>
</p:tagLst>
</file>

<file path=ppt/tags/tag139.xml><?xml version="1.0" encoding="utf-8"?>
<p:tagLst xmlns:a="http://schemas.openxmlformats.org/drawingml/2006/main" xmlns:r="http://schemas.openxmlformats.org/officeDocument/2006/relationships" xmlns:p="http://schemas.openxmlformats.org/presentationml/2006/main">
  <p:tag name="PS_COMPARE_SHAPE_ID" val="8df941db-bd0a-444c-974e-662d88f545c8"/>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S_COMPARE_SLIDE_ID" val="f385e548-0718-4ad9-9946-4e518e9113d0"/>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680fd75c-ab76-4b8c-8819-ecdd6ab2142e"/>
</p:tagLst>
</file>

<file path=ppt/tags/tag142.xml><?xml version="1.0" encoding="utf-8"?>
<p:tagLst xmlns:a="http://schemas.openxmlformats.org/drawingml/2006/main" xmlns:r="http://schemas.openxmlformats.org/officeDocument/2006/relationships" xmlns:p="http://schemas.openxmlformats.org/presentationml/2006/main">
  <p:tag name="PS_COMPARE_SHAPE_ID" val="50ec23f5-a182-4c22-b32d-2dea29171c1e"/>
</p:tagLst>
</file>

<file path=ppt/tags/tag143.xml><?xml version="1.0" encoding="utf-8"?>
<p:tagLst xmlns:a="http://schemas.openxmlformats.org/drawingml/2006/main" xmlns:r="http://schemas.openxmlformats.org/officeDocument/2006/relationships" xmlns:p="http://schemas.openxmlformats.org/presentationml/2006/main">
  <p:tag name="PS_COMPARE_SHAPE_ID" val="bf088af2-554b-4f6a-bc93-487e3d3a5d70"/>
</p:tagLst>
</file>

<file path=ppt/tags/tag144.xml><?xml version="1.0" encoding="utf-8"?>
<p:tagLst xmlns:a="http://schemas.openxmlformats.org/drawingml/2006/main" xmlns:r="http://schemas.openxmlformats.org/officeDocument/2006/relationships" xmlns:p="http://schemas.openxmlformats.org/presentationml/2006/main">
  <p:tag name="PS_COMPARE_SHAPE_ID" val="756e09e5-0d92-408e-b827-fabef2216e9e"/>
</p:tagLst>
</file>

<file path=ppt/tags/tag145.xml><?xml version="1.0" encoding="utf-8"?>
<p:tagLst xmlns:a="http://schemas.openxmlformats.org/drawingml/2006/main" xmlns:r="http://schemas.openxmlformats.org/officeDocument/2006/relationships" xmlns:p="http://schemas.openxmlformats.org/presentationml/2006/main">
  <p:tag name="PS_COMPARE_SHAPE_ID" val="1f29d139-7144-42ac-b678-4ea972b49fa7"/>
</p:tagLst>
</file>

<file path=ppt/tags/tag146.xml><?xml version="1.0" encoding="utf-8"?>
<p:tagLst xmlns:a="http://schemas.openxmlformats.org/drawingml/2006/main" xmlns:r="http://schemas.openxmlformats.org/officeDocument/2006/relationships" xmlns:p="http://schemas.openxmlformats.org/presentationml/2006/main">
  <p:tag name="PS_COMPARE_SLIDE_ID" val="01272d73-4dd4-497c-a794-1d80113d45ac"/>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2486ab83-731a-49cb-b364-91cdc854501e"/>
</p:tagLst>
</file>

<file path=ppt/tags/tag148.xml><?xml version="1.0" encoding="utf-8"?>
<p:tagLst xmlns:a="http://schemas.openxmlformats.org/drawingml/2006/main" xmlns:r="http://schemas.openxmlformats.org/officeDocument/2006/relationships" xmlns:p="http://schemas.openxmlformats.org/presentationml/2006/main">
  <p:tag name="PS_COMPARE_SHAPE_ID" val="63e62aff-6f10-4374-b93d-87bbe307c8ad"/>
</p:tagLst>
</file>

<file path=ppt/tags/tag149.xml><?xml version="1.0" encoding="utf-8"?>
<p:tagLst xmlns:a="http://schemas.openxmlformats.org/drawingml/2006/main" xmlns:r="http://schemas.openxmlformats.org/officeDocument/2006/relationships" xmlns:p="http://schemas.openxmlformats.org/presentationml/2006/main">
  <p:tag name="PS_COMPARE_SHAPE_ID" val="e857e088-836d-4724-8467-e36a77fb7317"/>
</p:tagLst>
</file>

<file path=ppt/tags/tag15.xml><?xml version="1.0" encoding="utf-8"?>
<p:tagLst xmlns:a="http://schemas.openxmlformats.org/drawingml/2006/main" xmlns:r="http://schemas.openxmlformats.org/officeDocument/2006/relationships" xmlns:p="http://schemas.openxmlformats.org/presentationml/2006/main">
  <p:tag name="PS_COMPARE_SLIDE_ID" val="f7761576-efe7-406e-89e6-1cf06cbdb6ed"/>
</p:tagLst>
</file>

<file path=ppt/tags/tag150.xml><?xml version="1.0" encoding="utf-8"?>
<p:tagLst xmlns:a="http://schemas.openxmlformats.org/drawingml/2006/main" xmlns:r="http://schemas.openxmlformats.org/officeDocument/2006/relationships" xmlns:p="http://schemas.openxmlformats.org/presentationml/2006/main">
  <p:tag name="PS_COMPARE_SHAPE_ID" val="742def51-b87d-47c6-8eff-268d4455044a"/>
</p:tagLst>
</file>

<file path=ppt/tags/tag151.xml><?xml version="1.0" encoding="utf-8"?>
<p:tagLst xmlns:a="http://schemas.openxmlformats.org/drawingml/2006/main" xmlns:r="http://schemas.openxmlformats.org/officeDocument/2006/relationships" xmlns:p="http://schemas.openxmlformats.org/presentationml/2006/main">
  <p:tag name="PS_COMPARE_SHAPE_ID" val="806b59c5-1efe-4c01-ae97-23e0fda86080"/>
</p:tagLst>
</file>

<file path=ppt/tags/tag152.xml><?xml version="1.0" encoding="utf-8"?>
<p:tagLst xmlns:a="http://schemas.openxmlformats.org/drawingml/2006/main" xmlns:r="http://schemas.openxmlformats.org/officeDocument/2006/relationships" xmlns:p="http://schemas.openxmlformats.org/presentationml/2006/main">
  <p:tag name="PS_COMPARE_SHAPE_ID" val="ca9fb64a-0e22-4f40-ac2c-bdaac9827141"/>
</p:tagLst>
</file>

<file path=ppt/tags/tag153.xml><?xml version="1.0" encoding="utf-8"?>
<p:tagLst xmlns:a="http://schemas.openxmlformats.org/drawingml/2006/main" xmlns:r="http://schemas.openxmlformats.org/officeDocument/2006/relationships" xmlns:p="http://schemas.openxmlformats.org/presentationml/2006/main">
  <p:tag name="PS_COMPARE_SHAPE_ID" val="c7073434-fb39-41cd-b5f8-52df61efef73"/>
</p:tagLst>
</file>

<file path=ppt/tags/tag154.xml><?xml version="1.0" encoding="utf-8"?>
<p:tagLst xmlns:a="http://schemas.openxmlformats.org/drawingml/2006/main" xmlns:r="http://schemas.openxmlformats.org/officeDocument/2006/relationships" xmlns:p="http://schemas.openxmlformats.org/presentationml/2006/main">
  <p:tag name="PS_COMPARE_SHAPE_ID" val="16210524-d3f0-4785-bb03-7af510da9575"/>
</p:tagLst>
</file>

<file path=ppt/tags/tag155.xml><?xml version="1.0" encoding="utf-8"?>
<p:tagLst xmlns:a="http://schemas.openxmlformats.org/drawingml/2006/main" xmlns:r="http://schemas.openxmlformats.org/officeDocument/2006/relationships" xmlns:p="http://schemas.openxmlformats.org/presentationml/2006/main">
  <p:tag name="PS_COMPARE_SLIDE_ID" val="dc3641da-d258-4033-9c84-6acb3dd5be33"/>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cd75099f-4ca9-4cc1-90e0-c72a1ba29d8b"/>
</p:tagLst>
</file>

<file path=ppt/tags/tag157.xml><?xml version="1.0" encoding="utf-8"?>
<p:tagLst xmlns:a="http://schemas.openxmlformats.org/drawingml/2006/main" xmlns:r="http://schemas.openxmlformats.org/officeDocument/2006/relationships" xmlns:p="http://schemas.openxmlformats.org/presentationml/2006/main">
  <p:tag name="PS_COMPARE_SHAPE_ID" val="91b44eb1-561a-4793-9dc1-7adfab4a794f"/>
</p:tagLst>
</file>

<file path=ppt/tags/tag158.xml><?xml version="1.0" encoding="utf-8"?>
<p:tagLst xmlns:a="http://schemas.openxmlformats.org/drawingml/2006/main" xmlns:r="http://schemas.openxmlformats.org/officeDocument/2006/relationships" xmlns:p="http://schemas.openxmlformats.org/presentationml/2006/main">
  <p:tag name="PS_COMPARE_SHAPE_ID" val="b5ed2a40-380f-41a5-8e78-3f6557a3c48c"/>
</p:tagLst>
</file>

<file path=ppt/tags/tag159.xml><?xml version="1.0" encoding="utf-8"?>
<p:tagLst xmlns:a="http://schemas.openxmlformats.org/drawingml/2006/main" xmlns:r="http://schemas.openxmlformats.org/officeDocument/2006/relationships" xmlns:p="http://schemas.openxmlformats.org/presentationml/2006/main">
  <p:tag name="PS_COMPARE_SHAPE_ID" val="56aadf9a-cdfd-4217-b9ed-d5cf3f05eb97"/>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f887f2e6-d8cf-4f02-8b2e-9d7b1109c7ab"/>
</p:tagLst>
</file>

<file path=ppt/tags/tag160.xml><?xml version="1.0" encoding="utf-8"?>
<p:tagLst xmlns:a="http://schemas.openxmlformats.org/drawingml/2006/main" xmlns:r="http://schemas.openxmlformats.org/officeDocument/2006/relationships" xmlns:p="http://schemas.openxmlformats.org/presentationml/2006/main">
  <p:tag name="PS_COMPARE_SHAPE_ID" val="3fb0b30f-db03-4e21-8410-92106cddd71c"/>
</p:tagLst>
</file>

<file path=ppt/tags/tag161.xml><?xml version="1.0" encoding="utf-8"?>
<p:tagLst xmlns:a="http://schemas.openxmlformats.org/drawingml/2006/main" xmlns:r="http://schemas.openxmlformats.org/officeDocument/2006/relationships" xmlns:p="http://schemas.openxmlformats.org/presentationml/2006/main">
  <p:tag name="PS_COMPARE_SHAPE_ID" val="d8b5b4c5-6035-4392-97bd-027202898fdf"/>
</p:tagLst>
</file>

<file path=ppt/tags/tag162.xml><?xml version="1.0" encoding="utf-8"?>
<p:tagLst xmlns:a="http://schemas.openxmlformats.org/drawingml/2006/main" xmlns:r="http://schemas.openxmlformats.org/officeDocument/2006/relationships" xmlns:p="http://schemas.openxmlformats.org/presentationml/2006/main">
  <p:tag name="PS_COMPARE_SHAPE_ID" val="38ce2114-b9c7-4c98-a988-73308a40079e"/>
</p:tagLst>
</file>

<file path=ppt/tags/tag163.xml><?xml version="1.0" encoding="utf-8"?>
<p:tagLst xmlns:a="http://schemas.openxmlformats.org/drawingml/2006/main" xmlns:r="http://schemas.openxmlformats.org/officeDocument/2006/relationships" xmlns:p="http://schemas.openxmlformats.org/presentationml/2006/main">
  <p:tag name="PS_COMPARE_SHAPE_ID" val="7a106bfc-0262-407e-bdc7-4c03d1d6317a"/>
</p:tagLst>
</file>

<file path=ppt/tags/tag164.xml><?xml version="1.0" encoding="utf-8"?>
<p:tagLst xmlns:a="http://schemas.openxmlformats.org/drawingml/2006/main" xmlns:r="http://schemas.openxmlformats.org/officeDocument/2006/relationships" xmlns:p="http://schemas.openxmlformats.org/presentationml/2006/main">
  <p:tag name="PS_COMPARE_SHAPE_ID" val="2bcd0d5e-c0fd-4562-bbfd-b72cb81ce097"/>
</p:tagLst>
</file>

<file path=ppt/tags/tag165.xml><?xml version="1.0" encoding="utf-8"?>
<p:tagLst xmlns:a="http://schemas.openxmlformats.org/drawingml/2006/main" xmlns:r="http://schemas.openxmlformats.org/officeDocument/2006/relationships" xmlns:p="http://schemas.openxmlformats.org/presentationml/2006/main">
  <p:tag name="PS_COMPARE_SHAPE_ID" val="55caaa16-db07-4481-919b-3a596f4b7dd8"/>
</p:tagLst>
</file>

<file path=ppt/tags/tag166.xml><?xml version="1.0" encoding="utf-8"?>
<p:tagLst xmlns:a="http://schemas.openxmlformats.org/drawingml/2006/main" xmlns:r="http://schemas.openxmlformats.org/officeDocument/2006/relationships" xmlns:p="http://schemas.openxmlformats.org/presentationml/2006/main">
  <p:tag name="PS_COMPARE_SHAPE_ID" val="daaf4fa9-811d-41ff-9bd6-0e8afd2e84d4"/>
</p:tagLst>
</file>

<file path=ppt/tags/tag167.xml><?xml version="1.0" encoding="utf-8"?>
<p:tagLst xmlns:a="http://schemas.openxmlformats.org/drawingml/2006/main" xmlns:r="http://schemas.openxmlformats.org/officeDocument/2006/relationships" xmlns:p="http://schemas.openxmlformats.org/presentationml/2006/main">
  <p:tag name="PS_COMPARE_SLIDE_ID" val="62d7dd10-c266-4672-935e-c1c5e1fa3d63"/>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c4e05752-4732-42b3-935d-c89ed4b9212c"/>
</p:tagLst>
</file>

<file path=ppt/tags/tag169.xml><?xml version="1.0" encoding="utf-8"?>
<p:tagLst xmlns:a="http://schemas.openxmlformats.org/drawingml/2006/main" xmlns:r="http://schemas.openxmlformats.org/officeDocument/2006/relationships" xmlns:p="http://schemas.openxmlformats.org/presentationml/2006/main">
  <p:tag name="PS_COMPARE_SHAPE_ID" val="32c7e3b3-bdf5-41ad-b399-7416001e5600"/>
</p:tagLst>
</file>

<file path=ppt/tags/tag17.xml><?xml version="1.0" encoding="utf-8"?>
<p:tagLst xmlns:a="http://schemas.openxmlformats.org/drawingml/2006/main" xmlns:r="http://schemas.openxmlformats.org/officeDocument/2006/relationships" xmlns:p="http://schemas.openxmlformats.org/presentationml/2006/main">
  <p:tag name="PS_COMPARE_SHAPE_ID" val="2d807bf7-38a7-42b8-8f43-14b244c2674a"/>
</p:tagLst>
</file>

<file path=ppt/tags/tag170.xml><?xml version="1.0" encoding="utf-8"?>
<p:tagLst xmlns:a="http://schemas.openxmlformats.org/drawingml/2006/main" xmlns:r="http://schemas.openxmlformats.org/officeDocument/2006/relationships" xmlns:p="http://schemas.openxmlformats.org/presentationml/2006/main">
  <p:tag name="PS_COMPARE_SHAPE_ID" val="6037e7bf-7d14-40f0-8dc1-d55881894002"/>
</p:tagLst>
</file>

<file path=ppt/tags/tag171.xml><?xml version="1.0" encoding="utf-8"?>
<p:tagLst xmlns:a="http://schemas.openxmlformats.org/drawingml/2006/main" xmlns:r="http://schemas.openxmlformats.org/officeDocument/2006/relationships" xmlns:p="http://schemas.openxmlformats.org/presentationml/2006/main">
  <p:tag name="PS_COMPARE_SHAPE_ID" val="566825ed-d919-4810-8d06-a5892e78bf25"/>
</p:tagLst>
</file>

<file path=ppt/tags/tag172.xml><?xml version="1.0" encoding="utf-8"?>
<p:tagLst xmlns:a="http://schemas.openxmlformats.org/drawingml/2006/main" xmlns:r="http://schemas.openxmlformats.org/officeDocument/2006/relationships" xmlns:p="http://schemas.openxmlformats.org/presentationml/2006/main">
  <p:tag name="PS_COMPARE_SHAPE_ID" val="bf74f8ed-c44c-432b-b741-63735323b718"/>
</p:tagLst>
</file>

<file path=ppt/tags/tag173.xml><?xml version="1.0" encoding="utf-8"?>
<p:tagLst xmlns:a="http://schemas.openxmlformats.org/drawingml/2006/main" xmlns:r="http://schemas.openxmlformats.org/officeDocument/2006/relationships" xmlns:p="http://schemas.openxmlformats.org/presentationml/2006/main">
  <p:tag name="PS_COMPARE_SHAPE_ID" val="5d21b194-a7d0-43cc-93c4-0b15337af079"/>
</p:tagLst>
</file>

<file path=ppt/tags/tag174.xml><?xml version="1.0" encoding="utf-8"?>
<p:tagLst xmlns:a="http://schemas.openxmlformats.org/drawingml/2006/main" xmlns:r="http://schemas.openxmlformats.org/officeDocument/2006/relationships" xmlns:p="http://schemas.openxmlformats.org/presentationml/2006/main">
  <p:tag name="PS_COMPARE_SLIDE_ID" val="e87a3383-cd48-4cfc-bd90-435b2c00659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345b1f6f-96d2-4f2a-abda-72382bf826b1"/>
</p:tagLst>
</file>

<file path=ppt/tags/tag176.xml><?xml version="1.0" encoding="utf-8"?>
<p:tagLst xmlns:a="http://schemas.openxmlformats.org/drawingml/2006/main" xmlns:r="http://schemas.openxmlformats.org/officeDocument/2006/relationships" xmlns:p="http://schemas.openxmlformats.org/presentationml/2006/main">
  <p:tag name="PS_COMPARE_SHAPE_ID" val="21d25a4f-9587-42f8-ae7e-e719605314ea"/>
</p:tagLst>
</file>

<file path=ppt/tags/tag177.xml><?xml version="1.0" encoding="utf-8"?>
<p:tagLst xmlns:a="http://schemas.openxmlformats.org/drawingml/2006/main" xmlns:r="http://schemas.openxmlformats.org/officeDocument/2006/relationships" xmlns:p="http://schemas.openxmlformats.org/presentationml/2006/main">
  <p:tag name="PS_COMPARE_SHAPE_ID" val="bccaac13-4ea4-4905-9880-414b852297d7"/>
</p:tagLst>
</file>

<file path=ppt/tags/tag178.xml><?xml version="1.0" encoding="utf-8"?>
<p:tagLst xmlns:a="http://schemas.openxmlformats.org/drawingml/2006/main" xmlns:r="http://schemas.openxmlformats.org/officeDocument/2006/relationships" xmlns:p="http://schemas.openxmlformats.org/presentationml/2006/main">
  <p:tag name="PS_COMPARE_SHAPE_ID" val="6b71bc1e-398a-4f6e-bf45-f95b384f04e0"/>
</p:tagLst>
</file>

<file path=ppt/tags/tag179.xml><?xml version="1.0" encoding="utf-8"?>
<p:tagLst xmlns:a="http://schemas.openxmlformats.org/drawingml/2006/main" xmlns:r="http://schemas.openxmlformats.org/officeDocument/2006/relationships" xmlns:p="http://schemas.openxmlformats.org/presentationml/2006/main">
  <p:tag name="PS_COMPARE_SHAPE_ID" val="054ff163-d5db-4bdb-9fcb-80b6f1c4231d"/>
</p:tagLst>
</file>

<file path=ppt/tags/tag18.xml><?xml version="1.0" encoding="utf-8"?>
<p:tagLst xmlns:a="http://schemas.openxmlformats.org/drawingml/2006/main" xmlns:r="http://schemas.openxmlformats.org/officeDocument/2006/relationships" xmlns:p="http://schemas.openxmlformats.org/presentationml/2006/main">
  <p:tag name="PS_COMPARE_SHAPE_ID" val="ed6061cf-8863-4193-8973-9e7ea7e49ca5"/>
</p:tagLst>
</file>

<file path=ppt/tags/tag180.xml><?xml version="1.0" encoding="utf-8"?>
<p:tagLst xmlns:a="http://schemas.openxmlformats.org/drawingml/2006/main" xmlns:r="http://schemas.openxmlformats.org/officeDocument/2006/relationships" xmlns:p="http://schemas.openxmlformats.org/presentationml/2006/main">
  <p:tag name="PS_COMPARE_SLIDE_ID" val="d11c4c3f-6c75-4fc4-9d28-8c5582eb463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2ae74d8d-4f18-4a72-b488-cede2b0b0241"/>
</p:tagLst>
</file>

<file path=ppt/tags/tag182.xml><?xml version="1.0" encoding="utf-8"?>
<p:tagLst xmlns:a="http://schemas.openxmlformats.org/drawingml/2006/main" xmlns:r="http://schemas.openxmlformats.org/officeDocument/2006/relationships" xmlns:p="http://schemas.openxmlformats.org/presentationml/2006/main">
  <p:tag name="PS_COMPARE_SHAPE_ID" val="5526d4ff-0399-4bea-91db-97121c17c194"/>
</p:tagLst>
</file>

<file path=ppt/tags/tag183.xml><?xml version="1.0" encoding="utf-8"?>
<p:tagLst xmlns:a="http://schemas.openxmlformats.org/drawingml/2006/main" xmlns:r="http://schemas.openxmlformats.org/officeDocument/2006/relationships" xmlns:p="http://schemas.openxmlformats.org/presentationml/2006/main">
  <p:tag name="PS_COMPARE_SHAPE_ID" val="0a212c4e-90fe-40c6-8515-ddc25bd51d80"/>
</p:tagLst>
</file>

<file path=ppt/tags/tag184.xml><?xml version="1.0" encoding="utf-8"?>
<p:tagLst xmlns:a="http://schemas.openxmlformats.org/drawingml/2006/main" xmlns:r="http://schemas.openxmlformats.org/officeDocument/2006/relationships" xmlns:p="http://schemas.openxmlformats.org/presentationml/2006/main">
  <p:tag name="PS_COMPARE_SHAPE_ID" val="22a6cb18-71bd-4609-a79b-07906421a032"/>
</p:tagLst>
</file>

<file path=ppt/tags/tag185.xml><?xml version="1.0" encoding="utf-8"?>
<p:tagLst xmlns:a="http://schemas.openxmlformats.org/drawingml/2006/main" xmlns:r="http://schemas.openxmlformats.org/officeDocument/2006/relationships" xmlns:p="http://schemas.openxmlformats.org/presentationml/2006/main">
  <p:tag name="PS_COMPARE_SHAPE_ID" val="322a893e-821a-4687-a133-b3a042070ced"/>
</p:tagLst>
</file>

<file path=ppt/tags/tag186.xml><?xml version="1.0" encoding="utf-8"?>
<p:tagLst xmlns:a="http://schemas.openxmlformats.org/drawingml/2006/main" xmlns:r="http://schemas.openxmlformats.org/officeDocument/2006/relationships" xmlns:p="http://schemas.openxmlformats.org/presentationml/2006/main">
  <p:tag name="PS_COMPARE_SHAPE_ID" val="e09ec8b5-215f-489e-8867-628691a596bb"/>
</p:tagLst>
</file>

<file path=ppt/tags/tag187.xml><?xml version="1.0" encoding="utf-8"?>
<p:tagLst xmlns:a="http://schemas.openxmlformats.org/drawingml/2006/main" xmlns:r="http://schemas.openxmlformats.org/officeDocument/2006/relationships" xmlns:p="http://schemas.openxmlformats.org/presentationml/2006/main">
  <p:tag name="PS_COMPARE_SHAPE_ID" val="018888a6-9067-4223-b162-78cdb679e943"/>
</p:tagLst>
</file>

<file path=ppt/tags/tag188.xml><?xml version="1.0" encoding="utf-8"?>
<p:tagLst xmlns:a="http://schemas.openxmlformats.org/drawingml/2006/main" xmlns:r="http://schemas.openxmlformats.org/officeDocument/2006/relationships" xmlns:p="http://schemas.openxmlformats.org/presentationml/2006/main">
  <p:tag name="PS_COMPARE_SHAPE_ID" val="4393b1f4-e3f6-4e62-83fa-74270d06a239"/>
</p:tagLst>
</file>

<file path=ppt/tags/tag189.xml><?xml version="1.0" encoding="utf-8"?>
<p:tagLst xmlns:a="http://schemas.openxmlformats.org/drawingml/2006/main" xmlns:r="http://schemas.openxmlformats.org/officeDocument/2006/relationships" xmlns:p="http://schemas.openxmlformats.org/presentationml/2006/main">
  <p:tag name="PS_COMPARE_SHAPE_ID" val="0a866f37-e80d-41fb-92aa-7b146a2f6328"/>
</p:tagLst>
</file>

<file path=ppt/tags/tag19.xml><?xml version="1.0" encoding="utf-8"?>
<p:tagLst xmlns:a="http://schemas.openxmlformats.org/drawingml/2006/main" xmlns:r="http://schemas.openxmlformats.org/officeDocument/2006/relationships" xmlns:p="http://schemas.openxmlformats.org/presentationml/2006/main">
  <p:tag name="PS_COMPARE_SHAPE_ID" val="d526466a-ea31-46fd-b607-d0bfe0648754"/>
</p:tagLst>
</file>

<file path=ppt/tags/tag190.xml><?xml version="1.0" encoding="utf-8"?>
<p:tagLst xmlns:a="http://schemas.openxmlformats.org/drawingml/2006/main" xmlns:r="http://schemas.openxmlformats.org/officeDocument/2006/relationships" xmlns:p="http://schemas.openxmlformats.org/presentationml/2006/main">
  <p:tag name="PS_COMPARE_SHAPE_ID" val="63eb62ae-5066-42b7-b657-c41dfdeebb1d"/>
</p:tagLst>
</file>

<file path=ppt/tags/tag191.xml><?xml version="1.0" encoding="utf-8"?>
<p:tagLst xmlns:a="http://schemas.openxmlformats.org/drawingml/2006/main" xmlns:r="http://schemas.openxmlformats.org/officeDocument/2006/relationships" xmlns:p="http://schemas.openxmlformats.org/presentationml/2006/main">
  <p:tag name="PS_COMPARE_SHAPE_ID" val="6f62cf14-2493-4e67-8248-68e86fd7d583"/>
</p:tagLst>
</file>

<file path=ppt/tags/tag192.xml><?xml version="1.0" encoding="utf-8"?>
<p:tagLst xmlns:a="http://schemas.openxmlformats.org/drawingml/2006/main" xmlns:r="http://schemas.openxmlformats.org/officeDocument/2006/relationships" xmlns:p="http://schemas.openxmlformats.org/presentationml/2006/main">
  <p:tag name="PS_COMPARE_SHAPE_ID" val="8112dd57-fb93-474a-b99c-63ea71a7026e"/>
</p:tagLst>
</file>

<file path=ppt/tags/tag193.xml><?xml version="1.0" encoding="utf-8"?>
<p:tagLst xmlns:a="http://schemas.openxmlformats.org/drawingml/2006/main" xmlns:r="http://schemas.openxmlformats.org/officeDocument/2006/relationships" xmlns:p="http://schemas.openxmlformats.org/presentationml/2006/main">
  <p:tag name="PS_COMPARE_SHAPE_ID" val="512cf376-4c87-4cf1-bb87-7aab1f87603d"/>
</p:tagLst>
</file>

<file path=ppt/tags/tag194.xml><?xml version="1.0" encoding="utf-8"?>
<p:tagLst xmlns:a="http://schemas.openxmlformats.org/drawingml/2006/main" xmlns:r="http://schemas.openxmlformats.org/officeDocument/2006/relationships" xmlns:p="http://schemas.openxmlformats.org/presentationml/2006/main">
  <p:tag name="PS_COMPARE_SHAPE_ID" val="3f98b651-93f4-42e0-bb5e-99d5cde48565"/>
</p:tagLst>
</file>

<file path=ppt/tags/tag195.xml><?xml version="1.0" encoding="utf-8"?>
<p:tagLst xmlns:a="http://schemas.openxmlformats.org/drawingml/2006/main" xmlns:r="http://schemas.openxmlformats.org/officeDocument/2006/relationships" xmlns:p="http://schemas.openxmlformats.org/presentationml/2006/main">
  <p:tag name="PS_COMPARE_SHAPE_ID" val="ce03203c-6dd8-40c4-ae9e-edf53b21c225"/>
</p:tagLst>
</file>

<file path=ppt/tags/tag196.xml><?xml version="1.0" encoding="utf-8"?>
<p:tagLst xmlns:a="http://schemas.openxmlformats.org/drawingml/2006/main" xmlns:r="http://schemas.openxmlformats.org/officeDocument/2006/relationships" xmlns:p="http://schemas.openxmlformats.org/presentationml/2006/main">
  <p:tag name="PS_COMPARE_SHAPE_ID" val="a4963f86-2ebf-4492-8091-4fc6b8de6230"/>
</p:tagLst>
</file>

<file path=ppt/tags/tag197.xml><?xml version="1.0" encoding="utf-8"?>
<p:tagLst xmlns:a="http://schemas.openxmlformats.org/drawingml/2006/main" xmlns:r="http://schemas.openxmlformats.org/officeDocument/2006/relationships" xmlns:p="http://schemas.openxmlformats.org/presentationml/2006/main">
  <p:tag name="PS_COMPARE_SHAPE_ID" val="8964764b-44f1-4b1c-b19a-708b2e9ad7b9"/>
</p:tagLst>
</file>

<file path=ppt/tags/tag198.xml><?xml version="1.0" encoding="utf-8"?>
<p:tagLst xmlns:a="http://schemas.openxmlformats.org/drawingml/2006/main" xmlns:r="http://schemas.openxmlformats.org/officeDocument/2006/relationships" xmlns:p="http://schemas.openxmlformats.org/presentationml/2006/main">
  <p:tag name="PS_COMPARE_SHAPE_ID" val="7e4b1655-e5e4-4daf-9bb2-ca4c5b8a49ed"/>
</p:tagLst>
</file>

<file path=ppt/tags/tag199.xml><?xml version="1.0" encoding="utf-8"?>
<p:tagLst xmlns:a="http://schemas.openxmlformats.org/drawingml/2006/main" xmlns:r="http://schemas.openxmlformats.org/officeDocument/2006/relationships" xmlns:p="http://schemas.openxmlformats.org/presentationml/2006/main">
  <p:tag name="PS_COMPARE_SHAPE_ID" val="f6002c4c-55f5-4807-8f41-9f6536e0c7d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S_COMPARE_SLIDE_ID" val="566fcd19-3fc2-4181-b830-e1b319ad4c3f"/>
</p:tagLst>
</file>

<file path=ppt/tags/tag200.xml><?xml version="1.0" encoding="utf-8"?>
<p:tagLst xmlns:a="http://schemas.openxmlformats.org/drawingml/2006/main" xmlns:r="http://schemas.openxmlformats.org/officeDocument/2006/relationships" xmlns:p="http://schemas.openxmlformats.org/presentationml/2006/main">
  <p:tag name="PS_COMPARE_SLIDE_ID" val="07aaf466-ac05-48d5-87ce-b863c9465388"/>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90ddfcd1-a6ad-48d4-89d6-67d0e7039f16"/>
</p:tagLst>
</file>

<file path=ppt/tags/tag202.xml><?xml version="1.0" encoding="utf-8"?>
<p:tagLst xmlns:a="http://schemas.openxmlformats.org/drawingml/2006/main" xmlns:r="http://schemas.openxmlformats.org/officeDocument/2006/relationships" xmlns:p="http://schemas.openxmlformats.org/presentationml/2006/main">
  <p:tag name="PS_COMPARE_SHAPE_ID" val="dc443cc8-b296-47b7-b620-1ca1ec46444d"/>
</p:tagLst>
</file>

<file path=ppt/tags/tag203.xml><?xml version="1.0" encoding="utf-8"?>
<p:tagLst xmlns:a="http://schemas.openxmlformats.org/drawingml/2006/main" xmlns:r="http://schemas.openxmlformats.org/officeDocument/2006/relationships" xmlns:p="http://schemas.openxmlformats.org/presentationml/2006/main">
  <p:tag name="PS_COMPARE_SHAPE_ID" val="03276c16-9758-416a-9f6c-cfc1910f0c45"/>
</p:tagLst>
</file>

<file path=ppt/tags/tag204.xml><?xml version="1.0" encoding="utf-8"?>
<p:tagLst xmlns:a="http://schemas.openxmlformats.org/drawingml/2006/main" xmlns:r="http://schemas.openxmlformats.org/officeDocument/2006/relationships" xmlns:p="http://schemas.openxmlformats.org/presentationml/2006/main">
  <p:tag name="PS_COMPARE_SHAPE_ID" val="b0e1ecd4-4503-4b50-9349-a6e265a061a9"/>
</p:tagLst>
</file>

<file path=ppt/tags/tag205.xml><?xml version="1.0" encoding="utf-8"?>
<p:tagLst xmlns:a="http://schemas.openxmlformats.org/drawingml/2006/main" xmlns:r="http://schemas.openxmlformats.org/officeDocument/2006/relationships" xmlns:p="http://schemas.openxmlformats.org/presentationml/2006/main">
  <p:tag name="PS_COMPARE_SHAPE_ID" val="84bb648e-9f35-4076-a18c-e6682e219056"/>
</p:tagLst>
</file>

<file path=ppt/tags/tag206.xml><?xml version="1.0" encoding="utf-8"?>
<p:tagLst xmlns:a="http://schemas.openxmlformats.org/drawingml/2006/main" xmlns:r="http://schemas.openxmlformats.org/officeDocument/2006/relationships" xmlns:p="http://schemas.openxmlformats.org/presentationml/2006/main">
  <p:tag name="PS_COMPARE_SLIDE_ID" val="5e50b979-ec58-4c05-98f2-04103b588e09"/>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708a11c4-d5af-4427-a6e3-b88cf94ab458"/>
</p:tagLst>
</file>

<file path=ppt/tags/tag208.xml><?xml version="1.0" encoding="utf-8"?>
<p:tagLst xmlns:a="http://schemas.openxmlformats.org/drawingml/2006/main" xmlns:r="http://schemas.openxmlformats.org/officeDocument/2006/relationships" xmlns:p="http://schemas.openxmlformats.org/presentationml/2006/main">
  <p:tag name="PS_COMPARE_SHAPE_ID" val="4dd3fb87-3589-446d-ac8d-ccc85d9276f5"/>
</p:tagLst>
</file>

<file path=ppt/tags/tag209.xml><?xml version="1.0" encoding="utf-8"?>
<p:tagLst xmlns:a="http://schemas.openxmlformats.org/drawingml/2006/main" xmlns:r="http://schemas.openxmlformats.org/officeDocument/2006/relationships" xmlns:p="http://schemas.openxmlformats.org/presentationml/2006/main">
  <p:tag name="PS_COMPARE_SHAPE_ID" val="90be44f3-c81b-4b94-916b-e728dfe009ab"/>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2e796c0a-8aea-414d-9c85-1795e63201c5"/>
</p:tagLst>
</file>

<file path=ppt/tags/tag210.xml><?xml version="1.0" encoding="utf-8"?>
<p:tagLst xmlns:a="http://schemas.openxmlformats.org/drawingml/2006/main" xmlns:r="http://schemas.openxmlformats.org/officeDocument/2006/relationships" xmlns:p="http://schemas.openxmlformats.org/presentationml/2006/main">
  <p:tag name="PS_COMPARE_SHAPE_ID" val="1d7637fd-3c89-4f43-8e5f-479475fc968d"/>
</p:tagLst>
</file>

<file path=ppt/tags/tag211.xml><?xml version="1.0" encoding="utf-8"?>
<p:tagLst xmlns:a="http://schemas.openxmlformats.org/drawingml/2006/main" xmlns:r="http://schemas.openxmlformats.org/officeDocument/2006/relationships" xmlns:p="http://schemas.openxmlformats.org/presentationml/2006/main">
  <p:tag name="PS_COMPARE_SHAPE_ID" val="a1b9e619-c39b-4b63-ad2e-9c833ea76848"/>
</p:tagLst>
</file>

<file path=ppt/tags/tag212.xml><?xml version="1.0" encoding="utf-8"?>
<p:tagLst xmlns:a="http://schemas.openxmlformats.org/drawingml/2006/main" xmlns:r="http://schemas.openxmlformats.org/officeDocument/2006/relationships" xmlns:p="http://schemas.openxmlformats.org/presentationml/2006/main">
  <p:tag name="PS_COMPARE_SHAPE_ID" val="017c94c2-d93a-4134-9940-5b7becff0fa3"/>
</p:tagLst>
</file>

<file path=ppt/tags/tag213.xml><?xml version="1.0" encoding="utf-8"?>
<p:tagLst xmlns:a="http://schemas.openxmlformats.org/drawingml/2006/main" xmlns:r="http://schemas.openxmlformats.org/officeDocument/2006/relationships" xmlns:p="http://schemas.openxmlformats.org/presentationml/2006/main">
  <p:tag name="PS_COMPARE_SLIDE_ID" val="0d4e2d6e-60aa-476c-ba44-d437ef5040b3"/>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7065191b-5f0c-4d69-bbe2-2fc364ac3526"/>
</p:tagLst>
</file>

<file path=ppt/tags/tag215.xml><?xml version="1.0" encoding="utf-8"?>
<p:tagLst xmlns:a="http://schemas.openxmlformats.org/drawingml/2006/main" xmlns:r="http://schemas.openxmlformats.org/officeDocument/2006/relationships" xmlns:p="http://schemas.openxmlformats.org/presentationml/2006/main">
  <p:tag name="PS_COMPARE_SHAPE_ID" val="03995903-aa5d-49fc-a622-a3869b41a26d"/>
</p:tagLst>
</file>

<file path=ppt/tags/tag216.xml><?xml version="1.0" encoding="utf-8"?>
<p:tagLst xmlns:a="http://schemas.openxmlformats.org/drawingml/2006/main" xmlns:r="http://schemas.openxmlformats.org/officeDocument/2006/relationships" xmlns:p="http://schemas.openxmlformats.org/presentationml/2006/main">
  <p:tag name="PS_COMPARE_SHAPE_ID" val="6f0dbeb4-dc30-4035-a005-9e40a71c8090"/>
</p:tagLst>
</file>

<file path=ppt/tags/tag217.xml><?xml version="1.0" encoding="utf-8"?>
<p:tagLst xmlns:a="http://schemas.openxmlformats.org/drawingml/2006/main" xmlns:r="http://schemas.openxmlformats.org/officeDocument/2006/relationships" xmlns:p="http://schemas.openxmlformats.org/presentationml/2006/main">
  <p:tag name="PS_COMPARE_SHAPE_ID" val="9c09148f-bc37-4dd7-8836-0ff2c87f9a53"/>
</p:tagLst>
</file>

<file path=ppt/tags/tag218.xml><?xml version="1.0" encoding="utf-8"?>
<p:tagLst xmlns:a="http://schemas.openxmlformats.org/drawingml/2006/main" xmlns:r="http://schemas.openxmlformats.org/officeDocument/2006/relationships" xmlns:p="http://schemas.openxmlformats.org/presentationml/2006/main">
  <p:tag name="PS_COMPARE_SLIDE_ID" val="d6b13eab-84b3-45c2-979d-f3b2dab2fd46"/>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a7dc4a3-4dd1-4292-898c-8bf4d6d146b9"/>
</p:tagLst>
</file>

<file path=ppt/tags/tag22.xml><?xml version="1.0" encoding="utf-8"?>
<p:tagLst xmlns:a="http://schemas.openxmlformats.org/drawingml/2006/main" xmlns:r="http://schemas.openxmlformats.org/officeDocument/2006/relationships" xmlns:p="http://schemas.openxmlformats.org/presentationml/2006/main">
  <p:tag name="PS_COMPARE_SHAPE_ID" val="90f2bbb0-bd75-495c-a0a5-b3e97bf1d964"/>
</p:tagLst>
</file>

<file path=ppt/tags/tag220.xml><?xml version="1.0" encoding="utf-8"?>
<p:tagLst xmlns:a="http://schemas.openxmlformats.org/drawingml/2006/main" xmlns:r="http://schemas.openxmlformats.org/officeDocument/2006/relationships" xmlns:p="http://schemas.openxmlformats.org/presentationml/2006/main">
  <p:tag name="PS_COMPARE_SHAPE_ID" val="cbf1fd05-79a7-4f49-9756-b0ba2e31bd9a"/>
</p:tagLst>
</file>

<file path=ppt/tags/tag221.xml><?xml version="1.0" encoding="utf-8"?>
<p:tagLst xmlns:a="http://schemas.openxmlformats.org/drawingml/2006/main" xmlns:r="http://schemas.openxmlformats.org/officeDocument/2006/relationships" xmlns:p="http://schemas.openxmlformats.org/presentationml/2006/main">
  <p:tag name="PS_COMPARE_SHAPE_ID" val="dbdd710f-9626-4a6f-8047-8e45f88f99d8"/>
</p:tagLst>
</file>

<file path=ppt/tags/tag222.xml><?xml version="1.0" encoding="utf-8"?>
<p:tagLst xmlns:a="http://schemas.openxmlformats.org/drawingml/2006/main" xmlns:r="http://schemas.openxmlformats.org/officeDocument/2006/relationships" xmlns:p="http://schemas.openxmlformats.org/presentationml/2006/main">
  <p:tag name="PS_COMPARE_SHAPE_ID" val="c2de659a-d5d5-4b42-a93a-3aae0ff51d53"/>
</p:tagLst>
</file>

<file path=ppt/tags/tag223.xml><?xml version="1.0" encoding="utf-8"?>
<p:tagLst xmlns:a="http://schemas.openxmlformats.org/drawingml/2006/main" xmlns:r="http://schemas.openxmlformats.org/officeDocument/2006/relationships" xmlns:p="http://schemas.openxmlformats.org/presentationml/2006/main">
  <p:tag name="PS_COMPARE_SHAPE_ID" val="b0924702-5338-4659-92c5-d275613e6e49"/>
</p:tagLst>
</file>

<file path=ppt/tags/tag224.xml><?xml version="1.0" encoding="utf-8"?>
<p:tagLst xmlns:a="http://schemas.openxmlformats.org/drawingml/2006/main" xmlns:r="http://schemas.openxmlformats.org/officeDocument/2006/relationships" xmlns:p="http://schemas.openxmlformats.org/presentationml/2006/main">
  <p:tag name="PS_COMPARE_SHAPE_ID" val="670e095a-f47e-41fa-90d2-a96ac2e53ede"/>
</p:tagLst>
</file>

<file path=ppt/tags/tag225.xml><?xml version="1.0" encoding="utf-8"?>
<p:tagLst xmlns:a="http://schemas.openxmlformats.org/drawingml/2006/main" xmlns:r="http://schemas.openxmlformats.org/officeDocument/2006/relationships" xmlns:p="http://schemas.openxmlformats.org/presentationml/2006/main">
  <p:tag name="PS_COMPARE_SHAPE_ID" val="d1fe04cf-34d0-4db8-a94c-aebf4769f239"/>
</p:tagLst>
</file>

<file path=ppt/tags/tag226.xml><?xml version="1.0" encoding="utf-8"?>
<p:tagLst xmlns:a="http://schemas.openxmlformats.org/drawingml/2006/main" xmlns:r="http://schemas.openxmlformats.org/officeDocument/2006/relationships" xmlns:p="http://schemas.openxmlformats.org/presentationml/2006/main">
  <p:tag name="PS_COMPARE_SHAPE_ID" val="100cadd9-cd22-4178-af7a-6edc652b1622"/>
</p:tagLst>
</file>

<file path=ppt/tags/tag227.xml><?xml version="1.0" encoding="utf-8"?>
<p:tagLst xmlns:a="http://schemas.openxmlformats.org/drawingml/2006/main" xmlns:r="http://schemas.openxmlformats.org/officeDocument/2006/relationships" xmlns:p="http://schemas.openxmlformats.org/presentationml/2006/main">
  <p:tag name="PS_COMPARE_SHAPE_ID" val="f08cb703-1c8f-4b6a-8b12-8d45b0e7aae2"/>
</p:tagLst>
</file>

<file path=ppt/tags/tag228.xml><?xml version="1.0" encoding="utf-8"?>
<p:tagLst xmlns:a="http://schemas.openxmlformats.org/drawingml/2006/main" xmlns:r="http://schemas.openxmlformats.org/officeDocument/2006/relationships" xmlns:p="http://schemas.openxmlformats.org/presentationml/2006/main">
  <p:tag name="PS_COMPARE_SHAPE_ID" val="05eae3ce-c1f0-4787-8e32-29da1a3d0b79"/>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S_COMPARE_SHAPE_ID" val="435f2ae4-2d5f-44e8-b9c0-18b7401ca3fc"/>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PS_COMPARE_SLIDE_ID" val="1c4996f0-de53-47b9-9c5b-4e5de3020a5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87f33f6-4703-4c6a-92b4-381cd4d4cd57"/>
</p:tagLst>
</file>

<file path=ppt/tags/tag233.xml><?xml version="1.0" encoding="utf-8"?>
<p:tagLst xmlns:a="http://schemas.openxmlformats.org/drawingml/2006/main" xmlns:r="http://schemas.openxmlformats.org/officeDocument/2006/relationships" xmlns:p="http://schemas.openxmlformats.org/presentationml/2006/main">
  <p:tag name="PS_COMPARE_SHAPE_ID" val="6fe31e18-d14d-4437-bc3a-ba5f3f13c9e5"/>
</p:tagLst>
</file>

<file path=ppt/tags/tag234.xml><?xml version="1.0" encoding="utf-8"?>
<p:tagLst xmlns:a="http://schemas.openxmlformats.org/drawingml/2006/main" xmlns:r="http://schemas.openxmlformats.org/officeDocument/2006/relationships" xmlns:p="http://schemas.openxmlformats.org/presentationml/2006/main">
  <p:tag name="PS_COMPARE_SHAPE_ID" val="0464a2f0-e015-4ea7-9aee-697d1c39282f"/>
</p:tagLst>
</file>

<file path=ppt/tags/tag235.xml><?xml version="1.0" encoding="utf-8"?>
<p:tagLst xmlns:a="http://schemas.openxmlformats.org/drawingml/2006/main" xmlns:r="http://schemas.openxmlformats.org/officeDocument/2006/relationships" xmlns:p="http://schemas.openxmlformats.org/presentationml/2006/main">
  <p:tag name="PS_COMPARE_SHAPE_ID" val="c871afe8-fe2b-4f57-8d70-4f4473012a4f"/>
</p:tagLst>
</file>

<file path=ppt/tags/tag236.xml><?xml version="1.0" encoding="utf-8"?>
<p:tagLst xmlns:a="http://schemas.openxmlformats.org/drawingml/2006/main" xmlns:r="http://schemas.openxmlformats.org/officeDocument/2006/relationships" xmlns:p="http://schemas.openxmlformats.org/presentationml/2006/main">
  <p:tag name="PS_COMPARE_SHAPE_ID" val="4a45d721-8b09-4483-a3c0-5dfbe619706d"/>
</p:tagLst>
</file>

<file path=ppt/tags/tag237.xml><?xml version="1.0" encoding="utf-8"?>
<p:tagLst xmlns:a="http://schemas.openxmlformats.org/drawingml/2006/main" xmlns:r="http://schemas.openxmlformats.org/officeDocument/2006/relationships" xmlns:p="http://schemas.openxmlformats.org/presentationml/2006/main">
  <p:tag name="PS_COMPARE_SLIDE_ID" val="01bfea94-18a2-4c75-9225-93e100962832"/>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61c07bc4-b088-4a10-83e7-3d6ef0a71ab9"/>
</p:tagLst>
</file>

<file path=ppt/tags/tag239.xml><?xml version="1.0" encoding="utf-8"?>
<p:tagLst xmlns:a="http://schemas.openxmlformats.org/drawingml/2006/main" xmlns:r="http://schemas.openxmlformats.org/officeDocument/2006/relationships" xmlns:p="http://schemas.openxmlformats.org/presentationml/2006/main">
  <p:tag name="PS_COMPARE_SHAPE_ID" val="4f5f25ad-c1ff-40fe-ad92-8540aa29a534"/>
</p:tagLst>
</file>

<file path=ppt/tags/tag24.xml><?xml version="1.0" encoding="utf-8"?>
<p:tagLst xmlns:a="http://schemas.openxmlformats.org/drawingml/2006/main" xmlns:r="http://schemas.openxmlformats.org/officeDocument/2006/relationships" xmlns:p="http://schemas.openxmlformats.org/presentationml/2006/main">
  <p:tag name="PS_COMPARE_SHAPE_ID" val="0c9802a5-bba8-4930-af9f-81aa2cc3b4c0"/>
</p:tagLst>
</file>

<file path=ppt/tags/tag240.xml><?xml version="1.0" encoding="utf-8"?>
<p:tagLst xmlns:a="http://schemas.openxmlformats.org/drawingml/2006/main" xmlns:r="http://schemas.openxmlformats.org/officeDocument/2006/relationships" xmlns:p="http://schemas.openxmlformats.org/presentationml/2006/main">
  <p:tag name="PS_COMPARE_SHAPE_ID" val="8571af66-6c44-48db-a7fb-55ea41d400aa"/>
</p:tagLst>
</file>

<file path=ppt/tags/tag241.xml><?xml version="1.0" encoding="utf-8"?>
<p:tagLst xmlns:a="http://schemas.openxmlformats.org/drawingml/2006/main" xmlns:r="http://schemas.openxmlformats.org/officeDocument/2006/relationships" xmlns:p="http://schemas.openxmlformats.org/presentationml/2006/main">
  <p:tag name="PS_COMPARE_SHAPE_ID" val="926a3af0-beea-4a52-80fb-79f7a81c6ec9"/>
</p:tagLst>
</file>

<file path=ppt/tags/tag242.xml><?xml version="1.0" encoding="utf-8"?>
<p:tagLst xmlns:a="http://schemas.openxmlformats.org/drawingml/2006/main" xmlns:r="http://schemas.openxmlformats.org/officeDocument/2006/relationships" xmlns:p="http://schemas.openxmlformats.org/presentationml/2006/main">
  <p:tag name="PS_COMPARE_SHAPE_ID" val="9ec25d64-1ddd-4a9e-a5cc-d1b0fb3d9a27"/>
</p:tagLst>
</file>

<file path=ppt/tags/tag25.xml><?xml version="1.0" encoding="utf-8"?>
<p:tagLst xmlns:a="http://schemas.openxmlformats.org/drawingml/2006/main" xmlns:r="http://schemas.openxmlformats.org/officeDocument/2006/relationships" xmlns:p="http://schemas.openxmlformats.org/presentationml/2006/main">
  <p:tag name="PS_COMPARE_SHAPE_ID" val="ac09943b-0d71-43b6-83e1-fed2de014cff"/>
</p:tagLst>
</file>

<file path=ppt/tags/tag26.xml><?xml version="1.0" encoding="utf-8"?>
<p:tagLst xmlns:a="http://schemas.openxmlformats.org/drawingml/2006/main" xmlns:r="http://schemas.openxmlformats.org/officeDocument/2006/relationships" xmlns:p="http://schemas.openxmlformats.org/presentationml/2006/main">
  <p:tag name="PS_COMPARE_SHAPE_ID" val="566825ed-d919-4810-8d06-a5892e78bf25"/>
</p:tagLst>
</file>

<file path=ppt/tags/tag27.xml><?xml version="1.0" encoding="utf-8"?>
<p:tagLst xmlns:a="http://schemas.openxmlformats.org/drawingml/2006/main" xmlns:r="http://schemas.openxmlformats.org/officeDocument/2006/relationships" xmlns:p="http://schemas.openxmlformats.org/presentationml/2006/main">
  <p:tag name="PS_COMPARE_SHAPE_ID" val="fcd73c80-b783-4bcb-a52e-6b19a4a8cf9b"/>
</p:tagLst>
</file>

<file path=ppt/tags/tag28.xml><?xml version="1.0" encoding="utf-8"?>
<p:tagLst xmlns:a="http://schemas.openxmlformats.org/drawingml/2006/main" xmlns:r="http://schemas.openxmlformats.org/officeDocument/2006/relationships" xmlns:p="http://schemas.openxmlformats.org/presentationml/2006/main">
  <p:tag name="PS_COMPARE_SHAPE_ID" val="dec9323a-4b18-40fe-b5c2-1c434f733d4a"/>
</p:tagLst>
</file>

<file path=ppt/tags/tag29.xml><?xml version="1.0" encoding="utf-8"?>
<p:tagLst xmlns:a="http://schemas.openxmlformats.org/drawingml/2006/main" xmlns:r="http://schemas.openxmlformats.org/officeDocument/2006/relationships" xmlns:p="http://schemas.openxmlformats.org/presentationml/2006/main">
  <p:tag name="PS_COMPARE_SHAPE_ID" val="4c5c2eef-2e0e-4e2c-951b-7a2a646fa3cb"/>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S_COMPARE_SLIDE_ID" val="c506ff87-aeaa-4268-a496-d15cb56a390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120850fd-ca64-4468-bc46-73e02f5ffb7b"/>
</p:tagLst>
</file>

<file path=ppt/tags/tag32.xml><?xml version="1.0" encoding="utf-8"?>
<p:tagLst xmlns:a="http://schemas.openxmlformats.org/drawingml/2006/main" xmlns:r="http://schemas.openxmlformats.org/officeDocument/2006/relationships" xmlns:p="http://schemas.openxmlformats.org/presentationml/2006/main">
  <p:tag name="PS_COMPARE_SHAPE_ID" val="9bac1366-dbef-405d-8ad2-274de39349bf"/>
</p:tagLst>
</file>

<file path=ppt/tags/tag33.xml><?xml version="1.0" encoding="utf-8"?>
<p:tagLst xmlns:a="http://schemas.openxmlformats.org/drawingml/2006/main" xmlns:r="http://schemas.openxmlformats.org/officeDocument/2006/relationships" xmlns:p="http://schemas.openxmlformats.org/presentationml/2006/main">
  <p:tag name="PS_COMPARE_SHAPE_ID" val="e23d9857-b5e9-4ed9-be04-31d3c8261c6e"/>
</p:tagLst>
</file>

<file path=ppt/tags/tag34.xml><?xml version="1.0" encoding="utf-8"?>
<p:tagLst xmlns:a="http://schemas.openxmlformats.org/drawingml/2006/main" xmlns:r="http://schemas.openxmlformats.org/officeDocument/2006/relationships" xmlns:p="http://schemas.openxmlformats.org/presentationml/2006/main">
  <p:tag name="PS_COMPARE_SHAPE_ID" val="fec079f3-0317-4bb2-9bbd-4494945b30de"/>
</p:tagLst>
</file>

<file path=ppt/tags/tag35.xml><?xml version="1.0" encoding="utf-8"?>
<p:tagLst xmlns:a="http://schemas.openxmlformats.org/drawingml/2006/main" xmlns:r="http://schemas.openxmlformats.org/officeDocument/2006/relationships" xmlns:p="http://schemas.openxmlformats.org/presentationml/2006/main">
  <p:tag name="PS_COMPARE_SHAPE_ID" val="1cffc0c9-10dd-488e-9c26-99f20941ff7d"/>
</p:tagLst>
</file>

<file path=ppt/tags/tag36.xml><?xml version="1.0" encoding="utf-8"?>
<p:tagLst xmlns:a="http://schemas.openxmlformats.org/drawingml/2006/main" xmlns:r="http://schemas.openxmlformats.org/officeDocument/2006/relationships" xmlns:p="http://schemas.openxmlformats.org/presentationml/2006/main">
  <p:tag name="PS_COMPARE_SHAPE_ID" val="84daa2cf-b247-45e3-8dfd-838c904b830b"/>
</p:tagLst>
</file>

<file path=ppt/tags/tag37.xml><?xml version="1.0" encoding="utf-8"?>
<p:tagLst xmlns:a="http://schemas.openxmlformats.org/drawingml/2006/main" xmlns:r="http://schemas.openxmlformats.org/officeDocument/2006/relationships" xmlns:p="http://schemas.openxmlformats.org/presentationml/2006/main">
  <p:tag name="PS_COMPARE_SHAPE_ID" val="79eb5877-d36a-4869-8d25-2465a5564684"/>
</p:tagLst>
</file>

<file path=ppt/tags/tag38.xml><?xml version="1.0" encoding="utf-8"?>
<p:tagLst xmlns:a="http://schemas.openxmlformats.org/drawingml/2006/main" xmlns:r="http://schemas.openxmlformats.org/officeDocument/2006/relationships" xmlns:p="http://schemas.openxmlformats.org/presentationml/2006/main">
  <p:tag name="PS_COMPARE_SHAPE_ID" val="0fb5072e-fff0-408c-974c-51a1aa05f15f"/>
</p:tagLst>
</file>

<file path=ppt/tags/tag39.xml><?xml version="1.0" encoding="utf-8"?>
<p:tagLst xmlns:a="http://schemas.openxmlformats.org/drawingml/2006/main" xmlns:r="http://schemas.openxmlformats.org/officeDocument/2006/relationships" xmlns:p="http://schemas.openxmlformats.org/presentationml/2006/main">
  <p:tag name="PS_COMPARE_SHAPE_ID" val="0244b0fe-f069-4511-a853-cebf9e4c138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S_COMPARE_SHAPE_ID" val="e4c16676-7383-42bd-9c51-ea6378e9e95f"/>
</p:tagLst>
</file>

<file path=ppt/tags/tag41.xml><?xml version="1.0" encoding="utf-8"?>
<p:tagLst xmlns:a="http://schemas.openxmlformats.org/drawingml/2006/main" xmlns:r="http://schemas.openxmlformats.org/officeDocument/2006/relationships" xmlns:p="http://schemas.openxmlformats.org/presentationml/2006/main">
  <p:tag name="PS_COMPARE_SHAPE_ID" val="ed8e1324-048d-4394-8730-9beacff00f70"/>
</p:tagLst>
</file>

<file path=ppt/tags/tag42.xml><?xml version="1.0" encoding="utf-8"?>
<p:tagLst xmlns:a="http://schemas.openxmlformats.org/drawingml/2006/main" xmlns:r="http://schemas.openxmlformats.org/officeDocument/2006/relationships" xmlns:p="http://schemas.openxmlformats.org/presentationml/2006/main">
  <p:tag name="PS_COMPARE_SHAPE_ID" val="cb986341-c532-4e54-a247-246cec3c09a2"/>
</p:tagLst>
</file>

<file path=ppt/tags/tag43.xml><?xml version="1.0" encoding="utf-8"?>
<p:tagLst xmlns:a="http://schemas.openxmlformats.org/drawingml/2006/main" xmlns:r="http://schemas.openxmlformats.org/officeDocument/2006/relationships" xmlns:p="http://schemas.openxmlformats.org/presentationml/2006/main">
  <p:tag name="PS_COMPARE_SHAPE_ID" val="3f1085a9-7fd5-4c4a-9754-fb6dc32aba8d"/>
</p:tagLst>
</file>

<file path=ppt/tags/tag44.xml><?xml version="1.0" encoding="utf-8"?>
<p:tagLst xmlns:a="http://schemas.openxmlformats.org/drawingml/2006/main" xmlns:r="http://schemas.openxmlformats.org/officeDocument/2006/relationships" xmlns:p="http://schemas.openxmlformats.org/presentationml/2006/main">
  <p:tag name="PS_COMPARE_SHAPE_ID" val="1c4e83c1-2d88-4c12-930b-5cc8e3834e3a"/>
</p:tagLst>
</file>

<file path=ppt/tags/tag45.xml><?xml version="1.0" encoding="utf-8"?>
<p:tagLst xmlns:a="http://schemas.openxmlformats.org/drawingml/2006/main" xmlns:r="http://schemas.openxmlformats.org/officeDocument/2006/relationships" xmlns:p="http://schemas.openxmlformats.org/presentationml/2006/main">
  <p:tag name="PS_COMPARE_SHAPE_ID" val="e815bba2-def0-48ce-9dd6-3fbc760f65fb"/>
</p:tagLst>
</file>

<file path=ppt/tags/tag46.xml><?xml version="1.0" encoding="utf-8"?>
<p:tagLst xmlns:a="http://schemas.openxmlformats.org/drawingml/2006/main" xmlns:r="http://schemas.openxmlformats.org/officeDocument/2006/relationships" xmlns:p="http://schemas.openxmlformats.org/presentationml/2006/main">
  <p:tag name="PS_COMPARE_SHAPE_ID" val="d80e9234-a9d9-4255-8ca7-423dd0bbf184"/>
</p:tagLst>
</file>

<file path=ppt/tags/tag47.xml><?xml version="1.0" encoding="utf-8"?>
<p:tagLst xmlns:a="http://schemas.openxmlformats.org/drawingml/2006/main" xmlns:r="http://schemas.openxmlformats.org/officeDocument/2006/relationships" xmlns:p="http://schemas.openxmlformats.org/presentationml/2006/main">
  <p:tag name="PS_COMPARE_SHAPE_ID" val="dd99caab-8d98-4057-9c43-411c5cd32ff3"/>
</p:tagLst>
</file>

<file path=ppt/tags/tag48.xml><?xml version="1.0" encoding="utf-8"?>
<p:tagLst xmlns:a="http://schemas.openxmlformats.org/drawingml/2006/main" xmlns:r="http://schemas.openxmlformats.org/officeDocument/2006/relationships" xmlns:p="http://schemas.openxmlformats.org/presentationml/2006/main">
  <p:tag name="PS_COMPARE_SHAPE_ID" val="b1289e87-a68b-48f5-a61f-f669d1d93fc0"/>
</p:tagLst>
</file>

<file path=ppt/tags/tag49.xml><?xml version="1.0" encoding="utf-8"?>
<p:tagLst xmlns:a="http://schemas.openxmlformats.org/drawingml/2006/main" xmlns:r="http://schemas.openxmlformats.org/officeDocument/2006/relationships" xmlns:p="http://schemas.openxmlformats.org/presentationml/2006/main">
  <p:tag name="PS_COMPARE_SHAPE_ID" val="ddb41219-3720-4997-a0d2-85f11779e70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S_COMPARE_SHAPE_ID" val="ae7bec06-0749-4ac0-b4a2-cabb42149c66"/>
</p:tagLst>
</file>

<file path=ppt/tags/tag51.xml><?xml version="1.0" encoding="utf-8"?>
<p:tagLst xmlns:a="http://schemas.openxmlformats.org/drawingml/2006/main" xmlns:r="http://schemas.openxmlformats.org/officeDocument/2006/relationships" xmlns:p="http://schemas.openxmlformats.org/presentationml/2006/main">
  <p:tag name="PS_COMPARE_SHAPE_ID" val="72131bcf-ed48-4204-83d6-9c7f934ddaa1"/>
</p:tagLst>
</file>

<file path=ppt/tags/tag52.xml><?xml version="1.0" encoding="utf-8"?>
<p:tagLst xmlns:a="http://schemas.openxmlformats.org/drawingml/2006/main" xmlns:r="http://schemas.openxmlformats.org/officeDocument/2006/relationships" xmlns:p="http://schemas.openxmlformats.org/presentationml/2006/main">
  <p:tag name="PS_COMPARE_SHAPE_ID" val="5f3a7cc7-df37-460a-8f41-0f45d48c52ef"/>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S_COMPARE_SHAPE_ID" val="988b4f2d-9bf2-4dc3-840e-8dd97c7c0f49"/>
</p:tagLst>
</file>

<file path=ppt/tags/tag55.xml><?xml version="1.0" encoding="utf-8"?>
<p:tagLst xmlns:a="http://schemas.openxmlformats.org/drawingml/2006/main" xmlns:r="http://schemas.openxmlformats.org/officeDocument/2006/relationships" xmlns:p="http://schemas.openxmlformats.org/presentationml/2006/main">
  <p:tag name="PS_COMPARE_SLIDE_ID" val="d6b13eab-84b3-45c2-979d-f3b2dab2fd4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a7dc4a3-4dd1-4292-898c-8bf4d6d146b9"/>
</p:tagLst>
</file>

<file path=ppt/tags/tag57.xml><?xml version="1.0" encoding="utf-8"?>
<p:tagLst xmlns:a="http://schemas.openxmlformats.org/drawingml/2006/main" xmlns:r="http://schemas.openxmlformats.org/officeDocument/2006/relationships" xmlns:p="http://schemas.openxmlformats.org/presentationml/2006/main">
  <p:tag name="PS_COMPARE_SHAPE_ID" val="dbdd710f-9626-4a6f-8047-8e45f88f99d8"/>
</p:tagLst>
</file>

<file path=ppt/tags/tag58.xml><?xml version="1.0" encoding="utf-8"?>
<p:tagLst xmlns:a="http://schemas.openxmlformats.org/drawingml/2006/main" xmlns:r="http://schemas.openxmlformats.org/officeDocument/2006/relationships" xmlns:p="http://schemas.openxmlformats.org/presentationml/2006/main">
  <p:tag name="PS_COMPARE_SHAPE_ID" val="c2de659a-d5d5-4b42-a93a-3aae0ff51d53"/>
</p:tagLst>
</file>

<file path=ppt/tags/tag59.xml><?xml version="1.0" encoding="utf-8"?>
<p:tagLst xmlns:a="http://schemas.openxmlformats.org/drawingml/2006/main" xmlns:r="http://schemas.openxmlformats.org/officeDocument/2006/relationships" xmlns:p="http://schemas.openxmlformats.org/presentationml/2006/main">
  <p:tag name="PS_COMPARE_SHAPE_ID" val="b0924702-5338-4659-92c5-d275613e6e49"/>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S_COMPARE_SHAPE_ID" val="670e095a-f47e-41fa-90d2-a96ac2e53ede"/>
</p:tagLst>
</file>

<file path=ppt/tags/tag61.xml><?xml version="1.0" encoding="utf-8"?>
<p:tagLst xmlns:a="http://schemas.openxmlformats.org/drawingml/2006/main" xmlns:r="http://schemas.openxmlformats.org/officeDocument/2006/relationships" xmlns:p="http://schemas.openxmlformats.org/presentationml/2006/main">
  <p:tag name="PS_COMPARE_SHAPE_ID" val="d1fe04cf-34d0-4db8-a94c-aebf4769f239"/>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S_COMPARE_SLIDE_ID" val="5ce06af7-f5da-4b3a-8cd2-b73b4163c4b8"/>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9acbd166-cb50-46c9-be4a-fc4286dc09e8"/>
</p:tagLst>
</file>

<file path=ppt/tags/tag65.xml><?xml version="1.0" encoding="utf-8"?>
<p:tagLst xmlns:a="http://schemas.openxmlformats.org/drawingml/2006/main" xmlns:r="http://schemas.openxmlformats.org/officeDocument/2006/relationships" xmlns:p="http://schemas.openxmlformats.org/presentationml/2006/main">
  <p:tag name="PS_COMPARE_SHAPE_ID" val="3c07b739-6877-4c49-b9dd-c3fcb5c3a75b"/>
</p:tagLst>
</file>

<file path=ppt/tags/tag66.xml><?xml version="1.0" encoding="utf-8"?>
<p:tagLst xmlns:a="http://schemas.openxmlformats.org/drawingml/2006/main" xmlns:r="http://schemas.openxmlformats.org/officeDocument/2006/relationships" xmlns:p="http://schemas.openxmlformats.org/presentationml/2006/main">
  <p:tag name="PS_COMPARE_SHAPE_ID" val="d96abfb1-c748-4766-a602-bd04e733e23e"/>
</p:tagLst>
</file>

<file path=ppt/tags/tag67.xml><?xml version="1.0" encoding="utf-8"?>
<p:tagLst xmlns:a="http://schemas.openxmlformats.org/drawingml/2006/main" xmlns:r="http://schemas.openxmlformats.org/officeDocument/2006/relationships" xmlns:p="http://schemas.openxmlformats.org/presentationml/2006/main">
  <p:tag name="PS_COMPARE_SHAPE_ID" val="085ae81d-cafa-43a1-95d6-a0115b2987ae"/>
</p:tagLst>
</file>

<file path=ppt/tags/tag68.xml><?xml version="1.0" encoding="utf-8"?>
<p:tagLst xmlns:a="http://schemas.openxmlformats.org/drawingml/2006/main" xmlns:r="http://schemas.openxmlformats.org/officeDocument/2006/relationships" xmlns:p="http://schemas.openxmlformats.org/presentationml/2006/main">
  <p:tag name="PS_COMPARE_SHAPE_ID" val="a6117132-b972-476b-8b02-e25e17ecf39e"/>
</p:tagLst>
</file>

<file path=ppt/tags/tag69.xml><?xml version="1.0" encoding="utf-8"?>
<p:tagLst xmlns:a="http://schemas.openxmlformats.org/drawingml/2006/main" xmlns:r="http://schemas.openxmlformats.org/officeDocument/2006/relationships" xmlns:p="http://schemas.openxmlformats.org/presentationml/2006/main">
  <p:tag name="PS_COMPARE_SHAPE_ID" val="575484a9-ea5e-4812-92f8-be1fe1735f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S_COMPARE_SHAPE_ID" val="10f734c9-ad16-443e-a3c3-9ff7d410a288"/>
</p:tagLst>
</file>

<file path=ppt/tags/tag71.xml><?xml version="1.0" encoding="utf-8"?>
<p:tagLst xmlns:a="http://schemas.openxmlformats.org/drawingml/2006/main" xmlns:r="http://schemas.openxmlformats.org/officeDocument/2006/relationships" xmlns:p="http://schemas.openxmlformats.org/presentationml/2006/main">
  <p:tag name="PS_COMPARE_SHAPE_ID" val="367bc36b-f530-4d10-832d-210b72dec59a"/>
</p:tagLst>
</file>

<file path=ppt/tags/tag72.xml><?xml version="1.0" encoding="utf-8"?>
<p:tagLst xmlns:a="http://schemas.openxmlformats.org/drawingml/2006/main" xmlns:r="http://schemas.openxmlformats.org/officeDocument/2006/relationships" xmlns:p="http://schemas.openxmlformats.org/presentationml/2006/main">
  <p:tag name="PS_COMPARE_SHAPE_ID" val="9cfe22f4-c89d-496a-bcdb-ab30e14cb5d4"/>
</p:tagLst>
</file>

<file path=ppt/tags/tag73.xml><?xml version="1.0" encoding="utf-8"?>
<p:tagLst xmlns:a="http://schemas.openxmlformats.org/drawingml/2006/main" xmlns:r="http://schemas.openxmlformats.org/officeDocument/2006/relationships" xmlns:p="http://schemas.openxmlformats.org/presentationml/2006/main">
  <p:tag name="PS_COMPARE_SHAPE_ID" val="988b4f2d-9bf2-4dc3-840e-8dd97c7c0f49"/>
</p:tagLst>
</file>

<file path=ppt/tags/tag74.xml><?xml version="1.0" encoding="utf-8"?>
<p:tagLst xmlns:a="http://schemas.openxmlformats.org/drawingml/2006/main" xmlns:r="http://schemas.openxmlformats.org/officeDocument/2006/relationships" xmlns:p="http://schemas.openxmlformats.org/presentationml/2006/main">
  <p:tag name="PS_COMPARE_SLIDE_ID" val="d6b13eab-84b3-45c2-979d-f3b2dab2fd46"/>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a7dc4a3-4dd1-4292-898c-8bf4d6d146b9"/>
</p:tagLst>
</file>

<file path=ppt/tags/tag76.xml><?xml version="1.0" encoding="utf-8"?>
<p:tagLst xmlns:a="http://schemas.openxmlformats.org/drawingml/2006/main" xmlns:r="http://schemas.openxmlformats.org/officeDocument/2006/relationships" xmlns:p="http://schemas.openxmlformats.org/presentationml/2006/main">
  <p:tag name="PS_COMPARE_SHAPE_ID" val="dbdd710f-9626-4a6f-8047-8e45f88f99d8"/>
</p:tagLst>
</file>

<file path=ppt/tags/tag77.xml><?xml version="1.0" encoding="utf-8"?>
<p:tagLst xmlns:a="http://schemas.openxmlformats.org/drawingml/2006/main" xmlns:r="http://schemas.openxmlformats.org/officeDocument/2006/relationships" xmlns:p="http://schemas.openxmlformats.org/presentationml/2006/main">
  <p:tag name="PS_COMPARE_SHAPE_ID" val="c2de659a-d5d5-4b42-a93a-3aae0ff51d53"/>
</p:tagLst>
</file>

<file path=ppt/tags/tag78.xml><?xml version="1.0" encoding="utf-8"?>
<p:tagLst xmlns:a="http://schemas.openxmlformats.org/drawingml/2006/main" xmlns:r="http://schemas.openxmlformats.org/officeDocument/2006/relationships" xmlns:p="http://schemas.openxmlformats.org/presentationml/2006/main">
  <p:tag name="PS_COMPARE_SHAPE_ID" val="b0924702-5338-4659-92c5-d275613e6e49"/>
</p:tagLst>
</file>

<file path=ppt/tags/tag79.xml><?xml version="1.0" encoding="utf-8"?>
<p:tagLst xmlns:a="http://schemas.openxmlformats.org/drawingml/2006/main" xmlns:r="http://schemas.openxmlformats.org/officeDocument/2006/relationships" xmlns:p="http://schemas.openxmlformats.org/presentationml/2006/main">
  <p:tag name="PS_COMPARE_SHAPE_ID" val="670e095a-f47e-41fa-90d2-a96ac2e53ed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S_COMPARE_SHAPE_ID" val="d1fe04cf-34d0-4db8-a94c-aebf4769f239"/>
</p:tagLst>
</file>

<file path=ppt/tags/tag81.xml><?xml version="1.0" encoding="utf-8"?>
<p:tagLst xmlns:a="http://schemas.openxmlformats.org/drawingml/2006/main" xmlns:r="http://schemas.openxmlformats.org/officeDocument/2006/relationships" xmlns:p="http://schemas.openxmlformats.org/presentationml/2006/main">
  <p:tag name="PS_COMPARE_SLIDE_ID" val="13111782-d20b-4c84-8ac8-c90aed36f12c"/>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7fc15956-6800-4ec2-a079-f7edc34957ba"/>
</p:tagLst>
</file>

<file path=ppt/tags/tag83.xml><?xml version="1.0" encoding="utf-8"?>
<p:tagLst xmlns:a="http://schemas.openxmlformats.org/drawingml/2006/main" xmlns:r="http://schemas.openxmlformats.org/officeDocument/2006/relationships" xmlns:p="http://schemas.openxmlformats.org/presentationml/2006/main">
  <p:tag name="PS_COMPARE_SHAPE_ID" val="e0d8c956-c83b-4815-a82a-5a19647f9467"/>
</p:tagLst>
</file>

<file path=ppt/tags/tag84.xml><?xml version="1.0" encoding="utf-8"?>
<p:tagLst xmlns:a="http://schemas.openxmlformats.org/drawingml/2006/main" xmlns:r="http://schemas.openxmlformats.org/officeDocument/2006/relationships" xmlns:p="http://schemas.openxmlformats.org/presentationml/2006/main">
  <p:tag name="PS_COMPARE_SHAPE_ID" val="d78401f5-c553-4948-80ad-940a46119fbb"/>
</p:tagLst>
</file>

<file path=ppt/tags/tag85.xml><?xml version="1.0" encoding="utf-8"?>
<p:tagLst xmlns:a="http://schemas.openxmlformats.org/drawingml/2006/main" xmlns:r="http://schemas.openxmlformats.org/officeDocument/2006/relationships" xmlns:p="http://schemas.openxmlformats.org/presentationml/2006/main">
  <p:tag name="PS_COMPARE_SHAPE_ID" val="dc015ce8-6af3-4825-90eb-316e5132e573"/>
</p:tagLst>
</file>

<file path=ppt/tags/tag86.xml><?xml version="1.0" encoding="utf-8"?>
<p:tagLst xmlns:a="http://schemas.openxmlformats.org/drawingml/2006/main" xmlns:r="http://schemas.openxmlformats.org/officeDocument/2006/relationships" xmlns:p="http://schemas.openxmlformats.org/presentationml/2006/main">
  <p:tag name="PS_COMPARE_SHAPE_ID" val="9894acb9-bff0-4e86-add1-5d6f156fe3d3"/>
</p:tagLst>
</file>

<file path=ppt/tags/tag87.xml><?xml version="1.0" encoding="utf-8"?>
<p:tagLst xmlns:a="http://schemas.openxmlformats.org/drawingml/2006/main" xmlns:r="http://schemas.openxmlformats.org/officeDocument/2006/relationships" xmlns:p="http://schemas.openxmlformats.org/presentationml/2006/main">
  <p:tag name="PS_COMPARE_SHAPE_ID" val="f0c6cc3d-02cd-448b-90ff-220dfa2e5e29"/>
</p:tagLst>
</file>

<file path=ppt/tags/tag88.xml><?xml version="1.0" encoding="utf-8"?>
<p:tagLst xmlns:a="http://schemas.openxmlformats.org/drawingml/2006/main" xmlns:r="http://schemas.openxmlformats.org/officeDocument/2006/relationships" xmlns:p="http://schemas.openxmlformats.org/presentationml/2006/main">
  <p:tag name="PS_COMPARE_SHAPE_ID" val="988b4f2d-9bf2-4dc3-840e-8dd97c7c0f49"/>
</p:tagLst>
</file>

<file path=ppt/tags/tag89.xml><?xml version="1.0" encoding="utf-8"?>
<p:tagLst xmlns:a="http://schemas.openxmlformats.org/drawingml/2006/main" xmlns:r="http://schemas.openxmlformats.org/officeDocument/2006/relationships" xmlns:p="http://schemas.openxmlformats.org/presentationml/2006/main">
  <p:tag name="PS_COMPARE_SHAPE_ID" val="56e985ec-6414-4557-9de7-c526c080763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S_COMPARE_SLIDE_ID" val="ffb8c0fe-4291-4afc-b8d5-f1670417100c"/>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S_COMPARE_SHAPE_ID" val="b86abc02-6836-44db-8636-07460690e5d5"/>
</p:tagLst>
</file>

<file path=ppt/tags/tag92.xml><?xml version="1.0" encoding="utf-8"?>
<p:tagLst xmlns:a="http://schemas.openxmlformats.org/drawingml/2006/main" xmlns:r="http://schemas.openxmlformats.org/officeDocument/2006/relationships" xmlns:p="http://schemas.openxmlformats.org/presentationml/2006/main">
  <p:tag name="PS_COMPARE_SHAPE_ID" val="b194c01c-6625-4887-8920-f48a777a97e5"/>
</p:tagLst>
</file>

<file path=ppt/tags/tag93.xml><?xml version="1.0" encoding="utf-8"?>
<p:tagLst xmlns:a="http://schemas.openxmlformats.org/drawingml/2006/main" xmlns:r="http://schemas.openxmlformats.org/officeDocument/2006/relationships" xmlns:p="http://schemas.openxmlformats.org/presentationml/2006/main">
  <p:tag name="PS_COMPARE_SHAPE_ID" val="02bdaefc-9376-4c28-8010-41fe5bc2694e"/>
</p:tagLst>
</file>

<file path=ppt/tags/tag94.xml><?xml version="1.0" encoding="utf-8"?>
<p:tagLst xmlns:a="http://schemas.openxmlformats.org/drawingml/2006/main" xmlns:r="http://schemas.openxmlformats.org/officeDocument/2006/relationships" xmlns:p="http://schemas.openxmlformats.org/presentationml/2006/main">
  <p:tag name="PS_COMPARE_SHAPE_ID" val="2f790e34-b143-4c57-9eff-4c5618756046"/>
</p:tagLst>
</file>

<file path=ppt/tags/tag95.xml><?xml version="1.0" encoding="utf-8"?>
<p:tagLst xmlns:a="http://schemas.openxmlformats.org/drawingml/2006/main" xmlns:r="http://schemas.openxmlformats.org/officeDocument/2006/relationships" xmlns:p="http://schemas.openxmlformats.org/presentationml/2006/main">
  <p:tag name="PS_COMPARE_SHAPE_ID" val="3c1bce85-3ac7-4ad3-86cf-e78f637cb45c"/>
</p:tagLst>
</file>

<file path=ppt/tags/tag96.xml><?xml version="1.0" encoding="utf-8"?>
<p:tagLst xmlns:a="http://schemas.openxmlformats.org/drawingml/2006/main" xmlns:r="http://schemas.openxmlformats.org/officeDocument/2006/relationships" xmlns:p="http://schemas.openxmlformats.org/presentationml/2006/main">
  <p:tag name="PS_COMPARE_SHAPE_ID" val="95671e82-e1c6-4c56-9bdf-40a3adedc93d"/>
</p:tagLst>
</file>

<file path=ppt/tags/tag97.xml><?xml version="1.0" encoding="utf-8"?>
<p:tagLst xmlns:a="http://schemas.openxmlformats.org/drawingml/2006/main" xmlns:r="http://schemas.openxmlformats.org/officeDocument/2006/relationships" xmlns:p="http://schemas.openxmlformats.org/presentationml/2006/main">
  <p:tag name="PS_COMPARE_SHAPE_ID" val="cb5cc172-9250-44c0-999c-ea7ec1364859"/>
</p:tagLst>
</file>

<file path=ppt/tags/tag98.xml><?xml version="1.0" encoding="utf-8"?>
<p:tagLst xmlns:a="http://schemas.openxmlformats.org/drawingml/2006/main" xmlns:r="http://schemas.openxmlformats.org/officeDocument/2006/relationships" xmlns:p="http://schemas.openxmlformats.org/presentationml/2006/main">
  <p:tag name="PS_COMPARE_SHAPE_ID" val="7fc54cfe-4670-4810-b51c-69f673b5d7ea"/>
</p:tagLst>
</file>

<file path=ppt/tags/tag99.xml><?xml version="1.0" encoding="utf-8"?>
<p:tagLst xmlns:a="http://schemas.openxmlformats.org/drawingml/2006/main" xmlns:r="http://schemas.openxmlformats.org/officeDocument/2006/relationships" xmlns:p="http://schemas.openxmlformats.org/presentationml/2006/main">
  <p:tag name="PS_COMPARE_SLIDE_ID" val="ffb8c0fe-4291-4afc-b8d5-f1670417100c"/>
</p:tagLst>
</file>

<file path=ppt/theme/theme1.xml><?xml version="1.0" encoding="utf-8"?>
<a:theme xmlns:a="http://schemas.openxmlformats.org/drawingml/2006/main" name="ECG Theme">
  <a:themeElements>
    <a:clrScheme name="Henry Ford Health">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ECG New Template">
      <a:majorFont>
        <a:latin typeface="Rockwel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CG Presentation Template 4-21-22" id="{008CC3D9-08BE-4641-B013-243BDCB01F04}" vid="{F4C4FD58-DC19-4416-8BEA-88CAF7878F5F}"/>
    </a:ext>
  </a:extLst>
</a:theme>
</file>

<file path=ppt/theme/theme2.xml><?xml version="1.0" encoding="utf-8"?>
<a:theme xmlns:a="http://schemas.openxmlformats.org/drawingml/2006/main" name="1_ECG Theme">
  <a:themeElements>
    <a:clrScheme name="Henry Ford Health">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ECG New Template">
      <a:majorFont>
        <a:latin typeface="Rockwel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CG Presentation Template 4-21-22" id="{008CC3D9-08BE-4641-B013-243BDCB01F04}" vid="{F4C4FD58-DC19-4416-8BEA-88CAF7878F5F}"/>
    </a:ext>
  </a:extLst>
</a:theme>
</file>

<file path=ppt/theme/theme3.xml><?xml version="1.0" encoding="utf-8"?>
<a:theme xmlns:a="http://schemas.openxmlformats.org/drawingml/2006/main" name="2_ECG Theme">
  <a:themeElements>
    <a:clrScheme name="Henry Ford Health">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ECG New Template">
      <a:majorFont>
        <a:latin typeface="Rockwel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CG Presentation Template 4-21-22" id="{008CC3D9-08BE-4641-B013-243BDCB01F04}" vid="{F4C4FD58-DC19-4416-8BEA-88CAF7878F5F}"/>
    </a:ext>
  </a:extLst>
</a:theme>
</file>

<file path=ppt/theme/theme4.xml><?xml version="1.0" encoding="utf-8"?>
<a:theme xmlns:a="http://schemas.openxmlformats.org/drawingml/2006/main" name="Office Theme">
  <a:themeElements>
    <a:clrScheme name="Henry Ford Health Complete Palette">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Custom 1">
      <a:majorFont>
        <a:latin typeface="Verdana"/>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5.xml><?xml version="1.0" encoding="utf-8"?>
<a:theme xmlns:a="http://schemas.openxmlformats.org/drawingml/2006/main" name="1_Office Theme">
  <a:themeElements>
    <a:clrScheme name="HRH_colors">
      <a:dk1>
        <a:sysClr val="windowText" lastClr="000000"/>
      </a:dk1>
      <a:lt1>
        <a:sysClr val="window" lastClr="FFFFFF"/>
      </a:lt1>
      <a:dk2>
        <a:srgbClr val="1464B9"/>
      </a:dk2>
      <a:lt2>
        <a:srgbClr val="D8D8D8"/>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solidFill>
              <a:srgbClr val="585858"/>
            </a:solidFill>
          </a:defRPr>
        </a:defPPr>
      </a:lstStyle>
    </a:txDef>
  </a:objectDefaults>
  <a:extraClrSchemeLst/>
  <a:extLst>
    <a:ext uri="{05A4C25C-085E-4340-85A3-A5531E510DB2}">
      <thm15:themeFamily xmlns:thm15="http://schemas.microsoft.com/office/thememl/2012/main" name="HFH_Tmplt_Verdana_16x9_v01-01.potx" id="{68BC0B9A-87BA-41B2-ABF9-D6C590ABA580}" vid="{1E8642BE-1D96-415E-9F11-958E0D059797}"/>
    </a:ext>
  </a:extLst>
</a:theme>
</file>

<file path=ppt/theme/theme6.xml><?xml version="1.0" encoding="utf-8"?>
<a:theme xmlns:a="http://schemas.openxmlformats.org/drawingml/2006/main" name="5_ECG Theme">
  <a:themeElements>
    <a:clrScheme name="Henry Ford Health">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ECG New Template">
      <a:majorFont>
        <a:latin typeface="Rockwel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CG Presentation Template 4-21-22" id="{008CC3D9-08BE-4641-B013-243BDCB01F04}" vid="{F4C4FD58-DC19-4416-8BEA-88CAF7878F5F}"/>
    </a:ext>
  </a:extLst>
</a:theme>
</file>

<file path=ppt/theme/theme7.xml><?xml version="1.0" encoding="utf-8"?>
<a:theme xmlns:a="http://schemas.openxmlformats.org/drawingml/2006/main" name="3_Office Theme">
  <a:themeElements>
    <a:clrScheme name="Henry Ford Health Complete Palette">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Custom 1">
      <a:majorFont>
        <a:latin typeface="Verdana"/>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8.xml><?xml version="1.0" encoding="utf-8"?>
<a:theme xmlns:a="http://schemas.openxmlformats.org/drawingml/2006/main" name="6_ECG Theme">
  <a:themeElements>
    <a:clrScheme name="Henry Ford Health">
      <a:dk1>
        <a:sysClr val="windowText" lastClr="000000"/>
      </a:dk1>
      <a:lt1>
        <a:sysClr val="window" lastClr="FFFFFF"/>
      </a:lt1>
      <a:dk2>
        <a:srgbClr val="D8D8D8"/>
      </a:dk2>
      <a:lt2>
        <a:srgbClr val="1464B9"/>
      </a:lt2>
      <a:accent1>
        <a:srgbClr val="000064"/>
      </a:accent1>
      <a:accent2>
        <a:srgbClr val="DC0096"/>
      </a:accent2>
      <a:accent3>
        <a:srgbClr val="0091E1"/>
      </a:accent3>
      <a:accent4>
        <a:srgbClr val="7D50AC"/>
      </a:accent4>
      <a:accent5>
        <a:srgbClr val="FA550A"/>
      </a:accent5>
      <a:accent6>
        <a:srgbClr val="00C896"/>
      </a:accent6>
      <a:hlink>
        <a:srgbClr val="000064"/>
      </a:hlink>
      <a:folHlink>
        <a:srgbClr val="0091E1"/>
      </a:folHlink>
    </a:clrScheme>
    <a:fontScheme name="ECG New Template">
      <a:majorFont>
        <a:latin typeface="Rockwel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CG Presentation Template 4-21-22" id="{008CC3D9-08BE-4641-B013-243BDCB01F04}" vid="{F4C4FD58-DC19-4416-8BEA-88CAF7878F5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Number xmlns="0ceb8393-6914-463e-8ac9-3e5ac531a8d3">1190.004</ProjectNumber>
    <TaxCatchAll xmlns="0ceb8393-6914-463e-8ac9-3e5ac531a8d3" xsi:nil="true"/>
    <SharedWithUsers xmlns="0ceb8393-6914-463e-8ac9-3e5ac531a8d3">
      <UserInfo>
        <DisplayName>Myerson, Sandra</DisplayName>
        <AccountId>26</AccountId>
        <AccountType/>
      </UserInfo>
      <UserInfo>
        <DisplayName>Worobec, Emily</DisplayName>
        <AccountId>46</AccountId>
        <AccountType/>
      </UserInfo>
      <UserInfo>
        <DisplayName>Pozar, Corbin</DisplayName>
        <AccountId>14</AccountId>
        <AccountType/>
      </UserInfo>
    </SharedWithUsers>
    <WorkingTypes xmlns="0ceb8393-6914-463e-8ac9-3e5ac531a8d3" xsi:nil="true"/>
    <lcf76f155ced4ddcb4097134ff3c332f xmlns="738fd637-5820-46a6-bfd2-9df8c25c840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WorkingPapers" ma:contentTypeID="0x0101002D553E198B6C284194FFC80B603C16AA003CCCD01C1704F8488A99BFAD61554EE9" ma:contentTypeVersion="18" ma:contentTypeDescription="Create a new Working Paper." ma:contentTypeScope="" ma:versionID="3292c9688b37e4d8c3e5dd87e115e0c8">
  <xsd:schema xmlns:xsd="http://www.w3.org/2001/XMLSchema" xmlns:xs="http://www.w3.org/2001/XMLSchema" xmlns:p="http://schemas.microsoft.com/office/2006/metadata/properties" xmlns:ns2="0ceb8393-6914-463e-8ac9-3e5ac531a8d3" xmlns:ns3="738fd637-5820-46a6-bfd2-9df8c25c840c" targetNamespace="http://schemas.microsoft.com/office/2006/metadata/properties" ma:root="true" ma:fieldsID="3a2fa8f99a0e15aac9cd96e0dadb54d6" ns2:_="" ns3:_="">
    <xsd:import namespace="0ceb8393-6914-463e-8ac9-3e5ac531a8d3"/>
    <xsd:import namespace="738fd637-5820-46a6-bfd2-9df8c25c840c"/>
    <xsd:element name="properties">
      <xsd:complexType>
        <xsd:sequence>
          <xsd:element name="documentManagement">
            <xsd:complexType>
              <xsd:all>
                <xsd:element ref="ns2:WorkingTypes" minOccurs="0"/>
                <xsd:element ref="ns2:ProjectNumber" minOccurs="0"/>
                <xsd:element ref="ns3:MediaServiceMetadata" minOccurs="0"/>
                <xsd:element ref="ns3:MediaServiceFastMetadata" minOccurs="0"/>
                <xsd:element ref="ns3:MediaServiceObjectDetectorVersions" minOccurs="0"/>
                <xsd:element ref="ns2:SharedWithUsers" minOccurs="0"/>
                <xsd:element ref="ns2:SharedWithDetails" minOccurs="0"/>
                <xsd:element ref="ns3:lcf76f155ced4ddcb4097134ff3c332f" minOccurs="0"/>
                <xsd:element ref="ns2:TaxCatchAll" minOccurs="0"/>
                <xsd:element ref="ns3:MediaServiceGenerationTime" minOccurs="0"/>
                <xsd:element ref="ns3:MediaServiceEventHashCode" minOccurs="0"/>
                <xsd:element ref="ns3:MediaServiceDateTaken" minOccurs="0"/>
                <xsd:element ref="ns3:MediaServiceSearchProperties"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eb8393-6914-463e-8ac9-3e5ac531a8d3" elementFormDefault="qualified">
    <xsd:import namespace="http://schemas.microsoft.com/office/2006/documentManagement/types"/>
    <xsd:import namespace="http://schemas.microsoft.com/office/infopath/2007/PartnerControls"/>
    <xsd:element name="WorkingTypes" ma:index="8" nillable="true" ma:displayName="Working Types" ma:format="Dropdown" ma:internalName="WorkingTypes">
      <xsd:simpleType>
        <xsd:restriction base="dms:Choice">
          <xsd:enumeration value="Analysis"/>
          <xsd:enumeration value="Background Information"/>
          <xsd:enumeration value="Client Data"/>
          <xsd:enumeration value="Interviews"/>
          <xsd:enumeration value="Meetings - Deliverable"/>
          <xsd:enumeration value="Project Management"/>
        </xsd:restriction>
      </xsd:simpleType>
    </xsd:element>
    <xsd:element name="ProjectNumber" ma:index="9" nillable="true" ma:displayName="Project Number" ma:description="The Selected Project Number from the ERP system. Must be 4 digits . 3 digits" ma:internalName="ProjectNumber">
      <xsd:simpleType>
        <xsd:restriction base="dms:Text">
          <xsd:maxLength value="8"/>
        </xsd:restriction>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6da170c0-e6ec-46aa-9cc1-8a4ee810555c}" ma:internalName="TaxCatchAll" ma:showField="CatchAllData" ma:web="0ceb8393-6914-463e-8ac9-3e5ac531a8d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38fd637-5820-46a6-bfd2-9df8c25c840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e08397b-3c3e-47cc-818a-97a3117a3278"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2A8EEC-DA7F-4F00-9F93-42F65A36ACB1}">
  <ds:schemaRefs>
    <ds:schemaRef ds:uri="http://schemas.microsoft.com/office/2006/documentManagement/types"/>
    <ds:schemaRef ds:uri="0ceb8393-6914-463e-8ac9-3e5ac531a8d3"/>
    <ds:schemaRef ds:uri="http://schemas.openxmlformats.org/package/2006/metadata/core-properties"/>
    <ds:schemaRef ds:uri="http://www.w3.org/XML/1998/namespace"/>
    <ds:schemaRef ds:uri="http://purl.org/dc/terms/"/>
    <ds:schemaRef ds:uri="http://schemas.microsoft.com/office/2006/metadata/properties"/>
    <ds:schemaRef ds:uri="http://purl.org/dc/elements/1.1/"/>
    <ds:schemaRef ds:uri="http://schemas.microsoft.com/office/infopath/2007/PartnerControls"/>
    <ds:schemaRef ds:uri="738fd637-5820-46a6-bfd2-9df8c25c840c"/>
    <ds:schemaRef ds:uri="http://purl.org/dc/dcmitype/"/>
  </ds:schemaRefs>
</ds:datastoreItem>
</file>

<file path=customXml/itemProps2.xml><?xml version="1.0" encoding="utf-8"?>
<ds:datastoreItem xmlns:ds="http://schemas.openxmlformats.org/officeDocument/2006/customXml" ds:itemID="{69F51C45-29DA-4BA6-BB62-2B9978B28C1B}">
  <ds:schemaRefs>
    <ds:schemaRef ds:uri="http://schemas.microsoft.com/sharepoint/v3/contenttype/forms"/>
  </ds:schemaRefs>
</ds:datastoreItem>
</file>

<file path=customXml/itemProps3.xml><?xml version="1.0" encoding="utf-8"?>
<ds:datastoreItem xmlns:ds="http://schemas.openxmlformats.org/officeDocument/2006/customXml" ds:itemID="{6E04E186-D90C-41FF-8DAF-066179E911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eb8393-6914-463e-8ac9-3e5ac531a8d3"/>
    <ds:schemaRef ds:uri="738fd637-5820-46a6-bfd2-9df8c25c84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ed04dc3-c05f-4817-9426-dcd363d9814a}" enabled="1" method="Standard" siteId="{6512b72a-e926-4c4a-b11f-9a5f5158f0ff}" removed="0"/>
</clbl:labelList>
</file>

<file path=docProps/app.xml><?xml version="1.0" encoding="utf-8"?>
<Properties xmlns="http://schemas.openxmlformats.org/officeDocument/2006/extended-properties" xmlns:vt="http://schemas.openxmlformats.org/officeDocument/2006/docPropsVTypes">
  <TotalTime>17770</TotalTime>
  <Words>5042</Words>
  <Application>Microsoft Office PowerPoint</Application>
  <PresentationFormat>Widescreen</PresentationFormat>
  <Paragraphs>527</Paragraphs>
  <Slides>33</Slides>
  <Notes>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2" baseType="lpstr">
      <vt:lpstr>Apex New Book</vt:lpstr>
      <vt:lpstr>Arial</vt:lpstr>
      <vt:lpstr>Avenir Next</vt:lpstr>
      <vt:lpstr>Calibri</vt:lpstr>
      <vt:lpstr>Calibri Light</vt:lpstr>
      <vt:lpstr>Fira Sans</vt:lpstr>
      <vt:lpstr>Helvetica Neue Light</vt:lpstr>
      <vt:lpstr>Rockwell</vt:lpstr>
      <vt:lpstr>Verdana</vt:lpstr>
      <vt:lpstr>Wingdings</vt:lpstr>
      <vt:lpstr>ECG Theme</vt:lpstr>
      <vt:lpstr>1_ECG Theme</vt:lpstr>
      <vt:lpstr>2_ECG Theme</vt:lpstr>
      <vt:lpstr>Office Theme</vt:lpstr>
      <vt:lpstr>1_Office Theme</vt:lpstr>
      <vt:lpstr>5_ECG Theme</vt:lpstr>
      <vt:lpstr>3_Office Theme</vt:lpstr>
      <vt:lpstr>6_ECG Theme</vt:lpstr>
      <vt:lpstr>think-cell Slide</vt:lpstr>
      <vt:lpstr>PowerPoint Presentation</vt:lpstr>
      <vt:lpstr>Why conduct earlier serious illness conversations?</vt:lpstr>
      <vt:lpstr>ACP Process</vt:lpstr>
      <vt:lpstr>Schedule a Patient/Family Meeting</vt:lpstr>
      <vt:lpstr>Determine Surrogate Decision-Maker if Needed</vt:lpstr>
      <vt:lpstr>PowerPoint Presentation</vt:lpstr>
      <vt:lpstr>Giving a Big Picture Message When the Prognosis is Uncertain</vt:lpstr>
      <vt:lpstr>Demonstration</vt:lpstr>
      <vt:lpstr>PowerPoint Presentation</vt:lpstr>
      <vt:lpstr>Debrief</vt:lpstr>
      <vt:lpstr>Document the Surrogate Decision Maker</vt:lpstr>
      <vt:lpstr>Find the ACP Discussion Note and Verbal Designation Note</vt:lpstr>
      <vt:lpstr>Document within the ACP Discussion Note</vt:lpstr>
      <vt:lpstr>Document within the ACP Discussion Note (continued)</vt:lpstr>
      <vt:lpstr>Adding the ACP Column in your Patient List  </vt:lpstr>
      <vt:lpstr>When to Place a Palliative Medicine Referral</vt:lpstr>
      <vt:lpstr>Appendix A</vt:lpstr>
      <vt:lpstr>Capacity versus without Capacity</vt:lpstr>
      <vt:lpstr>Capacity’s Different Domains</vt:lpstr>
      <vt:lpstr>Verbally Designated Surrogate Decision-Maker </vt:lpstr>
      <vt:lpstr>What if the patient cannot verbally designate?</vt:lpstr>
      <vt:lpstr>NOK Order of Priority</vt:lpstr>
      <vt:lpstr>Special Circumstances</vt:lpstr>
      <vt:lpstr>Appendix B</vt:lpstr>
      <vt:lpstr>What is included with a Palliative Medicine Consult?</vt:lpstr>
      <vt:lpstr>How to explain the palliative care consult?</vt:lpstr>
      <vt:lpstr>When to Place a Hospice Referral</vt:lpstr>
      <vt:lpstr>PowerPoint Presentation</vt:lpstr>
      <vt:lpstr>PowerPoint Presentation</vt:lpstr>
      <vt:lpstr>Best Case, Worst Case, Most Likely Tool </vt:lpstr>
      <vt:lpstr>Access the VitalTalk App!</vt:lpstr>
      <vt:lpstr>Policies</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FH CTPT - Hospice and Palliative Care Work Group 05.15.2024.pptx</dc:title>
  <dc:creator>Worobec, Emily</dc:creator>
  <cp:lastModifiedBy>Chasteen, Kristen</cp:lastModifiedBy>
  <cp:revision>12</cp:revision>
  <dcterms:created xsi:type="dcterms:W3CDTF">2024-03-04T21:01:03Z</dcterms:created>
  <dcterms:modified xsi:type="dcterms:W3CDTF">2024-10-31T02: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553E198B6C284194FFC80B603C16AA003CCCD01C1704F8488A99BFAD61554EE9</vt:lpwstr>
  </property>
  <property fmtid="{D5CDD505-2E9C-101B-9397-08002B2CF9AE}" pid="3" name="DocumentType">
    <vt:lpwstr>1;#PRESENTATION|d00c2f05-b5ea-4aeb-86ba-beb924b45f25</vt:lpwstr>
  </property>
  <property fmtid="{D5CDD505-2E9C-101B-9397-08002B2CF9AE}" pid="4" name="MediaServiceImageTags">
    <vt:lpwstr/>
  </property>
</Properties>
</file>